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87.jpg" ContentType="image/jpg"/>
  <Override PartName="/ppt/notesSlides/notesSlide7.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Lst>
  <p:notesMasterIdLst>
    <p:notesMasterId r:id="rId93"/>
  </p:notesMasterIdLst>
  <p:handoutMasterIdLst>
    <p:handoutMasterId r:id="rId94"/>
  </p:handoutMasterIdLst>
  <p:sldIdLst>
    <p:sldId id="256" r:id="rId5"/>
    <p:sldId id="637" r:id="rId6"/>
    <p:sldId id="486" r:id="rId7"/>
    <p:sldId id="487" r:id="rId8"/>
    <p:sldId id="639" r:id="rId9"/>
    <p:sldId id="663" r:id="rId10"/>
    <p:sldId id="490" r:id="rId11"/>
    <p:sldId id="656" r:id="rId12"/>
    <p:sldId id="657" r:id="rId13"/>
    <p:sldId id="658" r:id="rId14"/>
    <p:sldId id="660" r:id="rId15"/>
    <p:sldId id="661" r:id="rId16"/>
    <p:sldId id="532" r:id="rId17"/>
    <p:sldId id="662" r:id="rId18"/>
    <p:sldId id="638" r:id="rId19"/>
    <p:sldId id="535" r:id="rId20"/>
    <p:sldId id="621" r:id="rId21"/>
    <p:sldId id="649" r:id="rId22"/>
    <p:sldId id="650" r:id="rId23"/>
    <p:sldId id="549" r:id="rId24"/>
    <p:sldId id="548" r:id="rId25"/>
    <p:sldId id="507" r:id="rId26"/>
    <p:sldId id="624" r:id="rId27"/>
    <p:sldId id="665" r:id="rId28"/>
    <p:sldId id="610" r:id="rId29"/>
    <p:sldId id="611" r:id="rId30"/>
    <p:sldId id="612" r:id="rId31"/>
    <p:sldId id="632" r:id="rId32"/>
    <p:sldId id="620" r:id="rId33"/>
    <p:sldId id="562" r:id="rId34"/>
    <p:sldId id="564" r:id="rId35"/>
    <p:sldId id="568" r:id="rId36"/>
    <p:sldId id="569" r:id="rId37"/>
    <p:sldId id="570" r:id="rId38"/>
    <p:sldId id="458" r:id="rId39"/>
    <p:sldId id="520" r:id="rId40"/>
    <p:sldId id="579" r:id="rId41"/>
    <p:sldId id="634" r:id="rId42"/>
    <p:sldId id="467" r:id="rId43"/>
    <p:sldId id="526" r:id="rId44"/>
    <p:sldId id="439" r:id="rId45"/>
    <p:sldId id="521" r:id="rId46"/>
    <p:sldId id="525" r:id="rId47"/>
    <p:sldId id="510" r:id="rId48"/>
    <p:sldId id="511" r:id="rId49"/>
    <p:sldId id="674" r:id="rId50"/>
    <p:sldId id="670" r:id="rId51"/>
    <p:sldId id="671" r:id="rId52"/>
    <p:sldId id="672" r:id="rId53"/>
    <p:sldId id="673" r:id="rId54"/>
    <p:sldId id="512" r:id="rId55"/>
    <p:sldId id="418" r:id="rId56"/>
    <p:sldId id="450" r:id="rId57"/>
    <p:sldId id="451" r:id="rId58"/>
    <p:sldId id="622" r:id="rId59"/>
    <p:sldId id="524" r:id="rId60"/>
    <p:sldId id="614" r:id="rId61"/>
    <p:sldId id="598" r:id="rId62"/>
    <p:sldId id="580" r:id="rId63"/>
    <p:sldId id="483" r:id="rId64"/>
    <p:sldId id="582" r:id="rId65"/>
    <p:sldId id="581" r:id="rId66"/>
    <p:sldId id="596" r:id="rId67"/>
    <p:sldId id="575" r:id="rId68"/>
    <p:sldId id="576" r:id="rId69"/>
    <p:sldId id="474" r:id="rId70"/>
    <p:sldId id="441" r:id="rId71"/>
    <p:sldId id="481" r:id="rId72"/>
    <p:sldId id="599" r:id="rId73"/>
    <p:sldId id="600" r:id="rId74"/>
    <p:sldId id="602" r:id="rId75"/>
    <p:sldId id="603" r:id="rId76"/>
    <p:sldId id="604" r:id="rId77"/>
    <p:sldId id="619" r:id="rId78"/>
    <p:sldId id="613" r:id="rId79"/>
    <p:sldId id="640" r:id="rId80"/>
    <p:sldId id="641" r:id="rId81"/>
    <p:sldId id="642" r:id="rId82"/>
    <p:sldId id="643" r:id="rId83"/>
    <p:sldId id="644" r:id="rId84"/>
    <p:sldId id="648" r:id="rId85"/>
    <p:sldId id="646" r:id="rId86"/>
    <p:sldId id="664" r:id="rId87"/>
    <p:sldId id="666" r:id="rId88"/>
    <p:sldId id="667" r:id="rId89"/>
    <p:sldId id="668" r:id="rId90"/>
    <p:sldId id="669" r:id="rId91"/>
    <p:sldId id="675"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560"/>
    <a:srgbClr val="FFFFFF"/>
    <a:srgbClr val="F4B183"/>
    <a:srgbClr val="FA9657"/>
    <a:srgbClr val="1C1C1C"/>
    <a:srgbClr val="4A4F55"/>
    <a:srgbClr val="DB282E"/>
    <a:srgbClr val="000000"/>
    <a:srgbClr val="00AADE"/>
    <a:srgbClr val="075E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84" autoAdjust="0"/>
    <p:restoredTop sz="94660"/>
  </p:normalViewPr>
  <p:slideViewPr>
    <p:cSldViewPr snapToGrid="0">
      <p:cViewPr varScale="1">
        <p:scale>
          <a:sx n="80" d="100"/>
          <a:sy n="80" d="100"/>
        </p:scale>
        <p:origin x="234" y="102"/>
      </p:cViewPr>
      <p:guideLst/>
    </p:cSldViewPr>
  </p:slideViewPr>
  <p:notesTextViewPr>
    <p:cViewPr>
      <p:scale>
        <a:sx n="1" d="1"/>
        <a:sy n="1" d="1"/>
      </p:scale>
      <p:origin x="0" y="0"/>
    </p:cViewPr>
  </p:notesTextViewPr>
  <p:notesViewPr>
    <p:cSldViewPr snapToGrid="0" showGuides="1">
      <p:cViewPr varScale="1">
        <p:scale>
          <a:sx n="53" d="100"/>
          <a:sy n="53" d="100"/>
        </p:scale>
        <p:origin x="2844"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notesMaster" Target="notesMasters/notesMaster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104114\Documents\Proposals\Marriott\RFP%20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609649257909665E-2"/>
          <c:y val="0.10858713970554668"/>
          <c:w val="0.88470758609025757"/>
          <c:h val="0.79829426171585893"/>
        </c:manualLayout>
      </c:layout>
      <c:barChart>
        <c:barDir val="col"/>
        <c:grouping val="stacked"/>
        <c:varyColors val="0"/>
        <c:ser>
          <c:idx val="0"/>
          <c:order val="0"/>
          <c:tx>
            <c:strRef>
              <c:f>Sheet1!$A$1</c:f>
              <c:strCache>
                <c:ptCount val="1"/>
                <c:pt idx="0">
                  <c:v>Series 1</c:v>
                </c:pt>
              </c:strCache>
            </c:strRef>
          </c:tx>
          <c:invertIfNegative val="0"/>
          <c:dPt>
            <c:idx val="0"/>
            <c:invertIfNegative val="0"/>
            <c:bubble3D val="0"/>
            <c:spPr>
              <a:solidFill>
                <a:srgbClr val="0099FF"/>
              </a:solidFill>
            </c:spPr>
            <c:extLst>
              <c:ext xmlns:c16="http://schemas.microsoft.com/office/drawing/2014/chart" uri="{C3380CC4-5D6E-409C-BE32-E72D297353CC}">
                <c16:uniqueId val="{00000001-A820-4E8F-9622-A242BCF8D620}"/>
              </c:ext>
            </c:extLst>
          </c:dPt>
          <c:dPt>
            <c:idx val="1"/>
            <c:invertIfNegative val="0"/>
            <c:bubble3D val="0"/>
            <c:spPr>
              <a:noFill/>
            </c:spPr>
            <c:extLst>
              <c:ext xmlns:c16="http://schemas.microsoft.com/office/drawing/2014/chart" uri="{C3380CC4-5D6E-409C-BE32-E72D297353CC}">
                <c16:uniqueId val="{00000003-A820-4E8F-9622-A242BCF8D620}"/>
              </c:ext>
            </c:extLst>
          </c:dPt>
          <c:dPt>
            <c:idx val="2"/>
            <c:invertIfNegative val="0"/>
            <c:bubble3D val="0"/>
            <c:spPr>
              <a:noFill/>
            </c:spPr>
            <c:extLst>
              <c:ext xmlns:c16="http://schemas.microsoft.com/office/drawing/2014/chart" uri="{C3380CC4-5D6E-409C-BE32-E72D297353CC}">
                <c16:uniqueId val="{00000005-A820-4E8F-9622-A242BCF8D620}"/>
              </c:ext>
            </c:extLst>
          </c:dPt>
          <c:dPt>
            <c:idx val="3"/>
            <c:invertIfNegative val="0"/>
            <c:bubble3D val="0"/>
            <c:spPr>
              <a:noFill/>
            </c:spPr>
            <c:extLst>
              <c:ext xmlns:c16="http://schemas.microsoft.com/office/drawing/2014/chart" uri="{C3380CC4-5D6E-409C-BE32-E72D297353CC}">
                <c16:uniqueId val="{00000007-A820-4E8F-9622-A242BCF8D620}"/>
              </c:ext>
            </c:extLst>
          </c:dPt>
          <c:dPt>
            <c:idx val="4"/>
            <c:invertIfNegative val="0"/>
            <c:bubble3D val="0"/>
            <c:spPr>
              <a:noFill/>
            </c:spPr>
            <c:extLst>
              <c:ext xmlns:c16="http://schemas.microsoft.com/office/drawing/2014/chart" uri="{C3380CC4-5D6E-409C-BE32-E72D297353CC}">
                <c16:uniqueId val="{00000009-A820-4E8F-9622-A242BCF8D620}"/>
              </c:ext>
            </c:extLst>
          </c:dPt>
          <c:dPt>
            <c:idx val="5"/>
            <c:invertIfNegative val="0"/>
            <c:bubble3D val="0"/>
            <c:spPr>
              <a:solidFill>
                <a:srgbClr val="00B050"/>
              </a:solidFill>
            </c:spPr>
            <c:extLst>
              <c:ext xmlns:c16="http://schemas.microsoft.com/office/drawing/2014/chart" uri="{C3380CC4-5D6E-409C-BE32-E72D297353CC}">
                <c16:uniqueId val="{0000000B-A820-4E8F-9622-A242BCF8D620}"/>
              </c:ext>
            </c:extLst>
          </c:dPt>
          <c:val>
            <c:numRef>
              <c:f>Sheet1!$A$2:$A$7</c:f>
              <c:numCache>
                <c:formatCode>General</c:formatCode>
                <c:ptCount val="6"/>
              </c:numCache>
            </c:numRef>
          </c:val>
          <c:extLst>
            <c:ext xmlns:c16="http://schemas.microsoft.com/office/drawing/2014/chart" uri="{C3380CC4-5D6E-409C-BE32-E72D297353CC}">
              <c16:uniqueId val="{0000000C-A820-4E8F-9622-A242BCF8D620}"/>
            </c:ext>
          </c:extLst>
        </c:ser>
        <c:ser>
          <c:idx val="1"/>
          <c:order val="1"/>
          <c:tx>
            <c:strRef>
              <c:f>Sheet1!$B$1</c:f>
              <c:strCache>
                <c:ptCount val="1"/>
                <c:pt idx="0">
                  <c:v>Series 2</c:v>
                </c:pt>
              </c:strCache>
            </c:strRef>
          </c:tx>
          <c:invertIfNegative val="0"/>
          <c:val>
            <c:numRef>
              <c:f>Sheet1!$B$2:$B$7</c:f>
              <c:numCache>
                <c:formatCode>General</c:formatCode>
                <c:ptCount val="6"/>
              </c:numCache>
            </c:numRef>
          </c:val>
          <c:extLst>
            <c:ext xmlns:c16="http://schemas.microsoft.com/office/drawing/2014/chart" uri="{C3380CC4-5D6E-409C-BE32-E72D297353CC}">
              <c16:uniqueId val="{0000000D-A820-4E8F-9622-A242BCF8D620}"/>
            </c:ext>
          </c:extLst>
        </c:ser>
        <c:ser>
          <c:idx val="2"/>
          <c:order val="2"/>
          <c:tx>
            <c:strRef>
              <c:f>Sheet1!$C$1</c:f>
              <c:strCache>
                <c:ptCount val="1"/>
                <c:pt idx="0">
                  <c:v>Series 3</c:v>
                </c:pt>
              </c:strCache>
            </c:strRef>
          </c:tx>
          <c:invertIfNegative val="0"/>
          <c:val>
            <c:numRef>
              <c:f>Sheet1!$C$2:$C$7</c:f>
              <c:numCache>
                <c:formatCode>General</c:formatCode>
                <c:ptCount val="6"/>
              </c:numCache>
            </c:numRef>
          </c:val>
          <c:extLst>
            <c:ext xmlns:c16="http://schemas.microsoft.com/office/drawing/2014/chart" uri="{C3380CC4-5D6E-409C-BE32-E72D297353CC}">
              <c16:uniqueId val="{0000000E-A820-4E8F-9622-A242BCF8D620}"/>
            </c:ext>
          </c:extLst>
        </c:ser>
        <c:dLbls>
          <c:showLegendKey val="0"/>
          <c:showVal val="0"/>
          <c:showCatName val="0"/>
          <c:showSerName val="0"/>
          <c:showPercent val="0"/>
          <c:showBubbleSize val="0"/>
        </c:dLbls>
        <c:gapWidth val="150"/>
        <c:overlap val="100"/>
        <c:axId val="547859880"/>
        <c:axId val="547859488"/>
      </c:barChart>
      <c:catAx>
        <c:axId val="547859880"/>
        <c:scaling>
          <c:orientation val="minMax"/>
        </c:scaling>
        <c:delete val="1"/>
        <c:axPos val="b"/>
        <c:numFmt formatCode="General" sourceLinked="1"/>
        <c:majorTickMark val="out"/>
        <c:minorTickMark val="none"/>
        <c:tickLblPos val="nextTo"/>
        <c:crossAx val="547859488"/>
        <c:crosses val="autoZero"/>
        <c:auto val="0"/>
        <c:lblAlgn val="ctr"/>
        <c:lblOffset val="100"/>
        <c:noMultiLvlLbl val="0"/>
      </c:catAx>
      <c:valAx>
        <c:axId val="547859488"/>
        <c:scaling>
          <c:orientation val="minMax"/>
        </c:scaling>
        <c:delete val="1"/>
        <c:axPos val="l"/>
        <c:numFmt formatCode="0%" sourceLinked="0"/>
        <c:majorTickMark val="out"/>
        <c:minorTickMark val="none"/>
        <c:tickLblPos val="nextTo"/>
        <c:crossAx val="547859880"/>
        <c:crosses val="autoZero"/>
        <c:crossBetween val="between"/>
      </c:valAx>
      <c:spPr>
        <a:noFill/>
        <a:ln w="25400">
          <a:noFill/>
        </a:ln>
      </c:spPr>
    </c:plotArea>
    <c:plotVisOnly val="1"/>
    <c:dispBlanksAs val="gap"/>
    <c:showDLblsOverMax val="0"/>
  </c:chart>
  <c:spPr>
    <a:noFill/>
  </c:spPr>
  <c:txPr>
    <a:bodyPr/>
    <a:lstStyle/>
    <a:p>
      <a:pPr>
        <a:defRPr sz="2056" smtId="4294967295"/>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21135800292524"/>
          <c:y val="0.10858713970554668"/>
          <c:w val="0.87410587072372437"/>
          <c:h val="0.79829426171585893"/>
        </c:manualLayout>
      </c:layout>
      <c:barChart>
        <c:barDir val="col"/>
        <c:grouping val="stacked"/>
        <c:varyColors val="0"/>
        <c:ser>
          <c:idx val="0"/>
          <c:order val="0"/>
          <c:tx>
            <c:strRef>
              <c:f>Sheet1!$A$1</c:f>
              <c:strCache>
                <c:ptCount val="1"/>
                <c:pt idx="0">
                  <c:v>Series 1</c:v>
                </c:pt>
              </c:strCache>
            </c:strRef>
          </c:tx>
          <c:invertIfNegative val="0"/>
          <c:dPt>
            <c:idx val="0"/>
            <c:invertIfNegative val="0"/>
            <c:bubble3D val="0"/>
            <c:spPr>
              <a:solidFill>
                <a:srgbClr val="0099FF"/>
              </a:solidFill>
            </c:spPr>
            <c:extLst>
              <c:ext xmlns:c16="http://schemas.microsoft.com/office/drawing/2014/chart" uri="{C3380CC4-5D6E-409C-BE32-E72D297353CC}">
                <c16:uniqueId val="{00000001-0EA9-45E9-A15E-8855963B9D9B}"/>
              </c:ext>
            </c:extLst>
          </c:dPt>
          <c:dPt>
            <c:idx val="1"/>
            <c:invertIfNegative val="0"/>
            <c:bubble3D val="0"/>
            <c:spPr>
              <a:noFill/>
            </c:spPr>
            <c:extLst>
              <c:ext xmlns:c16="http://schemas.microsoft.com/office/drawing/2014/chart" uri="{C3380CC4-5D6E-409C-BE32-E72D297353CC}">
                <c16:uniqueId val="{00000003-0EA9-45E9-A15E-8855963B9D9B}"/>
              </c:ext>
            </c:extLst>
          </c:dPt>
          <c:dPt>
            <c:idx val="2"/>
            <c:invertIfNegative val="0"/>
            <c:bubble3D val="0"/>
            <c:spPr>
              <a:noFill/>
            </c:spPr>
            <c:extLst>
              <c:ext xmlns:c16="http://schemas.microsoft.com/office/drawing/2014/chart" uri="{C3380CC4-5D6E-409C-BE32-E72D297353CC}">
                <c16:uniqueId val="{00000005-0EA9-45E9-A15E-8855963B9D9B}"/>
              </c:ext>
            </c:extLst>
          </c:dPt>
          <c:dPt>
            <c:idx val="3"/>
            <c:invertIfNegative val="0"/>
            <c:bubble3D val="0"/>
            <c:spPr>
              <a:noFill/>
            </c:spPr>
            <c:extLst>
              <c:ext xmlns:c16="http://schemas.microsoft.com/office/drawing/2014/chart" uri="{C3380CC4-5D6E-409C-BE32-E72D297353CC}">
                <c16:uniqueId val="{00000007-0EA9-45E9-A15E-8855963B9D9B}"/>
              </c:ext>
            </c:extLst>
          </c:dPt>
          <c:dPt>
            <c:idx val="4"/>
            <c:invertIfNegative val="0"/>
            <c:bubble3D val="0"/>
            <c:spPr>
              <a:noFill/>
            </c:spPr>
            <c:extLst>
              <c:ext xmlns:c16="http://schemas.microsoft.com/office/drawing/2014/chart" uri="{C3380CC4-5D6E-409C-BE32-E72D297353CC}">
                <c16:uniqueId val="{00000009-0EA9-45E9-A15E-8855963B9D9B}"/>
              </c:ext>
            </c:extLst>
          </c:dPt>
          <c:dPt>
            <c:idx val="5"/>
            <c:invertIfNegative val="0"/>
            <c:bubble3D val="0"/>
            <c:spPr>
              <a:solidFill>
                <a:srgbClr val="00B050"/>
              </a:solidFill>
            </c:spPr>
            <c:extLst>
              <c:ext xmlns:c16="http://schemas.microsoft.com/office/drawing/2014/chart" uri="{C3380CC4-5D6E-409C-BE32-E72D297353CC}">
                <c16:uniqueId val="{0000000B-0EA9-45E9-A15E-8855963B9D9B}"/>
              </c:ext>
            </c:extLst>
          </c:dPt>
          <c:val>
            <c:numRef>
              <c:f>Sheet1!$A$2:$A$7</c:f>
              <c:numCache>
                <c:formatCode>General</c:formatCode>
                <c:ptCount val="6"/>
              </c:numCache>
            </c:numRef>
          </c:val>
          <c:extLst>
            <c:ext xmlns:c16="http://schemas.microsoft.com/office/drawing/2014/chart" uri="{C3380CC4-5D6E-409C-BE32-E72D297353CC}">
              <c16:uniqueId val="{0000000C-0EA9-45E9-A15E-8855963B9D9B}"/>
            </c:ext>
          </c:extLst>
        </c:ser>
        <c:ser>
          <c:idx val="1"/>
          <c:order val="1"/>
          <c:tx>
            <c:strRef>
              <c:f>Sheet1!$B$1</c:f>
              <c:strCache>
                <c:ptCount val="1"/>
                <c:pt idx="0">
                  <c:v>Series 2</c:v>
                </c:pt>
              </c:strCache>
            </c:strRef>
          </c:tx>
          <c:invertIfNegative val="0"/>
          <c:val>
            <c:numRef>
              <c:f>Sheet1!$B$2:$B$7</c:f>
              <c:numCache>
                <c:formatCode>General</c:formatCode>
                <c:ptCount val="6"/>
              </c:numCache>
            </c:numRef>
          </c:val>
          <c:extLst>
            <c:ext xmlns:c16="http://schemas.microsoft.com/office/drawing/2014/chart" uri="{C3380CC4-5D6E-409C-BE32-E72D297353CC}">
              <c16:uniqueId val="{0000000D-0EA9-45E9-A15E-8855963B9D9B}"/>
            </c:ext>
          </c:extLst>
        </c:ser>
        <c:ser>
          <c:idx val="2"/>
          <c:order val="2"/>
          <c:tx>
            <c:strRef>
              <c:f>Sheet1!$C$1</c:f>
              <c:strCache>
                <c:ptCount val="1"/>
                <c:pt idx="0">
                  <c:v>Series 3</c:v>
                </c:pt>
              </c:strCache>
            </c:strRef>
          </c:tx>
          <c:invertIfNegative val="0"/>
          <c:val>
            <c:numRef>
              <c:f>Sheet1!$C$2:$C$7</c:f>
              <c:numCache>
                <c:formatCode>General</c:formatCode>
                <c:ptCount val="6"/>
              </c:numCache>
            </c:numRef>
          </c:val>
          <c:extLst>
            <c:ext xmlns:c16="http://schemas.microsoft.com/office/drawing/2014/chart" uri="{C3380CC4-5D6E-409C-BE32-E72D297353CC}">
              <c16:uniqueId val="{0000000E-0EA9-45E9-A15E-8855963B9D9B}"/>
            </c:ext>
          </c:extLst>
        </c:ser>
        <c:dLbls>
          <c:showLegendKey val="0"/>
          <c:showVal val="0"/>
          <c:showCatName val="0"/>
          <c:showSerName val="0"/>
          <c:showPercent val="0"/>
          <c:showBubbleSize val="0"/>
        </c:dLbls>
        <c:gapWidth val="150"/>
        <c:overlap val="100"/>
        <c:axId val="547859880"/>
        <c:axId val="547859488"/>
      </c:barChart>
      <c:catAx>
        <c:axId val="547859880"/>
        <c:scaling>
          <c:orientation val="minMax"/>
        </c:scaling>
        <c:delete val="1"/>
        <c:axPos val="b"/>
        <c:numFmt formatCode="General" sourceLinked="1"/>
        <c:majorTickMark val="out"/>
        <c:minorTickMark val="none"/>
        <c:tickLblPos val="nextTo"/>
        <c:crossAx val="547859488"/>
        <c:crosses val="autoZero"/>
        <c:auto val="0"/>
        <c:lblAlgn val="ctr"/>
        <c:lblOffset val="100"/>
        <c:noMultiLvlLbl val="0"/>
      </c:catAx>
      <c:valAx>
        <c:axId val="547859488"/>
        <c:scaling>
          <c:orientation val="minMax"/>
        </c:scaling>
        <c:delete val="1"/>
        <c:axPos val="l"/>
        <c:numFmt formatCode="0%" sourceLinked="0"/>
        <c:majorTickMark val="out"/>
        <c:minorTickMark val="none"/>
        <c:tickLblPos val="nextTo"/>
        <c:crossAx val="547859880"/>
        <c:crosses val="autoZero"/>
        <c:crossBetween val="between"/>
      </c:valAx>
    </c:plotArea>
    <c:plotVisOnly val="1"/>
    <c:dispBlanksAs val="gap"/>
    <c:showDLblsOverMax val="0"/>
  </c:chart>
  <c:spPr>
    <a:noFill/>
  </c:spPr>
  <c:txPr>
    <a:bodyPr/>
    <a:lstStyle/>
    <a:p>
      <a:pPr>
        <a:defRPr sz="2056" smtId="4294967295"/>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Transition</a:t>
            </a:r>
            <a:r>
              <a:rPr lang="en-US" sz="2000" baseline="0"/>
              <a:t> Complexity</a:t>
            </a:r>
            <a:endParaRPr lang="en-US"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hart!$A$13</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12:$E$12</c:f>
              <c:strCache>
                <c:ptCount val="4"/>
                <c:pt idx="0">
                  <c:v>CRM and Event Management</c:v>
                </c:pt>
                <c:pt idx="1">
                  <c:v>Marketing, Loyalty and Channel Sales</c:v>
                </c:pt>
                <c:pt idx="2">
                  <c:v>Reservations, Revenue Management, API &amp; Data Platform</c:v>
                </c:pt>
                <c:pt idx="3">
                  <c:v>Point of Sale</c:v>
                </c:pt>
              </c:strCache>
            </c:strRef>
          </c:cat>
          <c:val>
            <c:numRef>
              <c:f>Chart!$B$13:$E$13</c:f>
              <c:numCache>
                <c:formatCode>General</c:formatCode>
                <c:ptCount val="4"/>
                <c:pt idx="0">
                  <c:v>2</c:v>
                </c:pt>
                <c:pt idx="1">
                  <c:v>16</c:v>
                </c:pt>
                <c:pt idx="2">
                  <c:v>12</c:v>
                </c:pt>
                <c:pt idx="3">
                  <c:v>1</c:v>
                </c:pt>
              </c:numCache>
            </c:numRef>
          </c:val>
          <c:extLst>
            <c:ext xmlns:c16="http://schemas.microsoft.com/office/drawing/2014/chart" uri="{C3380CC4-5D6E-409C-BE32-E72D297353CC}">
              <c16:uniqueId val="{00000000-3E20-4439-9252-48984F17387D}"/>
            </c:ext>
          </c:extLst>
        </c:ser>
        <c:ser>
          <c:idx val="1"/>
          <c:order val="1"/>
          <c:tx>
            <c:strRef>
              <c:f>Chart!$A$14</c:f>
              <c:strCache>
                <c:ptCount val="1"/>
                <c:pt idx="0">
                  <c:v>Mediu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12:$E$12</c:f>
              <c:strCache>
                <c:ptCount val="4"/>
                <c:pt idx="0">
                  <c:v>CRM and Event Management</c:v>
                </c:pt>
                <c:pt idx="1">
                  <c:v>Marketing, Loyalty and Channel Sales</c:v>
                </c:pt>
                <c:pt idx="2">
                  <c:v>Reservations, Revenue Management, API &amp; Data Platform</c:v>
                </c:pt>
                <c:pt idx="3">
                  <c:v>Point of Sale</c:v>
                </c:pt>
              </c:strCache>
            </c:strRef>
          </c:cat>
          <c:val>
            <c:numRef>
              <c:f>Chart!$B$14:$E$14</c:f>
              <c:numCache>
                <c:formatCode>General</c:formatCode>
                <c:ptCount val="4"/>
                <c:pt idx="0">
                  <c:v>4</c:v>
                </c:pt>
                <c:pt idx="1">
                  <c:v>6</c:v>
                </c:pt>
                <c:pt idx="2">
                  <c:v>4</c:v>
                </c:pt>
                <c:pt idx="3">
                  <c:v>0</c:v>
                </c:pt>
              </c:numCache>
            </c:numRef>
          </c:val>
          <c:extLst>
            <c:ext xmlns:c16="http://schemas.microsoft.com/office/drawing/2014/chart" uri="{C3380CC4-5D6E-409C-BE32-E72D297353CC}">
              <c16:uniqueId val="{00000001-3E20-4439-9252-48984F17387D}"/>
            </c:ext>
          </c:extLst>
        </c:ser>
        <c:ser>
          <c:idx val="2"/>
          <c:order val="2"/>
          <c:tx>
            <c:strRef>
              <c:f>Chart!$A$15</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12:$E$12</c:f>
              <c:strCache>
                <c:ptCount val="4"/>
                <c:pt idx="0">
                  <c:v>CRM and Event Management</c:v>
                </c:pt>
                <c:pt idx="1">
                  <c:v>Marketing, Loyalty and Channel Sales</c:v>
                </c:pt>
                <c:pt idx="2">
                  <c:v>Reservations, Revenue Management, API &amp; Data Platform</c:v>
                </c:pt>
                <c:pt idx="3">
                  <c:v>Point of Sale</c:v>
                </c:pt>
              </c:strCache>
            </c:strRef>
          </c:cat>
          <c:val>
            <c:numRef>
              <c:f>Chart!$B$15:$E$15</c:f>
              <c:numCache>
                <c:formatCode>General</c:formatCode>
                <c:ptCount val="4"/>
                <c:pt idx="0">
                  <c:v>2</c:v>
                </c:pt>
                <c:pt idx="1">
                  <c:v>5</c:v>
                </c:pt>
                <c:pt idx="2">
                  <c:v>6</c:v>
                </c:pt>
                <c:pt idx="3">
                  <c:v>0</c:v>
                </c:pt>
              </c:numCache>
            </c:numRef>
          </c:val>
          <c:extLst>
            <c:ext xmlns:c16="http://schemas.microsoft.com/office/drawing/2014/chart" uri="{C3380CC4-5D6E-409C-BE32-E72D297353CC}">
              <c16:uniqueId val="{00000002-3E20-4439-9252-48984F17387D}"/>
            </c:ext>
          </c:extLst>
        </c:ser>
        <c:dLbls>
          <c:showLegendKey val="0"/>
          <c:showVal val="0"/>
          <c:showCatName val="0"/>
          <c:showSerName val="0"/>
          <c:showPercent val="0"/>
          <c:showBubbleSize val="0"/>
        </c:dLbls>
        <c:gapWidth val="219"/>
        <c:overlap val="-27"/>
        <c:axId val="558601392"/>
        <c:axId val="558598440"/>
      </c:barChart>
      <c:catAx>
        <c:axId val="558601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558598440"/>
        <c:crosses val="autoZero"/>
        <c:auto val="1"/>
        <c:lblAlgn val="ctr"/>
        <c:lblOffset val="100"/>
        <c:noMultiLvlLbl val="0"/>
      </c:catAx>
      <c:valAx>
        <c:axId val="558598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601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3F3094-F33B-418B-B4BA-0185C74C77EF}" type="doc">
      <dgm:prSet loTypeId="urn:microsoft.com/office/officeart/2005/8/layout/hChevron3" loCatId="process" qsTypeId="urn:microsoft.com/office/officeart/2005/8/quickstyle/simple1" qsCatId="simple" csTypeId="urn:microsoft.com/office/officeart/2005/8/colors/accent1_2" csCatId="accent1" phldr="1"/>
      <dgm:spPr/>
    </dgm:pt>
    <dgm:pt modelId="{D20F71D0-B348-4922-9FD9-96720CF9DC0A}">
      <dgm:prSet phldrT="[Text]" custT="1"/>
      <dgm:spPr/>
      <dgm:t>
        <a:bodyPr/>
        <a:lstStyle/>
        <a:p>
          <a:r>
            <a:rPr lang="en-US" sz="1100" b="1" dirty="0" smtClean="0">
              <a:latin typeface="Calibiri"/>
            </a:rPr>
            <a:t>Eliminate</a:t>
          </a:r>
          <a:endParaRPr lang="en-US" sz="1100" b="1" dirty="0">
            <a:latin typeface="Calibiri"/>
          </a:endParaRPr>
        </a:p>
      </dgm:t>
    </dgm:pt>
    <dgm:pt modelId="{96D1F3B4-01F3-4D0D-A50B-42AF0663AA73}" type="parTrans" cxnId="{2A8CC805-04D6-4D0C-BE62-55D9DC4E3CD3}">
      <dgm:prSet/>
      <dgm:spPr/>
      <dgm:t>
        <a:bodyPr/>
        <a:lstStyle/>
        <a:p>
          <a:endParaRPr lang="en-US" sz="1200"/>
        </a:p>
      </dgm:t>
    </dgm:pt>
    <dgm:pt modelId="{165C9CB5-7B31-46EE-8F41-72C92E2D1C7B}" type="sibTrans" cxnId="{2A8CC805-04D6-4D0C-BE62-55D9DC4E3CD3}">
      <dgm:prSet/>
      <dgm:spPr/>
      <dgm:t>
        <a:bodyPr/>
        <a:lstStyle/>
        <a:p>
          <a:endParaRPr lang="en-US" sz="1200"/>
        </a:p>
      </dgm:t>
    </dgm:pt>
    <dgm:pt modelId="{E0CAA214-212B-4E5C-9003-BB40B9CDD96F}">
      <dgm:prSet phldrT="[Text]" custT="1"/>
      <dgm:spPr/>
      <dgm:t>
        <a:bodyPr/>
        <a:lstStyle/>
        <a:p>
          <a:r>
            <a:rPr lang="en-US" sz="1100" b="1" dirty="0" smtClean="0">
              <a:latin typeface="Calibiri"/>
            </a:rPr>
            <a:t>Industrialize</a:t>
          </a:r>
          <a:endParaRPr lang="en-US" sz="1100" b="1" dirty="0">
            <a:latin typeface="Calibiri"/>
          </a:endParaRPr>
        </a:p>
      </dgm:t>
    </dgm:pt>
    <dgm:pt modelId="{2E8EC802-9B74-49DE-9FDA-5461B96744C1}" type="parTrans" cxnId="{4E27052C-82D0-4970-A6E8-3EE3816F914F}">
      <dgm:prSet/>
      <dgm:spPr/>
      <dgm:t>
        <a:bodyPr/>
        <a:lstStyle/>
        <a:p>
          <a:endParaRPr lang="en-US" sz="1200"/>
        </a:p>
      </dgm:t>
    </dgm:pt>
    <dgm:pt modelId="{B1132511-654C-4A89-AD59-92BF87BA7D5A}" type="sibTrans" cxnId="{4E27052C-82D0-4970-A6E8-3EE3816F914F}">
      <dgm:prSet/>
      <dgm:spPr/>
      <dgm:t>
        <a:bodyPr/>
        <a:lstStyle/>
        <a:p>
          <a:endParaRPr lang="en-US" sz="1200"/>
        </a:p>
      </dgm:t>
    </dgm:pt>
    <dgm:pt modelId="{8118F059-BDD0-4DAA-82A4-AC392063DE8C}">
      <dgm:prSet phldrT="[Text]" custT="1"/>
      <dgm:spPr/>
      <dgm:t>
        <a:bodyPr/>
        <a:lstStyle/>
        <a:p>
          <a:r>
            <a:rPr lang="en-US" sz="1100" b="1" dirty="0" smtClean="0">
              <a:latin typeface="Calibiri"/>
            </a:rPr>
            <a:t>Standardize</a:t>
          </a:r>
          <a:endParaRPr lang="en-US" sz="1100" b="1" dirty="0">
            <a:latin typeface="Calibiri"/>
          </a:endParaRPr>
        </a:p>
      </dgm:t>
    </dgm:pt>
    <dgm:pt modelId="{F7F1F845-0C91-44CA-937A-A0B111AF10EB}" type="parTrans" cxnId="{D50C52ED-811D-4DF8-80C2-E29D4F70654B}">
      <dgm:prSet/>
      <dgm:spPr/>
      <dgm:t>
        <a:bodyPr/>
        <a:lstStyle/>
        <a:p>
          <a:endParaRPr lang="en-US"/>
        </a:p>
      </dgm:t>
    </dgm:pt>
    <dgm:pt modelId="{667827C0-59A9-46D7-8830-A6BC2F41F99E}" type="sibTrans" cxnId="{D50C52ED-811D-4DF8-80C2-E29D4F70654B}">
      <dgm:prSet/>
      <dgm:spPr/>
      <dgm:t>
        <a:bodyPr/>
        <a:lstStyle/>
        <a:p>
          <a:endParaRPr lang="en-US"/>
        </a:p>
      </dgm:t>
    </dgm:pt>
    <dgm:pt modelId="{FA00668C-9337-4B33-BD3F-0F9567B0F3BB}">
      <dgm:prSet phldrT="[Text]" custT="1"/>
      <dgm:spPr/>
      <dgm:t>
        <a:bodyPr/>
        <a:lstStyle/>
        <a:p>
          <a:r>
            <a:rPr lang="en-US" sz="1100" b="1" dirty="0" smtClean="0">
              <a:latin typeface="Calibiri"/>
            </a:rPr>
            <a:t>Synergize</a:t>
          </a:r>
          <a:endParaRPr lang="en-US" sz="1100" b="1" dirty="0">
            <a:latin typeface="Calibiri"/>
          </a:endParaRPr>
        </a:p>
      </dgm:t>
    </dgm:pt>
    <dgm:pt modelId="{63544591-8294-4D7C-B517-89831CE791A4}" type="parTrans" cxnId="{E0FF3980-64EF-4469-8D9C-B289DF2FA6B7}">
      <dgm:prSet/>
      <dgm:spPr/>
      <dgm:t>
        <a:bodyPr/>
        <a:lstStyle/>
        <a:p>
          <a:endParaRPr lang="en-US"/>
        </a:p>
      </dgm:t>
    </dgm:pt>
    <dgm:pt modelId="{7701308F-FEB1-4170-8ECC-5DAD1305259F}" type="sibTrans" cxnId="{E0FF3980-64EF-4469-8D9C-B289DF2FA6B7}">
      <dgm:prSet/>
      <dgm:spPr/>
      <dgm:t>
        <a:bodyPr/>
        <a:lstStyle/>
        <a:p>
          <a:endParaRPr lang="en-US"/>
        </a:p>
      </dgm:t>
    </dgm:pt>
    <dgm:pt modelId="{B75EE70A-012A-46B9-9E33-C5083D9A855E}">
      <dgm:prSet phldrT="[Text]" custT="1"/>
      <dgm:spPr/>
      <dgm:t>
        <a:bodyPr/>
        <a:lstStyle/>
        <a:p>
          <a:r>
            <a:rPr lang="en-US" sz="1100" b="1" dirty="0" smtClean="0">
              <a:latin typeface="Calibiri"/>
            </a:rPr>
            <a:t>Automate</a:t>
          </a:r>
          <a:endParaRPr lang="en-US" sz="1100" b="1" dirty="0">
            <a:latin typeface="Calibiri"/>
          </a:endParaRPr>
        </a:p>
      </dgm:t>
    </dgm:pt>
    <dgm:pt modelId="{A92EAFFF-90BB-49DF-874A-9ABDD34BECB3}" type="parTrans" cxnId="{E5D8F68D-DC5F-464E-B0F9-174090C411BD}">
      <dgm:prSet/>
      <dgm:spPr/>
      <dgm:t>
        <a:bodyPr/>
        <a:lstStyle/>
        <a:p>
          <a:endParaRPr lang="en-US"/>
        </a:p>
      </dgm:t>
    </dgm:pt>
    <dgm:pt modelId="{38145119-DBD7-47FF-994D-DD033E7DFFB4}" type="sibTrans" cxnId="{E5D8F68D-DC5F-464E-B0F9-174090C411BD}">
      <dgm:prSet/>
      <dgm:spPr/>
      <dgm:t>
        <a:bodyPr/>
        <a:lstStyle/>
        <a:p>
          <a:endParaRPr lang="en-US"/>
        </a:p>
      </dgm:t>
    </dgm:pt>
    <dgm:pt modelId="{C8A07293-BF91-4FD7-B7D8-B4A24A0FC76D}" type="pres">
      <dgm:prSet presAssocID="{393F3094-F33B-418B-B4BA-0185C74C77EF}" presName="Name0" presStyleCnt="0">
        <dgm:presLayoutVars>
          <dgm:dir/>
          <dgm:resizeHandles val="exact"/>
        </dgm:presLayoutVars>
      </dgm:prSet>
      <dgm:spPr/>
    </dgm:pt>
    <dgm:pt modelId="{150B72A6-9088-4E13-9448-8BB1BBE22A74}" type="pres">
      <dgm:prSet presAssocID="{D20F71D0-B348-4922-9FD9-96720CF9DC0A}" presName="parTxOnly" presStyleLbl="node1" presStyleIdx="0" presStyleCnt="5">
        <dgm:presLayoutVars>
          <dgm:bulletEnabled val="1"/>
        </dgm:presLayoutVars>
      </dgm:prSet>
      <dgm:spPr/>
      <dgm:t>
        <a:bodyPr/>
        <a:lstStyle/>
        <a:p>
          <a:endParaRPr lang="en-US"/>
        </a:p>
      </dgm:t>
    </dgm:pt>
    <dgm:pt modelId="{68F0FA96-5CFF-4E18-95B5-4691D4659BD9}" type="pres">
      <dgm:prSet presAssocID="{165C9CB5-7B31-46EE-8F41-72C92E2D1C7B}" presName="parSpace" presStyleCnt="0"/>
      <dgm:spPr/>
    </dgm:pt>
    <dgm:pt modelId="{38A58AD1-C4E9-42C3-8ABB-5DF7D4C65610}" type="pres">
      <dgm:prSet presAssocID="{B75EE70A-012A-46B9-9E33-C5083D9A855E}" presName="parTxOnly" presStyleLbl="node1" presStyleIdx="1" presStyleCnt="5">
        <dgm:presLayoutVars>
          <dgm:bulletEnabled val="1"/>
        </dgm:presLayoutVars>
      </dgm:prSet>
      <dgm:spPr/>
      <dgm:t>
        <a:bodyPr/>
        <a:lstStyle/>
        <a:p>
          <a:endParaRPr lang="en-US"/>
        </a:p>
      </dgm:t>
    </dgm:pt>
    <dgm:pt modelId="{CFC01599-6F14-4C12-B311-FD83263807FF}" type="pres">
      <dgm:prSet presAssocID="{38145119-DBD7-47FF-994D-DD033E7DFFB4}" presName="parSpace" presStyleCnt="0"/>
      <dgm:spPr/>
    </dgm:pt>
    <dgm:pt modelId="{3BD99CB3-F566-485C-B59E-73E943225FB2}" type="pres">
      <dgm:prSet presAssocID="{E0CAA214-212B-4E5C-9003-BB40B9CDD96F}" presName="parTxOnly" presStyleLbl="node1" presStyleIdx="2" presStyleCnt="5">
        <dgm:presLayoutVars>
          <dgm:bulletEnabled val="1"/>
        </dgm:presLayoutVars>
      </dgm:prSet>
      <dgm:spPr/>
      <dgm:t>
        <a:bodyPr/>
        <a:lstStyle/>
        <a:p>
          <a:endParaRPr lang="en-US"/>
        </a:p>
      </dgm:t>
    </dgm:pt>
    <dgm:pt modelId="{FB5ED0CC-A1EA-4EB1-8B12-7C2AE6DA9F18}" type="pres">
      <dgm:prSet presAssocID="{B1132511-654C-4A89-AD59-92BF87BA7D5A}" presName="parSpace" presStyleCnt="0"/>
      <dgm:spPr/>
    </dgm:pt>
    <dgm:pt modelId="{7C1EA474-BE89-44A7-9DBE-0468525F5F9C}" type="pres">
      <dgm:prSet presAssocID="{8118F059-BDD0-4DAA-82A4-AC392063DE8C}" presName="parTxOnly" presStyleLbl="node1" presStyleIdx="3" presStyleCnt="5">
        <dgm:presLayoutVars>
          <dgm:bulletEnabled val="1"/>
        </dgm:presLayoutVars>
      </dgm:prSet>
      <dgm:spPr/>
      <dgm:t>
        <a:bodyPr/>
        <a:lstStyle/>
        <a:p>
          <a:endParaRPr lang="en-US"/>
        </a:p>
      </dgm:t>
    </dgm:pt>
    <dgm:pt modelId="{C4332D9C-C0BE-4AA8-96E5-D714D1660696}" type="pres">
      <dgm:prSet presAssocID="{667827C0-59A9-46D7-8830-A6BC2F41F99E}" presName="parSpace" presStyleCnt="0"/>
      <dgm:spPr/>
    </dgm:pt>
    <dgm:pt modelId="{6CA50218-7B3D-4795-8E3C-170D5AAA9F00}" type="pres">
      <dgm:prSet presAssocID="{FA00668C-9337-4B33-BD3F-0F9567B0F3BB}" presName="parTxOnly" presStyleLbl="node1" presStyleIdx="4" presStyleCnt="5" custLinFactY="5683" custLinFactNeighborX="8922" custLinFactNeighborY="100000">
        <dgm:presLayoutVars>
          <dgm:bulletEnabled val="1"/>
        </dgm:presLayoutVars>
      </dgm:prSet>
      <dgm:spPr/>
      <dgm:t>
        <a:bodyPr/>
        <a:lstStyle/>
        <a:p>
          <a:endParaRPr lang="en-US"/>
        </a:p>
      </dgm:t>
    </dgm:pt>
  </dgm:ptLst>
  <dgm:cxnLst>
    <dgm:cxn modelId="{2A8CC805-04D6-4D0C-BE62-55D9DC4E3CD3}" srcId="{393F3094-F33B-418B-B4BA-0185C74C77EF}" destId="{D20F71D0-B348-4922-9FD9-96720CF9DC0A}" srcOrd="0" destOrd="0" parTransId="{96D1F3B4-01F3-4D0D-A50B-42AF0663AA73}" sibTransId="{165C9CB5-7B31-46EE-8F41-72C92E2D1C7B}"/>
    <dgm:cxn modelId="{D50C52ED-811D-4DF8-80C2-E29D4F70654B}" srcId="{393F3094-F33B-418B-B4BA-0185C74C77EF}" destId="{8118F059-BDD0-4DAA-82A4-AC392063DE8C}" srcOrd="3" destOrd="0" parTransId="{F7F1F845-0C91-44CA-937A-A0B111AF10EB}" sibTransId="{667827C0-59A9-46D7-8830-A6BC2F41F99E}"/>
    <dgm:cxn modelId="{83DCF5C1-81B6-4445-AA77-DDD7DC44D0C0}" type="presOf" srcId="{D20F71D0-B348-4922-9FD9-96720CF9DC0A}" destId="{150B72A6-9088-4E13-9448-8BB1BBE22A74}" srcOrd="0" destOrd="0" presId="urn:microsoft.com/office/officeart/2005/8/layout/hChevron3"/>
    <dgm:cxn modelId="{E5D8F68D-DC5F-464E-B0F9-174090C411BD}" srcId="{393F3094-F33B-418B-B4BA-0185C74C77EF}" destId="{B75EE70A-012A-46B9-9E33-C5083D9A855E}" srcOrd="1" destOrd="0" parTransId="{A92EAFFF-90BB-49DF-874A-9ABDD34BECB3}" sibTransId="{38145119-DBD7-47FF-994D-DD033E7DFFB4}"/>
    <dgm:cxn modelId="{E0FF3980-64EF-4469-8D9C-B289DF2FA6B7}" srcId="{393F3094-F33B-418B-B4BA-0185C74C77EF}" destId="{FA00668C-9337-4B33-BD3F-0F9567B0F3BB}" srcOrd="4" destOrd="0" parTransId="{63544591-8294-4D7C-B517-89831CE791A4}" sibTransId="{7701308F-FEB1-4170-8ECC-5DAD1305259F}"/>
    <dgm:cxn modelId="{ECA267D9-484B-4317-B31D-761D7AFF0B72}" type="presOf" srcId="{B75EE70A-012A-46B9-9E33-C5083D9A855E}" destId="{38A58AD1-C4E9-42C3-8ABB-5DF7D4C65610}" srcOrd="0" destOrd="0" presId="urn:microsoft.com/office/officeart/2005/8/layout/hChevron3"/>
    <dgm:cxn modelId="{C294A59B-55CC-4219-B467-C64B54CC02D5}" type="presOf" srcId="{FA00668C-9337-4B33-BD3F-0F9567B0F3BB}" destId="{6CA50218-7B3D-4795-8E3C-170D5AAA9F00}" srcOrd="0" destOrd="0" presId="urn:microsoft.com/office/officeart/2005/8/layout/hChevron3"/>
    <dgm:cxn modelId="{97601B05-8E03-4F01-8945-A41F9E1B9E75}" type="presOf" srcId="{8118F059-BDD0-4DAA-82A4-AC392063DE8C}" destId="{7C1EA474-BE89-44A7-9DBE-0468525F5F9C}" srcOrd="0" destOrd="0" presId="urn:microsoft.com/office/officeart/2005/8/layout/hChevron3"/>
    <dgm:cxn modelId="{D0101A5F-7D06-456C-B86D-8CB21E9C4AE5}" type="presOf" srcId="{393F3094-F33B-418B-B4BA-0185C74C77EF}" destId="{C8A07293-BF91-4FD7-B7D8-B4A24A0FC76D}" srcOrd="0" destOrd="0" presId="urn:microsoft.com/office/officeart/2005/8/layout/hChevron3"/>
    <dgm:cxn modelId="{4E27052C-82D0-4970-A6E8-3EE3816F914F}" srcId="{393F3094-F33B-418B-B4BA-0185C74C77EF}" destId="{E0CAA214-212B-4E5C-9003-BB40B9CDD96F}" srcOrd="2" destOrd="0" parTransId="{2E8EC802-9B74-49DE-9FDA-5461B96744C1}" sibTransId="{B1132511-654C-4A89-AD59-92BF87BA7D5A}"/>
    <dgm:cxn modelId="{79FF2540-B712-4D3F-B79A-4516832E7DAF}" type="presOf" srcId="{E0CAA214-212B-4E5C-9003-BB40B9CDD96F}" destId="{3BD99CB3-F566-485C-B59E-73E943225FB2}" srcOrd="0" destOrd="0" presId="urn:microsoft.com/office/officeart/2005/8/layout/hChevron3"/>
    <dgm:cxn modelId="{B483C617-9D15-478D-A98D-A0EA69EAF39B}" type="presParOf" srcId="{C8A07293-BF91-4FD7-B7D8-B4A24A0FC76D}" destId="{150B72A6-9088-4E13-9448-8BB1BBE22A74}" srcOrd="0" destOrd="0" presId="urn:microsoft.com/office/officeart/2005/8/layout/hChevron3"/>
    <dgm:cxn modelId="{F7FA87C7-017B-4BA9-8C2A-18D8999FF501}" type="presParOf" srcId="{C8A07293-BF91-4FD7-B7D8-B4A24A0FC76D}" destId="{68F0FA96-5CFF-4E18-95B5-4691D4659BD9}" srcOrd="1" destOrd="0" presId="urn:microsoft.com/office/officeart/2005/8/layout/hChevron3"/>
    <dgm:cxn modelId="{9F30C044-79E4-49F6-829B-DDCC58B33F13}" type="presParOf" srcId="{C8A07293-BF91-4FD7-B7D8-B4A24A0FC76D}" destId="{38A58AD1-C4E9-42C3-8ABB-5DF7D4C65610}" srcOrd="2" destOrd="0" presId="urn:microsoft.com/office/officeart/2005/8/layout/hChevron3"/>
    <dgm:cxn modelId="{323AC050-DF4D-4BF5-B165-EE2C56FA77BA}" type="presParOf" srcId="{C8A07293-BF91-4FD7-B7D8-B4A24A0FC76D}" destId="{CFC01599-6F14-4C12-B311-FD83263807FF}" srcOrd="3" destOrd="0" presId="urn:microsoft.com/office/officeart/2005/8/layout/hChevron3"/>
    <dgm:cxn modelId="{34646DD7-D8AE-4AE9-97F7-5D094C03A1F1}" type="presParOf" srcId="{C8A07293-BF91-4FD7-B7D8-B4A24A0FC76D}" destId="{3BD99CB3-F566-485C-B59E-73E943225FB2}" srcOrd="4" destOrd="0" presId="urn:microsoft.com/office/officeart/2005/8/layout/hChevron3"/>
    <dgm:cxn modelId="{CF89E170-0359-4DAE-82D9-06CB3D2B649F}" type="presParOf" srcId="{C8A07293-BF91-4FD7-B7D8-B4A24A0FC76D}" destId="{FB5ED0CC-A1EA-4EB1-8B12-7C2AE6DA9F18}" srcOrd="5" destOrd="0" presId="urn:microsoft.com/office/officeart/2005/8/layout/hChevron3"/>
    <dgm:cxn modelId="{8E0D94DF-17CD-4718-A14C-8CBDCE2D2B83}" type="presParOf" srcId="{C8A07293-BF91-4FD7-B7D8-B4A24A0FC76D}" destId="{7C1EA474-BE89-44A7-9DBE-0468525F5F9C}" srcOrd="6" destOrd="0" presId="urn:microsoft.com/office/officeart/2005/8/layout/hChevron3"/>
    <dgm:cxn modelId="{CAC39745-E70E-4E4A-8CC9-FB8CDD451FF5}" type="presParOf" srcId="{C8A07293-BF91-4FD7-B7D8-B4A24A0FC76D}" destId="{C4332D9C-C0BE-4AA8-96E5-D714D1660696}" srcOrd="7" destOrd="0" presId="urn:microsoft.com/office/officeart/2005/8/layout/hChevron3"/>
    <dgm:cxn modelId="{2A4957F3-B131-4549-AE56-FA7E04E77F7A}" type="presParOf" srcId="{C8A07293-BF91-4FD7-B7D8-B4A24A0FC76D}" destId="{6CA50218-7B3D-4795-8E3C-170D5AAA9F00}" srcOrd="8"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3F3094-F33B-418B-B4BA-0185C74C77EF}" type="doc">
      <dgm:prSet loTypeId="urn:microsoft.com/office/officeart/2005/8/layout/hChevron3" loCatId="process" qsTypeId="urn:microsoft.com/office/officeart/2005/8/quickstyle/simple1" qsCatId="simple" csTypeId="urn:microsoft.com/office/officeart/2005/8/colors/accent1_2" csCatId="accent1" phldr="1"/>
      <dgm:spPr/>
    </dgm:pt>
    <dgm:pt modelId="{D20F71D0-B348-4922-9FD9-96720CF9DC0A}">
      <dgm:prSet phldrT="[Text]" custT="1"/>
      <dgm:spPr/>
      <dgm:t>
        <a:bodyPr/>
        <a:lstStyle/>
        <a:p>
          <a:r>
            <a:rPr lang="en-US" sz="1100" b="1" dirty="0" smtClean="0">
              <a:latin typeface="Calibiri"/>
            </a:rPr>
            <a:t>Eliminate</a:t>
          </a:r>
          <a:endParaRPr lang="en-US" sz="1100" b="1" dirty="0">
            <a:latin typeface="Calibiri"/>
          </a:endParaRPr>
        </a:p>
      </dgm:t>
    </dgm:pt>
    <dgm:pt modelId="{96D1F3B4-01F3-4D0D-A50B-42AF0663AA73}" type="parTrans" cxnId="{2A8CC805-04D6-4D0C-BE62-55D9DC4E3CD3}">
      <dgm:prSet/>
      <dgm:spPr/>
      <dgm:t>
        <a:bodyPr/>
        <a:lstStyle/>
        <a:p>
          <a:endParaRPr lang="en-US" sz="1200"/>
        </a:p>
      </dgm:t>
    </dgm:pt>
    <dgm:pt modelId="{165C9CB5-7B31-46EE-8F41-72C92E2D1C7B}" type="sibTrans" cxnId="{2A8CC805-04D6-4D0C-BE62-55D9DC4E3CD3}">
      <dgm:prSet/>
      <dgm:spPr/>
      <dgm:t>
        <a:bodyPr/>
        <a:lstStyle/>
        <a:p>
          <a:endParaRPr lang="en-US" sz="1200"/>
        </a:p>
      </dgm:t>
    </dgm:pt>
    <dgm:pt modelId="{E0CAA214-212B-4E5C-9003-BB40B9CDD96F}">
      <dgm:prSet phldrT="[Text]" custT="1"/>
      <dgm:spPr/>
      <dgm:t>
        <a:bodyPr/>
        <a:lstStyle/>
        <a:p>
          <a:r>
            <a:rPr lang="en-US" sz="1100" b="1" dirty="0" smtClean="0">
              <a:latin typeface="Calibiri"/>
            </a:rPr>
            <a:t>Industrialize</a:t>
          </a:r>
          <a:endParaRPr lang="en-US" sz="1100" b="1" dirty="0">
            <a:latin typeface="Calibiri"/>
          </a:endParaRPr>
        </a:p>
      </dgm:t>
    </dgm:pt>
    <dgm:pt modelId="{2E8EC802-9B74-49DE-9FDA-5461B96744C1}" type="parTrans" cxnId="{4E27052C-82D0-4970-A6E8-3EE3816F914F}">
      <dgm:prSet/>
      <dgm:spPr/>
      <dgm:t>
        <a:bodyPr/>
        <a:lstStyle/>
        <a:p>
          <a:endParaRPr lang="en-US" sz="1200"/>
        </a:p>
      </dgm:t>
    </dgm:pt>
    <dgm:pt modelId="{B1132511-654C-4A89-AD59-92BF87BA7D5A}" type="sibTrans" cxnId="{4E27052C-82D0-4970-A6E8-3EE3816F914F}">
      <dgm:prSet/>
      <dgm:spPr/>
      <dgm:t>
        <a:bodyPr/>
        <a:lstStyle/>
        <a:p>
          <a:endParaRPr lang="en-US" sz="1200"/>
        </a:p>
      </dgm:t>
    </dgm:pt>
    <dgm:pt modelId="{8118F059-BDD0-4DAA-82A4-AC392063DE8C}">
      <dgm:prSet phldrT="[Text]" custT="1"/>
      <dgm:spPr/>
      <dgm:t>
        <a:bodyPr/>
        <a:lstStyle/>
        <a:p>
          <a:r>
            <a:rPr lang="en-US" sz="1100" b="1" dirty="0" smtClean="0">
              <a:latin typeface="Calibiri"/>
            </a:rPr>
            <a:t>Standardize</a:t>
          </a:r>
          <a:endParaRPr lang="en-US" sz="1100" b="1" dirty="0">
            <a:latin typeface="Calibiri"/>
          </a:endParaRPr>
        </a:p>
      </dgm:t>
    </dgm:pt>
    <dgm:pt modelId="{F7F1F845-0C91-44CA-937A-A0B111AF10EB}" type="parTrans" cxnId="{D50C52ED-811D-4DF8-80C2-E29D4F70654B}">
      <dgm:prSet/>
      <dgm:spPr/>
      <dgm:t>
        <a:bodyPr/>
        <a:lstStyle/>
        <a:p>
          <a:endParaRPr lang="en-US"/>
        </a:p>
      </dgm:t>
    </dgm:pt>
    <dgm:pt modelId="{667827C0-59A9-46D7-8830-A6BC2F41F99E}" type="sibTrans" cxnId="{D50C52ED-811D-4DF8-80C2-E29D4F70654B}">
      <dgm:prSet/>
      <dgm:spPr/>
      <dgm:t>
        <a:bodyPr/>
        <a:lstStyle/>
        <a:p>
          <a:endParaRPr lang="en-US"/>
        </a:p>
      </dgm:t>
    </dgm:pt>
    <dgm:pt modelId="{FA00668C-9337-4B33-BD3F-0F9567B0F3BB}">
      <dgm:prSet phldrT="[Text]" custT="1"/>
      <dgm:spPr/>
      <dgm:t>
        <a:bodyPr/>
        <a:lstStyle/>
        <a:p>
          <a:r>
            <a:rPr lang="en-US" sz="1100" b="1" dirty="0" smtClean="0">
              <a:latin typeface="Calibiri"/>
            </a:rPr>
            <a:t>Synergize</a:t>
          </a:r>
          <a:endParaRPr lang="en-US" sz="1100" b="1" dirty="0">
            <a:latin typeface="Calibiri"/>
          </a:endParaRPr>
        </a:p>
      </dgm:t>
    </dgm:pt>
    <dgm:pt modelId="{63544591-8294-4D7C-B517-89831CE791A4}" type="parTrans" cxnId="{E0FF3980-64EF-4469-8D9C-B289DF2FA6B7}">
      <dgm:prSet/>
      <dgm:spPr/>
      <dgm:t>
        <a:bodyPr/>
        <a:lstStyle/>
        <a:p>
          <a:endParaRPr lang="en-US"/>
        </a:p>
      </dgm:t>
    </dgm:pt>
    <dgm:pt modelId="{7701308F-FEB1-4170-8ECC-5DAD1305259F}" type="sibTrans" cxnId="{E0FF3980-64EF-4469-8D9C-B289DF2FA6B7}">
      <dgm:prSet/>
      <dgm:spPr/>
      <dgm:t>
        <a:bodyPr/>
        <a:lstStyle/>
        <a:p>
          <a:endParaRPr lang="en-US"/>
        </a:p>
      </dgm:t>
    </dgm:pt>
    <dgm:pt modelId="{B75EE70A-012A-46B9-9E33-C5083D9A855E}">
      <dgm:prSet phldrT="[Text]" custT="1"/>
      <dgm:spPr/>
      <dgm:t>
        <a:bodyPr/>
        <a:lstStyle/>
        <a:p>
          <a:r>
            <a:rPr lang="en-US" sz="1100" b="1" dirty="0" smtClean="0">
              <a:latin typeface="Calibiri"/>
            </a:rPr>
            <a:t>Automate</a:t>
          </a:r>
          <a:endParaRPr lang="en-US" sz="1100" b="1" dirty="0">
            <a:latin typeface="Calibiri"/>
          </a:endParaRPr>
        </a:p>
      </dgm:t>
    </dgm:pt>
    <dgm:pt modelId="{A92EAFFF-90BB-49DF-874A-9ABDD34BECB3}" type="parTrans" cxnId="{E5D8F68D-DC5F-464E-B0F9-174090C411BD}">
      <dgm:prSet/>
      <dgm:spPr/>
      <dgm:t>
        <a:bodyPr/>
        <a:lstStyle/>
        <a:p>
          <a:endParaRPr lang="en-US"/>
        </a:p>
      </dgm:t>
    </dgm:pt>
    <dgm:pt modelId="{38145119-DBD7-47FF-994D-DD033E7DFFB4}" type="sibTrans" cxnId="{E5D8F68D-DC5F-464E-B0F9-174090C411BD}">
      <dgm:prSet/>
      <dgm:spPr/>
      <dgm:t>
        <a:bodyPr/>
        <a:lstStyle/>
        <a:p>
          <a:endParaRPr lang="en-US"/>
        </a:p>
      </dgm:t>
    </dgm:pt>
    <dgm:pt modelId="{C8A07293-BF91-4FD7-B7D8-B4A24A0FC76D}" type="pres">
      <dgm:prSet presAssocID="{393F3094-F33B-418B-B4BA-0185C74C77EF}" presName="Name0" presStyleCnt="0">
        <dgm:presLayoutVars>
          <dgm:dir/>
          <dgm:resizeHandles val="exact"/>
        </dgm:presLayoutVars>
      </dgm:prSet>
      <dgm:spPr/>
    </dgm:pt>
    <dgm:pt modelId="{150B72A6-9088-4E13-9448-8BB1BBE22A74}" type="pres">
      <dgm:prSet presAssocID="{D20F71D0-B348-4922-9FD9-96720CF9DC0A}" presName="parTxOnly" presStyleLbl="node1" presStyleIdx="0" presStyleCnt="5">
        <dgm:presLayoutVars>
          <dgm:bulletEnabled val="1"/>
        </dgm:presLayoutVars>
      </dgm:prSet>
      <dgm:spPr/>
      <dgm:t>
        <a:bodyPr/>
        <a:lstStyle/>
        <a:p>
          <a:endParaRPr lang="en-US"/>
        </a:p>
      </dgm:t>
    </dgm:pt>
    <dgm:pt modelId="{68F0FA96-5CFF-4E18-95B5-4691D4659BD9}" type="pres">
      <dgm:prSet presAssocID="{165C9CB5-7B31-46EE-8F41-72C92E2D1C7B}" presName="parSpace" presStyleCnt="0"/>
      <dgm:spPr/>
    </dgm:pt>
    <dgm:pt modelId="{38A58AD1-C4E9-42C3-8ABB-5DF7D4C65610}" type="pres">
      <dgm:prSet presAssocID="{B75EE70A-012A-46B9-9E33-C5083D9A855E}" presName="parTxOnly" presStyleLbl="node1" presStyleIdx="1" presStyleCnt="5">
        <dgm:presLayoutVars>
          <dgm:bulletEnabled val="1"/>
        </dgm:presLayoutVars>
      </dgm:prSet>
      <dgm:spPr/>
      <dgm:t>
        <a:bodyPr/>
        <a:lstStyle/>
        <a:p>
          <a:endParaRPr lang="en-US"/>
        </a:p>
      </dgm:t>
    </dgm:pt>
    <dgm:pt modelId="{CFC01599-6F14-4C12-B311-FD83263807FF}" type="pres">
      <dgm:prSet presAssocID="{38145119-DBD7-47FF-994D-DD033E7DFFB4}" presName="parSpace" presStyleCnt="0"/>
      <dgm:spPr/>
    </dgm:pt>
    <dgm:pt modelId="{3BD99CB3-F566-485C-B59E-73E943225FB2}" type="pres">
      <dgm:prSet presAssocID="{E0CAA214-212B-4E5C-9003-BB40B9CDD96F}" presName="parTxOnly" presStyleLbl="node1" presStyleIdx="2" presStyleCnt="5">
        <dgm:presLayoutVars>
          <dgm:bulletEnabled val="1"/>
        </dgm:presLayoutVars>
      </dgm:prSet>
      <dgm:spPr/>
      <dgm:t>
        <a:bodyPr/>
        <a:lstStyle/>
        <a:p>
          <a:endParaRPr lang="en-US"/>
        </a:p>
      </dgm:t>
    </dgm:pt>
    <dgm:pt modelId="{FB5ED0CC-A1EA-4EB1-8B12-7C2AE6DA9F18}" type="pres">
      <dgm:prSet presAssocID="{B1132511-654C-4A89-AD59-92BF87BA7D5A}" presName="parSpace" presStyleCnt="0"/>
      <dgm:spPr/>
    </dgm:pt>
    <dgm:pt modelId="{7C1EA474-BE89-44A7-9DBE-0468525F5F9C}" type="pres">
      <dgm:prSet presAssocID="{8118F059-BDD0-4DAA-82A4-AC392063DE8C}" presName="parTxOnly" presStyleLbl="node1" presStyleIdx="3" presStyleCnt="5">
        <dgm:presLayoutVars>
          <dgm:bulletEnabled val="1"/>
        </dgm:presLayoutVars>
      </dgm:prSet>
      <dgm:spPr/>
      <dgm:t>
        <a:bodyPr/>
        <a:lstStyle/>
        <a:p>
          <a:endParaRPr lang="en-US"/>
        </a:p>
      </dgm:t>
    </dgm:pt>
    <dgm:pt modelId="{C4332D9C-C0BE-4AA8-96E5-D714D1660696}" type="pres">
      <dgm:prSet presAssocID="{667827C0-59A9-46D7-8830-A6BC2F41F99E}" presName="parSpace" presStyleCnt="0"/>
      <dgm:spPr/>
    </dgm:pt>
    <dgm:pt modelId="{6CA50218-7B3D-4795-8E3C-170D5AAA9F00}" type="pres">
      <dgm:prSet presAssocID="{FA00668C-9337-4B33-BD3F-0F9567B0F3BB}" presName="parTxOnly" presStyleLbl="node1" presStyleIdx="4" presStyleCnt="5" custLinFactY="5683" custLinFactNeighborX="8922" custLinFactNeighborY="100000">
        <dgm:presLayoutVars>
          <dgm:bulletEnabled val="1"/>
        </dgm:presLayoutVars>
      </dgm:prSet>
      <dgm:spPr/>
      <dgm:t>
        <a:bodyPr/>
        <a:lstStyle/>
        <a:p>
          <a:endParaRPr lang="en-US"/>
        </a:p>
      </dgm:t>
    </dgm:pt>
  </dgm:ptLst>
  <dgm:cxnLst>
    <dgm:cxn modelId="{2A8CC805-04D6-4D0C-BE62-55D9DC4E3CD3}" srcId="{393F3094-F33B-418B-B4BA-0185C74C77EF}" destId="{D20F71D0-B348-4922-9FD9-96720CF9DC0A}" srcOrd="0" destOrd="0" parTransId="{96D1F3B4-01F3-4D0D-A50B-42AF0663AA73}" sibTransId="{165C9CB5-7B31-46EE-8F41-72C92E2D1C7B}"/>
    <dgm:cxn modelId="{D50C52ED-811D-4DF8-80C2-E29D4F70654B}" srcId="{393F3094-F33B-418B-B4BA-0185C74C77EF}" destId="{8118F059-BDD0-4DAA-82A4-AC392063DE8C}" srcOrd="3" destOrd="0" parTransId="{F7F1F845-0C91-44CA-937A-A0B111AF10EB}" sibTransId="{667827C0-59A9-46D7-8830-A6BC2F41F99E}"/>
    <dgm:cxn modelId="{83DCF5C1-81B6-4445-AA77-DDD7DC44D0C0}" type="presOf" srcId="{D20F71D0-B348-4922-9FD9-96720CF9DC0A}" destId="{150B72A6-9088-4E13-9448-8BB1BBE22A74}" srcOrd="0" destOrd="0" presId="urn:microsoft.com/office/officeart/2005/8/layout/hChevron3"/>
    <dgm:cxn modelId="{E5D8F68D-DC5F-464E-B0F9-174090C411BD}" srcId="{393F3094-F33B-418B-B4BA-0185C74C77EF}" destId="{B75EE70A-012A-46B9-9E33-C5083D9A855E}" srcOrd="1" destOrd="0" parTransId="{A92EAFFF-90BB-49DF-874A-9ABDD34BECB3}" sibTransId="{38145119-DBD7-47FF-994D-DD033E7DFFB4}"/>
    <dgm:cxn modelId="{E0FF3980-64EF-4469-8D9C-B289DF2FA6B7}" srcId="{393F3094-F33B-418B-B4BA-0185C74C77EF}" destId="{FA00668C-9337-4B33-BD3F-0F9567B0F3BB}" srcOrd="4" destOrd="0" parTransId="{63544591-8294-4D7C-B517-89831CE791A4}" sibTransId="{7701308F-FEB1-4170-8ECC-5DAD1305259F}"/>
    <dgm:cxn modelId="{ECA267D9-484B-4317-B31D-761D7AFF0B72}" type="presOf" srcId="{B75EE70A-012A-46B9-9E33-C5083D9A855E}" destId="{38A58AD1-C4E9-42C3-8ABB-5DF7D4C65610}" srcOrd="0" destOrd="0" presId="urn:microsoft.com/office/officeart/2005/8/layout/hChevron3"/>
    <dgm:cxn modelId="{C294A59B-55CC-4219-B467-C64B54CC02D5}" type="presOf" srcId="{FA00668C-9337-4B33-BD3F-0F9567B0F3BB}" destId="{6CA50218-7B3D-4795-8E3C-170D5AAA9F00}" srcOrd="0" destOrd="0" presId="urn:microsoft.com/office/officeart/2005/8/layout/hChevron3"/>
    <dgm:cxn modelId="{97601B05-8E03-4F01-8945-A41F9E1B9E75}" type="presOf" srcId="{8118F059-BDD0-4DAA-82A4-AC392063DE8C}" destId="{7C1EA474-BE89-44A7-9DBE-0468525F5F9C}" srcOrd="0" destOrd="0" presId="urn:microsoft.com/office/officeart/2005/8/layout/hChevron3"/>
    <dgm:cxn modelId="{D0101A5F-7D06-456C-B86D-8CB21E9C4AE5}" type="presOf" srcId="{393F3094-F33B-418B-B4BA-0185C74C77EF}" destId="{C8A07293-BF91-4FD7-B7D8-B4A24A0FC76D}" srcOrd="0" destOrd="0" presId="urn:microsoft.com/office/officeart/2005/8/layout/hChevron3"/>
    <dgm:cxn modelId="{4E27052C-82D0-4970-A6E8-3EE3816F914F}" srcId="{393F3094-F33B-418B-B4BA-0185C74C77EF}" destId="{E0CAA214-212B-4E5C-9003-BB40B9CDD96F}" srcOrd="2" destOrd="0" parTransId="{2E8EC802-9B74-49DE-9FDA-5461B96744C1}" sibTransId="{B1132511-654C-4A89-AD59-92BF87BA7D5A}"/>
    <dgm:cxn modelId="{79FF2540-B712-4D3F-B79A-4516832E7DAF}" type="presOf" srcId="{E0CAA214-212B-4E5C-9003-BB40B9CDD96F}" destId="{3BD99CB3-F566-485C-B59E-73E943225FB2}" srcOrd="0" destOrd="0" presId="urn:microsoft.com/office/officeart/2005/8/layout/hChevron3"/>
    <dgm:cxn modelId="{B483C617-9D15-478D-A98D-A0EA69EAF39B}" type="presParOf" srcId="{C8A07293-BF91-4FD7-B7D8-B4A24A0FC76D}" destId="{150B72A6-9088-4E13-9448-8BB1BBE22A74}" srcOrd="0" destOrd="0" presId="urn:microsoft.com/office/officeart/2005/8/layout/hChevron3"/>
    <dgm:cxn modelId="{F7FA87C7-017B-4BA9-8C2A-18D8999FF501}" type="presParOf" srcId="{C8A07293-BF91-4FD7-B7D8-B4A24A0FC76D}" destId="{68F0FA96-5CFF-4E18-95B5-4691D4659BD9}" srcOrd="1" destOrd="0" presId="urn:microsoft.com/office/officeart/2005/8/layout/hChevron3"/>
    <dgm:cxn modelId="{9F30C044-79E4-49F6-829B-DDCC58B33F13}" type="presParOf" srcId="{C8A07293-BF91-4FD7-B7D8-B4A24A0FC76D}" destId="{38A58AD1-C4E9-42C3-8ABB-5DF7D4C65610}" srcOrd="2" destOrd="0" presId="urn:microsoft.com/office/officeart/2005/8/layout/hChevron3"/>
    <dgm:cxn modelId="{323AC050-DF4D-4BF5-B165-EE2C56FA77BA}" type="presParOf" srcId="{C8A07293-BF91-4FD7-B7D8-B4A24A0FC76D}" destId="{CFC01599-6F14-4C12-B311-FD83263807FF}" srcOrd="3" destOrd="0" presId="urn:microsoft.com/office/officeart/2005/8/layout/hChevron3"/>
    <dgm:cxn modelId="{34646DD7-D8AE-4AE9-97F7-5D094C03A1F1}" type="presParOf" srcId="{C8A07293-BF91-4FD7-B7D8-B4A24A0FC76D}" destId="{3BD99CB3-F566-485C-B59E-73E943225FB2}" srcOrd="4" destOrd="0" presId="urn:microsoft.com/office/officeart/2005/8/layout/hChevron3"/>
    <dgm:cxn modelId="{CF89E170-0359-4DAE-82D9-06CB3D2B649F}" type="presParOf" srcId="{C8A07293-BF91-4FD7-B7D8-B4A24A0FC76D}" destId="{FB5ED0CC-A1EA-4EB1-8B12-7C2AE6DA9F18}" srcOrd="5" destOrd="0" presId="urn:microsoft.com/office/officeart/2005/8/layout/hChevron3"/>
    <dgm:cxn modelId="{8E0D94DF-17CD-4718-A14C-8CBDCE2D2B83}" type="presParOf" srcId="{C8A07293-BF91-4FD7-B7D8-B4A24A0FC76D}" destId="{7C1EA474-BE89-44A7-9DBE-0468525F5F9C}" srcOrd="6" destOrd="0" presId="urn:microsoft.com/office/officeart/2005/8/layout/hChevron3"/>
    <dgm:cxn modelId="{CAC39745-E70E-4E4A-8CC9-FB8CDD451FF5}" type="presParOf" srcId="{C8A07293-BF91-4FD7-B7D8-B4A24A0FC76D}" destId="{C4332D9C-C0BE-4AA8-96E5-D714D1660696}" srcOrd="7" destOrd="0" presId="urn:microsoft.com/office/officeart/2005/8/layout/hChevron3"/>
    <dgm:cxn modelId="{2A4957F3-B131-4549-AE56-FA7E04E77F7A}" type="presParOf" srcId="{C8A07293-BF91-4FD7-B7D8-B4A24A0FC76D}" destId="{6CA50218-7B3D-4795-8E3C-170D5AAA9F00}" srcOrd="8"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08DF75-2E20-45F2-9434-0A2DEF3623D9}" type="doc">
      <dgm:prSet loTypeId="urn:microsoft.com/office/officeart/2005/8/layout/matrix2" loCatId="matrix" qsTypeId="urn:microsoft.com/office/officeart/2005/8/quickstyle/simple1" qsCatId="simple" csTypeId="urn:microsoft.com/office/officeart/2005/8/colors/accent1_2" csCatId="accent1" phldr="1"/>
      <dgm:spPr/>
      <dgm:t>
        <a:bodyPr/>
        <a:lstStyle/>
        <a:p>
          <a:endParaRPr lang="en-US"/>
        </a:p>
      </dgm:t>
    </dgm:pt>
    <dgm:pt modelId="{853ED87F-AD74-4CCA-B18A-8F849579D9B8}">
      <dgm:prSet phldrT="[Text]" custT="1"/>
      <dgm:spPr>
        <a:solidFill>
          <a:schemeClr val="accent6">
            <a:lumMod val="75000"/>
          </a:schemeClr>
        </a:solidFill>
      </dgm:spPr>
      <dgm:t>
        <a:bodyPr/>
        <a:lstStyle/>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Catch up Jumps</a:t>
          </a:r>
        </a:p>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Zone III</a:t>
          </a:r>
          <a:endParaRPr lang="en-US" sz="1200" b="1" dirty="0">
            <a:latin typeface="Segoe UI" panose="020B0502040204020203" pitchFamily="34" charset="0"/>
            <a:ea typeface="Segoe UI" panose="020B0502040204020203" pitchFamily="34" charset="0"/>
            <a:cs typeface="Segoe UI" panose="020B0502040204020203" pitchFamily="34" charset="0"/>
          </a:endParaRPr>
        </a:p>
      </dgm:t>
    </dgm:pt>
    <dgm:pt modelId="{35236FF2-56F9-4DD2-8138-49D9F04C68B3}" type="parTrans" cxnId="{3A8591D0-2934-4920-8596-CAD4790FAD5F}">
      <dgm:prSet/>
      <dgm:spPr/>
      <dgm:t>
        <a:bodyPr/>
        <a:lstStyle/>
        <a:p>
          <a:endParaRPr lang="en-US"/>
        </a:p>
      </dgm:t>
    </dgm:pt>
    <dgm:pt modelId="{DE7C5E0A-710A-4CA1-8B2B-B2CF93B79E65}" type="sibTrans" cxnId="{3A8591D0-2934-4920-8596-CAD4790FAD5F}">
      <dgm:prSet/>
      <dgm:spPr/>
      <dgm:t>
        <a:bodyPr/>
        <a:lstStyle/>
        <a:p>
          <a:endParaRPr lang="en-US"/>
        </a:p>
      </dgm:t>
    </dgm:pt>
    <dgm:pt modelId="{DE8A803F-84F0-4CF3-8B04-98FA8CAF893A}">
      <dgm:prSet phldrT="[Text]" custT="1"/>
      <dgm:spPr>
        <a:solidFill>
          <a:schemeClr val="accent6">
            <a:lumMod val="75000"/>
          </a:schemeClr>
        </a:solidFill>
      </dgm:spPr>
      <dgm:t>
        <a:bodyPr/>
        <a:lstStyle/>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Strategic Leaps</a:t>
          </a:r>
        </a:p>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Zone IV</a:t>
          </a:r>
          <a:endParaRPr lang="en-US" sz="1200" b="1" dirty="0">
            <a:latin typeface="Segoe UI" panose="020B0502040204020203" pitchFamily="34" charset="0"/>
            <a:ea typeface="Segoe UI" panose="020B0502040204020203" pitchFamily="34" charset="0"/>
            <a:cs typeface="Segoe UI" panose="020B0502040204020203" pitchFamily="34" charset="0"/>
          </a:endParaRPr>
        </a:p>
      </dgm:t>
    </dgm:pt>
    <dgm:pt modelId="{9BF48BC7-AA19-4D38-B428-71F0E2A814A3}" type="parTrans" cxnId="{DFEF6549-866B-4739-A358-D615ECE292AF}">
      <dgm:prSet/>
      <dgm:spPr/>
      <dgm:t>
        <a:bodyPr/>
        <a:lstStyle/>
        <a:p>
          <a:endParaRPr lang="en-US"/>
        </a:p>
      </dgm:t>
    </dgm:pt>
    <dgm:pt modelId="{73CA2AB3-80BB-4984-A42A-DE28FCD66EF4}" type="sibTrans" cxnId="{DFEF6549-866B-4739-A358-D615ECE292AF}">
      <dgm:prSet/>
      <dgm:spPr/>
      <dgm:t>
        <a:bodyPr/>
        <a:lstStyle/>
        <a:p>
          <a:endParaRPr lang="en-US"/>
        </a:p>
      </dgm:t>
    </dgm:pt>
    <dgm:pt modelId="{4A1507F0-4FB1-4946-834F-692DE4E8CE21}">
      <dgm:prSet phldrT="[Text]" custT="1"/>
      <dgm:spPr>
        <a:solidFill>
          <a:schemeClr val="accent6">
            <a:lumMod val="75000"/>
          </a:schemeClr>
        </a:solidFill>
      </dgm:spPr>
      <dgm:t>
        <a:bodyPr/>
        <a:lstStyle/>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Problem Solving</a:t>
          </a:r>
        </a:p>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Zone I</a:t>
          </a:r>
          <a:endParaRPr lang="en-US" sz="1200" b="1" dirty="0">
            <a:latin typeface="Segoe UI" panose="020B0502040204020203" pitchFamily="34" charset="0"/>
            <a:ea typeface="Segoe UI" panose="020B0502040204020203" pitchFamily="34" charset="0"/>
            <a:cs typeface="Segoe UI" panose="020B0502040204020203" pitchFamily="34" charset="0"/>
          </a:endParaRPr>
        </a:p>
      </dgm:t>
    </dgm:pt>
    <dgm:pt modelId="{B0BEAC1F-79E9-4A96-85F5-3766AB2C8982}" type="parTrans" cxnId="{ABA64FCC-AA59-4E4D-9835-4DB4EE237F5F}">
      <dgm:prSet/>
      <dgm:spPr/>
      <dgm:t>
        <a:bodyPr/>
        <a:lstStyle/>
        <a:p>
          <a:endParaRPr lang="en-US"/>
        </a:p>
      </dgm:t>
    </dgm:pt>
    <dgm:pt modelId="{DAF28961-E532-4100-87F3-4C8D010460E9}" type="sibTrans" cxnId="{ABA64FCC-AA59-4E4D-9835-4DB4EE237F5F}">
      <dgm:prSet/>
      <dgm:spPr/>
      <dgm:t>
        <a:bodyPr/>
        <a:lstStyle/>
        <a:p>
          <a:endParaRPr lang="en-US"/>
        </a:p>
      </dgm:t>
    </dgm:pt>
    <dgm:pt modelId="{433B95D9-D3F4-4B29-AF49-16ABC9F84059}">
      <dgm:prSet phldrT="[Text]" custT="1"/>
      <dgm:spPr>
        <a:solidFill>
          <a:schemeClr val="accent6">
            <a:lumMod val="75000"/>
          </a:schemeClr>
        </a:solidFill>
      </dgm:spPr>
      <dgm:t>
        <a:bodyPr/>
        <a:lstStyle/>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Continuous Improvements</a:t>
          </a:r>
        </a:p>
        <a:p>
          <a:pPr algn="ctr"/>
          <a:r>
            <a:rPr lang="en-US" sz="1200" b="1" dirty="0" smtClean="0">
              <a:latin typeface="Segoe UI" panose="020B0502040204020203" pitchFamily="34" charset="0"/>
              <a:ea typeface="Segoe UI" panose="020B0502040204020203" pitchFamily="34" charset="0"/>
              <a:cs typeface="Segoe UI" panose="020B0502040204020203" pitchFamily="34" charset="0"/>
            </a:rPr>
            <a:t>Zone II</a:t>
          </a:r>
          <a:endParaRPr lang="en-US" sz="1200" b="1" dirty="0">
            <a:latin typeface="Segoe UI" panose="020B0502040204020203" pitchFamily="34" charset="0"/>
            <a:ea typeface="Segoe UI" panose="020B0502040204020203" pitchFamily="34" charset="0"/>
            <a:cs typeface="Segoe UI" panose="020B0502040204020203" pitchFamily="34" charset="0"/>
          </a:endParaRPr>
        </a:p>
      </dgm:t>
    </dgm:pt>
    <dgm:pt modelId="{249D2D16-550E-437E-967C-E4FB02EA1A40}" type="parTrans" cxnId="{BD3F93EF-77C5-407E-A614-2517FA2D3F28}">
      <dgm:prSet/>
      <dgm:spPr/>
      <dgm:t>
        <a:bodyPr/>
        <a:lstStyle/>
        <a:p>
          <a:endParaRPr lang="en-US"/>
        </a:p>
      </dgm:t>
    </dgm:pt>
    <dgm:pt modelId="{305DF402-FB42-4B2B-9F1A-9D871C6C0CEB}" type="sibTrans" cxnId="{BD3F93EF-77C5-407E-A614-2517FA2D3F28}">
      <dgm:prSet/>
      <dgm:spPr/>
      <dgm:t>
        <a:bodyPr/>
        <a:lstStyle/>
        <a:p>
          <a:endParaRPr lang="en-US"/>
        </a:p>
      </dgm:t>
    </dgm:pt>
    <dgm:pt modelId="{6C29AF3C-3984-47A7-B43E-D6760F7BDEFD}" type="pres">
      <dgm:prSet presAssocID="{1D08DF75-2E20-45F2-9434-0A2DEF3623D9}" presName="matrix" presStyleCnt="0">
        <dgm:presLayoutVars>
          <dgm:chMax val="1"/>
          <dgm:dir/>
          <dgm:resizeHandles val="exact"/>
        </dgm:presLayoutVars>
      </dgm:prSet>
      <dgm:spPr/>
      <dgm:t>
        <a:bodyPr/>
        <a:lstStyle/>
        <a:p>
          <a:endParaRPr lang="en-US"/>
        </a:p>
      </dgm:t>
    </dgm:pt>
    <dgm:pt modelId="{508E1E7B-1293-48B7-BCAB-137433860DA1}" type="pres">
      <dgm:prSet presAssocID="{1D08DF75-2E20-45F2-9434-0A2DEF3623D9}" presName="axisShape" presStyleLbl="bgShp" presStyleIdx="0" presStyleCnt="1"/>
      <dgm:spPr>
        <a:solidFill>
          <a:schemeClr val="bg2">
            <a:lumMod val="50000"/>
          </a:schemeClr>
        </a:solidFill>
      </dgm:spPr>
      <dgm:t>
        <a:bodyPr/>
        <a:lstStyle/>
        <a:p>
          <a:endParaRPr lang="en-US"/>
        </a:p>
      </dgm:t>
    </dgm:pt>
    <dgm:pt modelId="{973F6D83-7728-48A6-9D9F-8CC42A60C724}" type="pres">
      <dgm:prSet presAssocID="{1D08DF75-2E20-45F2-9434-0A2DEF3623D9}" presName="rect1" presStyleLbl="node1" presStyleIdx="0" presStyleCnt="4">
        <dgm:presLayoutVars>
          <dgm:chMax val="0"/>
          <dgm:chPref val="0"/>
          <dgm:bulletEnabled val="1"/>
        </dgm:presLayoutVars>
      </dgm:prSet>
      <dgm:spPr/>
      <dgm:t>
        <a:bodyPr/>
        <a:lstStyle/>
        <a:p>
          <a:endParaRPr lang="en-US"/>
        </a:p>
      </dgm:t>
    </dgm:pt>
    <dgm:pt modelId="{D7188F46-8201-4D5B-A09A-FFE5089026A8}" type="pres">
      <dgm:prSet presAssocID="{1D08DF75-2E20-45F2-9434-0A2DEF3623D9}" presName="rect2" presStyleLbl="node1" presStyleIdx="1" presStyleCnt="4">
        <dgm:presLayoutVars>
          <dgm:chMax val="0"/>
          <dgm:chPref val="0"/>
          <dgm:bulletEnabled val="1"/>
        </dgm:presLayoutVars>
      </dgm:prSet>
      <dgm:spPr/>
      <dgm:t>
        <a:bodyPr/>
        <a:lstStyle/>
        <a:p>
          <a:endParaRPr lang="en-US"/>
        </a:p>
      </dgm:t>
    </dgm:pt>
    <dgm:pt modelId="{CAC7D4AA-2CC0-43E8-8DBA-D84A4B824281}" type="pres">
      <dgm:prSet presAssocID="{1D08DF75-2E20-45F2-9434-0A2DEF3623D9}" presName="rect3" presStyleLbl="node1" presStyleIdx="2" presStyleCnt="4">
        <dgm:presLayoutVars>
          <dgm:chMax val="0"/>
          <dgm:chPref val="0"/>
          <dgm:bulletEnabled val="1"/>
        </dgm:presLayoutVars>
      </dgm:prSet>
      <dgm:spPr/>
      <dgm:t>
        <a:bodyPr/>
        <a:lstStyle/>
        <a:p>
          <a:endParaRPr lang="en-US"/>
        </a:p>
      </dgm:t>
    </dgm:pt>
    <dgm:pt modelId="{78B17B09-6DC3-48D9-9FCD-47886C74D166}" type="pres">
      <dgm:prSet presAssocID="{1D08DF75-2E20-45F2-9434-0A2DEF3623D9}" presName="rect4" presStyleLbl="node1" presStyleIdx="3" presStyleCnt="4">
        <dgm:presLayoutVars>
          <dgm:chMax val="0"/>
          <dgm:chPref val="0"/>
          <dgm:bulletEnabled val="1"/>
        </dgm:presLayoutVars>
      </dgm:prSet>
      <dgm:spPr/>
      <dgm:t>
        <a:bodyPr/>
        <a:lstStyle/>
        <a:p>
          <a:endParaRPr lang="en-US"/>
        </a:p>
      </dgm:t>
    </dgm:pt>
  </dgm:ptLst>
  <dgm:cxnLst>
    <dgm:cxn modelId="{A0A0CA54-7854-47DE-92BA-0F037EA78CE8}" type="presOf" srcId="{DE8A803F-84F0-4CF3-8B04-98FA8CAF893A}" destId="{D7188F46-8201-4D5B-A09A-FFE5089026A8}" srcOrd="0" destOrd="0" presId="urn:microsoft.com/office/officeart/2005/8/layout/matrix2"/>
    <dgm:cxn modelId="{70CA0E64-B4E4-40B3-867A-D715919A1B2D}" type="presOf" srcId="{433B95D9-D3F4-4B29-AF49-16ABC9F84059}" destId="{78B17B09-6DC3-48D9-9FCD-47886C74D166}" srcOrd="0" destOrd="0" presId="urn:microsoft.com/office/officeart/2005/8/layout/matrix2"/>
    <dgm:cxn modelId="{CECED304-3F54-4B8E-A28D-E0301F09FD66}" type="presOf" srcId="{853ED87F-AD74-4CCA-B18A-8F849579D9B8}" destId="{973F6D83-7728-48A6-9D9F-8CC42A60C724}" srcOrd="0" destOrd="0" presId="urn:microsoft.com/office/officeart/2005/8/layout/matrix2"/>
    <dgm:cxn modelId="{ABA64FCC-AA59-4E4D-9835-4DB4EE237F5F}" srcId="{1D08DF75-2E20-45F2-9434-0A2DEF3623D9}" destId="{4A1507F0-4FB1-4946-834F-692DE4E8CE21}" srcOrd="2" destOrd="0" parTransId="{B0BEAC1F-79E9-4A96-85F5-3766AB2C8982}" sibTransId="{DAF28961-E532-4100-87F3-4C8D010460E9}"/>
    <dgm:cxn modelId="{D6DC37A5-89C9-4932-AEFA-EA1F607C84D5}" type="presOf" srcId="{4A1507F0-4FB1-4946-834F-692DE4E8CE21}" destId="{CAC7D4AA-2CC0-43E8-8DBA-D84A4B824281}" srcOrd="0" destOrd="0" presId="urn:microsoft.com/office/officeart/2005/8/layout/matrix2"/>
    <dgm:cxn modelId="{BD3F93EF-77C5-407E-A614-2517FA2D3F28}" srcId="{1D08DF75-2E20-45F2-9434-0A2DEF3623D9}" destId="{433B95D9-D3F4-4B29-AF49-16ABC9F84059}" srcOrd="3" destOrd="0" parTransId="{249D2D16-550E-437E-967C-E4FB02EA1A40}" sibTransId="{305DF402-FB42-4B2B-9F1A-9D871C6C0CEB}"/>
    <dgm:cxn modelId="{32C1DE77-2DCF-41F7-B2CA-25D79C6FE078}" type="presOf" srcId="{1D08DF75-2E20-45F2-9434-0A2DEF3623D9}" destId="{6C29AF3C-3984-47A7-B43E-D6760F7BDEFD}" srcOrd="0" destOrd="0" presId="urn:microsoft.com/office/officeart/2005/8/layout/matrix2"/>
    <dgm:cxn modelId="{3A8591D0-2934-4920-8596-CAD4790FAD5F}" srcId="{1D08DF75-2E20-45F2-9434-0A2DEF3623D9}" destId="{853ED87F-AD74-4CCA-B18A-8F849579D9B8}" srcOrd="0" destOrd="0" parTransId="{35236FF2-56F9-4DD2-8138-49D9F04C68B3}" sibTransId="{DE7C5E0A-710A-4CA1-8B2B-B2CF93B79E65}"/>
    <dgm:cxn modelId="{DFEF6549-866B-4739-A358-D615ECE292AF}" srcId="{1D08DF75-2E20-45F2-9434-0A2DEF3623D9}" destId="{DE8A803F-84F0-4CF3-8B04-98FA8CAF893A}" srcOrd="1" destOrd="0" parTransId="{9BF48BC7-AA19-4D38-B428-71F0E2A814A3}" sibTransId="{73CA2AB3-80BB-4984-A42A-DE28FCD66EF4}"/>
    <dgm:cxn modelId="{CC1E5E60-866E-43F7-924F-711F2B572CE6}" type="presParOf" srcId="{6C29AF3C-3984-47A7-B43E-D6760F7BDEFD}" destId="{508E1E7B-1293-48B7-BCAB-137433860DA1}" srcOrd="0" destOrd="0" presId="urn:microsoft.com/office/officeart/2005/8/layout/matrix2"/>
    <dgm:cxn modelId="{2A3EFBD2-9ABD-4160-962F-B9943046AFB1}" type="presParOf" srcId="{6C29AF3C-3984-47A7-B43E-D6760F7BDEFD}" destId="{973F6D83-7728-48A6-9D9F-8CC42A60C724}" srcOrd="1" destOrd="0" presId="urn:microsoft.com/office/officeart/2005/8/layout/matrix2"/>
    <dgm:cxn modelId="{09514CF3-086B-468F-8909-9DC7941CE933}" type="presParOf" srcId="{6C29AF3C-3984-47A7-B43E-D6760F7BDEFD}" destId="{D7188F46-8201-4D5B-A09A-FFE5089026A8}" srcOrd="2" destOrd="0" presId="urn:microsoft.com/office/officeart/2005/8/layout/matrix2"/>
    <dgm:cxn modelId="{21F204F2-7BCA-4150-87C0-D382B16CE70F}" type="presParOf" srcId="{6C29AF3C-3984-47A7-B43E-D6760F7BDEFD}" destId="{CAC7D4AA-2CC0-43E8-8DBA-D84A4B824281}" srcOrd="3" destOrd="0" presId="urn:microsoft.com/office/officeart/2005/8/layout/matrix2"/>
    <dgm:cxn modelId="{34787302-B4B2-42DD-BCB4-22EC228DEC0D}" type="presParOf" srcId="{6C29AF3C-3984-47A7-B43E-D6760F7BDEFD}" destId="{78B17B09-6DC3-48D9-9FCD-47886C74D166}"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93F3094-F33B-418B-B4BA-0185C74C77EF}" type="doc">
      <dgm:prSet loTypeId="urn:microsoft.com/office/officeart/2005/8/layout/hChevron3" loCatId="process" qsTypeId="urn:microsoft.com/office/officeart/2005/8/quickstyle/simple1" qsCatId="simple" csTypeId="urn:microsoft.com/office/officeart/2005/8/colors/accent1_2" csCatId="accent1" phldr="1"/>
      <dgm:spPr/>
    </dgm:pt>
    <dgm:pt modelId="{D20F71D0-B348-4922-9FD9-96720CF9DC0A}">
      <dgm:prSet phldrT="[Text]" custT="1"/>
      <dgm:spPr/>
      <dgm:t>
        <a:bodyPr/>
        <a:lstStyle/>
        <a:p>
          <a:r>
            <a:rPr lang="en-US" sz="1100" b="1" dirty="0" smtClean="0">
              <a:latin typeface="Calibiri"/>
            </a:rPr>
            <a:t>Eliminate</a:t>
          </a:r>
          <a:endParaRPr lang="en-US" sz="1100" b="1" dirty="0">
            <a:latin typeface="Calibiri"/>
          </a:endParaRPr>
        </a:p>
      </dgm:t>
    </dgm:pt>
    <dgm:pt modelId="{96D1F3B4-01F3-4D0D-A50B-42AF0663AA73}" type="parTrans" cxnId="{2A8CC805-04D6-4D0C-BE62-55D9DC4E3CD3}">
      <dgm:prSet/>
      <dgm:spPr/>
      <dgm:t>
        <a:bodyPr/>
        <a:lstStyle/>
        <a:p>
          <a:endParaRPr lang="en-US" sz="1200"/>
        </a:p>
      </dgm:t>
    </dgm:pt>
    <dgm:pt modelId="{165C9CB5-7B31-46EE-8F41-72C92E2D1C7B}" type="sibTrans" cxnId="{2A8CC805-04D6-4D0C-BE62-55D9DC4E3CD3}">
      <dgm:prSet/>
      <dgm:spPr/>
      <dgm:t>
        <a:bodyPr/>
        <a:lstStyle/>
        <a:p>
          <a:endParaRPr lang="en-US" sz="1200"/>
        </a:p>
      </dgm:t>
    </dgm:pt>
    <dgm:pt modelId="{E0CAA214-212B-4E5C-9003-BB40B9CDD96F}">
      <dgm:prSet phldrT="[Text]" custT="1"/>
      <dgm:spPr/>
      <dgm:t>
        <a:bodyPr/>
        <a:lstStyle/>
        <a:p>
          <a:r>
            <a:rPr lang="en-US" sz="1100" b="1" dirty="0" smtClean="0">
              <a:latin typeface="Calibiri"/>
            </a:rPr>
            <a:t>Industrialize</a:t>
          </a:r>
          <a:endParaRPr lang="en-US" sz="1100" b="1" dirty="0">
            <a:latin typeface="Calibiri"/>
          </a:endParaRPr>
        </a:p>
      </dgm:t>
    </dgm:pt>
    <dgm:pt modelId="{2E8EC802-9B74-49DE-9FDA-5461B96744C1}" type="parTrans" cxnId="{4E27052C-82D0-4970-A6E8-3EE3816F914F}">
      <dgm:prSet/>
      <dgm:spPr/>
      <dgm:t>
        <a:bodyPr/>
        <a:lstStyle/>
        <a:p>
          <a:endParaRPr lang="en-US" sz="1200"/>
        </a:p>
      </dgm:t>
    </dgm:pt>
    <dgm:pt modelId="{B1132511-654C-4A89-AD59-92BF87BA7D5A}" type="sibTrans" cxnId="{4E27052C-82D0-4970-A6E8-3EE3816F914F}">
      <dgm:prSet/>
      <dgm:spPr/>
      <dgm:t>
        <a:bodyPr/>
        <a:lstStyle/>
        <a:p>
          <a:endParaRPr lang="en-US" sz="1200"/>
        </a:p>
      </dgm:t>
    </dgm:pt>
    <dgm:pt modelId="{8118F059-BDD0-4DAA-82A4-AC392063DE8C}">
      <dgm:prSet phldrT="[Text]" custT="1"/>
      <dgm:spPr/>
      <dgm:t>
        <a:bodyPr/>
        <a:lstStyle/>
        <a:p>
          <a:r>
            <a:rPr lang="en-US" sz="1100" b="1" dirty="0" smtClean="0">
              <a:latin typeface="Calibiri"/>
            </a:rPr>
            <a:t>Standardize</a:t>
          </a:r>
          <a:endParaRPr lang="en-US" sz="1100" b="1" dirty="0">
            <a:latin typeface="Calibiri"/>
          </a:endParaRPr>
        </a:p>
      </dgm:t>
    </dgm:pt>
    <dgm:pt modelId="{F7F1F845-0C91-44CA-937A-A0B111AF10EB}" type="parTrans" cxnId="{D50C52ED-811D-4DF8-80C2-E29D4F70654B}">
      <dgm:prSet/>
      <dgm:spPr/>
      <dgm:t>
        <a:bodyPr/>
        <a:lstStyle/>
        <a:p>
          <a:endParaRPr lang="en-US"/>
        </a:p>
      </dgm:t>
    </dgm:pt>
    <dgm:pt modelId="{667827C0-59A9-46D7-8830-A6BC2F41F99E}" type="sibTrans" cxnId="{D50C52ED-811D-4DF8-80C2-E29D4F70654B}">
      <dgm:prSet/>
      <dgm:spPr/>
      <dgm:t>
        <a:bodyPr/>
        <a:lstStyle/>
        <a:p>
          <a:endParaRPr lang="en-US"/>
        </a:p>
      </dgm:t>
    </dgm:pt>
    <dgm:pt modelId="{FA00668C-9337-4B33-BD3F-0F9567B0F3BB}">
      <dgm:prSet phldrT="[Text]" custT="1"/>
      <dgm:spPr/>
      <dgm:t>
        <a:bodyPr/>
        <a:lstStyle/>
        <a:p>
          <a:r>
            <a:rPr lang="en-US" sz="1100" b="1" dirty="0" smtClean="0">
              <a:latin typeface="Calibiri"/>
            </a:rPr>
            <a:t>Synergize</a:t>
          </a:r>
          <a:endParaRPr lang="en-US" sz="1100" b="1" dirty="0">
            <a:latin typeface="Calibiri"/>
          </a:endParaRPr>
        </a:p>
      </dgm:t>
    </dgm:pt>
    <dgm:pt modelId="{63544591-8294-4D7C-B517-89831CE791A4}" type="parTrans" cxnId="{E0FF3980-64EF-4469-8D9C-B289DF2FA6B7}">
      <dgm:prSet/>
      <dgm:spPr/>
      <dgm:t>
        <a:bodyPr/>
        <a:lstStyle/>
        <a:p>
          <a:endParaRPr lang="en-US"/>
        </a:p>
      </dgm:t>
    </dgm:pt>
    <dgm:pt modelId="{7701308F-FEB1-4170-8ECC-5DAD1305259F}" type="sibTrans" cxnId="{E0FF3980-64EF-4469-8D9C-B289DF2FA6B7}">
      <dgm:prSet/>
      <dgm:spPr/>
      <dgm:t>
        <a:bodyPr/>
        <a:lstStyle/>
        <a:p>
          <a:endParaRPr lang="en-US"/>
        </a:p>
      </dgm:t>
    </dgm:pt>
    <dgm:pt modelId="{B75EE70A-012A-46B9-9E33-C5083D9A855E}">
      <dgm:prSet phldrT="[Text]" custT="1"/>
      <dgm:spPr/>
      <dgm:t>
        <a:bodyPr/>
        <a:lstStyle/>
        <a:p>
          <a:r>
            <a:rPr lang="en-US" sz="1100" b="1" dirty="0" smtClean="0">
              <a:latin typeface="Calibiri"/>
            </a:rPr>
            <a:t>Automate</a:t>
          </a:r>
          <a:endParaRPr lang="en-US" sz="1100" b="1" dirty="0">
            <a:latin typeface="Calibiri"/>
          </a:endParaRPr>
        </a:p>
      </dgm:t>
    </dgm:pt>
    <dgm:pt modelId="{A92EAFFF-90BB-49DF-874A-9ABDD34BECB3}" type="parTrans" cxnId="{E5D8F68D-DC5F-464E-B0F9-174090C411BD}">
      <dgm:prSet/>
      <dgm:spPr/>
      <dgm:t>
        <a:bodyPr/>
        <a:lstStyle/>
        <a:p>
          <a:endParaRPr lang="en-US"/>
        </a:p>
      </dgm:t>
    </dgm:pt>
    <dgm:pt modelId="{38145119-DBD7-47FF-994D-DD033E7DFFB4}" type="sibTrans" cxnId="{E5D8F68D-DC5F-464E-B0F9-174090C411BD}">
      <dgm:prSet/>
      <dgm:spPr/>
      <dgm:t>
        <a:bodyPr/>
        <a:lstStyle/>
        <a:p>
          <a:endParaRPr lang="en-US"/>
        </a:p>
      </dgm:t>
    </dgm:pt>
    <dgm:pt modelId="{C8A07293-BF91-4FD7-B7D8-B4A24A0FC76D}" type="pres">
      <dgm:prSet presAssocID="{393F3094-F33B-418B-B4BA-0185C74C77EF}" presName="Name0" presStyleCnt="0">
        <dgm:presLayoutVars>
          <dgm:dir/>
          <dgm:resizeHandles val="exact"/>
        </dgm:presLayoutVars>
      </dgm:prSet>
      <dgm:spPr/>
    </dgm:pt>
    <dgm:pt modelId="{150B72A6-9088-4E13-9448-8BB1BBE22A74}" type="pres">
      <dgm:prSet presAssocID="{D20F71D0-B348-4922-9FD9-96720CF9DC0A}" presName="parTxOnly" presStyleLbl="node1" presStyleIdx="0" presStyleCnt="5">
        <dgm:presLayoutVars>
          <dgm:bulletEnabled val="1"/>
        </dgm:presLayoutVars>
      </dgm:prSet>
      <dgm:spPr/>
      <dgm:t>
        <a:bodyPr/>
        <a:lstStyle/>
        <a:p>
          <a:endParaRPr lang="en-US"/>
        </a:p>
      </dgm:t>
    </dgm:pt>
    <dgm:pt modelId="{68F0FA96-5CFF-4E18-95B5-4691D4659BD9}" type="pres">
      <dgm:prSet presAssocID="{165C9CB5-7B31-46EE-8F41-72C92E2D1C7B}" presName="parSpace" presStyleCnt="0"/>
      <dgm:spPr/>
    </dgm:pt>
    <dgm:pt modelId="{38A58AD1-C4E9-42C3-8ABB-5DF7D4C65610}" type="pres">
      <dgm:prSet presAssocID="{B75EE70A-012A-46B9-9E33-C5083D9A855E}" presName="parTxOnly" presStyleLbl="node1" presStyleIdx="1" presStyleCnt="5">
        <dgm:presLayoutVars>
          <dgm:bulletEnabled val="1"/>
        </dgm:presLayoutVars>
      </dgm:prSet>
      <dgm:spPr/>
      <dgm:t>
        <a:bodyPr/>
        <a:lstStyle/>
        <a:p>
          <a:endParaRPr lang="en-US"/>
        </a:p>
      </dgm:t>
    </dgm:pt>
    <dgm:pt modelId="{CFC01599-6F14-4C12-B311-FD83263807FF}" type="pres">
      <dgm:prSet presAssocID="{38145119-DBD7-47FF-994D-DD033E7DFFB4}" presName="parSpace" presStyleCnt="0"/>
      <dgm:spPr/>
    </dgm:pt>
    <dgm:pt modelId="{3BD99CB3-F566-485C-B59E-73E943225FB2}" type="pres">
      <dgm:prSet presAssocID="{E0CAA214-212B-4E5C-9003-BB40B9CDD96F}" presName="parTxOnly" presStyleLbl="node1" presStyleIdx="2" presStyleCnt="5">
        <dgm:presLayoutVars>
          <dgm:bulletEnabled val="1"/>
        </dgm:presLayoutVars>
      </dgm:prSet>
      <dgm:spPr/>
      <dgm:t>
        <a:bodyPr/>
        <a:lstStyle/>
        <a:p>
          <a:endParaRPr lang="en-US"/>
        </a:p>
      </dgm:t>
    </dgm:pt>
    <dgm:pt modelId="{FB5ED0CC-A1EA-4EB1-8B12-7C2AE6DA9F18}" type="pres">
      <dgm:prSet presAssocID="{B1132511-654C-4A89-AD59-92BF87BA7D5A}" presName="parSpace" presStyleCnt="0"/>
      <dgm:spPr/>
    </dgm:pt>
    <dgm:pt modelId="{7C1EA474-BE89-44A7-9DBE-0468525F5F9C}" type="pres">
      <dgm:prSet presAssocID="{8118F059-BDD0-4DAA-82A4-AC392063DE8C}" presName="parTxOnly" presStyleLbl="node1" presStyleIdx="3" presStyleCnt="5">
        <dgm:presLayoutVars>
          <dgm:bulletEnabled val="1"/>
        </dgm:presLayoutVars>
      </dgm:prSet>
      <dgm:spPr/>
      <dgm:t>
        <a:bodyPr/>
        <a:lstStyle/>
        <a:p>
          <a:endParaRPr lang="en-US"/>
        </a:p>
      </dgm:t>
    </dgm:pt>
    <dgm:pt modelId="{C4332D9C-C0BE-4AA8-96E5-D714D1660696}" type="pres">
      <dgm:prSet presAssocID="{667827C0-59A9-46D7-8830-A6BC2F41F99E}" presName="parSpace" presStyleCnt="0"/>
      <dgm:spPr/>
    </dgm:pt>
    <dgm:pt modelId="{6CA50218-7B3D-4795-8E3C-170D5AAA9F00}" type="pres">
      <dgm:prSet presAssocID="{FA00668C-9337-4B33-BD3F-0F9567B0F3BB}" presName="parTxOnly" presStyleLbl="node1" presStyleIdx="4" presStyleCnt="5" custLinFactY="5683" custLinFactNeighborX="8922" custLinFactNeighborY="100000">
        <dgm:presLayoutVars>
          <dgm:bulletEnabled val="1"/>
        </dgm:presLayoutVars>
      </dgm:prSet>
      <dgm:spPr/>
      <dgm:t>
        <a:bodyPr/>
        <a:lstStyle/>
        <a:p>
          <a:endParaRPr lang="en-US"/>
        </a:p>
      </dgm:t>
    </dgm:pt>
  </dgm:ptLst>
  <dgm:cxnLst>
    <dgm:cxn modelId="{2A8CC805-04D6-4D0C-BE62-55D9DC4E3CD3}" srcId="{393F3094-F33B-418B-B4BA-0185C74C77EF}" destId="{D20F71D0-B348-4922-9FD9-96720CF9DC0A}" srcOrd="0" destOrd="0" parTransId="{96D1F3B4-01F3-4D0D-A50B-42AF0663AA73}" sibTransId="{165C9CB5-7B31-46EE-8F41-72C92E2D1C7B}"/>
    <dgm:cxn modelId="{D50C52ED-811D-4DF8-80C2-E29D4F70654B}" srcId="{393F3094-F33B-418B-B4BA-0185C74C77EF}" destId="{8118F059-BDD0-4DAA-82A4-AC392063DE8C}" srcOrd="3" destOrd="0" parTransId="{F7F1F845-0C91-44CA-937A-A0B111AF10EB}" sibTransId="{667827C0-59A9-46D7-8830-A6BC2F41F99E}"/>
    <dgm:cxn modelId="{83DCF5C1-81B6-4445-AA77-DDD7DC44D0C0}" type="presOf" srcId="{D20F71D0-B348-4922-9FD9-96720CF9DC0A}" destId="{150B72A6-9088-4E13-9448-8BB1BBE22A74}" srcOrd="0" destOrd="0" presId="urn:microsoft.com/office/officeart/2005/8/layout/hChevron3"/>
    <dgm:cxn modelId="{E5D8F68D-DC5F-464E-B0F9-174090C411BD}" srcId="{393F3094-F33B-418B-B4BA-0185C74C77EF}" destId="{B75EE70A-012A-46B9-9E33-C5083D9A855E}" srcOrd="1" destOrd="0" parTransId="{A92EAFFF-90BB-49DF-874A-9ABDD34BECB3}" sibTransId="{38145119-DBD7-47FF-994D-DD033E7DFFB4}"/>
    <dgm:cxn modelId="{E0FF3980-64EF-4469-8D9C-B289DF2FA6B7}" srcId="{393F3094-F33B-418B-B4BA-0185C74C77EF}" destId="{FA00668C-9337-4B33-BD3F-0F9567B0F3BB}" srcOrd="4" destOrd="0" parTransId="{63544591-8294-4D7C-B517-89831CE791A4}" sibTransId="{7701308F-FEB1-4170-8ECC-5DAD1305259F}"/>
    <dgm:cxn modelId="{ECA267D9-484B-4317-B31D-761D7AFF0B72}" type="presOf" srcId="{B75EE70A-012A-46B9-9E33-C5083D9A855E}" destId="{38A58AD1-C4E9-42C3-8ABB-5DF7D4C65610}" srcOrd="0" destOrd="0" presId="urn:microsoft.com/office/officeart/2005/8/layout/hChevron3"/>
    <dgm:cxn modelId="{C294A59B-55CC-4219-B467-C64B54CC02D5}" type="presOf" srcId="{FA00668C-9337-4B33-BD3F-0F9567B0F3BB}" destId="{6CA50218-7B3D-4795-8E3C-170D5AAA9F00}" srcOrd="0" destOrd="0" presId="urn:microsoft.com/office/officeart/2005/8/layout/hChevron3"/>
    <dgm:cxn modelId="{97601B05-8E03-4F01-8945-A41F9E1B9E75}" type="presOf" srcId="{8118F059-BDD0-4DAA-82A4-AC392063DE8C}" destId="{7C1EA474-BE89-44A7-9DBE-0468525F5F9C}" srcOrd="0" destOrd="0" presId="urn:microsoft.com/office/officeart/2005/8/layout/hChevron3"/>
    <dgm:cxn modelId="{D0101A5F-7D06-456C-B86D-8CB21E9C4AE5}" type="presOf" srcId="{393F3094-F33B-418B-B4BA-0185C74C77EF}" destId="{C8A07293-BF91-4FD7-B7D8-B4A24A0FC76D}" srcOrd="0" destOrd="0" presId="urn:microsoft.com/office/officeart/2005/8/layout/hChevron3"/>
    <dgm:cxn modelId="{4E27052C-82D0-4970-A6E8-3EE3816F914F}" srcId="{393F3094-F33B-418B-B4BA-0185C74C77EF}" destId="{E0CAA214-212B-4E5C-9003-BB40B9CDD96F}" srcOrd="2" destOrd="0" parTransId="{2E8EC802-9B74-49DE-9FDA-5461B96744C1}" sibTransId="{B1132511-654C-4A89-AD59-92BF87BA7D5A}"/>
    <dgm:cxn modelId="{79FF2540-B712-4D3F-B79A-4516832E7DAF}" type="presOf" srcId="{E0CAA214-212B-4E5C-9003-BB40B9CDD96F}" destId="{3BD99CB3-F566-485C-B59E-73E943225FB2}" srcOrd="0" destOrd="0" presId="urn:microsoft.com/office/officeart/2005/8/layout/hChevron3"/>
    <dgm:cxn modelId="{B483C617-9D15-478D-A98D-A0EA69EAF39B}" type="presParOf" srcId="{C8A07293-BF91-4FD7-B7D8-B4A24A0FC76D}" destId="{150B72A6-9088-4E13-9448-8BB1BBE22A74}" srcOrd="0" destOrd="0" presId="urn:microsoft.com/office/officeart/2005/8/layout/hChevron3"/>
    <dgm:cxn modelId="{F7FA87C7-017B-4BA9-8C2A-18D8999FF501}" type="presParOf" srcId="{C8A07293-BF91-4FD7-B7D8-B4A24A0FC76D}" destId="{68F0FA96-5CFF-4E18-95B5-4691D4659BD9}" srcOrd="1" destOrd="0" presId="urn:microsoft.com/office/officeart/2005/8/layout/hChevron3"/>
    <dgm:cxn modelId="{9F30C044-79E4-49F6-829B-DDCC58B33F13}" type="presParOf" srcId="{C8A07293-BF91-4FD7-B7D8-B4A24A0FC76D}" destId="{38A58AD1-C4E9-42C3-8ABB-5DF7D4C65610}" srcOrd="2" destOrd="0" presId="urn:microsoft.com/office/officeart/2005/8/layout/hChevron3"/>
    <dgm:cxn modelId="{323AC050-DF4D-4BF5-B165-EE2C56FA77BA}" type="presParOf" srcId="{C8A07293-BF91-4FD7-B7D8-B4A24A0FC76D}" destId="{CFC01599-6F14-4C12-B311-FD83263807FF}" srcOrd="3" destOrd="0" presId="urn:microsoft.com/office/officeart/2005/8/layout/hChevron3"/>
    <dgm:cxn modelId="{34646DD7-D8AE-4AE9-97F7-5D094C03A1F1}" type="presParOf" srcId="{C8A07293-BF91-4FD7-B7D8-B4A24A0FC76D}" destId="{3BD99CB3-F566-485C-B59E-73E943225FB2}" srcOrd="4" destOrd="0" presId="urn:microsoft.com/office/officeart/2005/8/layout/hChevron3"/>
    <dgm:cxn modelId="{CF89E170-0359-4DAE-82D9-06CB3D2B649F}" type="presParOf" srcId="{C8A07293-BF91-4FD7-B7D8-B4A24A0FC76D}" destId="{FB5ED0CC-A1EA-4EB1-8B12-7C2AE6DA9F18}" srcOrd="5" destOrd="0" presId="urn:microsoft.com/office/officeart/2005/8/layout/hChevron3"/>
    <dgm:cxn modelId="{8E0D94DF-17CD-4718-A14C-8CBDCE2D2B83}" type="presParOf" srcId="{C8A07293-BF91-4FD7-B7D8-B4A24A0FC76D}" destId="{7C1EA474-BE89-44A7-9DBE-0468525F5F9C}" srcOrd="6" destOrd="0" presId="urn:microsoft.com/office/officeart/2005/8/layout/hChevron3"/>
    <dgm:cxn modelId="{CAC39745-E70E-4E4A-8CC9-FB8CDD451FF5}" type="presParOf" srcId="{C8A07293-BF91-4FD7-B7D8-B4A24A0FC76D}" destId="{C4332D9C-C0BE-4AA8-96E5-D714D1660696}" srcOrd="7" destOrd="0" presId="urn:microsoft.com/office/officeart/2005/8/layout/hChevron3"/>
    <dgm:cxn modelId="{2A4957F3-B131-4549-AE56-FA7E04E77F7A}" type="presParOf" srcId="{C8A07293-BF91-4FD7-B7D8-B4A24A0FC76D}" destId="{6CA50218-7B3D-4795-8E3C-170D5AAA9F00}"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93F3094-F33B-418B-B4BA-0185C74C77EF}" type="doc">
      <dgm:prSet loTypeId="urn:microsoft.com/office/officeart/2005/8/layout/hChevron3" loCatId="process" qsTypeId="urn:microsoft.com/office/officeart/2005/8/quickstyle/simple1" qsCatId="simple" csTypeId="urn:microsoft.com/office/officeart/2005/8/colors/accent1_2" csCatId="accent1" phldr="1"/>
      <dgm:spPr/>
    </dgm:pt>
    <dgm:pt modelId="{D20F71D0-B348-4922-9FD9-96720CF9DC0A}">
      <dgm:prSet phldrT="[Text]" custT="1"/>
      <dgm:spPr/>
      <dgm:t>
        <a:bodyPr/>
        <a:lstStyle/>
        <a:p>
          <a:r>
            <a:rPr lang="en-US" sz="1100" b="1" dirty="0" smtClean="0">
              <a:latin typeface="Calibiri"/>
            </a:rPr>
            <a:t>Eliminate</a:t>
          </a:r>
          <a:endParaRPr lang="en-US" sz="1100" b="1" dirty="0">
            <a:latin typeface="Calibiri"/>
          </a:endParaRPr>
        </a:p>
      </dgm:t>
    </dgm:pt>
    <dgm:pt modelId="{96D1F3B4-01F3-4D0D-A50B-42AF0663AA73}" type="parTrans" cxnId="{2A8CC805-04D6-4D0C-BE62-55D9DC4E3CD3}">
      <dgm:prSet/>
      <dgm:spPr/>
      <dgm:t>
        <a:bodyPr/>
        <a:lstStyle/>
        <a:p>
          <a:endParaRPr lang="en-US" sz="1200"/>
        </a:p>
      </dgm:t>
    </dgm:pt>
    <dgm:pt modelId="{165C9CB5-7B31-46EE-8F41-72C92E2D1C7B}" type="sibTrans" cxnId="{2A8CC805-04D6-4D0C-BE62-55D9DC4E3CD3}">
      <dgm:prSet/>
      <dgm:spPr/>
      <dgm:t>
        <a:bodyPr/>
        <a:lstStyle/>
        <a:p>
          <a:endParaRPr lang="en-US" sz="1200"/>
        </a:p>
      </dgm:t>
    </dgm:pt>
    <dgm:pt modelId="{E0CAA214-212B-4E5C-9003-BB40B9CDD96F}">
      <dgm:prSet phldrT="[Text]" custT="1"/>
      <dgm:spPr/>
      <dgm:t>
        <a:bodyPr/>
        <a:lstStyle/>
        <a:p>
          <a:r>
            <a:rPr lang="en-US" sz="1100" b="1" dirty="0" smtClean="0">
              <a:latin typeface="Calibiri"/>
            </a:rPr>
            <a:t>Industrialize</a:t>
          </a:r>
          <a:endParaRPr lang="en-US" sz="1100" b="1" dirty="0">
            <a:latin typeface="Calibiri"/>
          </a:endParaRPr>
        </a:p>
      </dgm:t>
    </dgm:pt>
    <dgm:pt modelId="{2E8EC802-9B74-49DE-9FDA-5461B96744C1}" type="parTrans" cxnId="{4E27052C-82D0-4970-A6E8-3EE3816F914F}">
      <dgm:prSet/>
      <dgm:spPr/>
      <dgm:t>
        <a:bodyPr/>
        <a:lstStyle/>
        <a:p>
          <a:endParaRPr lang="en-US" sz="1200"/>
        </a:p>
      </dgm:t>
    </dgm:pt>
    <dgm:pt modelId="{B1132511-654C-4A89-AD59-92BF87BA7D5A}" type="sibTrans" cxnId="{4E27052C-82D0-4970-A6E8-3EE3816F914F}">
      <dgm:prSet/>
      <dgm:spPr/>
      <dgm:t>
        <a:bodyPr/>
        <a:lstStyle/>
        <a:p>
          <a:endParaRPr lang="en-US" sz="1200"/>
        </a:p>
      </dgm:t>
    </dgm:pt>
    <dgm:pt modelId="{8118F059-BDD0-4DAA-82A4-AC392063DE8C}">
      <dgm:prSet phldrT="[Text]" custT="1"/>
      <dgm:spPr/>
      <dgm:t>
        <a:bodyPr/>
        <a:lstStyle/>
        <a:p>
          <a:r>
            <a:rPr lang="en-US" sz="1100" b="1" dirty="0" smtClean="0">
              <a:latin typeface="Calibiri"/>
            </a:rPr>
            <a:t>Standardize</a:t>
          </a:r>
          <a:endParaRPr lang="en-US" sz="1100" b="1" dirty="0">
            <a:latin typeface="Calibiri"/>
          </a:endParaRPr>
        </a:p>
      </dgm:t>
    </dgm:pt>
    <dgm:pt modelId="{F7F1F845-0C91-44CA-937A-A0B111AF10EB}" type="parTrans" cxnId="{D50C52ED-811D-4DF8-80C2-E29D4F70654B}">
      <dgm:prSet/>
      <dgm:spPr/>
      <dgm:t>
        <a:bodyPr/>
        <a:lstStyle/>
        <a:p>
          <a:endParaRPr lang="en-US"/>
        </a:p>
      </dgm:t>
    </dgm:pt>
    <dgm:pt modelId="{667827C0-59A9-46D7-8830-A6BC2F41F99E}" type="sibTrans" cxnId="{D50C52ED-811D-4DF8-80C2-E29D4F70654B}">
      <dgm:prSet/>
      <dgm:spPr/>
      <dgm:t>
        <a:bodyPr/>
        <a:lstStyle/>
        <a:p>
          <a:endParaRPr lang="en-US"/>
        </a:p>
      </dgm:t>
    </dgm:pt>
    <dgm:pt modelId="{FA00668C-9337-4B33-BD3F-0F9567B0F3BB}">
      <dgm:prSet phldrT="[Text]" custT="1"/>
      <dgm:spPr/>
      <dgm:t>
        <a:bodyPr/>
        <a:lstStyle/>
        <a:p>
          <a:r>
            <a:rPr lang="en-US" sz="1100" b="1" dirty="0" smtClean="0">
              <a:latin typeface="Calibiri"/>
            </a:rPr>
            <a:t>Synergize</a:t>
          </a:r>
          <a:endParaRPr lang="en-US" sz="1100" b="1" dirty="0">
            <a:latin typeface="Calibiri"/>
          </a:endParaRPr>
        </a:p>
      </dgm:t>
    </dgm:pt>
    <dgm:pt modelId="{63544591-8294-4D7C-B517-89831CE791A4}" type="parTrans" cxnId="{E0FF3980-64EF-4469-8D9C-B289DF2FA6B7}">
      <dgm:prSet/>
      <dgm:spPr/>
      <dgm:t>
        <a:bodyPr/>
        <a:lstStyle/>
        <a:p>
          <a:endParaRPr lang="en-US"/>
        </a:p>
      </dgm:t>
    </dgm:pt>
    <dgm:pt modelId="{7701308F-FEB1-4170-8ECC-5DAD1305259F}" type="sibTrans" cxnId="{E0FF3980-64EF-4469-8D9C-B289DF2FA6B7}">
      <dgm:prSet/>
      <dgm:spPr/>
      <dgm:t>
        <a:bodyPr/>
        <a:lstStyle/>
        <a:p>
          <a:endParaRPr lang="en-US"/>
        </a:p>
      </dgm:t>
    </dgm:pt>
    <dgm:pt modelId="{B75EE70A-012A-46B9-9E33-C5083D9A855E}">
      <dgm:prSet phldrT="[Text]" custT="1"/>
      <dgm:spPr/>
      <dgm:t>
        <a:bodyPr/>
        <a:lstStyle/>
        <a:p>
          <a:r>
            <a:rPr lang="en-US" sz="1100" b="1" dirty="0" smtClean="0">
              <a:latin typeface="Calibiri"/>
            </a:rPr>
            <a:t>Automate</a:t>
          </a:r>
          <a:endParaRPr lang="en-US" sz="1100" b="1" dirty="0">
            <a:latin typeface="Calibiri"/>
          </a:endParaRPr>
        </a:p>
      </dgm:t>
    </dgm:pt>
    <dgm:pt modelId="{A92EAFFF-90BB-49DF-874A-9ABDD34BECB3}" type="parTrans" cxnId="{E5D8F68D-DC5F-464E-B0F9-174090C411BD}">
      <dgm:prSet/>
      <dgm:spPr/>
      <dgm:t>
        <a:bodyPr/>
        <a:lstStyle/>
        <a:p>
          <a:endParaRPr lang="en-US"/>
        </a:p>
      </dgm:t>
    </dgm:pt>
    <dgm:pt modelId="{38145119-DBD7-47FF-994D-DD033E7DFFB4}" type="sibTrans" cxnId="{E5D8F68D-DC5F-464E-B0F9-174090C411BD}">
      <dgm:prSet/>
      <dgm:spPr/>
      <dgm:t>
        <a:bodyPr/>
        <a:lstStyle/>
        <a:p>
          <a:endParaRPr lang="en-US"/>
        </a:p>
      </dgm:t>
    </dgm:pt>
    <dgm:pt modelId="{C8A07293-BF91-4FD7-B7D8-B4A24A0FC76D}" type="pres">
      <dgm:prSet presAssocID="{393F3094-F33B-418B-B4BA-0185C74C77EF}" presName="Name0" presStyleCnt="0">
        <dgm:presLayoutVars>
          <dgm:dir/>
          <dgm:resizeHandles val="exact"/>
        </dgm:presLayoutVars>
      </dgm:prSet>
      <dgm:spPr/>
    </dgm:pt>
    <dgm:pt modelId="{150B72A6-9088-4E13-9448-8BB1BBE22A74}" type="pres">
      <dgm:prSet presAssocID="{D20F71D0-B348-4922-9FD9-96720CF9DC0A}" presName="parTxOnly" presStyleLbl="node1" presStyleIdx="0" presStyleCnt="5">
        <dgm:presLayoutVars>
          <dgm:bulletEnabled val="1"/>
        </dgm:presLayoutVars>
      </dgm:prSet>
      <dgm:spPr/>
      <dgm:t>
        <a:bodyPr/>
        <a:lstStyle/>
        <a:p>
          <a:endParaRPr lang="en-US"/>
        </a:p>
      </dgm:t>
    </dgm:pt>
    <dgm:pt modelId="{68F0FA96-5CFF-4E18-95B5-4691D4659BD9}" type="pres">
      <dgm:prSet presAssocID="{165C9CB5-7B31-46EE-8F41-72C92E2D1C7B}" presName="parSpace" presStyleCnt="0"/>
      <dgm:spPr/>
    </dgm:pt>
    <dgm:pt modelId="{38A58AD1-C4E9-42C3-8ABB-5DF7D4C65610}" type="pres">
      <dgm:prSet presAssocID="{B75EE70A-012A-46B9-9E33-C5083D9A855E}" presName="parTxOnly" presStyleLbl="node1" presStyleIdx="1" presStyleCnt="5">
        <dgm:presLayoutVars>
          <dgm:bulletEnabled val="1"/>
        </dgm:presLayoutVars>
      </dgm:prSet>
      <dgm:spPr/>
      <dgm:t>
        <a:bodyPr/>
        <a:lstStyle/>
        <a:p>
          <a:endParaRPr lang="en-US"/>
        </a:p>
      </dgm:t>
    </dgm:pt>
    <dgm:pt modelId="{CFC01599-6F14-4C12-B311-FD83263807FF}" type="pres">
      <dgm:prSet presAssocID="{38145119-DBD7-47FF-994D-DD033E7DFFB4}" presName="parSpace" presStyleCnt="0"/>
      <dgm:spPr/>
    </dgm:pt>
    <dgm:pt modelId="{3BD99CB3-F566-485C-B59E-73E943225FB2}" type="pres">
      <dgm:prSet presAssocID="{E0CAA214-212B-4E5C-9003-BB40B9CDD96F}" presName="parTxOnly" presStyleLbl="node1" presStyleIdx="2" presStyleCnt="5">
        <dgm:presLayoutVars>
          <dgm:bulletEnabled val="1"/>
        </dgm:presLayoutVars>
      </dgm:prSet>
      <dgm:spPr/>
      <dgm:t>
        <a:bodyPr/>
        <a:lstStyle/>
        <a:p>
          <a:endParaRPr lang="en-US"/>
        </a:p>
      </dgm:t>
    </dgm:pt>
    <dgm:pt modelId="{FB5ED0CC-A1EA-4EB1-8B12-7C2AE6DA9F18}" type="pres">
      <dgm:prSet presAssocID="{B1132511-654C-4A89-AD59-92BF87BA7D5A}" presName="parSpace" presStyleCnt="0"/>
      <dgm:spPr/>
    </dgm:pt>
    <dgm:pt modelId="{7C1EA474-BE89-44A7-9DBE-0468525F5F9C}" type="pres">
      <dgm:prSet presAssocID="{8118F059-BDD0-4DAA-82A4-AC392063DE8C}" presName="parTxOnly" presStyleLbl="node1" presStyleIdx="3" presStyleCnt="5">
        <dgm:presLayoutVars>
          <dgm:bulletEnabled val="1"/>
        </dgm:presLayoutVars>
      </dgm:prSet>
      <dgm:spPr/>
      <dgm:t>
        <a:bodyPr/>
        <a:lstStyle/>
        <a:p>
          <a:endParaRPr lang="en-US"/>
        </a:p>
      </dgm:t>
    </dgm:pt>
    <dgm:pt modelId="{C4332D9C-C0BE-4AA8-96E5-D714D1660696}" type="pres">
      <dgm:prSet presAssocID="{667827C0-59A9-46D7-8830-A6BC2F41F99E}" presName="parSpace" presStyleCnt="0"/>
      <dgm:spPr/>
    </dgm:pt>
    <dgm:pt modelId="{6CA50218-7B3D-4795-8E3C-170D5AAA9F00}" type="pres">
      <dgm:prSet presAssocID="{FA00668C-9337-4B33-BD3F-0F9567B0F3BB}" presName="parTxOnly" presStyleLbl="node1" presStyleIdx="4" presStyleCnt="5" custLinFactY="5683" custLinFactNeighborX="8922" custLinFactNeighborY="100000">
        <dgm:presLayoutVars>
          <dgm:bulletEnabled val="1"/>
        </dgm:presLayoutVars>
      </dgm:prSet>
      <dgm:spPr/>
      <dgm:t>
        <a:bodyPr/>
        <a:lstStyle/>
        <a:p>
          <a:endParaRPr lang="en-US"/>
        </a:p>
      </dgm:t>
    </dgm:pt>
  </dgm:ptLst>
  <dgm:cxnLst>
    <dgm:cxn modelId="{2A8CC805-04D6-4D0C-BE62-55D9DC4E3CD3}" srcId="{393F3094-F33B-418B-B4BA-0185C74C77EF}" destId="{D20F71D0-B348-4922-9FD9-96720CF9DC0A}" srcOrd="0" destOrd="0" parTransId="{96D1F3B4-01F3-4D0D-A50B-42AF0663AA73}" sibTransId="{165C9CB5-7B31-46EE-8F41-72C92E2D1C7B}"/>
    <dgm:cxn modelId="{D50C52ED-811D-4DF8-80C2-E29D4F70654B}" srcId="{393F3094-F33B-418B-B4BA-0185C74C77EF}" destId="{8118F059-BDD0-4DAA-82A4-AC392063DE8C}" srcOrd="3" destOrd="0" parTransId="{F7F1F845-0C91-44CA-937A-A0B111AF10EB}" sibTransId="{667827C0-59A9-46D7-8830-A6BC2F41F99E}"/>
    <dgm:cxn modelId="{83DCF5C1-81B6-4445-AA77-DDD7DC44D0C0}" type="presOf" srcId="{D20F71D0-B348-4922-9FD9-96720CF9DC0A}" destId="{150B72A6-9088-4E13-9448-8BB1BBE22A74}" srcOrd="0" destOrd="0" presId="urn:microsoft.com/office/officeart/2005/8/layout/hChevron3"/>
    <dgm:cxn modelId="{E5D8F68D-DC5F-464E-B0F9-174090C411BD}" srcId="{393F3094-F33B-418B-B4BA-0185C74C77EF}" destId="{B75EE70A-012A-46B9-9E33-C5083D9A855E}" srcOrd="1" destOrd="0" parTransId="{A92EAFFF-90BB-49DF-874A-9ABDD34BECB3}" sibTransId="{38145119-DBD7-47FF-994D-DD033E7DFFB4}"/>
    <dgm:cxn modelId="{E0FF3980-64EF-4469-8D9C-B289DF2FA6B7}" srcId="{393F3094-F33B-418B-B4BA-0185C74C77EF}" destId="{FA00668C-9337-4B33-BD3F-0F9567B0F3BB}" srcOrd="4" destOrd="0" parTransId="{63544591-8294-4D7C-B517-89831CE791A4}" sibTransId="{7701308F-FEB1-4170-8ECC-5DAD1305259F}"/>
    <dgm:cxn modelId="{ECA267D9-484B-4317-B31D-761D7AFF0B72}" type="presOf" srcId="{B75EE70A-012A-46B9-9E33-C5083D9A855E}" destId="{38A58AD1-C4E9-42C3-8ABB-5DF7D4C65610}" srcOrd="0" destOrd="0" presId="urn:microsoft.com/office/officeart/2005/8/layout/hChevron3"/>
    <dgm:cxn modelId="{C294A59B-55CC-4219-B467-C64B54CC02D5}" type="presOf" srcId="{FA00668C-9337-4B33-BD3F-0F9567B0F3BB}" destId="{6CA50218-7B3D-4795-8E3C-170D5AAA9F00}" srcOrd="0" destOrd="0" presId="urn:microsoft.com/office/officeart/2005/8/layout/hChevron3"/>
    <dgm:cxn modelId="{97601B05-8E03-4F01-8945-A41F9E1B9E75}" type="presOf" srcId="{8118F059-BDD0-4DAA-82A4-AC392063DE8C}" destId="{7C1EA474-BE89-44A7-9DBE-0468525F5F9C}" srcOrd="0" destOrd="0" presId="urn:microsoft.com/office/officeart/2005/8/layout/hChevron3"/>
    <dgm:cxn modelId="{D0101A5F-7D06-456C-B86D-8CB21E9C4AE5}" type="presOf" srcId="{393F3094-F33B-418B-B4BA-0185C74C77EF}" destId="{C8A07293-BF91-4FD7-B7D8-B4A24A0FC76D}" srcOrd="0" destOrd="0" presId="urn:microsoft.com/office/officeart/2005/8/layout/hChevron3"/>
    <dgm:cxn modelId="{4E27052C-82D0-4970-A6E8-3EE3816F914F}" srcId="{393F3094-F33B-418B-B4BA-0185C74C77EF}" destId="{E0CAA214-212B-4E5C-9003-BB40B9CDD96F}" srcOrd="2" destOrd="0" parTransId="{2E8EC802-9B74-49DE-9FDA-5461B96744C1}" sibTransId="{B1132511-654C-4A89-AD59-92BF87BA7D5A}"/>
    <dgm:cxn modelId="{79FF2540-B712-4D3F-B79A-4516832E7DAF}" type="presOf" srcId="{E0CAA214-212B-4E5C-9003-BB40B9CDD96F}" destId="{3BD99CB3-F566-485C-B59E-73E943225FB2}" srcOrd="0" destOrd="0" presId="urn:microsoft.com/office/officeart/2005/8/layout/hChevron3"/>
    <dgm:cxn modelId="{B483C617-9D15-478D-A98D-A0EA69EAF39B}" type="presParOf" srcId="{C8A07293-BF91-4FD7-B7D8-B4A24A0FC76D}" destId="{150B72A6-9088-4E13-9448-8BB1BBE22A74}" srcOrd="0" destOrd="0" presId="urn:microsoft.com/office/officeart/2005/8/layout/hChevron3"/>
    <dgm:cxn modelId="{F7FA87C7-017B-4BA9-8C2A-18D8999FF501}" type="presParOf" srcId="{C8A07293-BF91-4FD7-B7D8-B4A24A0FC76D}" destId="{68F0FA96-5CFF-4E18-95B5-4691D4659BD9}" srcOrd="1" destOrd="0" presId="urn:microsoft.com/office/officeart/2005/8/layout/hChevron3"/>
    <dgm:cxn modelId="{9F30C044-79E4-49F6-829B-DDCC58B33F13}" type="presParOf" srcId="{C8A07293-BF91-4FD7-B7D8-B4A24A0FC76D}" destId="{38A58AD1-C4E9-42C3-8ABB-5DF7D4C65610}" srcOrd="2" destOrd="0" presId="urn:microsoft.com/office/officeart/2005/8/layout/hChevron3"/>
    <dgm:cxn modelId="{323AC050-DF4D-4BF5-B165-EE2C56FA77BA}" type="presParOf" srcId="{C8A07293-BF91-4FD7-B7D8-B4A24A0FC76D}" destId="{CFC01599-6F14-4C12-B311-FD83263807FF}" srcOrd="3" destOrd="0" presId="urn:microsoft.com/office/officeart/2005/8/layout/hChevron3"/>
    <dgm:cxn modelId="{34646DD7-D8AE-4AE9-97F7-5D094C03A1F1}" type="presParOf" srcId="{C8A07293-BF91-4FD7-B7D8-B4A24A0FC76D}" destId="{3BD99CB3-F566-485C-B59E-73E943225FB2}" srcOrd="4" destOrd="0" presId="urn:microsoft.com/office/officeart/2005/8/layout/hChevron3"/>
    <dgm:cxn modelId="{CF89E170-0359-4DAE-82D9-06CB3D2B649F}" type="presParOf" srcId="{C8A07293-BF91-4FD7-B7D8-B4A24A0FC76D}" destId="{FB5ED0CC-A1EA-4EB1-8B12-7C2AE6DA9F18}" srcOrd="5" destOrd="0" presId="urn:microsoft.com/office/officeart/2005/8/layout/hChevron3"/>
    <dgm:cxn modelId="{8E0D94DF-17CD-4718-A14C-8CBDCE2D2B83}" type="presParOf" srcId="{C8A07293-BF91-4FD7-B7D8-B4A24A0FC76D}" destId="{7C1EA474-BE89-44A7-9DBE-0468525F5F9C}" srcOrd="6" destOrd="0" presId="urn:microsoft.com/office/officeart/2005/8/layout/hChevron3"/>
    <dgm:cxn modelId="{CAC39745-E70E-4E4A-8CC9-FB8CDD451FF5}" type="presParOf" srcId="{C8A07293-BF91-4FD7-B7D8-B4A24A0FC76D}" destId="{C4332D9C-C0BE-4AA8-96E5-D714D1660696}" srcOrd="7" destOrd="0" presId="urn:microsoft.com/office/officeart/2005/8/layout/hChevron3"/>
    <dgm:cxn modelId="{2A4957F3-B131-4549-AE56-FA7E04E77F7A}" type="presParOf" srcId="{C8A07293-BF91-4FD7-B7D8-B4A24A0FC76D}" destId="{6CA50218-7B3D-4795-8E3C-170D5AAA9F00}"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3F3094-F33B-418B-B4BA-0185C74C77EF}" type="doc">
      <dgm:prSet loTypeId="urn:microsoft.com/office/officeart/2005/8/layout/hChevron3" loCatId="process" qsTypeId="urn:microsoft.com/office/officeart/2005/8/quickstyle/simple1" qsCatId="simple" csTypeId="urn:microsoft.com/office/officeart/2005/8/colors/accent1_2" csCatId="accent1" phldr="1"/>
      <dgm:spPr/>
    </dgm:pt>
    <dgm:pt modelId="{D20F71D0-B348-4922-9FD9-96720CF9DC0A}">
      <dgm:prSet phldrT="[Text]" custT="1"/>
      <dgm:spPr/>
      <dgm:t>
        <a:bodyPr/>
        <a:lstStyle/>
        <a:p>
          <a:r>
            <a:rPr lang="en-US" sz="1100" b="1" dirty="0" smtClean="0">
              <a:latin typeface="Calibiri"/>
            </a:rPr>
            <a:t>Eliminate</a:t>
          </a:r>
          <a:endParaRPr lang="en-US" sz="1100" b="1" dirty="0">
            <a:latin typeface="Calibiri"/>
          </a:endParaRPr>
        </a:p>
      </dgm:t>
    </dgm:pt>
    <dgm:pt modelId="{96D1F3B4-01F3-4D0D-A50B-42AF0663AA73}" type="parTrans" cxnId="{2A8CC805-04D6-4D0C-BE62-55D9DC4E3CD3}">
      <dgm:prSet/>
      <dgm:spPr/>
      <dgm:t>
        <a:bodyPr/>
        <a:lstStyle/>
        <a:p>
          <a:endParaRPr lang="en-US" sz="1200"/>
        </a:p>
      </dgm:t>
    </dgm:pt>
    <dgm:pt modelId="{165C9CB5-7B31-46EE-8F41-72C92E2D1C7B}" type="sibTrans" cxnId="{2A8CC805-04D6-4D0C-BE62-55D9DC4E3CD3}">
      <dgm:prSet/>
      <dgm:spPr/>
      <dgm:t>
        <a:bodyPr/>
        <a:lstStyle/>
        <a:p>
          <a:endParaRPr lang="en-US" sz="1200"/>
        </a:p>
      </dgm:t>
    </dgm:pt>
    <dgm:pt modelId="{E0CAA214-212B-4E5C-9003-BB40B9CDD96F}">
      <dgm:prSet phldrT="[Text]" custT="1"/>
      <dgm:spPr/>
      <dgm:t>
        <a:bodyPr/>
        <a:lstStyle/>
        <a:p>
          <a:r>
            <a:rPr lang="en-US" sz="1100" b="1" dirty="0" smtClean="0">
              <a:latin typeface="Calibiri"/>
            </a:rPr>
            <a:t>Industrialize</a:t>
          </a:r>
          <a:endParaRPr lang="en-US" sz="1100" b="1" dirty="0">
            <a:latin typeface="Calibiri"/>
          </a:endParaRPr>
        </a:p>
      </dgm:t>
    </dgm:pt>
    <dgm:pt modelId="{2E8EC802-9B74-49DE-9FDA-5461B96744C1}" type="parTrans" cxnId="{4E27052C-82D0-4970-A6E8-3EE3816F914F}">
      <dgm:prSet/>
      <dgm:spPr/>
      <dgm:t>
        <a:bodyPr/>
        <a:lstStyle/>
        <a:p>
          <a:endParaRPr lang="en-US" sz="1200"/>
        </a:p>
      </dgm:t>
    </dgm:pt>
    <dgm:pt modelId="{B1132511-654C-4A89-AD59-92BF87BA7D5A}" type="sibTrans" cxnId="{4E27052C-82D0-4970-A6E8-3EE3816F914F}">
      <dgm:prSet/>
      <dgm:spPr/>
      <dgm:t>
        <a:bodyPr/>
        <a:lstStyle/>
        <a:p>
          <a:endParaRPr lang="en-US" sz="1200"/>
        </a:p>
      </dgm:t>
    </dgm:pt>
    <dgm:pt modelId="{8118F059-BDD0-4DAA-82A4-AC392063DE8C}">
      <dgm:prSet phldrT="[Text]" custT="1"/>
      <dgm:spPr/>
      <dgm:t>
        <a:bodyPr/>
        <a:lstStyle/>
        <a:p>
          <a:r>
            <a:rPr lang="en-US" sz="1100" b="1" dirty="0" smtClean="0">
              <a:latin typeface="Calibiri"/>
            </a:rPr>
            <a:t>Standardize</a:t>
          </a:r>
          <a:endParaRPr lang="en-US" sz="1100" b="1" dirty="0">
            <a:latin typeface="Calibiri"/>
          </a:endParaRPr>
        </a:p>
      </dgm:t>
    </dgm:pt>
    <dgm:pt modelId="{F7F1F845-0C91-44CA-937A-A0B111AF10EB}" type="parTrans" cxnId="{D50C52ED-811D-4DF8-80C2-E29D4F70654B}">
      <dgm:prSet/>
      <dgm:spPr/>
      <dgm:t>
        <a:bodyPr/>
        <a:lstStyle/>
        <a:p>
          <a:endParaRPr lang="en-US"/>
        </a:p>
      </dgm:t>
    </dgm:pt>
    <dgm:pt modelId="{667827C0-59A9-46D7-8830-A6BC2F41F99E}" type="sibTrans" cxnId="{D50C52ED-811D-4DF8-80C2-E29D4F70654B}">
      <dgm:prSet/>
      <dgm:spPr/>
      <dgm:t>
        <a:bodyPr/>
        <a:lstStyle/>
        <a:p>
          <a:endParaRPr lang="en-US"/>
        </a:p>
      </dgm:t>
    </dgm:pt>
    <dgm:pt modelId="{FA00668C-9337-4B33-BD3F-0F9567B0F3BB}">
      <dgm:prSet phldrT="[Text]" custT="1"/>
      <dgm:spPr/>
      <dgm:t>
        <a:bodyPr/>
        <a:lstStyle/>
        <a:p>
          <a:r>
            <a:rPr lang="en-US" sz="1100" b="1" dirty="0" smtClean="0">
              <a:latin typeface="Calibiri"/>
            </a:rPr>
            <a:t>Synergize</a:t>
          </a:r>
          <a:endParaRPr lang="en-US" sz="1100" b="1" dirty="0">
            <a:latin typeface="Calibiri"/>
          </a:endParaRPr>
        </a:p>
      </dgm:t>
    </dgm:pt>
    <dgm:pt modelId="{63544591-8294-4D7C-B517-89831CE791A4}" type="parTrans" cxnId="{E0FF3980-64EF-4469-8D9C-B289DF2FA6B7}">
      <dgm:prSet/>
      <dgm:spPr/>
      <dgm:t>
        <a:bodyPr/>
        <a:lstStyle/>
        <a:p>
          <a:endParaRPr lang="en-US"/>
        </a:p>
      </dgm:t>
    </dgm:pt>
    <dgm:pt modelId="{7701308F-FEB1-4170-8ECC-5DAD1305259F}" type="sibTrans" cxnId="{E0FF3980-64EF-4469-8D9C-B289DF2FA6B7}">
      <dgm:prSet/>
      <dgm:spPr/>
      <dgm:t>
        <a:bodyPr/>
        <a:lstStyle/>
        <a:p>
          <a:endParaRPr lang="en-US"/>
        </a:p>
      </dgm:t>
    </dgm:pt>
    <dgm:pt modelId="{B75EE70A-012A-46B9-9E33-C5083D9A855E}">
      <dgm:prSet phldrT="[Text]" custT="1"/>
      <dgm:spPr/>
      <dgm:t>
        <a:bodyPr/>
        <a:lstStyle/>
        <a:p>
          <a:r>
            <a:rPr lang="en-US" sz="1100" b="1" dirty="0" smtClean="0">
              <a:latin typeface="Calibiri"/>
            </a:rPr>
            <a:t>Automate</a:t>
          </a:r>
          <a:endParaRPr lang="en-US" sz="1100" b="1" dirty="0">
            <a:latin typeface="Calibiri"/>
          </a:endParaRPr>
        </a:p>
      </dgm:t>
    </dgm:pt>
    <dgm:pt modelId="{A92EAFFF-90BB-49DF-874A-9ABDD34BECB3}" type="parTrans" cxnId="{E5D8F68D-DC5F-464E-B0F9-174090C411BD}">
      <dgm:prSet/>
      <dgm:spPr/>
      <dgm:t>
        <a:bodyPr/>
        <a:lstStyle/>
        <a:p>
          <a:endParaRPr lang="en-US"/>
        </a:p>
      </dgm:t>
    </dgm:pt>
    <dgm:pt modelId="{38145119-DBD7-47FF-994D-DD033E7DFFB4}" type="sibTrans" cxnId="{E5D8F68D-DC5F-464E-B0F9-174090C411BD}">
      <dgm:prSet/>
      <dgm:spPr/>
      <dgm:t>
        <a:bodyPr/>
        <a:lstStyle/>
        <a:p>
          <a:endParaRPr lang="en-US"/>
        </a:p>
      </dgm:t>
    </dgm:pt>
    <dgm:pt modelId="{C8A07293-BF91-4FD7-B7D8-B4A24A0FC76D}" type="pres">
      <dgm:prSet presAssocID="{393F3094-F33B-418B-B4BA-0185C74C77EF}" presName="Name0" presStyleCnt="0">
        <dgm:presLayoutVars>
          <dgm:dir/>
          <dgm:resizeHandles val="exact"/>
        </dgm:presLayoutVars>
      </dgm:prSet>
      <dgm:spPr/>
    </dgm:pt>
    <dgm:pt modelId="{150B72A6-9088-4E13-9448-8BB1BBE22A74}" type="pres">
      <dgm:prSet presAssocID="{D20F71D0-B348-4922-9FD9-96720CF9DC0A}" presName="parTxOnly" presStyleLbl="node1" presStyleIdx="0" presStyleCnt="5">
        <dgm:presLayoutVars>
          <dgm:bulletEnabled val="1"/>
        </dgm:presLayoutVars>
      </dgm:prSet>
      <dgm:spPr/>
      <dgm:t>
        <a:bodyPr/>
        <a:lstStyle/>
        <a:p>
          <a:endParaRPr lang="en-US"/>
        </a:p>
      </dgm:t>
    </dgm:pt>
    <dgm:pt modelId="{68F0FA96-5CFF-4E18-95B5-4691D4659BD9}" type="pres">
      <dgm:prSet presAssocID="{165C9CB5-7B31-46EE-8F41-72C92E2D1C7B}" presName="parSpace" presStyleCnt="0"/>
      <dgm:spPr/>
    </dgm:pt>
    <dgm:pt modelId="{38A58AD1-C4E9-42C3-8ABB-5DF7D4C65610}" type="pres">
      <dgm:prSet presAssocID="{B75EE70A-012A-46B9-9E33-C5083D9A855E}" presName="parTxOnly" presStyleLbl="node1" presStyleIdx="1" presStyleCnt="5">
        <dgm:presLayoutVars>
          <dgm:bulletEnabled val="1"/>
        </dgm:presLayoutVars>
      </dgm:prSet>
      <dgm:spPr/>
      <dgm:t>
        <a:bodyPr/>
        <a:lstStyle/>
        <a:p>
          <a:endParaRPr lang="en-US"/>
        </a:p>
      </dgm:t>
    </dgm:pt>
    <dgm:pt modelId="{CFC01599-6F14-4C12-B311-FD83263807FF}" type="pres">
      <dgm:prSet presAssocID="{38145119-DBD7-47FF-994D-DD033E7DFFB4}" presName="parSpace" presStyleCnt="0"/>
      <dgm:spPr/>
    </dgm:pt>
    <dgm:pt modelId="{3BD99CB3-F566-485C-B59E-73E943225FB2}" type="pres">
      <dgm:prSet presAssocID="{E0CAA214-212B-4E5C-9003-BB40B9CDD96F}" presName="parTxOnly" presStyleLbl="node1" presStyleIdx="2" presStyleCnt="5">
        <dgm:presLayoutVars>
          <dgm:bulletEnabled val="1"/>
        </dgm:presLayoutVars>
      </dgm:prSet>
      <dgm:spPr/>
      <dgm:t>
        <a:bodyPr/>
        <a:lstStyle/>
        <a:p>
          <a:endParaRPr lang="en-US"/>
        </a:p>
      </dgm:t>
    </dgm:pt>
    <dgm:pt modelId="{FB5ED0CC-A1EA-4EB1-8B12-7C2AE6DA9F18}" type="pres">
      <dgm:prSet presAssocID="{B1132511-654C-4A89-AD59-92BF87BA7D5A}" presName="parSpace" presStyleCnt="0"/>
      <dgm:spPr/>
    </dgm:pt>
    <dgm:pt modelId="{7C1EA474-BE89-44A7-9DBE-0468525F5F9C}" type="pres">
      <dgm:prSet presAssocID="{8118F059-BDD0-4DAA-82A4-AC392063DE8C}" presName="parTxOnly" presStyleLbl="node1" presStyleIdx="3" presStyleCnt="5">
        <dgm:presLayoutVars>
          <dgm:bulletEnabled val="1"/>
        </dgm:presLayoutVars>
      </dgm:prSet>
      <dgm:spPr/>
      <dgm:t>
        <a:bodyPr/>
        <a:lstStyle/>
        <a:p>
          <a:endParaRPr lang="en-US"/>
        </a:p>
      </dgm:t>
    </dgm:pt>
    <dgm:pt modelId="{C4332D9C-C0BE-4AA8-96E5-D714D1660696}" type="pres">
      <dgm:prSet presAssocID="{667827C0-59A9-46D7-8830-A6BC2F41F99E}" presName="parSpace" presStyleCnt="0"/>
      <dgm:spPr/>
    </dgm:pt>
    <dgm:pt modelId="{6CA50218-7B3D-4795-8E3C-170D5AAA9F00}" type="pres">
      <dgm:prSet presAssocID="{FA00668C-9337-4B33-BD3F-0F9567B0F3BB}" presName="parTxOnly" presStyleLbl="node1" presStyleIdx="4" presStyleCnt="5" custLinFactY="5683" custLinFactNeighborX="8922" custLinFactNeighborY="100000">
        <dgm:presLayoutVars>
          <dgm:bulletEnabled val="1"/>
        </dgm:presLayoutVars>
      </dgm:prSet>
      <dgm:spPr/>
      <dgm:t>
        <a:bodyPr/>
        <a:lstStyle/>
        <a:p>
          <a:endParaRPr lang="en-US"/>
        </a:p>
      </dgm:t>
    </dgm:pt>
  </dgm:ptLst>
  <dgm:cxnLst>
    <dgm:cxn modelId="{2A8CC805-04D6-4D0C-BE62-55D9DC4E3CD3}" srcId="{393F3094-F33B-418B-B4BA-0185C74C77EF}" destId="{D20F71D0-B348-4922-9FD9-96720CF9DC0A}" srcOrd="0" destOrd="0" parTransId="{96D1F3B4-01F3-4D0D-A50B-42AF0663AA73}" sibTransId="{165C9CB5-7B31-46EE-8F41-72C92E2D1C7B}"/>
    <dgm:cxn modelId="{D50C52ED-811D-4DF8-80C2-E29D4F70654B}" srcId="{393F3094-F33B-418B-B4BA-0185C74C77EF}" destId="{8118F059-BDD0-4DAA-82A4-AC392063DE8C}" srcOrd="3" destOrd="0" parTransId="{F7F1F845-0C91-44CA-937A-A0B111AF10EB}" sibTransId="{667827C0-59A9-46D7-8830-A6BC2F41F99E}"/>
    <dgm:cxn modelId="{83DCF5C1-81B6-4445-AA77-DDD7DC44D0C0}" type="presOf" srcId="{D20F71D0-B348-4922-9FD9-96720CF9DC0A}" destId="{150B72A6-9088-4E13-9448-8BB1BBE22A74}" srcOrd="0" destOrd="0" presId="urn:microsoft.com/office/officeart/2005/8/layout/hChevron3"/>
    <dgm:cxn modelId="{E5D8F68D-DC5F-464E-B0F9-174090C411BD}" srcId="{393F3094-F33B-418B-B4BA-0185C74C77EF}" destId="{B75EE70A-012A-46B9-9E33-C5083D9A855E}" srcOrd="1" destOrd="0" parTransId="{A92EAFFF-90BB-49DF-874A-9ABDD34BECB3}" sibTransId="{38145119-DBD7-47FF-994D-DD033E7DFFB4}"/>
    <dgm:cxn modelId="{E0FF3980-64EF-4469-8D9C-B289DF2FA6B7}" srcId="{393F3094-F33B-418B-B4BA-0185C74C77EF}" destId="{FA00668C-9337-4B33-BD3F-0F9567B0F3BB}" srcOrd="4" destOrd="0" parTransId="{63544591-8294-4D7C-B517-89831CE791A4}" sibTransId="{7701308F-FEB1-4170-8ECC-5DAD1305259F}"/>
    <dgm:cxn modelId="{ECA267D9-484B-4317-B31D-761D7AFF0B72}" type="presOf" srcId="{B75EE70A-012A-46B9-9E33-C5083D9A855E}" destId="{38A58AD1-C4E9-42C3-8ABB-5DF7D4C65610}" srcOrd="0" destOrd="0" presId="urn:microsoft.com/office/officeart/2005/8/layout/hChevron3"/>
    <dgm:cxn modelId="{C294A59B-55CC-4219-B467-C64B54CC02D5}" type="presOf" srcId="{FA00668C-9337-4B33-BD3F-0F9567B0F3BB}" destId="{6CA50218-7B3D-4795-8E3C-170D5AAA9F00}" srcOrd="0" destOrd="0" presId="urn:microsoft.com/office/officeart/2005/8/layout/hChevron3"/>
    <dgm:cxn modelId="{97601B05-8E03-4F01-8945-A41F9E1B9E75}" type="presOf" srcId="{8118F059-BDD0-4DAA-82A4-AC392063DE8C}" destId="{7C1EA474-BE89-44A7-9DBE-0468525F5F9C}" srcOrd="0" destOrd="0" presId="urn:microsoft.com/office/officeart/2005/8/layout/hChevron3"/>
    <dgm:cxn modelId="{D0101A5F-7D06-456C-B86D-8CB21E9C4AE5}" type="presOf" srcId="{393F3094-F33B-418B-B4BA-0185C74C77EF}" destId="{C8A07293-BF91-4FD7-B7D8-B4A24A0FC76D}" srcOrd="0" destOrd="0" presId="urn:microsoft.com/office/officeart/2005/8/layout/hChevron3"/>
    <dgm:cxn modelId="{4E27052C-82D0-4970-A6E8-3EE3816F914F}" srcId="{393F3094-F33B-418B-B4BA-0185C74C77EF}" destId="{E0CAA214-212B-4E5C-9003-BB40B9CDD96F}" srcOrd="2" destOrd="0" parTransId="{2E8EC802-9B74-49DE-9FDA-5461B96744C1}" sibTransId="{B1132511-654C-4A89-AD59-92BF87BA7D5A}"/>
    <dgm:cxn modelId="{79FF2540-B712-4D3F-B79A-4516832E7DAF}" type="presOf" srcId="{E0CAA214-212B-4E5C-9003-BB40B9CDD96F}" destId="{3BD99CB3-F566-485C-B59E-73E943225FB2}" srcOrd="0" destOrd="0" presId="urn:microsoft.com/office/officeart/2005/8/layout/hChevron3"/>
    <dgm:cxn modelId="{B483C617-9D15-478D-A98D-A0EA69EAF39B}" type="presParOf" srcId="{C8A07293-BF91-4FD7-B7D8-B4A24A0FC76D}" destId="{150B72A6-9088-4E13-9448-8BB1BBE22A74}" srcOrd="0" destOrd="0" presId="urn:microsoft.com/office/officeart/2005/8/layout/hChevron3"/>
    <dgm:cxn modelId="{F7FA87C7-017B-4BA9-8C2A-18D8999FF501}" type="presParOf" srcId="{C8A07293-BF91-4FD7-B7D8-B4A24A0FC76D}" destId="{68F0FA96-5CFF-4E18-95B5-4691D4659BD9}" srcOrd="1" destOrd="0" presId="urn:microsoft.com/office/officeart/2005/8/layout/hChevron3"/>
    <dgm:cxn modelId="{9F30C044-79E4-49F6-829B-DDCC58B33F13}" type="presParOf" srcId="{C8A07293-BF91-4FD7-B7D8-B4A24A0FC76D}" destId="{38A58AD1-C4E9-42C3-8ABB-5DF7D4C65610}" srcOrd="2" destOrd="0" presId="urn:microsoft.com/office/officeart/2005/8/layout/hChevron3"/>
    <dgm:cxn modelId="{323AC050-DF4D-4BF5-B165-EE2C56FA77BA}" type="presParOf" srcId="{C8A07293-BF91-4FD7-B7D8-B4A24A0FC76D}" destId="{CFC01599-6F14-4C12-B311-FD83263807FF}" srcOrd="3" destOrd="0" presId="urn:microsoft.com/office/officeart/2005/8/layout/hChevron3"/>
    <dgm:cxn modelId="{34646DD7-D8AE-4AE9-97F7-5D094C03A1F1}" type="presParOf" srcId="{C8A07293-BF91-4FD7-B7D8-B4A24A0FC76D}" destId="{3BD99CB3-F566-485C-B59E-73E943225FB2}" srcOrd="4" destOrd="0" presId="urn:microsoft.com/office/officeart/2005/8/layout/hChevron3"/>
    <dgm:cxn modelId="{CF89E170-0359-4DAE-82D9-06CB3D2B649F}" type="presParOf" srcId="{C8A07293-BF91-4FD7-B7D8-B4A24A0FC76D}" destId="{FB5ED0CC-A1EA-4EB1-8B12-7C2AE6DA9F18}" srcOrd="5" destOrd="0" presId="urn:microsoft.com/office/officeart/2005/8/layout/hChevron3"/>
    <dgm:cxn modelId="{8E0D94DF-17CD-4718-A14C-8CBDCE2D2B83}" type="presParOf" srcId="{C8A07293-BF91-4FD7-B7D8-B4A24A0FC76D}" destId="{7C1EA474-BE89-44A7-9DBE-0468525F5F9C}" srcOrd="6" destOrd="0" presId="urn:microsoft.com/office/officeart/2005/8/layout/hChevron3"/>
    <dgm:cxn modelId="{CAC39745-E70E-4E4A-8CC9-FB8CDD451FF5}" type="presParOf" srcId="{C8A07293-BF91-4FD7-B7D8-B4A24A0FC76D}" destId="{C4332D9C-C0BE-4AA8-96E5-D714D1660696}" srcOrd="7" destOrd="0" presId="urn:microsoft.com/office/officeart/2005/8/layout/hChevron3"/>
    <dgm:cxn modelId="{2A4957F3-B131-4549-AE56-FA7E04E77F7A}" type="presParOf" srcId="{C8A07293-BF91-4FD7-B7D8-B4A24A0FC76D}" destId="{6CA50218-7B3D-4795-8E3C-170D5AAA9F00}"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B72A6-9088-4E13-9448-8BB1BBE22A74}">
      <dsp:nvSpPr>
        <dsp:cNvPr id="0" name=""/>
        <dsp:cNvSpPr/>
      </dsp:nvSpPr>
      <dsp:spPr>
        <a:xfrm>
          <a:off x="624" y="0"/>
          <a:ext cx="1216933" cy="20904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Eliminate</a:t>
          </a:r>
          <a:endParaRPr lang="en-US" sz="1100" b="1" kern="1200" dirty="0">
            <a:latin typeface="Calibiri"/>
          </a:endParaRPr>
        </a:p>
      </dsp:txBody>
      <dsp:txXfrm>
        <a:off x="624" y="0"/>
        <a:ext cx="1164672" cy="209046"/>
      </dsp:txXfrm>
    </dsp:sp>
    <dsp:sp modelId="{38A58AD1-C4E9-42C3-8ABB-5DF7D4C65610}">
      <dsp:nvSpPr>
        <dsp:cNvPr id="0" name=""/>
        <dsp:cNvSpPr/>
      </dsp:nvSpPr>
      <dsp:spPr>
        <a:xfrm>
          <a:off x="974171"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Automate</a:t>
          </a:r>
          <a:endParaRPr lang="en-US" sz="1100" b="1" kern="1200" dirty="0">
            <a:latin typeface="Calibiri"/>
          </a:endParaRPr>
        </a:p>
      </dsp:txBody>
      <dsp:txXfrm>
        <a:off x="1078694" y="0"/>
        <a:ext cx="1007887" cy="209046"/>
      </dsp:txXfrm>
    </dsp:sp>
    <dsp:sp modelId="{3BD99CB3-F566-485C-B59E-73E943225FB2}">
      <dsp:nvSpPr>
        <dsp:cNvPr id="0" name=""/>
        <dsp:cNvSpPr/>
      </dsp:nvSpPr>
      <dsp:spPr>
        <a:xfrm>
          <a:off x="1947718"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Industrialize</a:t>
          </a:r>
          <a:endParaRPr lang="en-US" sz="1100" b="1" kern="1200" dirty="0">
            <a:latin typeface="Calibiri"/>
          </a:endParaRPr>
        </a:p>
      </dsp:txBody>
      <dsp:txXfrm>
        <a:off x="2052241" y="0"/>
        <a:ext cx="1007887" cy="209046"/>
      </dsp:txXfrm>
    </dsp:sp>
    <dsp:sp modelId="{7C1EA474-BE89-44A7-9DBE-0468525F5F9C}">
      <dsp:nvSpPr>
        <dsp:cNvPr id="0" name=""/>
        <dsp:cNvSpPr/>
      </dsp:nvSpPr>
      <dsp:spPr>
        <a:xfrm>
          <a:off x="2921265"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tandardize</a:t>
          </a:r>
          <a:endParaRPr lang="en-US" sz="1100" b="1" kern="1200" dirty="0">
            <a:latin typeface="Calibiri"/>
          </a:endParaRPr>
        </a:p>
      </dsp:txBody>
      <dsp:txXfrm>
        <a:off x="3025788" y="0"/>
        <a:ext cx="1007887" cy="209046"/>
      </dsp:txXfrm>
    </dsp:sp>
    <dsp:sp modelId="{6CA50218-7B3D-4795-8E3C-170D5AAA9F00}">
      <dsp:nvSpPr>
        <dsp:cNvPr id="0" name=""/>
        <dsp:cNvSpPr/>
      </dsp:nvSpPr>
      <dsp:spPr>
        <a:xfrm>
          <a:off x="3895436"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ynergize</a:t>
          </a:r>
          <a:endParaRPr lang="en-US" sz="1100" b="1" kern="1200" dirty="0">
            <a:latin typeface="Calibiri"/>
          </a:endParaRPr>
        </a:p>
      </dsp:txBody>
      <dsp:txXfrm>
        <a:off x="3999959" y="0"/>
        <a:ext cx="1007887" cy="2090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B72A6-9088-4E13-9448-8BB1BBE22A74}">
      <dsp:nvSpPr>
        <dsp:cNvPr id="0" name=""/>
        <dsp:cNvSpPr/>
      </dsp:nvSpPr>
      <dsp:spPr>
        <a:xfrm>
          <a:off x="624" y="0"/>
          <a:ext cx="1216933" cy="20904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Eliminate</a:t>
          </a:r>
          <a:endParaRPr lang="en-US" sz="1100" b="1" kern="1200" dirty="0">
            <a:latin typeface="Calibiri"/>
          </a:endParaRPr>
        </a:p>
      </dsp:txBody>
      <dsp:txXfrm>
        <a:off x="624" y="0"/>
        <a:ext cx="1164672" cy="209046"/>
      </dsp:txXfrm>
    </dsp:sp>
    <dsp:sp modelId="{38A58AD1-C4E9-42C3-8ABB-5DF7D4C65610}">
      <dsp:nvSpPr>
        <dsp:cNvPr id="0" name=""/>
        <dsp:cNvSpPr/>
      </dsp:nvSpPr>
      <dsp:spPr>
        <a:xfrm>
          <a:off x="974171"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Automate</a:t>
          </a:r>
          <a:endParaRPr lang="en-US" sz="1100" b="1" kern="1200" dirty="0">
            <a:latin typeface="Calibiri"/>
          </a:endParaRPr>
        </a:p>
      </dsp:txBody>
      <dsp:txXfrm>
        <a:off x="1078694" y="0"/>
        <a:ext cx="1007887" cy="209046"/>
      </dsp:txXfrm>
    </dsp:sp>
    <dsp:sp modelId="{3BD99CB3-F566-485C-B59E-73E943225FB2}">
      <dsp:nvSpPr>
        <dsp:cNvPr id="0" name=""/>
        <dsp:cNvSpPr/>
      </dsp:nvSpPr>
      <dsp:spPr>
        <a:xfrm>
          <a:off x="1947718"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Industrialize</a:t>
          </a:r>
          <a:endParaRPr lang="en-US" sz="1100" b="1" kern="1200" dirty="0">
            <a:latin typeface="Calibiri"/>
          </a:endParaRPr>
        </a:p>
      </dsp:txBody>
      <dsp:txXfrm>
        <a:off x="2052241" y="0"/>
        <a:ext cx="1007887" cy="209046"/>
      </dsp:txXfrm>
    </dsp:sp>
    <dsp:sp modelId="{7C1EA474-BE89-44A7-9DBE-0468525F5F9C}">
      <dsp:nvSpPr>
        <dsp:cNvPr id="0" name=""/>
        <dsp:cNvSpPr/>
      </dsp:nvSpPr>
      <dsp:spPr>
        <a:xfrm>
          <a:off x="2921265"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tandardize</a:t>
          </a:r>
          <a:endParaRPr lang="en-US" sz="1100" b="1" kern="1200" dirty="0">
            <a:latin typeface="Calibiri"/>
          </a:endParaRPr>
        </a:p>
      </dsp:txBody>
      <dsp:txXfrm>
        <a:off x="3025788" y="0"/>
        <a:ext cx="1007887" cy="209046"/>
      </dsp:txXfrm>
    </dsp:sp>
    <dsp:sp modelId="{6CA50218-7B3D-4795-8E3C-170D5AAA9F00}">
      <dsp:nvSpPr>
        <dsp:cNvPr id="0" name=""/>
        <dsp:cNvSpPr/>
      </dsp:nvSpPr>
      <dsp:spPr>
        <a:xfrm>
          <a:off x="3895436"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ynergize</a:t>
          </a:r>
          <a:endParaRPr lang="en-US" sz="1100" b="1" kern="1200" dirty="0">
            <a:latin typeface="Calibiri"/>
          </a:endParaRPr>
        </a:p>
      </dsp:txBody>
      <dsp:txXfrm>
        <a:off x="3999959" y="0"/>
        <a:ext cx="1007887" cy="2090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8E1E7B-1293-48B7-BCAB-137433860DA1}">
      <dsp:nvSpPr>
        <dsp:cNvPr id="0" name=""/>
        <dsp:cNvSpPr/>
      </dsp:nvSpPr>
      <dsp:spPr>
        <a:xfrm>
          <a:off x="1368661" y="0"/>
          <a:ext cx="3358677" cy="3358677"/>
        </a:xfrm>
        <a:prstGeom prst="quadArrow">
          <a:avLst>
            <a:gd name="adj1" fmla="val 2000"/>
            <a:gd name="adj2" fmla="val 4000"/>
            <a:gd name="adj3" fmla="val 5000"/>
          </a:avLst>
        </a:prstGeom>
        <a:solidFill>
          <a:schemeClr val="bg2">
            <a:lumMod val="50000"/>
          </a:schemeClr>
        </a:solidFill>
        <a:ln>
          <a:noFill/>
        </a:ln>
        <a:effectLst/>
      </dsp:spPr>
      <dsp:style>
        <a:lnRef idx="0">
          <a:scrgbClr r="0" g="0" b="0"/>
        </a:lnRef>
        <a:fillRef idx="1">
          <a:scrgbClr r="0" g="0" b="0"/>
        </a:fillRef>
        <a:effectRef idx="0">
          <a:scrgbClr r="0" g="0" b="0"/>
        </a:effectRef>
        <a:fontRef idx="minor"/>
      </dsp:style>
    </dsp:sp>
    <dsp:sp modelId="{973F6D83-7728-48A6-9D9F-8CC42A60C724}">
      <dsp:nvSpPr>
        <dsp:cNvPr id="0" name=""/>
        <dsp:cNvSpPr/>
      </dsp:nvSpPr>
      <dsp:spPr>
        <a:xfrm>
          <a:off x="1586975" y="218314"/>
          <a:ext cx="1343470" cy="1343470"/>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Catch up Jumps</a:t>
          </a:r>
        </a:p>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Zone III</a:t>
          </a:r>
          <a:endParaRPr lang="en-US" sz="1200" b="1" kern="1200" dirty="0">
            <a:latin typeface="Segoe UI" panose="020B0502040204020203" pitchFamily="34" charset="0"/>
            <a:ea typeface="Segoe UI" panose="020B0502040204020203" pitchFamily="34" charset="0"/>
            <a:cs typeface="Segoe UI" panose="020B0502040204020203" pitchFamily="34" charset="0"/>
          </a:endParaRPr>
        </a:p>
      </dsp:txBody>
      <dsp:txXfrm>
        <a:off x="1652558" y="283897"/>
        <a:ext cx="1212304" cy="1212304"/>
      </dsp:txXfrm>
    </dsp:sp>
    <dsp:sp modelId="{D7188F46-8201-4D5B-A09A-FFE5089026A8}">
      <dsp:nvSpPr>
        <dsp:cNvPr id="0" name=""/>
        <dsp:cNvSpPr/>
      </dsp:nvSpPr>
      <dsp:spPr>
        <a:xfrm>
          <a:off x="3165553" y="218314"/>
          <a:ext cx="1343470" cy="1343470"/>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Strategic Leaps</a:t>
          </a:r>
        </a:p>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Zone IV</a:t>
          </a:r>
          <a:endParaRPr lang="en-US" sz="1200" b="1" kern="1200" dirty="0">
            <a:latin typeface="Segoe UI" panose="020B0502040204020203" pitchFamily="34" charset="0"/>
            <a:ea typeface="Segoe UI" panose="020B0502040204020203" pitchFamily="34" charset="0"/>
            <a:cs typeface="Segoe UI" panose="020B0502040204020203" pitchFamily="34" charset="0"/>
          </a:endParaRPr>
        </a:p>
      </dsp:txBody>
      <dsp:txXfrm>
        <a:off x="3231136" y="283897"/>
        <a:ext cx="1212304" cy="1212304"/>
      </dsp:txXfrm>
    </dsp:sp>
    <dsp:sp modelId="{CAC7D4AA-2CC0-43E8-8DBA-D84A4B824281}">
      <dsp:nvSpPr>
        <dsp:cNvPr id="0" name=""/>
        <dsp:cNvSpPr/>
      </dsp:nvSpPr>
      <dsp:spPr>
        <a:xfrm>
          <a:off x="1586975" y="1796892"/>
          <a:ext cx="1343470" cy="1343470"/>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Problem Solving</a:t>
          </a:r>
        </a:p>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Zone I</a:t>
          </a:r>
          <a:endParaRPr lang="en-US" sz="1200" b="1" kern="1200" dirty="0">
            <a:latin typeface="Segoe UI" panose="020B0502040204020203" pitchFamily="34" charset="0"/>
            <a:ea typeface="Segoe UI" panose="020B0502040204020203" pitchFamily="34" charset="0"/>
            <a:cs typeface="Segoe UI" panose="020B0502040204020203" pitchFamily="34" charset="0"/>
          </a:endParaRPr>
        </a:p>
      </dsp:txBody>
      <dsp:txXfrm>
        <a:off x="1652558" y="1862475"/>
        <a:ext cx="1212304" cy="1212304"/>
      </dsp:txXfrm>
    </dsp:sp>
    <dsp:sp modelId="{78B17B09-6DC3-48D9-9FCD-47886C74D166}">
      <dsp:nvSpPr>
        <dsp:cNvPr id="0" name=""/>
        <dsp:cNvSpPr/>
      </dsp:nvSpPr>
      <dsp:spPr>
        <a:xfrm>
          <a:off x="3165553" y="1796892"/>
          <a:ext cx="1343470" cy="1343470"/>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Continuous Improvements</a:t>
          </a:r>
        </a:p>
        <a:p>
          <a:pPr lvl="0" algn="ctr" defTabSz="533400">
            <a:lnSpc>
              <a:spcPct val="90000"/>
            </a:lnSpc>
            <a:spcBef>
              <a:spcPct val="0"/>
            </a:spcBef>
            <a:spcAft>
              <a:spcPct val="35000"/>
            </a:spcAft>
          </a:pPr>
          <a:r>
            <a:rPr lang="en-US" sz="1200" b="1" kern="1200" dirty="0" smtClean="0">
              <a:latin typeface="Segoe UI" panose="020B0502040204020203" pitchFamily="34" charset="0"/>
              <a:ea typeface="Segoe UI" panose="020B0502040204020203" pitchFamily="34" charset="0"/>
              <a:cs typeface="Segoe UI" panose="020B0502040204020203" pitchFamily="34" charset="0"/>
            </a:rPr>
            <a:t>Zone II</a:t>
          </a:r>
          <a:endParaRPr lang="en-US" sz="1200" b="1" kern="1200" dirty="0">
            <a:latin typeface="Segoe UI" panose="020B0502040204020203" pitchFamily="34" charset="0"/>
            <a:ea typeface="Segoe UI" panose="020B0502040204020203" pitchFamily="34" charset="0"/>
            <a:cs typeface="Segoe UI" panose="020B0502040204020203" pitchFamily="34" charset="0"/>
          </a:endParaRPr>
        </a:p>
      </dsp:txBody>
      <dsp:txXfrm>
        <a:off x="3231136" y="1862475"/>
        <a:ext cx="1212304" cy="12123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B72A6-9088-4E13-9448-8BB1BBE22A74}">
      <dsp:nvSpPr>
        <dsp:cNvPr id="0" name=""/>
        <dsp:cNvSpPr/>
      </dsp:nvSpPr>
      <dsp:spPr>
        <a:xfrm>
          <a:off x="624" y="0"/>
          <a:ext cx="1216933" cy="20904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Eliminate</a:t>
          </a:r>
          <a:endParaRPr lang="en-US" sz="1100" b="1" kern="1200" dirty="0">
            <a:latin typeface="Calibiri"/>
          </a:endParaRPr>
        </a:p>
      </dsp:txBody>
      <dsp:txXfrm>
        <a:off x="624" y="0"/>
        <a:ext cx="1164672" cy="209046"/>
      </dsp:txXfrm>
    </dsp:sp>
    <dsp:sp modelId="{38A58AD1-C4E9-42C3-8ABB-5DF7D4C65610}">
      <dsp:nvSpPr>
        <dsp:cNvPr id="0" name=""/>
        <dsp:cNvSpPr/>
      </dsp:nvSpPr>
      <dsp:spPr>
        <a:xfrm>
          <a:off x="974171"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Automate</a:t>
          </a:r>
          <a:endParaRPr lang="en-US" sz="1100" b="1" kern="1200" dirty="0">
            <a:latin typeface="Calibiri"/>
          </a:endParaRPr>
        </a:p>
      </dsp:txBody>
      <dsp:txXfrm>
        <a:off x="1078694" y="0"/>
        <a:ext cx="1007887" cy="209046"/>
      </dsp:txXfrm>
    </dsp:sp>
    <dsp:sp modelId="{3BD99CB3-F566-485C-B59E-73E943225FB2}">
      <dsp:nvSpPr>
        <dsp:cNvPr id="0" name=""/>
        <dsp:cNvSpPr/>
      </dsp:nvSpPr>
      <dsp:spPr>
        <a:xfrm>
          <a:off x="1947718"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Industrialize</a:t>
          </a:r>
          <a:endParaRPr lang="en-US" sz="1100" b="1" kern="1200" dirty="0">
            <a:latin typeface="Calibiri"/>
          </a:endParaRPr>
        </a:p>
      </dsp:txBody>
      <dsp:txXfrm>
        <a:off x="2052241" y="0"/>
        <a:ext cx="1007887" cy="209046"/>
      </dsp:txXfrm>
    </dsp:sp>
    <dsp:sp modelId="{7C1EA474-BE89-44A7-9DBE-0468525F5F9C}">
      <dsp:nvSpPr>
        <dsp:cNvPr id="0" name=""/>
        <dsp:cNvSpPr/>
      </dsp:nvSpPr>
      <dsp:spPr>
        <a:xfrm>
          <a:off x="2921265"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tandardize</a:t>
          </a:r>
          <a:endParaRPr lang="en-US" sz="1100" b="1" kern="1200" dirty="0">
            <a:latin typeface="Calibiri"/>
          </a:endParaRPr>
        </a:p>
      </dsp:txBody>
      <dsp:txXfrm>
        <a:off x="3025788" y="0"/>
        <a:ext cx="1007887" cy="209046"/>
      </dsp:txXfrm>
    </dsp:sp>
    <dsp:sp modelId="{6CA50218-7B3D-4795-8E3C-170D5AAA9F00}">
      <dsp:nvSpPr>
        <dsp:cNvPr id="0" name=""/>
        <dsp:cNvSpPr/>
      </dsp:nvSpPr>
      <dsp:spPr>
        <a:xfrm>
          <a:off x="3895436"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ynergize</a:t>
          </a:r>
          <a:endParaRPr lang="en-US" sz="1100" b="1" kern="1200" dirty="0">
            <a:latin typeface="Calibiri"/>
          </a:endParaRPr>
        </a:p>
      </dsp:txBody>
      <dsp:txXfrm>
        <a:off x="3999959" y="0"/>
        <a:ext cx="1007887" cy="2090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B72A6-9088-4E13-9448-8BB1BBE22A74}">
      <dsp:nvSpPr>
        <dsp:cNvPr id="0" name=""/>
        <dsp:cNvSpPr/>
      </dsp:nvSpPr>
      <dsp:spPr>
        <a:xfrm>
          <a:off x="624" y="0"/>
          <a:ext cx="1216933" cy="20904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Eliminate</a:t>
          </a:r>
          <a:endParaRPr lang="en-US" sz="1100" b="1" kern="1200" dirty="0">
            <a:latin typeface="Calibiri"/>
          </a:endParaRPr>
        </a:p>
      </dsp:txBody>
      <dsp:txXfrm>
        <a:off x="624" y="0"/>
        <a:ext cx="1164672" cy="209046"/>
      </dsp:txXfrm>
    </dsp:sp>
    <dsp:sp modelId="{38A58AD1-C4E9-42C3-8ABB-5DF7D4C65610}">
      <dsp:nvSpPr>
        <dsp:cNvPr id="0" name=""/>
        <dsp:cNvSpPr/>
      </dsp:nvSpPr>
      <dsp:spPr>
        <a:xfrm>
          <a:off x="974171"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Automate</a:t>
          </a:r>
          <a:endParaRPr lang="en-US" sz="1100" b="1" kern="1200" dirty="0">
            <a:latin typeface="Calibiri"/>
          </a:endParaRPr>
        </a:p>
      </dsp:txBody>
      <dsp:txXfrm>
        <a:off x="1078694" y="0"/>
        <a:ext cx="1007887" cy="209046"/>
      </dsp:txXfrm>
    </dsp:sp>
    <dsp:sp modelId="{3BD99CB3-F566-485C-B59E-73E943225FB2}">
      <dsp:nvSpPr>
        <dsp:cNvPr id="0" name=""/>
        <dsp:cNvSpPr/>
      </dsp:nvSpPr>
      <dsp:spPr>
        <a:xfrm>
          <a:off x="1947718"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Industrialize</a:t>
          </a:r>
          <a:endParaRPr lang="en-US" sz="1100" b="1" kern="1200" dirty="0">
            <a:latin typeface="Calibiri"/>
          </a:endParaRPr>
        </a:p>
      </dsp:txBody>
      <dsp:txXfrm>
        <a:off x="2052241" y="0"/>
        <a:ext cx="1007887" cy="209046"/>
      </dsp:txXfrm>
    </dsp:sp>
    <dsp:sp modelId="{7C1EA474-BE89-44A7-9DBE-0468525F5F9C}">
      <dsp:nvSpPr>
        <dsp:cNvPr id="0" name=""/>
        <dsp:cNvSpPr/>
      </dsp:nvSpPr>
      <dsp:spPr>
        <a:xfrm>
          <a:off x="2921265"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tandardize</a:t>
          </a:r>
          <a:endParaRPr lang="en-US" sz="1100" b="1" kern="1200" dirty="0">
            <a:latin typeface="Calibiri"/>
          </a:endParaRPr>
        </a:p>
      </dsp:txBody>
      <dsp:txXfrm>
        <a:off x="3025788" y="0"/>
        <a:ext cx="1007887" cy="209046"/>
      </dsp:txXfrm>
    </dsp:sp>
    <dsp:sp modelId="{6CA50218-7B3D-4795-8E3C-170D5AAA9F00}">
      <dsp:nvSpPr>
        <dsp:cNvPr id="0" name=""/>
        <dsp:cNvSpPr/>
      </dsp:nvSpPr>
      <dsp:spPr>
        <a:xfrm>
          <a:off x="3895436"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ynergize</a:t>
          </a:r>
          <a:endParaRPr lang="en-US" sz="1100" b="1" kern="1200" dirty="0">
            <a:latin typeface="Calibiri"/>
          </a:endParaRPr>
        </a:p>
      </dsp:txBody>
      <dsp:txXfrm>
        <a:off x="3999959" y="0"/>
        <a:ext cx="1007887" cy="20904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B72A6-9088-4E13-9448-8BB1BBE22A74}">
      <dsp:nvSpPr>
        <dsp:cNvPr id="0" name=""/>
        <dsp:cNvSpPr/>
      </dsp:nvSpPr>
      <dsp:spPr>
        <a:xfrm>
          <a:off x="624" y="0"/>
          <a:ext cx="1216933" cy="20904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Eliminate</a:t>
          </a:r>
          <a:endParaRPr lang="en-US" sz="1100" b="1" kern="1200" dirty="0">
            <a:latin typeface="Calibiri"/>
          </a:endParaRPr>
        </a:p>
      </dsp:txBody>
      <dsp:txXfrm>
        <a:off x="624" y="0"/>
        <a:ext cx="1164672" cy="209046"/>
      </dsp:txXfrm>
    </dsp:sp>
    <dsp:sp modelId="{38A58AD1-C4E9-42C3-8ABB-5DF7D4C65610}">
      <dsp:nvSpPr>
        <dsp:cNvPr id="0" name=""/>
        <dsp:cNvSpPr/>
      </dsp:nvSpPr>
      <dsp:spPr>
        <a:xfrm>
          <a:off x="974171"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Automate</a:t>
          </a:r>
          <a:endParaRPr lang="en-US" sz="1100" b="1" kern="1200" dirty="0">
            <a:latin typeface="Calibiri"/>
          </a:endParaRPr>
        </a:p>
      </dsp:txBody>
      <dsp:txXfrm>
        <a:off x="1078694" y="0"/>
        <a:ext cx="1007887" cy="209046"/>
      </dsp:txXfrm>
    </dsp:sp>
    <dsp:sp modelId="{3BD99CB3-F566-485C-B59E-73E943225FB2}">
      <dsp:nvSpPr>
        <dsp:cNvPr id="0" name=""/>
        <dsp:cNvSpPr/>
      </dsp:nvSpPr>
      <dsp:spPr>
        <a:xfrm>
          <a:off x="1947718"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Industrialize</a:t>
          </a:r>
          <a:endParaRPr lang="en-US" sz="1100" b="1" kern="1200" dirty="0">
            <a:latin typeface="Calibiri"/>
          </a:endParaRPr>
        </a:p>
      </dsp:txBody>
      <dsp:txXfrm>
        <a:off x="2052241" y="0"/>
        <a:ext cx="1007887" cy="209046"/>
      </dsp:txXfrm>
    </dsp:sp>
    <dsp:sp modelId="{7C1EA474-BE89-44A7-9DBE-0468525F5F9C}">
      <dsp:nvSpPr>
        <dsp:cNvPr id="0" name=""/>
        <dsp:cNvSpPr/>
      </dsp:nvSpPr>
      <dsp:spPr>
        <a:xfrm>
          <a:off x="2921265"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tandardize</a:t>
          </a:r>
          <a:endParaRPr lang="en-US" sz="1100" b="1" kern="1200" dirty="0">
            <a:latin typeface="Calibiri"/>
          </a:endParaRPr>
        </a:p>
      </dsp:txBody>
      <dsp:txXfrm>
        <a:off x="3025788" y="0"/>
        <a:ext cx="1007887" cy="209046"/>
      </dsp:txXfrm>
    </dsp:sp>
    <dsp:sp modelId="{6CA50218-7B3D-4795-8E3C-170D5AAA9F00}">
      <dsp:nvSpPr>
        <dsp:cNvPr id="0" name=""/>
        <dsp:cNvSpPr/>
      </dsp:nvSpPr>
      <dsp:spPr>
        <a:xfrm>
          <a:off x="3895436" y="0"/>
          <a:ext cx="1216933" cy="209046"/>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b="1" kern="1200" dirty="0" smtClean="0">
              <a:latin typeface="Calibiri"/>
            </a:rPr>
            <a:t>Synergize</a:t>
          </a:r>
          <a:endParaRPr lang="en-US" sz="1100" b="1" kern="1200" dirty="0">
            <a:latin typeface="Calibiri"/>
          </a:endParaRPr>
        </a:p>
      </dsp:txBody>
      <dsp:txXfrm>
        <a:off x="3999959" y="0"/>
        <a:ext cx="1007887" cy="20904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86F37A-3DF8-4194-A2A4-1DE5FF70699C}" type="datetimeFigureOut">
              <a:rPr lang="en-US" smtClean="0"/>
              <a:t>5/7/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C82B77-8A19-452D-AA02-F69EF9F85F39}" type="slidenum">
              <a:rPr lang="en-US" smtClean="0"/>
              <a:t>‹#›</a:t>
            </a:fld>
            <a:endParaRPr lang="en-US"/>
          </a:p>
        </p:txBody>
      </p:sp>
    </p:spTree>
    <p:extLst>
      <p:ext uri="{BB962C8B-B14F-4D97-AF65-F5344CB8AC3E}">
        <p14:creationId xmlns:p14="http://schemas.microsoft.com/office/powerpoint/2010/main" val="3677047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456968-6974-451D-BDA1-617622BCA9C5}" type="datetimeFigureOut">
              <a:rPr lang="en-US" smtClean="0"/>
              <a:t>5/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C66830-246B-41CC-B487-4ED13D03EB04}" type="slidenum">
              <a:rPr lang="en-US" smtClean="0"/>
              <a:t>‹#›</a:t>
            </a:fld>
            <a:endParaRPr lang="en-US"/>
          </a:p>
        </p:txBody>
      </p:sp>
    </p:spTree>
    <p:extLst>
      <p:ext uri="{BB962C8B-B14F-4D97-AF65-F5344CB8AC3E}">
        <p14:creationId xmlns:p14="http://schemas.microsoft.com/office/powerpoint/2010/main" val="1460790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7905BC-F272-40D6-9BFC-163F27ED5487}" type="slidenum">
              <a:rPr lang="en-US" smtClean="0"/>
              <a:t>2</a:t>
            </a:fld>
            <a:endParaRPr lang="en-US"/>
          </a:p>
        </p:txBody>
      </p:sp>
    </p:spTree>
    <p:extLst>
      <p:ext uri="{BB962C8B-B14F-4D97-AF65-F5344CB8AC3E}">
        <p14:creationId xmlns:p14="http://schemas.microsoft.com/office/powerpoint/2010/main" val="2391245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39</a:t>
            </a:fld>
            <a:endParaRPr lang="en-US" dirty="0"/>
          </a:p>
        </p:txBody>
      </p:sp>
    </p:spTree>
    <p:extLst>
      <p:ext uri="{BB962C8B-B14F-4D97-AF65-F5344CB8AC3E}">
        <p14:creationId xmlns:p14="http://schemas.microsoft.com/office/powerpoint/2010/main" val="3176110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9"/>
        <p:cNvGrpSpPr/>
        <p:nvPr/>
      </p:nvGrpSpPr>
      <p:grpSpPr>
        <a:xfrm>
          <a:off x="0" y="0"/>
          <a:ext cx="0" cy="0"/>
          <a:chOff x="0" y="0"/>
          <a:chExt cx="0" cy="0"/>
        </a:xfrm>
      </p:grpSpPr>
      <p:sp>
        <p:nvSpPr>
          <p:cNvPr id="1170" name="Shape 1170"/>
          <p:cNvSpPr>
            <a:spLocks noGrp="1" noRot="1" noChangeAspect="1"/>
          </p:cNvSpPr>
          <p:nvPr>
            <p:ph type="sldImg" idx="2"/>
          </p:nvPr>
        </p:nvSpPr>
        <p:spPr>
          <a:xfrm>
            <a:off x="1606550" y="685800"/>
            <a:ext cx="3702050" cy="20828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71" name="Shape 1171"/>
          <p:cNvSpPr txBox="1">
            <a:spLocks noGrp="1"/>
          </p:cNvSpPr>
          <p:nvPr>
            <p:ph type="body" idx="1"/>
          </p:nvPr>
        </p:nvSpPr>
        <p:spPr>
          <a:xfrm>
            <a:off x="295171" y="2972430"/>
            <a:ext cx="6267560" cy="5793620"/>
          </a:xfrm>
          <a:prstGeom prst="rect">
            <a:avLst/>
          </a:prstGeom>
        </p:spPr>
        <p:txBody>
          <a:bodyPr lIns="90556" tIns="90556" rIns="90556" bIns="90556" anchor="t" anchorCtr="0">
            <a:noAutofit/>
          </a:bodyPr>
          <a:lstStyle/>
          <a:p>
            <a:pPr>
              <a:buNone/>
            </a:pPr>
            <a:endParaRPr dirty="0"/>
          </a:p>
        </p:txBody>
      </p:sp>
    </p:spTree>
    <p:extLst>
      <p:ext uri="{BB962C8B-B14F-4D97-AF65-F5344CB8AC3E}">
        <p14:creationId xmlns:p14="http://schemas.microsoft.com/office/powerpoint/2010/main" val="4134768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9110E8-66B8-48E0-8C5A-A561A1535063}" type="slidenum">
              <a:rPr lang="en-US" smtClean="0"/>
              <a:t>59</a:t>
            </a:fld>
            <a:endParaRPr lang="en-US"/>
          </a:p>
        </p:txBody>
      </p:sp>
    </p:spTree>
    <p:extLst>
      <p:ext uri="{BB962C8B-B14F-4D97-AF65-F5344CB8AC3E}">
        <p14:creationId xmlns:p14="http://schemas.microsoft.com/office/powerpoint/2010/main" val="10889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0</a:t>
            </a:fld>
            <a:endParaRPr lang="en-US" dirty="0"/>
          </a:p>
        </p:txBody>
      </p:sp>
    </p:spTree>
    <p:extLst>
      <p:ext uri="{BB962C8B-B14F-4D97-AF65-F5344CB8AC3E}">
        <p14:creationId xmlns:p14="http://schemas.microsoft.com/office/powerpoint/2010/main" val="292549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3D1A3F-E26F-0746-9C91-BACD508E813C}" type="slidenum">
              <a:rPr lang="en-US" smtClean="0"/>
              <a:pPr/>
              <a:t>66</a:t>
            </a:fld>
            <a:endParaRPr lang="en-US" dirty="0"/>
          </a:p>
        </p:txBody>
      </p:sp>
    </p:spTree>
    <p:extLst>
      <p:ext uri="{BB962C8B-B14F-4D97-AF65-F5344CB8AC3E}">
        <p14:creationId xmlns:p14="http://schemas.microsoft.com/office/powerpoint/2010/main" val="3440353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8</a:t>
            </a:fld>
            <a:endParaRPr lang="en-US" dirty="0"/>
          </a:p>
        </p:txBody>
      </p:sp>
    </p:spTree>
    <p:extLst>
      <p:ext uri="{BB962C8B-B14F-4D97-AF65-F5344CB8AC3E}">
        <p14:creationId xmlns:p14="http://schemas.microsoft.com/office/powerpoint/2010/main" val="38920321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9</a:t>
            </a:fld>
            <a:endParaRPr lang="en-US" dirty="0"/>
          </a:p>
        </p:txBody>
      </p:sp>
    </p:spTree>
    <p:extLst>
      <p:ext uri="{BB962C8B-B14F-4D97-AF65-F5344CB8AC3E}">
        <p14:creationId xmlns:p14="http://schemas.microsoft.com/office/powerpoint/2010/main" val="2918248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70</a:t>
            </a:fld>
            <a:endParaRPr lang="en-US" dirty="0"/>
          </a:p>
        </p:txBody>
      </p:sp>
    </p:spTree>
    <p:extLst>
      <p:ext uri="{BB962C8B-B14F-4D97-AF65-F5344CB8AC3E}">
        <p14:creationId xmlns:p14="http://schemas.microsoft.com/office/powerpoint/2010/main" val="3573878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73</a:t>
            </a:fld>
            <a:endParaRPr lang="en-US"/>
          </a:p>
        </p:txBody>
      </p:sp>
    </p:spTree>
    <p:extLst>
      <p:ext uri="{BB962C8B-B14F-4D97-AF65-F5344CB8AC3E}">
        <p14:creationId xmlns:p14="http://schemas.microsoft.com/office/powerpoint/2010/main" val="2092138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 Intake Process</a:t>
            </a:r>
          </a:p>
          <a:p>
            <a:r>
              <a:rPr lang="en-US" dirty="0"/>
              <a:t>Boiler Templates Repository</a:t>
            </a:r>
          </a:p>
          <a:p>
            <a:r>
              <a:rPr lang="en-US" dirty="0"/>
              <a:t>Pattern Identification and Augmentation of templates – </a:t>
            </a:r>
            <a:r>
              <a:rPr lang="en-US" dirty="0" err="1"/>
              <a:t>Continous</a:t>
            </a:r>
            <a:r>
              <a:rPr lang="en-US" dirty="0"/>
              <a:t> process.. How are we going to enable this…</a:t>
            </a:r>
          </a:p>
          <a:p>
            <a:r>
              <a:rPr lang="en-US" dirty="0"/>
              <a:t>Quick Start Documentation – Training and Development</a:t>
            </a:r>
          </a:p>
          <a:p>
            <a:r>
              <a:rPr lang="en-US" dirty="0"/>
              <a:t>Can we include VSM tool for Core Modernization?</a:t>
            </a:r>
          </a:p>
          <a:p>
            <a:endParaRPr lang="en-US" dirty="0"/>
          </a:p>
        </p:txBody>
      </p:sp>
      <p:sp>
        <p:nvSpPr>
          <p:cNvPr id="4" name="Slide Number Placeholder 3"/>
          <p:cNvSpPr>
            <a:spLocks noGrp="1"/>
          </p:cNvSpPr>
          <p:nvPr>
            <p:ph type="sldNum" sz="quarter" idx="5"/>
          </p:nvPr>
        </p:nvSpPr>
        <p:spPr/>
        <p:txBody>
          <a:bodyPr/>
          <a:lstStyle/>
          <a:p>
            <a:fld id="{BBEE008E-DDE3-ED4E-9C0C-44216F9C2277}" type="slidenum">
              <a:rPr lang="en-US" smtClean="0"/>
              <a:t>74</a:t>
            </a:fld>
            <a:endParaRPr lang="en-US"/>
          </a:p>
        </p:txBody>
      </p:sp>
    </p:spTree>
    <p:extLst>
      <p:ext uri="{BB962C8B-B14F-4D97-AF65-F5344CB8AC3E}">
        <p14:creationId xmlns:p14="http://schemas.microsoft.com/office/powerpoint/2010/main" val="4097558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dirty="0"/>
              <a:t>Minimized business risk – Drive transition in first 6 months, to minimize resource loss due to attrition. Move to SaaS model to drive operations in line with business need. </a:t>
            </a:r>
          </a:p>
          <a:p>
            <a:r>
              <a:rPr lang="en-US" sz="1200" dirty="0"/>
              <a:t>Reduced applications and service desk labor – Automation, ipsoft, self service, avoidance of calls through XX (SD)</a:t>
            </a:r>
          </a:p>
          <a:p>
            <a:r>
              <a:rPr lang="en-US" sz="1200" dirty="0"/>
              <a:t>applications footprint transformation – Legacy move from mainframe to new tech, consolidation,  SaaS moves for enterprise apps, SaaS moves for end user apps, Housekeeping oppty, </a:t>
            </a:r>
          </a:p>
          <a:p>
            <a:r>
              <a:rPr lang="en-US" sz="1200" dirty="0"/>
              <a:t>Reduced infra labor – efficient device to labor ratios, consolidation /optimization onto underutilized Wintel/AiX landscapes, </a:t>
            </a:r>
          </a:p>
          <a:p>
            <a:r>
              <a:rPr lang="en-US" sz="1200" dirty="0"/>
              <a:t>Infra footprint transformation -  tools rationalization, asset and license optimization, use of Cognizant DC services and hosting, network optimization, end user device servicing optimization</a:t>
            </a:r>
          </a:p>
          <a:p>
            <a:r>
              <a:rPr lang="en-US" sz="1200" dirty="0"/>
              <a:t>Self funded transformation through early savings in Year X</a:t>
            </a:r>
          </a:p>
          <a:p>
            <a:endParaRPr lang="en-US" sz="1200" dirty="0"/>
          </a:p>
          <a:p>
            <a:endParaRPr lang="en-US" dirty="0"/>
          </a:p>
        </p:txBody>
      </p:sp>
      <p:sp>
        <p:nvSpPr>
          <p:cNvPr id="4" name="Slide Number Placeholder 3"/>
          <p:cNvSpPr>
            <a:spLocks noGrp="1"/>
          </p:cNvSpPr>
          <p:nvPr>
            <p:ph type="sldNum" sz="quarter" idx="10"/>
          </p:nvPr>
        </p:nvSpPr>
        <p:spPr/>
        <p:txBody>
          <a:bodyPr/>
          <a:lstStyle/>
          <a:p>
            <a:pPr>
              <a:defRPr/>
            </a:pPr>
            <a:fld id="{38813A1D-92A8-4597-B6F5-E0E35469CB7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28935991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NOTE THIS SECTION IS A WIP ** To</a:t>
            </a:r>
            <a:r>
              <a:rPr lang="en-US" baseline="0" dirty="0" smtClean="0"/>
              <a:t> understand why Marriott is undertaking this change in ADM structure, it is important for us to know Marriott’s current state. The last time Marriott re-wrote their </a:t>
            </a:r>
            <a:r>
              <a:rPr lang="en-US" dirty="0" smtClean="0"/>
              <a:t>ADM contracts (2012) the application portfolio was full of silos, there</a:t>
            </a:r>
            <a:r>
              <a:rPr lang="en-US" baseline="0" dirty="0" smtClean="0"/>
              <a:t> was </a:t>
            </a:r>
            <a:r>
              <a:rPr lang="en-US" dirty="0" smtClean="0"/>
              <a:t>lots of mainframe technologies built by different teams on different stacks, with basically relatively rudimentary interfaces back and forth,  teams copied data back and forth between them, and</a:t>
            </a:r>
            <a:r>
              <a:rPr lang="en-US" baseline="0" dirty="0" smtClean="0"/>
              <a:t> </a:t>
            </a:r>
            <a:r>
              <a:rPr lang="en-US" dirty="0" smtClean="0"/>
              <a:t>had numerous development heads who were all going their different ways, and there was lots of legacy technology.  Since</a:t>
            </a:r>
            <a:r>
              <a:rPr lang="en-US" baseline="0" dirty="0" smtClean="0"/>
              <a:t> 2012 Marriott has experienced massive business and technology transformation, the pace of technology has rapidly accelerated, Marriott has been impacted by combining variable and non-variable workloads into one agreement, and has found they have spent too much effort into too few area.  Given Marriott has grown from being a $12B company to a $48B company during that period, your production support processes have been maturing too slowly.</a:t>
            </a:r>
            <a:endParaRPr lang="en-US" dirty="0" smtClean="0"/>
          </a:p>
          <a:p>
            <a:endParaRPr lang="en-US" dirty="0" smtClean="0"/>
          </a:p>
          <a:p>
            <a:r>
              <a:rPr lang="en-US" b="1" u="sng" dirty="0" smtClean="0"/>
              <a:t>Text</a:t>
            </a:r>
            <a:r>
              <a:rPr lang="en-US" dirty="0" smtClean="0"/>
              <a:t> - Text</a:t>
            </a:r>
          </a:p>
          <a:p>
            <a:endParaRPr lang="en-US" dirty="0" smtClean="0"/>
          </a:p>
          <a:p>
            <a:r>
              <a:rPr lang="en-US" b="1" u="sng" dirty="0" smtClean="0"/>
              <a:t>Text </a:t>
            </a:r>
            <a:r>
              <a:rPr lang="en-US" dirty="0" smtClean="0"/>
              <a:t>- Text</a:t>
            </a:r>
          </a:p>
          <a:p>
            <a:endParaRPr lang="en-US" dirty="0" smtClean="0"/>
          </a:p>
          <a:p>
            <a:r>
              <a:rPr lang="en-US" b="1" u="sng" dirty="0" smtClean="0"/>
              <a:t>Text</a:t>
            </a:r>
            <a:r>
              <a:rPr lang="en-US" dirty="0" smtClean="0"/>
              <a:t> - Text</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727905BC-F272-40D6-9BFC-163F27ED5487}" type="slidenum">
              <a:rPr lang="en-US" smtClean="0"/>
              <a:t>76</a:t>
            </a:fld>
            <a:endParaRPr lang="en-US"/>
          </a:p>
        </p:txBody>
      </p:sp>
    </p:spTree>
    <p:extLst>
      <p:ext uri="{BB962C8B-B14F-4D97-AF65-F5344CB8AC3E}">
        <p14:creationId xmlns:p14="http://schemas.microsoft.com/office/powerpoint/2010/main" val="2892903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u="none" dirty="0" smtClean="0">
                <a:solidFill>
                  <a:srgbClr val="FF0000"/>
                </a:solidFill>
              </a:rPr>
              <a:t>** NOTE THIS SECTIO</a:t>
            </a:r>
            <a:r>
              <a:rPr lang="en-US" b="1" i="1" u="none" baseline="0" dirty="0" smtClean="0">
                <a:solidFill>
                  <a:srgbClr val="FF0000"/>
                </a:solidFill>
              </a:rPr>
              <a:t>N IS A WIP ** Making sure we understand the outcomes Marriott needs to achieve as a result of launching these RFPs, </a:t>
            </a:r>
            <a:r>
              <a:rPr lang="en-US" b="1" u="none" dirty="0" smtClean="0"/>
              <a:t> allow me to list some of them below to confirm our understanding:</a:t>
            </a:r>
          </a:p>
          <a:p>
            <a:endParaRPr lang="en-US" b="1" u="none" dirty="0" smtClean="0"/>
          </a:p>
          <a:p>
            <a:r>
              <a:rPr lang="en-US" b="0" u="none" dirty="0" smtClean="0"/>
              <a:t>1. Marriott </a:t>
            </a:r>
            <a:r>
              <a:rPr lang="en-US" b="1" u="none" dirty="0" smtClean="0"/>
              <a:t>is</a:t>
            </a:r>
            <a:r>
              <a:rPr lang="en-US" b="1" u="none" baseline="0" dirty="0" smtClean="0"/>
              <a:t> </a:t>
            </a:r>
            <a:r>
              <a:rPr lang="en-US" b="1" u="none" dirty="0" smtClean="0"/>
              <a:t>pivoting from a tower-based vertical structure to a horizontal service management-based structure</a:t>
            </a:r>
            <a:r>
              <a:rPr lang="en-US" b="0" u="none" dirty="0" smtClean="0"/>
              <a:t>, with the goal of driving process standardization across towers and suppliers. </a:t>
            </a:r>
          </a:p>
          <a:p>
            <a:endParaRPr lang="en-US" b="1" u="sng" dirty="0" smtClean="0"/>
          </a:p>
          <a:p>
            <a:endParaRPr lang="en-US" b="1" u="sng" dirty="0" smtClean="0"/>
          </a:p>
          <a:p>
            <a:r>
              <a:rPr lang="en-US" b="1" u="sng" dirty="0" smtClean="0"/>
              <a:t>2. More Flexibility</a:t>
            </a:r>
            <a:r>
              <a:rPr lang="en-US" dirty="0" smtClean="0"/>
              <a:t> - Marriott’s corporate goal is to continue to transform into more of a technology company. Cannot predict what new technologies we are going to need in 2019, let alone 2020, or 2021. You need more flexibility in adopting new technologies, there will be a project that will come up, we will do an evaluation, we will surface a new partner, a new platform, a new product, that we do not have today that we need to embrace, we need to have a structure that allows me to not be constrained by that.</a:t>
            </a:r>
          </a:p>
          <a:p>
            <a:endParaRPr lang="en-US" dirty="0" smtClean="0"/>
          </a:p>
          <a:p>
            <a:r>
              <a:rPr lang="en-US" b="1" u="sng" dirty="0" smtClean="0"/>
              <a:t>3. More Stability</a:t>
            </a:r>
            <a:r>
              <a:rPr lang="en-US" dirty="0" smtClean="0"/>
              <a:t> - Reverse trend around the incidents and change related problems. We are looking to align much better with the industry in terms of ITSM processes than we have in the past and you will see that reflected through the rest of the deck but ultimately we need to create if we think about how much revenue we process every second, we think about how many guests we engage with every second, we need to think about how many new loyalty members sign up every second, we need to think about things on a much more critical basis.  Our SLAs/SLOs for our current systems are insufficient, we are addressing that to get them into multi-site, high availability architectures we also must create and have the appropriate support processes and teams underneath them to keep them running at this.  We are going to see more and more systems demand 99.999 availability with global replication we are designing for that we need to have teams and processes that support that as well. </a:t>
            </a:r>
          </a:p>
          <a:p>
            <a:endParaRPr lang="en-US" b="1" dirty="0" smtClean="0"/>
          </a:p>
          <a:p>
            <a:r>
              <a:rPr lang="en-US" b="1" dirty="0" smtClean="0"/>
              <a:t>3. Flexibility and Stability must be achieved while gaining scale, velocity, introduce innovation </a:t>
            </a:r>
          </a:p>
          <a:p>
            <a:endParaRPr lang="en-US" dirty="0" smtClean="0"/>
          </a:p>
          <a:p>
            <a:r>
              <a:rPr lang="en-US" b="1" u="sng" dirty="0" smtClean="0"/>
              <a:t>4. Cost Effective </a:t>
            </a:r>
            <a:r>
              <a:rPr lang="en-US" dirty="0" smtClean="0"/>
              <a:t>- Marriott seeks a partner who delivers the highest value and return on investment against</a:t>
            </a:r>
            <a:r>
              <a:rPr lang="en-US" baseline="0" dirty="0" smtClean="0"/>
              <a:t> cost for services </a:t>
            </a:r>
            <a:r>
              <a:rPr lang="en-US" dirty="0" smtClean="0"/>
              <a:t>in line with Marriott’s $50B</a:t>
            </a:r>
            <a:r>
              <a:rPr lang="en-US" baseline="0" dirty="0" smtClean="0"/>
              <a:t> market cap and </a:t>
            </a:r>
            <a:r>
              <a:rPr lang="en-US" dirty="0" smtClean="0"/>
              <a:t>largest hotel chain in the world.</a:t>
            </a:r>
          </a:p>
          <a:p>
            <a:endParaRPr lang="en-US" dirty="0" smtClean="0"/>
          </a:p>
          <a:p>
            <a:r>
              <a:rPr lang="en-US" sz="1200" b="1" dirty="0" smtClean="0">
                <a:solidFill>
                  <a:schemeClr val="accent2"/>
                </a:solidFill>
                <a:cs typeface="Arial" panose="020B0604020202020204" pitchFamily="34" charset="0"/>
              </a:rPr>
              <a:t>5. Rapid Business and Technology Transformation – </a:t>
            </a:r>
            <a:r>
              <a:rPr lang="en-US" sz="1200" b="0" dirty="0" smtClean="0">
                <a:solidFill>
                  <a:schemeClr val="accent2"/>
                </a:solidFill>
                <a:cs typeface="Arial" panose="020B0604020202020204" pitchFamily="34" charset="0"/>
              </a:rPr>
              <a:t>There is actually more change in front of Marriott over</a:t>
            </a:r>
            <a:r>
              <a:rPr lang="en-US" sz="1200" b="0" baseline="0" dirty="0" smtClean="0">
                <a:solidFill>
                  <a:schemeClr val="accent2"/>
                </a:solidFill>
                <a:cs typeface="Arial" panose="020B0604020202020204" pitchFamily="34" charset="0"/>
              </a:rPr>
              <a:t> the </a:t>
            </a:r>
            <a:r>
              <a:rPr lang="en-US" sz="1200" b="0" dirty="0" smtClean="0">
                <a:solidFill>
                  <a:schemeClr val="accent2"/>
                </a:solidFill>
                <a:cs typeface="Arial" panose="020B0604020202020204" pitchFamily="34" charset="0"/>
              </a:rPr>
              <a:t>next 5 years than there has been over the last 5 years (with the Starwood acquisition)!  Shocking to most people given what Marriott</a:t>
            </a:r>
            <a:r>
              <a:rPr lang="en-US" sz="1200" b="0" baseline="0" dirty="0" smtClean="0">
                <a:solidFill>
                  <a:schemeClr val="accent2"/>
                </a:solidFill>
                <a:cs typeface="Arial" panose="020B0604020202020204" pitchFamily="34" charset="0"/>
              </a:rPr>
              <a:t> has </a:t>
            </a:r>
            <a:r>
              <a:rPr lang="en-US" sz="1200" b="0" dirty="0" smtClean="0">
                <a:solidFill>
                  <a:schemeClr val="accent2"/>
                </a:solidFill>
                <a:cs typeface="Arial" panose="020B0604020202020204" pitchFamily="34" charset="0"/>
              </a:rPr>
              <a:t>been through in terms of both the business and technology transformation, but the reality is, we are still in the infancy of the transformation of Marriott. </a:t>
            </a:r>
          </a:p>
          <a:p>
            <a:endParaRPr lang="en-US" dirty="0" smtClean="0"/>
          </a:p>
          <a:p>
            <a:r>
              <a:rPr lang="en-US" dirty="0" smtClean="0"/>
              <a:t>6.  </a:t>
            </a:r>
            <a:r>
              <a:rPr lang="en-US" b="1" dirty="0" smtClean="0"/>
              <a:t>Improved Planning, Knowledge, and Artifacts - </a:t>
            </a:r>
            <a:r>
              <a:rPr lang="en-US" b="0" dirty="0" smtClean="0"/>
              <a:t>We need to improve our planning, knowledge and our artifacts around our production environments. Marriott today can’t produce an artifact/document that has our technology architecture in it, generally we do not have those artifacts. Generally we do not capture information around our systems. that should be an expectation, Marriott is a world class company and deserves world class IT.  </a:t>
            </a:r>
          </a:p>
          <a:p>
            <a:endParaRPr lang="en-US" dirty="0" smtClean="0"/>
          </a:p>
          <a:p>
            <a:pPr marL="228600" indent="-228600">
              <a:buAutoNum type="arabicPeriod" startAt="7"/>
            </a:pPr>
            <a:r>
              <a:rPr lang="en-US" b="1" dirty="0" smtClean="0"/>
              <a:t>Foster Associate Career Growth and Maturity –  </a:t>
            </a:r>
            <a:r>
              <a:rPr lang="en-US" b="0" dirty="0" smtClean="0"/>
              <a:t>Out of this structural change, Marriott wants to create more flexibility for people to gain a broader set of skills and look for opportunities across Marriott so that’s true on my associates side I have a commitment to my associates on these teams that they are going to have opportunities to grow their careers as part of this evolution</a:t>
            </a:r>
          </a:p>
          <a:p>
            <a:pPr marL="228600" indent="-228600">
              <a:buAutoNum type="arabicPeriod" startAt="7"/>
            </a:pPr>
            <a:endParaRPr lang="en-US" b="1" dirty="0" smtClean="0"/>
          </a:p>
          <a:p>
            <a:pPr marL="228600" indent="-228600">
              <a:buAutoNum type="arabicPeriod" startAt="7"/>
            </a:pPr>
            <a:r>
              <a:rPr lang="en-US" b="1" dirty="0" smtClean="0"/>
              <a:t>Improved Production Support</a:t>
            </a:r>
            <a:r>
              <a:rPr lang="en-US" b="1" baseline="0" dirty="0" smtClean="0"/>
              <a:t> Metrics – </a:t>
            </a:r>
            <a:r>
              <a:rPr lang="en-US" b="0" baseline="0" dirty="0" smtClean="0"/>
              <a:t>Marriott needs to drive significant improvements in MTTR to drive substantial improvements in problem management resolution and root cause, to substantially improve their monitoring hits for proactive resolution.  Marriott’s MTTR today for their online systems that is over 2 hours for a </a:t>
            </a:r>
            <a:r>
              <a:rPr lang="en-US" b="0" baseline="0" dirty="0" err="1" smtClean="0"/>
              <a:t>seg</a:t>
            </a:r>
            <a:r>
              <a:rPr lang="en-US" b="0" baseline="0" dirty="0" smtClean="0"/>
              <a:t> 1 incident. That is unacceptable. </a:t>
            </a:r>
            <a:endParaRPr lang="en-US" b="0" dirty="0" smtClean="0"/>
          </a:p>
          <a:p>
            <a:endParaRPr lang="en-US" dirty="0" smtClean="0"/>
          </a:p>
          <a:p>
            <a:r>
              <a:rPr lang="en-US" b="1" u="sng" dirty="0" smtClean="0"/>
              <a:t>8. Win The Guest Experience Battle</a:t>
            </a:r>
            <a:r>
              <a:rPr lang="en-US" dirty="0" smtClean="0"/>
              <a:t> - Marriott sees this as being a war with the major consumer platforms, for the ownership of the guest experience, we do not want to be behind Apple and Google who own 80% of the world’s eyeballs with Android and iOS, we do not want to be a concrete box that is sold as a commodity behind an app store that is on a mobile device owned by somebody else, We need to have a value proposition, not just of our on-property experiences but through our digital world as well, through our channels, through our guest service, through our reservations capability, through our in-room guest technology, that is unparalleled in the industry, this is really the only way that we are going to have a good defensive strategy against </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1" i="1" u="none" dirty="0" smtClean="0">
                <a:solidFill>
                  <a:srgbClr val="FF0000"/>
                </a:solidFill>
              </a:rPr>
              <a:t>As Cognizant carefully considered our solutions to this RFP, we made sure to account for these </a:t>
            </a:r>
            <a:r>
              <a:rPr lang="en-US" b="1" i="1" u="none" baseline="0" dirty="0" smtClean="0">
                <a:solidFill>
                  <a:srgbClr val="FF0000"/>
                </a:solidFill>
              </a:rPr>
              <a:t>key future state elements and will be addressing them as we proceed with our presentation today.</a:t>
            </a:r>
            <a:endParaRPr lang="en-US" b="1" i="1" dirty="0">
              <a:solidFill>
                <a:srgbClr val="FF0000"/>
              </a:solidFill>
            </a:endParaRPr>
          </a:p>
        </p:txBody>
      </p:sp>
      <p:sp>
        <p:nvSpPr>
          <p:cNvPr id="4" name="Slide Number Placeholder 3"/>
          <p:cNvSpPr>
            <a:spLocks noGrp="1"/>
          </p:cNvSpPr>
          <p:nvPr>
            <p:ph type="sldNum" sz="quarter" idx="10"/>
          </p:nvPr>
        </p:nvSpPr>
        <p:spPr/>
        <p:txBody>
          <a:bodyPr/>
          <a:lstStyle/>
          <a:p>
            <a:fld id="{727905BC-F272-40D6-9BFC-163F27ED5487}" type="slidenum">
              <a:rPr lang="en-US" smtClean="0"/>
              <a:t>77</a:t>
            </a:fld>
            <a:endParaRPr lang="en-US"/>
          </a:p>
        </p:txBody>
      </p:sp>
    </p:spTree>
    <p:extLst>
      <p:ext uri="{BB962C8B-B14F-4D97-AF65-F5344CB8AC3E}">
        <p14:creationId xmlns:p14="http://schemas.microsoft.com/office/powerpoint/2010/main" val="15993823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C66830-246B-41CC-B487-4ED13D03EB04}" type="slidenum">
              <a:rPr lang="en-US" smtClean="0"/>
              <a:t>80</a:t>
            </a:fld>
            <a:endParaRPr lang="en-US"/>
          </a:p>
        </p:txBody>
      </p:sp>
    </p:spTree>
    <p:extLst>
      <p:ext uri="{BB962C8B-B14F-4D97-AF65-F5344CB8AC3E}">
        <p14:creationId xmlns:p14="http://schemas.microsoft.com/office/powerpoint/2010/main" val="103541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85321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84</a:t>
            </a:fld>
            <a:endParaRPr lang="en-US" dirty="0"/>
          </a:p>
        </p:txBody>
      </p:sp>
    </p:spTree>
    <p:extLst>
      <p:ext uri="{BB962C8B-B14F-4D97-AF65-F5344CB8AC3E}">
        <p14:creationId xmlns:p14="http://schemas.microsoft.com/office/powerpoint/2010/main" val="1583240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440B476F-0743-4167-A939-ECD46CA6A50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9424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dded - </a:t>
            </a:r>
            <a:r>
              <a:rPr lang="en-US" sz="1200" kern="0" dirty="0">
                <a:solidFill>
                  <a:srgbClr val="000000">
                    <a:lumMod val="65000"/>
                    <a:lumOff val="35000"/>
                  </a:srgbClr>
                </a:solidFill>
                <a:latin typeface="Calibri" panose="020F0502020204030204" pitchFamily="34" charset="0"/>
                <a:cs typeface="Calibri" panose="020F0502020204030204" pitchFamily="34" charset="0"/>
              </a:rPr>
              <a:t>Staffed with media engineering and video domain experts</a:t>
            </a:r>
          </a:p>
        </p:txBody>
      </p:sp>
      <p:sp>
        <p:nvSpPr>
          <p:cNvPr id="4" name="Slide Number Placeholder 3"/>
          <p:cNvSpPr>
            <a:spLocks noGrp="1"/>
          </p:cNvSpPr>
          <p:nvPr>
            <p:ph type="sldNum" sz="quarter" idx="5"/>
          </p:nvPr>
        </p:nvSpPr>
        <p:spPr/>
        <p:txBody>
          <a:bodyPr/>
          <a:lstStyle/>
          <a:p>
            <a:fld id="{B02D6E04-3A2F-4B48-A297-666578EDF1B3}" type="slidenum">
              <a:rPr lang="en-US" smtClean="0"/>
              <a:t>21</a:t>
            </a:fld>
            <a:endParaRPr lang="en-US" dirty="0"/>
          </a:p>
        </p:txBody>
      </p:sp>
    </p:spTree>
    <p:extLst>
      <p:ext uri="{BB962C8B-B14F-4D97-AF65-F5344CB8AC3E}">
        <p14:creationId xmlns:p14="http://schemas.microsoft.com/office/powerpoint/2010/main" val="3214363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C66830-246B-41CC-B487-4ED13D03EB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680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29</a:t>
            </a:fld>
            <a:endParaRPr lang="en-US" dirty="0"/>
          </a:p>
        </p:txBody>
      </p:sp>
    </p:spTree>
    <p:extLst>
      <p:ext uri="{BB962C8B-B14F-4D97-AF65-F5344CB8AC3E}">
        <p14:creationId xmlns:p14="http://schemas.microsoft.com/office/powerpoint/2010/main" val="1557842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7BD1FC-EB6A-4E9D-8440-71893ECA71E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5254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 – updated</a:t>
            </a:r>
            <a:r>
              <a:rPr lang="en-US" baseline="0" dirty="0" smtClean="0"/>
              <a:t> heading in V12</a:t>
            </a:r>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36</a:t>
            </a:fld>
            <a:endParaRPr lang="en-US" dirty="0"/>
          </a:p>
        </p:txBody>
      </p:sp>
    </p:spTree>
    <p:extLst>
      <p:ext uri="{BB962C8B-B14F-4D97-AF65-F5344CB8AC3E}">
        <p14:creationId xmlns:p14="http://schemas.microsoft.com/office/powerpoint/2010/main" val="2659787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9110E8-66B8-48E0-8C5A-A561A15350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172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8.jpeg"/><Relationship Id="rId5" Type="http://schemas.microsoft.com/office/2007/relationships/hdphoto" Target="../media/hdphoto1.wdp"/><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22.jpeg"/><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3.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4.jpe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22.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8.jpe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Cover Slide, Graph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5066B5-88E0-A940-B420-89F87D6F08E7}"/>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4CE4A99B-93F5-2C44-BC1F-3C78AF5E74F7}"/>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62504" y="338039"/>
            <a:ext cx="2459865" cy="833588"/>
          </a:xfrm>
          <a:prstGeom prst="rect">
            <a:avLst/>
          </a:prstGeom>
        </p:spPr>
      </p:pic>
      <p:pic>
        <p:nvPicPr>
          <p:cNvPr id="8" name="Picture 7">
            <a:extLst>
              <a:ext uri="{FF2B5EF4-FFF2-40B4-BE49-F238E27FC236}">
                <a16:creationId xmlns:a16="http://schemas.microsoft.com/office/drawing/2014/main" id="{395CA7A4-00E5-F04E-85F3-BF6C6A16F2E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375840" y="407569"/>
            <a:ext cx="2410824" cy="694528"/>
          </a:xfrm>
          <a:prstGeom prst="rect">
            <a:avLst/>
          </a:prstGeom>
        </p:spPr>
      </p:pic>
    </p:spTree>
    <p:extLst>
      <p:ext uri="{BB962C8B-B14F-4D97-AF65-F5344CB8AC3E}">
        <p14:creationId xmlns:p14="http://schemas.microsoft.com/office/powerpoint/2010/main" val="37597881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15000" y="0"/>
            <a:ext cx="6477000" cy="573669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40" y="0"/>
            <a:ext cx="5717640" cy="5717640"/>
          </a:xfrm>
          <a:prstGeom prst="rect">
            <a:avLst/>
          </a:prstGeom>
        </p:spPr>
      </p:pic>
      <p:sp>
        <p:nvSpPr>
          <p:cNvPr id="16" name="Rectangle 15"/>
          <p:cNvSpPr/>
          <p:nvPr userDrawn="1"/>
        </p:nvSpPr>
        <p:spPr>
          <a:xfrm>
            <a:off x="0" y="4740642"/>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115050" y="5164453"/>
            <a:ext cx="6076950" cy="1325563"/>
          </a:xfrm>
        </p:spPr>
        <p:txBody>
          <a:bodyPr>
            <a:normAutofit/>
          </a:bodyPr>
          <a:lstStyle>
            <a:lvl1pPr marL="0"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8" name="Picture 17"/>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19" name="TextBox 18"/>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20" name="Rectangle 19"/>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14934C6-C025-484E-B3C8-D78AEBE07431}"/>
              </a:ext>
            </a:extLst>
          </p:cNvPr>
          <p:cNvPicPr>
            <a:picLocks noChangeAspect="1"/>
          </p:cNvPicPr>
          <p:nvPr userDrawn="1"/>
        </p:nvPicPr>
        <p:blipFill>
          <a:blip r:embed="rId6"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152999136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7DDC5C2-4C62-9046-8DEC-02FFD9E8D3B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ext Placeholder 3"/>
          <p:cNvSpPr>
            <a:spLocks noGrp="1"/>
          </p:cNvSpPr>
          <p:nvPr>
            <p:ph type="body" sz="quarter" idx="4294967295"/>
          </p:nvPr>
        </p:nvSpPr>
        <p:spPr>
          <a:xfrm>
            <a:off x="7477069" y="5158964"/>
            <a:ext cx="2999930" cy="496299"/>
          </a:xfrm>
        </p:spPr>
        <p:txBody>
          <a:bodyPr>
            <a:normAutofit fontScale="85000" lnSpcReduction="20000"/>
          </a:bodyPr>
          <a:lstStyle/>
          <a:p>
            <a:r>
              <a:rPr lang="en-US" dirty="0" err="1">
                <a:solidFill>
                  <a:schemeClr val="bg1"/>
                </a:solidFill>
              </a:rPr>
              <a:t>www.cognizant.com</a:t>
            </a:r>
            <a:endParaRPr lang="en-US" dirty="0">
              <a:solidFill>
                <a:schemeClr val="bg1"/>
              </a:solidFill>
            </a:endParaRPr>
          </a:p>
        </p:txBody>
      </p:sp>
      <p:sp>
        <p:nvSpPr>
          <p:cNvPr id="10" name="Title 1"/>
          <p:cNvSpPr>
            <a:spLocks noGrp="1"/>
          </p:cNvSpPr>
          <p:nvPr>
            <p:ph type="title" idx="4294967295"/>
          </p:nvPr>
        </p:nvSpPr>
        <p:spPr>
          <a:xfrm>
            <a:off x="7468238" y="2177346"/>
            <a:ext cx="2999682" cy="603465"/>
          </a:xfrm>
        </p:spPr>
        <p:txBody>
          <a:bodyPr/>
          <a:lstStyle/>
          <a:p>
            <a:r>
              <a:rPr lang="en-US" dirty="0">
                <a:solidFill>
                  <a:schemeClr val="tx2"/>
                </a:solidFill>
              </a:rPr>
              <a:t>THANK YOU</a:t>
            </a:r>
          </a:p>
        </p:txBody>
      </p:sp>
      <p:sp>
        <p:nvSpPr>
          <p:cNvPr id="12" name="TextBox 11"/>
          <p:cNvSpPr txBox="1"/>
          <p:nvPr userDrawn="1"/>
        </p:nvSpPr>
        <p:spPr>
          <a:xfrm>
            <a:off x="7468238" y="2954225"/>
            <a:ext cx="3847110" cy="2031325"/>
          </a:xfrm>
          <a:prstGeom prst="rect">
            <a:avLst/>
          </a:prstGeom>
        </p:spPr>
        <p:txBody>
          <a:bodyPr wrap="square" lIns="0" tIns="0" rIns="0" bIns="0" rtlCol="0">
            <a:spAutoFit/>
          </a:bodyPr>
          <a:lstStyle/>
          <a:p>
            <a:pPr lvl="0" algn="just" defTabSz="685783">
              <a:defRPr/>
            </a:pPr>
            <a:r>
              <a:rPr lang="en-US" sz="1200" dirty="0">
                <a:solidFill>
                  <a:schemeClr val="bg1"/>
                </a:solidFill>
                <a:latin typeface="+mj-lt"/>
                <a:cs typeface="Arial" panose="020B0604020202020204" pitchFamily="34" charset="0"/>
              </a:rPr>
              <a:t>Cognizant (Nasdaq-100: CTSH) is one of the world's leading professional services companies, transforming clients' business, operating and technology models for the digital era. Our unique industry-based, consultative approach helps clients envision, build and run more innovative and efficient businesses. Headquartered in the U.S., Cognizant is ranked 195 on the Fortune 500 and is consistently listed among the most admired companies in the world. Learn how Cognizant helps clients lead with digital at www.cognizant.com or follow us @Cognizant.</a:t>
            </a:r>
            <a:endParaRPr lang="en-US" sz="1200" dirty="0">
              <a:solidFill>
                <a:schemeClr val="bg1"/>
              </a:solidFill>
              <a:latin typeface="+mj-lt"/>
            </a:endParaRPr>
          </a:p>
        </p:txBody>
      </p:sp>
      <p:sp>
        <p:nvSpPr>
          <p:cNvPr id="13" name="Rectangle 12">
            <a:extLst>
              <a:ext uri="{FF2B5EF4-FFF2-40B4-BE49-F238E27FC236}">
                <a16:creationId xmlns:a16="http://schemas.microsoft.com/office/drawing/2014/main" id="{3113E7C4-1CBA-6A40-968B-5C23DE2A4911}"/>
              </a:ext>
            </a:extLst>
          </p:cNvPr>
          <p:cNvSpPr/>
          <p:nvPr userDrawn="1"/>
        </p:nvSpPr>
        <p:spPr>
          <a:xfrm flipV="1">
            <a:off x="9080065" y="2569878"/>
            <a:ext cx="311728" cy="45719"/>
          </a:xfrm>
          <a:prstGeom prst="rect">
            <a:avLst/>
          </a:prstGeom>
          <a:solidFill>
            <a:srgbClr val="FF8F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C012776A-F4E5-CC43-A06A-862AAE01126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468238" y="1481070"/>
            <a:ext cx="1677978" cy="428800"/>
          </a:xfrm>
          <a:prstGeom prst="rect">
            <a:avLst/>
          </a:prstGeom>
        </p:spPr>
      </p:pic>
      <p:pic>
        <p:nvPicPr>
          <p:cNvPr id="15" name="Picture 14">
            <a:extLst>
              <a:ext uri="{FF2B5EF4-FFF2-40B4-BE49-F238E27FC236}">
                <a16:creationId xmlns:a16="http://schemas.microsoft.com/office/drawing/2014/main" id="{321B4A46-3A47-0241-965C-97FA903C0930}"/>
              </a:ext>
            </a:extLst>
          </p:cNvPr>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391793" y="1437685"/>
            <a:ext cx="1603523" cy="543395"/>
          </a:xfrm>
          <a:prstGeom prst="rect">
            <a:avLst/>
          </a:prstGeom>
        </p:spPr>
      </p:pic>
    </p:spTree>
    <p:extLst>
      <p:ext uri="{BB962C8B-B14F-4D97-AF65-F5344CB8AC3E}">
        <p14:creationId xmlns:p14="http://schemas.microsoft.com/office/powerpoint/2010/main" val="18669868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531">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9" name="Rectangle 18"/>
          <p:cNvSpPr/>
          <p:nvPr userDrawn="1"/>
        </p:nvSpPr>
        <p:spPr>
          <a:xfrm>
            <a:off x="0" y="6293551"/>
            <a:ext cx="12192000" cy="514350"/>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6343650"/>
            <a:ext cx="12192000" cy="514350"/>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0" y="742950"/>
            <a:ext cx="12192000" cy="0"/>
          </a:xfrm>
          <a:prstGeom prst="line">
            <a:avLst/>
          </a:prstGeom>
          <a:ln>
            <a:solidFill>
              <a:srgbClr val="4A4F55"/>
            </a:solidFill>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userDrawn="1">
            <p:ph type="title"/>
          </p:nvPr>
        </p:nvSpPr>
        <p:spPr>
          <a:xfrm>
            <a:off x="495300" y="71014"/>
            <a:ext cx="10515600" cy="618385"/>
          </a:xfrm>
        </p:spPr>
        <p:txBody>
          <a:bodyPr>
            <a:noAutofit/>
          </a:bodyPr>
          <a:lstStyle>
            <a:lvl1pPr>
              <a:defRPr sz="2800" b="1">
                <a:latin typeface="+mn-lt"/>
              </a:defRPr>
            </a:lvl1pPr>
          </a:lstStyle>
          <a:p>
            <a:r>
              <a:rPr lang="en-US" smtClean="0"/>
              <a:t>Click to edit Master title style</a:t>
            </a:r>
            <a:endParaRPr lang="en-US"/>
          </a:p>
        </p:txBody>
      </p:sp>
      <p:sp>
        <p:nvSpPr>
          <p:cNvPr id="13" name="Rectangle 12"/>
          <p:cNvSpPr/>
          <p:nvPr userDrawn="1"/>
        </p:nvSpPr>
        <p:spPr>
          <a:xfrm>
            <a:off x="0" y="0"/>
            <a:ext cx="185738" cy="742950"/>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151588" y="6476656"/>
            <a:ext cx="862327" cy="307777"/>
          </a:xfrm>
          <a:prstGeom prst="rect">
            <a:avLst/>
          </a:prstGeom>
          <a:noFill/>
        </p:spPr>
        <p:txBody>
          <a:bodyPr wrap="square" rtlCol="0">
            <a:spAutoFit/>
          </a:bodyPr>
          <a:lstStyle/>
          <a:p>
            <a:fld id="{41845723-2DDC-4FCF-8C2D-779A900814BE}" type="slidenum">
              <a:rPr lang="en-US" sz="1400" smtClean="0">
                <a:solidFill>
                  <a:schemeClr val="bg1"/>
                </a:solidFill>
                <a:latin typeface="Calibri" panose="020F0502020204030204" pitchFamily="34" charset="0"/>
                <a:cs typeface="Calibri" panose="020F0502020204030204" pitchFamily="34" charset="0"/>
              </a:rPr>
              <a:t>‹#›</a:t>
            </a:fld>
            <a:r>
              <a:rPr lang="en-US" sz="1400" dirty="0" smtClean="0">
                <a:solidFill>
                  <a:schemeClr val="bg1"/>
                </a:solidFill>
                <a:latin typeface="Calibri" panose="020F0502020204030204" pitchFamily="34" charset="0"/>
                <a:cs typeface="Calibri" panose="020F0502020204030204" pitchFamily="34" charset="0"/>
              </a:rPr>
              <a:t> of XX</a:t>
            </a:r>
            <a:endParaRPr lang="en-US" sz="1400" dirty="0">
              <a:solidFill>
                <a:schemeClr val="bg1"/>
              </a:solidFill>
              <a:latin typeface="Calibri" panose="020F0502020204030204" pitchFamily="34" charset="0"/>
              <a:cs typeface="Calibri" panose="020F0502020204030204" pitchFamily="34" charset="0"/>
            </a:endParaRPr>
          </a:p>
        </p:txBody>
      </p:sp>
      <p:sp>
        <p:nvSpPr>
          <p:cNvPr id="15" name="TextBox 14"/>
          <p:cNvSpPr txBox="1"/>
          <p:nvPr userDrawn="1"/>
        </p:nvSpPr>
        <p:spPr>
          <a:xfrm>
            <a:off x="1013915" y="6470625"/>
            <a:ext cx="2656623" cy="307777"/>
          </a:xfrm>
          <a:prstGeom prst="rect">
            <a:avLst/>
          </a:prstGeom>
          <a:noFill/>
        </p:spPr>
        <p:txBody>
          <a:bodyPr wrap="square" rtlCol="0">
            <a:spAutoFit/>
          </a:bodyPr>
          <a:lstStyle/>
          <a:p>
            <a:pPr defTabSz="457200" fontAlgn="auto">
              <a:spcBef>
                <a:spcPts val="0"/>
              </a:spcBef>
              <a:spcAft>
                <a:spcPts val="0"/>
              </a:spcAft>
            </a:pPr>
            <a:r>
              <a:rPr lang="en-US" sz="1400" b="0" dirty="0">
                <a:solidFill>
                  <a:schemeClr val="bg1"/>
                </a:solidFill>
                <a:latin typeface="Calibri" panose="020F0502020204030204" pitchFamily="34" charset="0"/>
                <a:ea typeface="+mn-ea"/>
                <a:cs typeface="Calibri" panose="020F0502020204030204" pitchFamily="34" charset="0"/>
              </a:rPr>
              <a:t>© </a:t>
            </a:r>
            <a:r>
              <a:rPr lang="en-US" sz="1400" b="0" dirty="0" smtClean="0">
                <a:solidFill>
                  <a:schemeClr val="bg1"/>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solidFill>
              <a:latin typeface="Calibri" panose="020F0502020204030204" pitchFamily="34" charset="0"/>
              <a:ea typeface="+mn-ea"/>
              <a:cs typeface="Calibri" panose="020F0502020204030204" pitchFamily="34" charset="0"/>
            </a:endParaRPr>
          </a:p>
        </p:txBody>
      </p:sp>
      <p:grpSp>
        <p:nvGrpSpPr>
          <p:cNvPr id="22" name="Group 21"/>
          <p:cNvGrpSpPr/>
          <p:nvPr userDrawn="1"/>
        </p:nvGrpSpPr>
        <p:grpSpPr>
          <a:xfrm>
            <a:off x="10288924" y="6444532"/>
            <a:ext cx="1710280" cy="341841"/>
            <a:chOff x="9690100" y="506124"/>
            <a:chExt cx="2144506" cy="428631"/>
          </a:xfrm>
        </p:grpSpPr>
        <p:pic>
          <p:nvPicPr>
            <p:cNvPr id="24" name="Picture 2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41116" y="510710"/>
              <a:ext cx="1993490" cy="424045"/>
            </a:xfrm>
            <a:prstGeom prst="rect">
              <a:avLst/>
            </a:prstGeom>
          </p:spPr>
        </p:pic>
        <p:cxnSp>
          <p:nvCxnSpPr>
            <p:cNvPr id="25" name="Straight Connector 24"/>
            <p:cNvCxnSpPr/>
            <p:nvPr userDrawn="1"/>
          </p:nvCxnSpPr>
          <p:spPr>
            <a:xfrm>
              <a:off x="9690100" y="506124"/>
              <a:ext cx="0" cy="37017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089699" y="6354666"/>
            <a:ext cx="1126867" cy="453235"/>
          </a:xfrm>
          <a:prstGeom prst="rect">
            <a:avLst/>
          </a:prstGeom>
        </p:spPr>
      </p:pic>
    </p:spTree>
    <p:extLst>
      <p:ext uri="{BB962C8B-B14F-4D97-AF65-F5344CB8AC3E}">
        <p14:creationId xmlns:p14="http://schemas.microsoft.com/office/powerpoint/2010/main" val="11693996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9" name="Rectangle 18"/>
          <p:cNvSpPr/>
          <p:nvPr userDrawn="1"/>
        </p:nvSpPr>
        <p:spPr>
          <a:xfrm>
            <a:off x="0" y="6293551"/>
            <a:ext cx="12192000" cy="514350"/>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6343650"/>
            <a:ext cx="12192000" cy="514350"/>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0" y="742950"/>
            <a:ext cx="12192000" cy="0"/>
          </a:xfrm>
          <a:prstGeom prst="line">
            <a:avLst/>
          </a:prstGeom>
          <a:ln>
            <a:solidFill>
              <a:srgbClr val="4A4F55"/>
            </a:solidFill>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userDrawn="1">
            <p:ph type="title"/>
          </p:nvPr>
        </p:nvSpPr>
        <p:spPr>
          <a:xfrm>
            <a:off x="495300" y="71014"/>
            <a:ext cx="10515600" cy="618385"/>
          </a:xfrm>
        </p:spPr>
        <p:txBody>
          <a:bodyPr>
            <a:noAutofit/>
          </a:bodyPr>
          <a:lstStyle>
            <a:lvl1pPr>
              <a:defRPr sz="2800" b="1">
                <a:latin typeface="+mn-lt"/>
              </a:defRPr>
            </a:lvl1pPr>
          </a:lstStyle>
          <a:p>
            <a:r>
              <a:rPr lang="en-US" smtClean="0"/>
              <a:t>Click to edit Master title style</a:t>
            </a:r>
            <a:endParaRPr lang="en-US"/>
          </a:p>
        </p:txBody>
      </p:sp>
      <p:sp>
        <p:nvSpPr>
          <p:cNvPr id="13" name="Rectangle 12"/>
          <p:cNvSpPr/>
          <p:nvPr userDrawn="1"/>
        </p:nvSpPr>
        <p:spPr>
          <a:xfrm>
            <a:off x="0" y="0"/>
            <a:ext cx="185738" cy="742950"/>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151588" y="6476656"/>
            <a:ext cx="862327" cy="307777"/>
          </a:xfrm>
          <a:prstGeom prst="rect">
            <a:avLst/>
          </a:prstGeom>
          <a:noFill/>
        </p:spPr>
        <p:txBody>
          <a:bodyPr wrap="square" rtlCol="0">
            <a:spAutoFit/>
          </a:bodyPr>
          <a:lstStyle/>
          <a:p>
            <a:fld id="{41845723-2DDC-4FCF-8C2D-779A900814BE}" type="slidenum">
              <a:rPr lang="en-US" sz="1400" smtClean="0">
                <a:solidFill>
                  <a:schemeClr val="bg1"/>
                </a:solidFill>
                <a:latin typeface="Calibri" panose="020F0502020204030204" pitchFamily="34" charset="0"/>
                <a:cs typeface="Calibri" panose="020F0502020204030204" pitchFamily="34" charset="0"/>
              </a:rPr>
              <a:t>‹#›</a:t>
            </a:fld>
            <a:r>
              <a:rPr lang="en-US" sz="1400" dirty="0" smtClean="0">
                <a:solidFill>
                  <a:schemeClr val="bg1"/>
                </a:solidFill>
                <a:latin typeface="Calibri" panose="020F0502020204030204" pitchFamily="34" charset="0"/>
                <a:cs typeface="Calibri" panose="020F0502020204030204" pitchFamily="34" charset="0"/>
              </a:rPr>
              <a:t> of XX</a:t>
            </a:r>
            <a:endParaRPr lang="en-US" sz="1400" dirty="0">
              <a:solidFill>
                <a:schemeClr val="bg1"/>
              </a:solidFill>
              <a:latin typeface="Calibri" panose="020F0502020204030204" pitchFamily="34" charset="0"/>
              <a:cs typeface="Calibri" panose="020F0502020204030204" pitchFamily="34" charset="0"/>
            </a:endParaRPr>
          </a:p>
        </p:txBody>
      </p:sp>
      <p:sp>
        <p:nvSpPr>
          <p:cNvPr id="15" name="TextBox 14"/>
          <p:cNvSpPr txBox="1"/>
          <p:nvPr userDrawn="1"/>
        </p:nvSpPr>
        <p:spPr>
          <a:xfrm>
            <a:off x="1013915" y="6470625"/>
            <a:ext cx="2656623" cy="307777"/>
          </a:xfrm>
          <a:prstGeom prst="rect">
            <a:avLst/>
          </a:prstGeom>
          <a:noFill/>
        </p:spPr>
        <p:txBody>
          <a:bodyPr wrap="square" rtlCol="0">
            <a:spAutoFit/>
          </a:bodyPr>
          <a:lstStyle/>
          <a:p>
            <a:pPr defTabSz="457200" fontAlgn="auto">
              <a:spcBef>
                <a:spcPts val="0"/>
              </a:spcBef>
              <a:spcAft>
                <a:spcPts val="0"/>
              </a:spcAft>
            </a:pPr>
            <a:r>
              <a:rPr lang="en-US" sz="1400" b="0" dirty="0">
                <a:solidFill>
                  <a:schemeClr val="bg1"/>
                </a:solidFill>
                <a:latin typeface="Calibri" panose="020F0502020204030204" pitchFamily="34" charset="0"/>
                <a:ea typeface="+mn-ea"/>
                <a:cs typeface="Calibri" panose="020F0502020204030204" pitchFamily="34" charset="0"/>
              </a:rPr>
              <a:t>© </a:t>
            </a:r>
            <a:r>
              <a:rPr lang="en-US" sz="1400" b="0" dirty="0" smtClean="0">
                <a:solidFill>
                  <a:schemeClr val="bg1"/>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solidFill>
              <a:latin typeface="Calibri" panose="020F0502020204030204" pitchFamily="34" charset="0"/>
              <a:ea typeface="+mn-ea"/>
              <a:cs typeface="Calibri" panose="020F0502020204030204" pitchFamily="34" charset="0"/>
            </a:endParaRPr>
          </a:p>
        </p:txBody>
      </p:sp>
      <p:grpSp>
        <p:nvGrpSpPr>
          <p:cNvPr id="22" name="Group 21"/>
          <p:cNvGrpSpPr/>
          <p:nvPr userDrawn="1"/>
        </p:nvGrpSpPr>
        <p:grpSpPr>
          <a:xfrm>
            <a:off x="10288924" y="6444532"/>
            <a:ext cx="1710280" cy="341841"/>
            <a:chOff x="9690100" y="506124"/>
            <a:chExt cx="2144506" cy="428631"/>
          </a:xfrm>
        </p:grpSpPr>
        <p:pic>
          <p:nvPicPr>
            <p:cNvPr id="24" name="Picture 2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41116" y="510710"/>
              <a:ext cx="1993490" cy="424045"/>
            </a:xfrm>
            <a:prstGeom prst="rect">
              <a:avLst/>
            </a:prstGeom>
          </p:spPr>
        </p:pic>
        <p:cxnSp>
          <p:nvCxnSpPr>
            <p:cNvPr id="25" name="Straight Connector 24"/>
            <p:cNvCxnSpPr/>
            <p:nvPr userDrawn="1"/>
          </p:nvCxnSpPr>
          <p:spPr>
            <a:xfrm>
              <a:off x="9690100" y="506124"/>
              <a:ext cx="0" cy="37017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089699" y="6354666"/>
            <a:ext cx="1126867" cy="453235"/>
          </a:xfrm>
          <a:prstGeom prst="rect">
            <a:avLst/>
          </a:prstGeom>
        </p:spPr>
      </p:pic>
    </p:spTree>
    <p:extLst>
      <p:ext uri="{BB962C8B-B14F-4D97-AF65-F5344CB8AC3E}">
        <p14:creationId xmlns:p14="http://schemas.microsoft.com/office/powerpoint/2010/main" val="152432456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Rectangle 1"/>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8101"/>
            <a:ext cx="12192000" cy="4784859"/>
          </a:xfrm>
          <a:prstGeom prst="rect">
            <a:avLst/>
          </a:prstGeom>
        </p:spPr>
      </p:pic>
      <p:sp>
        <p:nvSpPr>
          <p:cNvPr id="17" name="TextBox 16"/>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18"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3" name="Picture 12"/>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pic>
        <p:nvPicPr>
          <p:cNvPr id="6" name="Picture 5"/>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48527" y="4740643"/>
            <a:ext cx="3810000" cy="1562100"/>
          </a:xfrm>
          <a:prstGeom prst="rect">
            <a:avLst/>
          </a:prstGeom>
        </p:spPr>
      </p:pic>
      <p:sp>
        <p:nvSpPr>
          <p:cNvPr id="19" name="Rectangle 18"/>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810933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4762500"/>
          </a:xfrm>
          <a:prstGeom prst="rect">
            <a:avLst/>
          </a:prstGeom>
        </p:spPr>
      </p:pic>
      <p:grpSp>
        <p:nvGrpSpPr>
          <p:cNvPr id="4" name="Group 3"/>
          <p:cNvGrpSpPr/>
          <p:nvPr userDrawn="1"/>
        </p:nvGrpSpPr>
        <p:grpSpPr>
          <a:xfrm>
            <a:off x="0" y="4740642"/>
            <a:ext cx="12192000" cy="2117357"/>
            <a:chOff x="0" y="4740642"/>
            <a:chExt cx="12192000" cy="2117357"/>
          </a:xfrm>
        </p:grpSpPr>
        <p:sp>
          <p:nvSpPr>
            <p:cNvPr id="13" name="Rectangle 12"/>
            <p:cNvSpPr/>
            <p:nvPr userDrawn="1"/>
          </p:nvSpPr>
          <p:spPr>
            <a:xfrm>
              <a:off x="0" y="4740642"/>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527" y="4740643"/>
              <a:ext cx="3810000" cy="1562100"/>
            </a:xfrm>
            <a:prstGeom prst="rect">
              <a:avLst/>
            </a:prstGeom>
          </p:spPr>
        </p:pic>
      </p:grpSp>
      <p:sp>
        <p:nvSpPr>
          <p:cNvPr id="15" name="TextBox 14"/>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14" name="Title 17"/>
          <p:cNvSpPr>
            <a:spLocks noGrp="1"/>
          </p:cNvSpPr>
          <p:nvPr>
            <p:ph type="title"/>
          </p:nvPr>
        </p:nvSpPr>
        <p:spPr>
          <a:xfrm>
            <a:off x="6115050" y="5163395"/>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8" name="Picture 17"/>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pic>
        <p:nvPicPr>
          <p:cNvPr id="19" name="Picture 18"/>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400109"/>
            <a:ext cx="1600891" cy="340533"/>
          </a:xfrm>
          <a:prstGeom prst="rect">
            <a:avLst/>
          </a:prstGeom>
        </p:spPr>
      </p:pic>
      <p:sp>
        <p:nvSpPr>
          <p:cNvPr id="20" name="Rectangle 19"/>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737471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5734050"/>
          </a:xfrm>
          <a:prstGeom prst="rect">
            <a:avLst/>
          </a:prstGeom>
        </p:spPr>
      </p:pic>
      <p:grpSp>
        <p:nvGrpSpPr>
          <p:cNvPr id="13" name="Group 12"/>
          <p:cNvGrpSpPr/>
          <p:nvPr userDrawn="1"/>
        </p:nvGrpSpPr>
        <p:grpSpPr>
          <a:xfrm>
            <a:off x="0" y="4740642"/>
            <a:ext cx="12192000" cy="2117357"/>
            <a:chOff x="0" y="4740642"/>
            <a:chExt cx="12192000" cy="2117357"/>
          </a:xfrm>
        </p:grpSpPr>
        <p:sp>
          <p:nvSpPr>
            <p:cNvPr id="14" name="Rectangle 13"/>
            <p:cNvSpPr/>
            <p:nvPr userDrawn="1"/>
          </p:nvSpPr>
          <p:spPr>
            <a:xfrm>
              <a:off x="0" y="4740642"/>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48527" y="4740643"/>
              <a:ext cx="3810000" cy="1562100"/>
            </a:xfrm>
            <a:prstGeom prst="rect">
              <a:avLst/>
            </a:prstGeom>
          </p:spPr>
        </p:pic>
      </p:grpSp>
      <p:sp>
        <p:nvSpPr>
          <p:cNvPr id="16" name="Title 15"/>
          <p:cNvSpPr>
            <a:spLocks noGrp="1"/>
          </p:cNvSpPr>
          <p:nvPr>
            <p:ph type="title"/>
          </p:nvPr>
        </p:nvSpPr>
        <p:spPr>
          <a:xfrm>
            <a:off x="6115050" y="5168216"/>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sp>
        <p:nvSpPr>
          <p:cNvPr id="12" name="TextBox 11"/>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pic>
        <p:nvPicPr>
          <p:cNvPr id="18" name="Picture 17"/>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400109"/>
            <a:ext cx="1600891" cy="340533"/>
          </a:xfrm>
          <a:prstGeom prst="rect">
            <a:avLst/>
          </a:prstGeom>
        </p:spPr>
      </p:pic>
      <p:sp>
        <p:nvSpPr>
          <p:cNvPr id="3" name="Rectangle 2"/>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859734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15000" y="0"/>
            <a:ext cx="6477000" cy="573669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40" y="0"/>
            <a:ext cx="5717640" cy="5717640"/>
          </a:xfrm>
          <a:prstGeom prst="rect">
            <a:avLst/>
          </a:prstGeom>
        </p:spPr>
      </p:pic>
      <p:grpSp>
        <p:nvGrpSpPr>
          <p:cNvPr id="15" name="Group 14"/>
          <p:cNvGrpSpPr/>
          <p:nvPr userDrawn="1"/>
        </p:nvGrpSpPr>
        <p:grpSpPr>
          <a:xfrm>
            <a:off x="0" y="4740642"/>
            <a:ext cx="12192000" cy="2117357"/>
            <a:chOff x="0" y="4740642"/>
            <a:chExt cx="12192000" cy="2117357"/>
          </a:xfrm>
        </p:grpSpPr>
        <p:sp>
          <p:nvSpPr>
            <p:cNvPr id="16" name="Rectangle 15"/>
            <p:cNvSpPr/>
            <p:nvPr userDrawn="1"/>
          </p:nvSpPr>
          <p:spPr>
            <a:xfrm>
              <a:off x="0" y="4740642"/>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48527" y="4740643"/>
              <a:ext cx="3810000" cy="1562100"/>
            </a:xfrm>
            <a:prstGeom prst="rect">
              <a:avLst/>
            </a:prstGeom>
          </p:spPr>
        </p:pic>
      </p:grpSp>
      <p:sp>
        <p:nvSpPr>
          <p:cNvPr id="2" name="Title 1"/>
          <p:cNvSpPr>
            <a:spLocks noGrp="1"/>
          </p:cNvSpPr>
          <p:nvPr>
            <p:ph type="title"/>
          </p:nvPr>
        </p:nvSpPr>
        <p:spPr>
          <a:xfrm>
            <a:off x="6115050" y="5164453"/>
            <a:ext cx="6076950" cy="1325563"/>
          </a:xfrm>
        </p:spPr>
        <p:txBody>
          <a:bodyPr>
            <a:normAutofit/>
          </a:bodyPr>
          <a:lstStyle>
            <a:lvl1pPr marL="0"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8" name="Picture 17"/>
          <p:cNvPicPr>
            <a:picLocks noChangeAspect="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19" name="TextBox 18"/>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20" name="Rectangle 19"/>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613841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Header &amp; 2-Column (Numbered text on lef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B115615-761F-445E-87C9-9E35C790E640}"/>
              </a:ext>
            </a:extLst>
          </p:cNvPr>
          <p:cNvCxnSpPr>
            <a:cxnSpLocks/>
          </p:cNvCxnSpPr>
          <p:nvPr userDrawn="1"/>
        </p:nvCxnSpPr>
        <p:spPr>
          <a:xfrm>
            <a:off x="2227650" y="6545067"/>
            <a:ext cx="6881181" cy="0"/>
          </a:xfrm>
          <a:prstGeom prst="line">
            <a:avLst/>
          </a:prstGeom>
          <a:ln w="6350">
            <a:solidFill>
              <a:srgbClr val="FF8F1C"/>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620700" y="546820"/>
            <a:ext cx="11180064" cy="1060704"/>
          </a:xfrm>
        </p:spPr>
        <p:txBody>
          <a:bodyPr/>
          <a:lstStyle/>
          <a:p>
            <a:r>
              <a:rPr lang="en-US"/>
              <a:t>Click to edit Master title style</a:t>
            </a:r>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986217" y="6427580"/>
            <a:ext cx="1228323" cy="207264"/>
          </a:xfrm>
          <a:solidFill>
            <a:schemeClr val="bg1"/>
          </a:solidFill>
        </p:spPr>
        <p:txBody>
          <a:bodyPr/>
          <a:lstStyle/>
          <a:p>
            <a:r>
              <a:rPr lang="en-US" dirty="0">
                <a:solidFill>
                  <a:srgbClr val="0033A0"/>
                </a:solidFill>
              </a:rPr>
              <a:t>© 2019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644841" y="6427580"/>
            <a:ext cx="304800" cy="207264"/>
          </a:xfrm>
          <a:solidFill>
            <a:schemeClr val="bg1"/>
          </a:solidFill>
        </p:spPr>
        <p:txBody>
          <a:bodyPr/>
          <a:lstStyle/>
          <a:p>
            <a:fld id="{2EFEF571-C9B4-4D92-A7F7-315B894862A8}" type="slidenum">
              <a:rPr lang="en-US" smtClean="0">
                <a:solidFill>
                  <a:srgbClr val="00B140"/>
                </a:solidFill>
              </a:rPr>
              <a:pPr/>
              <a:t>‹#›</a:t>
            </a:fld>
            <a:endParaRPr lang="en-US" dirty="0">
              <a:solidFill>
                <a:srgbClr val="00B140"/>
              </a:solidFill>
            </a:endParaRPr>
          </a:p>
        </p:txBody>
      </p:sp>
      <p:pic>
        <p:nvPicPr>
          <p:cNvPr id="14" name="Picture 13">
            <a:extLst>
              <a:ext uri="{FF2B5EF4-FFF2-40B4-BE49-F238E27FC236}">
                <a16:creationId xmlns:a16="http://schemas.microsoft.com/office/drawing/2014/main" id="{4F2B788E-6DDF-BA49-994C-0A6C3E769D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9320242" y="6445915"/>
            <a:ext cx="1018729" cy="218640"/>
          </a:xfrm>
          <a:prstGeom prst="rect">
            <a:avLst/>
          </a:prstGeom>
        </p:spPr>
      </p:pic>
      <p:pic>
        <p:nvPicPr>
          <p:cNvPr id="10" name="Picture 9">
            <a:extLst>
              <a:ext uri="{FF2B5EF4-FFF2-40B4-BE49-F238E27FC236}">
                <a16:creationId xmlns:a16="http://schemas.microsoft.com/office/drawing/2014/main" id="{5A0D1661-8767-4340-A7CC-2D2A95122B66}"/>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99077" y="6409147"/>
            <a:ext cx="862193" cy="292176"/>
          </a:xfrm>
          <a:prstGeom prst="rect">
            <a:avLst/>
          </a:prstGeom>
        </p:spPr>
      </p:pic>
    </p:spTree>
    <p:extLst>
      <p:ext uri="{BB962C8B-B14F-4D97-AF65-F5344CB8AC3E}">
        <p14:creationId xmlns:p14="http://schemas.microsoft.com/office/powerpoint/2010/main" val="3529739629"/>
      </p:ext>
    </p:extLst>
  </p:cSld>
  <p:clrMapOvr>
    <a:masterClrMapping/>
  </p:clrMapOvr>
  <p:extLst mod="1">
    <p:ext uri="{DCECCB84-F9BA-43D5-87BE-67443E8EF086}">
      <p15:sldGuideLst xmlns:p15="http://schemas.microsoft.com/office/powerpoint/2012/main">
        <p15:guide id="1" orient="horz" pos="2663">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2B07E44-2946-4C76-AAE8-51C4712E237F}"/>
              </a:ext>
            </a:extLst>
          </p:cNvPr>
          <p:cNvCxnSpPr>
            <a:cxnSpLocks/>
          </p:cNvCxnSpPr>
          <p:nvPr userDrawn="1"/>
        </p:nvCxnSpPr>
        <p:spPr>
          <a:xfrm>
            <a:off x="504287" y="1135681"/>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1060704"/>
          </a:xfrm>
          <a:prstGeom prst="rect">
            <a:avLst/>
          </a:prstGeom>
        </p:spPr>
        <p:txBody>
          <a:bodyPr vert="horz" lIns="0" tIns="0" rIns="0" bIns="0" rtlCol="0" anchor="t" anchorCtr="0">
            <a:normAutofit/>
          </a:bodyPr>
          <a:lstStyle/>
          <a:p>
            <a:r>
              <a:rPr lang="en-US"/>
              <a:t>Click to edit Master title style</a:t>
            </a:r>
            <a:endParaRPr lang="en-US" dirty="0"/>
          </a:p>
        </p:txBody>
      </p:sp>
    </p:spTree>
    <p:extLst>
      <p:ext uri="{BB962C8B-B14F-4D97-AF65-F5344CB8AC3E}">
        <p14:creationId xmlns:p14="http://schemas.microsoft.com/office/powerpoint/2010/main" val="4081397545"/>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Header &amp; 2-Column (Numbered text on lef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B115615-761F-445E-87C9-9E35C790E640}"/>
              </a:ext>
            </a:extLst>
          </p:cNvPr>
          <p:cNvCxnSpPr>
            <a:cxnSpLocks/>
          </p:cNvCxnSpPr>
          <p:nvPr userDrawn="1"/>
        </p:nvCxnSpPr>
        <p:spPr>
          <a:xfrm>
            <a:off x="2227650" y="6545067"/>
            <a:ext cx="6881181" cy="0"/>
          </a:xfrm>
          <a:prstGeom prst="line">
            <a:avLst/>
          </a:prstGeom>
          <a:ln w="6350">
            <a:solidFill>
              <a:srgbClr val="FF8F1C"/>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620700" y="546820"/>
            <a:ext cx="11180064" cy="1060704"/>
          </a:xfrm>
        </p:spPr>
        <p:txBody>
          <a:bodyPr/>
          <a:lstStyle/>
          <a:p>
            <a:r>
              <a:rPr lang="en-US"/>
              <a:t>Click to edit Master title style</a:t>
            </a:r>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986217" y="6427580"/>
            <a:ext cx="1228323" cy="207264"/>
          </a:xfrm>
          <a:solidFill>
            <a:schemeClr val="bg1"/>
          </a:solidFill>
        </p:spPr>
        <p:txBody>
          <a:bodyPr/>
          <a:lstStyle/>
          <a:p>
            <a:r>
              <a:rPr lang="en-US" dirty="0"/>
              <a:t>© 2019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644841" y="6427580"/>
            <a:ext cx="304800" cy="207264"/>
          </a:xfrm>
          <a:solidFill>
            <a:schemeClr val="bg1"/>
          </a:solidFill>
        </p:spPr>
        <p:txBody>
          <a:bodyPr/>
          <a:lstStyle/>
          <a:p>
            <a:fld id="{2EFEF571-C9B4-4D92-A7F7-315B894862A8}" type="slidenum">
              <a:rPr lang="en-US" smtClean="0"/>
              <a:pPr/>
              <a:t>‹#›</a:t>
            </a:fld>
            <a:endParaRPr lang="en-US" dirty="0"/>
          </a:p>
        </p:txBody>
      </p:sp>
      <p:pic>
        <p:nvPicPr>
          <p:cNvPr id="14" name="Picture 13">
            <a:extLst>
              <a:ext uri="{FF2B5EF4-FFF2-40B4-BE49-F238E27FC236}">
                <a16:creationId xmlns:a16="http://schemas.microsoft.com/office/drawing/2014/main" id="{4F2B788E-6DDF-BA49-994C-0A6C3E769D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9320242" y="6445915"/>
            <a:ext cx="1018729" cy="218640"/>
          </a:xfrm>
          <a:prstGeom prst="rect">
            <a:avLst/>
          </a:prstGeom>
        </p:spPr>
      </p:pic>
      <p:pic>
        <p:nvPicPr>
          <p:cNvPr id="10" name="Picture 9">
            <a:extLst>
              <a:ext uri="{FF2B5EF4-FFF2-40B4-BE49-F238E27FC236}">
                <a16:creationId xmlns:a16="http://schemas.microsoft.com/office/drawing/2014/main" id="{5A0D1661-8767-4340-A7CC-2D2A95122B66}"/>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99077" y="6409147"/>
            <a:ext cx="862193" cy="292176"/>
          </a:xfrm>
          <a:prstGeom prst="rect">
            <a:avLst/>
          </a:prstGeom>
        </p:spPr>
      </p:pic>
    </p:spTree>
    <p:extLst>
      <p:ext uri="{BB962C8B-B14F-4D97-AF65-F5344CB8AC3E}">
        <p14:creationId xmlns:p14="http://schemas.microsoft.com/office/powerpoint/2010/main" val="1362405836"/>
      </p:ext>
    </p:extLst>
  </p:cSld>
  <p:clrMapOvr>
    <a:masterClrMapping/>
  </p:clrMapOvr>
  <p:extLst>
    <p:ext uri="{DCECCB84-F9BA-43D5-87BE-67443E8EF086}">
      <p15:sldGuideLst xmlns:p15="http://schemas.microsoft.com/office/powerpoint/2012/main">
        <p15:guide id="1" orient="horz" pos="2663">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12192000" cy="6096000"/>
          </a:xfrm>
          <a:prstGeom prst="rect">
            <a:avLst/>
          </a:prstGeom>
        </p:spPr>
        <p:txBody>
          <a:bodyPr anchor="ctr">
            <a:normAutofit/>
          </a:bodyPr>
          <a:lstStyle>
            <a:lvl1pPr marL="0" marR="0" indent="0" algn="ctr" defTabSz="1219110" rtl="0" eaLnBrk="1" fontAlgn="auto" latinLnBrk="0" hangingPunct="1">
              <a:lnSpc>
                <a:spcPct val="100000"/>
              </a:lnSpc>
              <a:spcBef>
                <a:spcPts val="800"/>
              </a:spcBef>
              <a:spcAft>
                <a:spcPts val="0"/>
              </a:spcAft>
              <a:buClrTx/>
              <a:buSzTx/>
              <a:buFont typeface="Arial" panose="020B0604020202020204" pitchFamily="34" charset="0"/>
              <a:buNone/>
              <a:tabLst/>
              <a:defRPr>
                <a:solidFill>
                  <a:schemeClr val="tx2"/>
                </a:solidFill>
              </a:defRPr>
            </a:lvl1pPr>
          </a:lstStyle>
          <a:p>
            <a:pPr marL="0" marR="0" lvl="0" indent="0" algn="ctr" defTabSz="1219110" rtl="0" eaLnBrk="1" fontAlgn="auto" latinLnBrk="0" hangingPunct="1">
              <a:lnSpc>
                <a:spcPct val="100000"/>
              </a:lnSpc>
              <a:spcBef>
                <a:spcPts val="8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fld id="{34D87AF5-3F22-48FF-A695-597BD14D6594}" type="datetime1">
              <a:rPr lang="en-US" smtClean="0"/>
              <a:t>5/7/2019</a:t>
            </a:fld>
            <a:endParaRPr lang="en-US" dirty="0"/>
          </a:p>
        </p:txBody>
      </p:sp>
      <p:sp>
        <p:nvSpPr>
          <p:cNvPr id="3" name="Footer Placeholder 2">
            <a:extLst>
              <a:ext uri="{FF2B5EF4-FFF2-40B4-BE49-F238E27FC236}">
                <a16:creationId xmlns:a16="http://schemas.microsoft.com/office/drawing/2014/main" id="{EC67F4B0-9013-4E9E-9C02-E80308C894B4}"/>
              </a:ext>
            </a:extLst>
          </p:cNvPr>
          <p:cNvSpPr>
            <a:spLocks noGrp="1"/>
          </p:cNvSpPr>
          <p:nvPr>
            <p:ph type="ftr" sz="quarter" idx="15"/>
          </p:nvPr>
        </p:nvSpPr>
        <p:spPr/>
        <p:txBody>
          <a:bodyPr/>
          <a:lstStyle/>
          <a:p>
            <a:endParaRPr lang="en-US" dirty="0"/>
          </a:p>
        </p:txBody>
      </p:sp>
      <p:sp>
        <p:nvSpPr>
          <p:cNvPr id="4" name="Slide Number Placeholder 3">
            <a:extLst>
              <a:ext uri="{FF2B5EF4-FFF2-40B4-BE49-F238E27FC236}">
                <a16:creationId xmlns:a16="http://schemas.microsoft.com/office/drawing/2014/main" id="{78CF68D0-3D52-4AAE-BAD5-E685A44EC437}"/>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506569"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9981220" y="6373368"/>
            <a:ext cx="1704217" cy="365760"/>
          </a:xfrm>
          <a:prstGeom prst="rect">
            <a:avLst/>
          </a:prstGeom>
        </p:spPr>
      </p:pic>
    </p:spTree>
    <p:extLst>
      <p:ext uri="{BB962C8B-B14F-4D97-AF65-F5344CB8AC3E}">
        <p14:creationId xmlns:p14="http://schemas.microsoft.com/office/powerpoint/2010/main" val="3550981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11" name="Straight Connector 10"/>
          <p:cNvCxnSpPr/>
          <p:nvPr/>
        </p:nvCxnSpPr>
        <p:spPr>
          <a:xfrm>
            <a:off x="0" y="742950"/>
            <a:ext cx="12192000" cy="0"/>
          </a:xfrm>
          <a:prstGeom prst="line">
            <a:avLst/>
          </a:prstGeom>
          <a:ln>
            <a:solidFill>
              <a:srgbClr val="4A4F55"/>
            </a:solidFill>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userDrawn="1">
            <p:ph type="title"/>
          </p:nvPr>
        </p:nvSpPr>
        <p:spPr>
          <a:xfrm>
            <a:off x="495300" y="71014"/>
            <a:ext cx="10515600" cy="618385"/>
          </a:xfrm>
        </p:spPr>
        <p:txBody>
          <a:bodyPr>
            <a:noAutofit/>
          </a:bodyPr>
          <a:lstStyle>
            <a:lvl1pPr>
              <a:defRPr sz="2800" b="1">
                <a:latin typeface="+mn-lt"/>
              </a:defRPr>
            </a:lvl1pPr>
          </a:lstStyle>
          <a:p>
            <a:r>
              <a:rPr lang="en-US" smtClean="0"/>
              <a:t>Click to edit Master title style</a:t>
            </a:r>
            <a:endParaRPr lang="en-US"/>
          </a:p>
        </p:txBody>
      </p:sp>
      <p:sp>
        <p:nvSpPr>
          <p:cNvPr id="13" name="Rectangle 12"/>
          <p:cNvSpPr/>
          <p:nvPr userDrawn="1"/>
        </p:nvSpPr>
        <p:spPr>
          <a:xfrm>
            <a:off x="0" y="0"/>
            <a:ext cx="185738" cy="742950"/>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151588" y="6476656"/>
            <a:ext cx="862327" cy="307777"/>
          </a:xfrm>
          <a:prstGeom prst="rect">
            <a:avLst/>
          </a:prstGeom>
          <a:noFill/>
        </p:spPr>
        <p:txBody>
          <a:bodyPr wrap="square" rtlCol="0">
            <a:spAutoFit/>
          </a:bodyPr>
          <a:lstStyle/>
          <a:p>
            <a:fld id="{41845723-2DDC-4FCF-8C2D-779A900814BE}" type="slidenum">
              <a:rPr lang="en-US" sz="1400" smtClean="0">
                <a:solidFill>
                  <a:schemeClr val="bg1"/>
                </a:solidFill>
                <a:latin typeface="Calibri" panose="020F0502020204030204" pitchFamily="34" charset="0"/>
                <a:cs typeface="Calibri" panose="020F0502020204030204" pitchFamily="34" charset="0"/>
              </a:rPr>
              <a:t>‹#›</a:t>
            </a:fld>
            <a:r>
              <a:rPr lang="en-US" sz="1400" dirty="0" smtClean="0">
                <a:solidFill>
                  <a:schemeClr val="bg1"/>
                </a:solidFill>
                <a:latin typeface="Calibri" panose="020F0502020204030204" pitchFamily="34" charset="0"/>
                <a:cs typeface="Calibri" panose="020F0502020204030204" pitchFamily="34" charset="0"/>
              </a:rPr>
              <a:t> of XX</a:t>
            </a:r>
            <a:endParaRPr lang="en-US" sz="1400" dirty="0">
              <a:solidFill>
                <a:schemeClr val="bg1"/>
              </a:solidFill>
              <a:latin typeface="Calibri" panose="020F0502020204030204" pitchFamily="34" charset="0"/>
              <a:cs typeface="Calibri" panose="020F0502020204030204" pitchFamily="34" charset="0"/>
            </a:endParaRPr>
          </a:p>
        </p:txBody>
      </p:sp>
      <p:sp>
        <p:nvSpPr>
          <p:cNvPr id="15" name="TextBox 14"/>
          <p:cNvSpPr txBox="1"/>
          <p:nvPr userDrawn="1"/>
        </p:nvSpPr>
        <p:spPr>
          <a:xfrm>
            <a:off x="1013915" y="6470625"/>
            <a:ext cx="2656623" cy="307777"/>
          </a:xfrm>
          <a:prstGeom prst="rect">
            <a:avLst/>
          </a:prstGeom>
          <a:noFill/>
        </p:spPr>
        <p:txBody>
          <a:bodyPr wrap="square" rtlCol="0">
            <a:spAutoFit/>
          </a:bodyPr>
          <a:lstStyle/>
          <a:p>
            <a:pPr defTabSz="457200" fontAlgn="auto">
              <a:spcBef>
                <a:spcPts val="0"/>
              </a:spcBef>
              <a:spcAft>
                <a:spcPts val="0"/>
              </a:spcAft>
            </a:pPr>
            <a:r>
              <a:rPr lang="en-US" sz="1400" b="0" dirty="0">
                <a:solidFill>
                  <a:schemeClr val="bg1"/>
                </a:solidFill>
                <a:latin typeface="Calibri" panose="020F0502020204030204" pitchFamily="34" charset="0"/>
                <a:ea typeface="+mn-ea"/>
                <a:cs typeface="Calibri" panose="020F0502020204030204" pitchFamily="34" charset="0"/>
              </a:rPr>
              <a:t>© </a:t>
            </a:r>
            <a:r>
              <a:rPr lang="en-US" sz="1400" b="0" dirty="0" smtClean="0">
                <a:solidFill>
                  <a:schemeClr val="bg1"/>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solidFill>
              <a:latin typeface="Calibri" panose="020F0502020204030204" pitchFamily="34" charset="0"/>
              <a:ea typeface="+mn-ea"/>
              <a:cs typeface="Calibri" panose="020F0502020204030204" pitchFamily="34" charset="0"/>
            </a:endParaRPr>
          </a:p>
        </p:txBody>
      </p:sp>
      <p:grpSp>
        <p:nvGrpSpPr>
          <p:cNvPr id="22" name="Group 21"/>
          <p:cNvGrpSpPr/>
          <p:nvPr userDrawn="1"/>
        </p:nvGrpSpPr>
        <p:grpSpPr>
          <a:xfrm>
            <a:off x="10288924" y="6444532"/>
            <a:ext cx="1710280" cy="341841"/>
            <a:chOff x="9690100" y="506124"/>
            <a:chExt cx="2144506" cy="428631"/>
          </a:xfrm>
        </p:grpSpPr>
        <p:pic>
          <p:nvPicPr>
            <p:cNvPr id="24" name="Picture 2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41116" y="510710"/>
              <a:ext cx="1993490" cy="424045"/>
            </a:xfrm>
            <a:prstGeom prst="rect">
              <a:avLst/>
            </a:prstGeom>
          </p:spPr>
        </p:pic>
        <p:cxnSp>
          <p:nvCxnSpPr>
            <p:cNvPr id="25" name="Straight Connector 24"/>
            <p:cNvCxnSpPr/>
            <p:nvPr userDrawn="1"/>
          </p:nvCxnSpPr>
          <p:spPr>
            <a:xfrm>
              <a:off x="9690100" y="506124"/>
              <a:ext cx="0" cy="37017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4B115615-761F-445E-87C9-9E35C790E640}"/>
              </a:ext>
            </a:extLst>
          </p:cNvPr>
          <p:cNvCxnSpPr>
            <a:cxnSpLocks/>
          </p:cNvCxnSpPr>
          <p:nvPr userDrawn="1"/>
        </p:nvCxnSpPr>
        <p:spPr>
          <a:xfrm flipV="1">
            <a:off x="3362341" y="6608217"/>
            <a:ext cx="5813939" cy="16297"/>
          </a:xfrm>
          <a:prstGeom prst="line">
            <a:avLst/>
          </a:prstGeom>
          <a:ln w="6350">
            <a:solidFill>
              <a:srgbClr val="FF8F1C"/>
            </a:solidFill>
            <a:prstDash val="sysDash"/>
          </a:ln>
        </p:spPr>
        <p:style>
          <a:lnRef idx="1">
            <a:schemeClr val="accent1"/>
          </a:lnRef>
          <a:fillRef idx="0">
            <a:schemeClr val="accent1"/>
          </a:fillRef>
          <a:effectRef idx="0">
            <a:schemeClr val="accent1"/>
          </a:effectRef>
          <a:fontRef idx="minor">
            <a:schemeClr val="tx1"/>
          </a:fontRef>
        </p:style>
      </p:cxnSp>
      <p:sp>
        <p:nvSpPr>
          <p:cNvPr id="17"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1474512" y="6485808"/>
            <a:ext cx="1735429" cy="244819"/>
          </a:xfrm>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18"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42470" y="6430470"/>
            <a:ext cx="1213420" cy="323345"/>
          </a:xfrm>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a:t>
            </a:fld>
            <a:r>
              <a:rPr lang="en-US" dirty="0" smtClean="0"/>
              <a:t> of XX</a:t>
            </a:r>
            <a:endParaRPr lang="en-US" dirty="0"/>
          </a:p>
        </p:txBody>
      </p:sp>
      <p:pic>
        <p:nvPicPr>
          <p:cNvPr id="20" name="Picture 19">
            <a:extLst>
              <a:ext uri="{FF2B5EF4-FFF2-40B4-BE49-F238E27FC236}">
                <a16:creationId xmlns:a16="http://schemas.microsoft.com/office/drawing/2014/main" id="{4F2B788E-6DDF-BA49-994C-0A6C3E769DC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9341753" y="6477469"/>
            <a:ext cx="1439306" cy="308904"/>
          </a:xfrm>
          <a:prstGeom prst="rect">
            <a:avLst/>
          </a:prstGeom>
        </p:spPr>
      </p:pic>
      <p:pic>
        <p:nvPicPr>
          <p:cNvPr id="21" name="Picture 20">
            <a:extLst>
              <a:ext uri="{FF2B5EF4-FFF2-40B4-BE49-F238E27FC236}">
                <a16:creationId xmlns:a16="http://schemas.microsoft.com/office/drawing/2014/main" id="{5A0D1661-8767-4340-A7CC-2D2A95122B66}"/>
              </a:ext>
            </a:extLst>
          </p:cNvPr>
          <p:cNvPicPr>
            <a:picLocks noChangeAspect="1"/>
          </p:cNvPicPr>
          <p:nvPr userDrawn="1"/>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42270" y="6403274"/>
            <a:ext cx="1218145" cy="412799"/>
          </a:xfrm>
          <a:prstGeom prst="rect">
            <a:avLst/>
          </a:prstGeom>
        </p:spPr>
      </p:pic>
    </p:spTree>
    <p:extLst>
      <p:ext uri="{BB962C8B-B14F-4D97-AF65-F5344CB8AC3E}">
        <p14:creationId xmlns:p14="http://schemas.microsoft.com/office/powerpoint/2010/main" val="14011174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Header &amp; 2-Column (Numbered text on lef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991"/>
            <a:ext cx="12188468" cy="6856012"/>
          </a:xfrm>
          <a:prstGeom prst="rect">
            <a:avLst/>
          </a:prstGeom>
        </p:spPr>
      </p:pic>
      <p:sp>
        <p:nvSpPr>
          <p:cNvPr id="4"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986217" y="6435456"/>
            <a:ext cx="1228323" cy="207264"/>
          </a:xfrm>
          <a:solidFill>
            <a:schemeClr val="bg1"/>
          </a:solidFill>
        </p:spPr>
        <p:txBody>
          <a:bodyPr/>
          <a:lstStyle/>
          <a:p>
            <a:r>
              <a:rPr lang="en-US" dirty="0"/>
              <a:t>© 2019 Cognizant</a:t>
            </a:r>
          </a:p>
        </p:txBody>
      </p:sp>
      <p:sp>
        <p:nvSpPr>
          <p:cNvPr id="5"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644841" y="6435456"/>
            <a:ext cx="304800" cy="207264"/>
          </a:xfrm>
          <a:solidFill>
            <a:schemeClr val="bg1"/>
          </a:solidFill>
        </p:spPr>
        <p:txBody>
          <a:bodyPr/>
          <a:lstStyle/>
          <a:p>
            <a:fld id="{2EFEF571-C9B4-4D92-A7F7-315B894862A8}" type="slidenum">
              <a:rPr lang="en-US" smtClean="0"/>
              <a:pPr/>
              <a:t>‹#›</a:t>
            </a:fld>
            <a:endParaRPr lang="en-US" dirty="0"/>
          </a:p>
        </p:txBody>
      </p:sp>
      <p:sp>
        <p:nvSpPr>
          <p:cNvPr id="6" name="Rectangle 5"/>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9"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0" name="Picture 9"/>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11" name="Rectangle 10"/>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26655158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Header &amp; 2-Column (Numbered text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765" y="991"/>
            <a:ext cx="12188468" cy="6856012"/>
          </a:xfrm>
          <a:prstGeom prst="rect">
            <a:avLst/>
          </a:prstGeom>
        </p:spPr>
      </p:pic>
      <p:sp>
        <p:nvSpPr>
          <p:cNvPr id="4" name="Rectangle 3"/>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7"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9" name="Rectangle 8"/>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110249972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Header &amp; 2-Column (Numbered text on lef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 y="991"/>
            <a:ext cx="12188468" cy="6856012"/>
          </a:xfrm>
          <a:prstGeom prst="rect">
            <a:avLst/>
          </a:prstGeom>
        </p:spPr>
      </p:pic>
      <p:sp>
        <p:nvSpPr>
          <p:cNvPr id="4"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986217" y="6435456"/>
            <a:ext cx="1228323" cy="207264"/>
          </a:xfrm>
          <a:solidFill>
            <a:schemeClr val="bg1"/>
          </a:solidFill>
        </p:spPr>
        <p:txBody>
          <a:bodyPr/>
          <a:lstStyle/>
          <a:p>
            <a:r>
              <a:rPr lang="en-US" dirty="0"/>
              <a:t>© 2019 Cognizant</a:t>
            </a:r>
          </a:p>
        </p:txBody>
      </p:sp>
      <p:sp>
        <p:nvSpPr>
          <p:cNvPr id="5"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644841" y="6435456"/>
            <a:ext cx="304800" cy="207264"/>
          </a:xfrm>
          <a:solidFill>
            <a:schemeClr val="bg1"/>
          </a:solidFill>
        </p:spPr>
        <p:txBody>
          <a:bodyPr/>
          <a:lstStyle/>
          <a:p>
            <a:fld id="{2EFEF571-C9B4-4D92-A7F7-315B894862A8}" type="slidenum">
              <a:rPr lang="en-US" smtClean="0"/>
              <a:pPr/>
              <a:t>‹#›</a:t>
            </a:fld>
            <a:endParaRPr lang="en-US" dirty="0"/>
          </a:p>
        </p:txBody>
      </p:sp>
      <p:sp>
        <p:nvSpPr>
          <p:cNvPr id="6" name="Rectangle 5"/>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9"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0" name="Picture 9"/>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11" name="Rectangle 10"/>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5436650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Header &amp; 2-Column (Numbered text on left)">
    <p:bg>
      <p:bgPr>
        <a:solidFill>
          <a:schemeClr val="bg1">
            <a:alpha val="26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766" y="991"/>
            <a:ext cx="12188465" cy="6856012"/>
          </a:xfrm>
          <a:prstGeom prst="rect">
            <a:avLst/>
          </a:prstGeom>
        </p:spPr>
      </p:pic>
      <p:sp>
        <p:nvSpPr>
          <p:cNvPr id="4" name="Rectangle 3"/>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6"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9" name="Rectangle 8"/>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38651591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Header &amp; 2-Column (Numbered text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1781" y="991"/>
            <a:ext cx="12188465" cy="6856012"/>
          </a:xfrm>
          <a:prstGeom prst="rect">
            <a:avLst/>
          </a:prstGeom>
        </p:spPr>
      </p:pic>
      <p:sp>
        <p:nvSpPr>
          <p:cNvPr id="4" name="Rectangle 3"/>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7"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9" name="Rectangle 8"/>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50247228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p:nvPr userDrawn="1"/>
        </p:nvSpPr>
        <p:spPr>
          <a:xfrm>
            <a:off x="0" y="4746758"/>
            <a:ext cx="12192000" cy="2111242"/>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8101"/>
            <a:ext cx="12192000" cy="4784859"/>
          </a:xfrm>
          <a:prstGeom prst="rect">
            <a:avLst/>
          </a:prstGeom>
        </p:spPr>
      </p:pic>
      <p:sp>
        <p:nvSpPr>
          <p:cNvPr id="17" name="TextBox 16"/>
          <p:cNvSpPr txBox="1"/>
          <p:nvPr userDrawn="1"/>
        </p:nvSpPr>
        <p:spPr>
          <a:xfrm>
            <a:off x="1025215"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18" name="Title 17"/>
          <p:cNvSpPr>
            <a:spLocks noGrp="1"/>
          </p:cNvSpPr>
          <p:nvPr>
            <p:ph type="title"/>
          </p:nvPr>
        </p:nvSpPr>
        <p:spPr>
          <a:xfrm>
            <a:off x="6115050" y="5160690"/>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3" name="Picture 12"/>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19" name="Rectangle 18"/>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1276828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4762500"/>
          </a:xfrm>
          <a:prstGeom prst="rect">
            <a:avLst/>
          </a:prstGeom>
        </p:spPr>
      </p:pic>
      <p:sp>
        <p:nvSpPr>
          <p:cNvPr id="13" name="Rectangle 12"/>
          <p:cNvSpPr/>
          <p:nvPr userDrawn="1"/>
        </p:nvSpPr>
        <p:spPr>
          <a:xfrm>
            <a:off x="0" y="4710059"/>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sp>
        <p:nvSpPr>
          <p:cNvPr id="14" name="Title 17"/>
          <p:cNvSpPr>
            <a:spLocks noGrp="1"/>
          </p:cNvSpPr>
          <p:nvPr>
            <p:ph type="title"/>
          </p:nvPr>
        </p:nvSpPr>
        <p:spPr>
          <a:xfrm>
            <a:off x="6115050" y="5163395"/>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pic>
        <p:nvPicPr>
          <p:cNvPr id="18" name="Picture 17"/>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369526"/>
            <a:ext cx="1600891" cy="340533"/>
          </a:xfrm>
          <a:prstGeom prst="rect">
            <a:avLst/>
          </a:prstGeom>
        </p:spPr>
      </p:pic>
      <p:sp>
        <p:nvSpPr>
          <p:cNvPr id="20" name="Rectangle 19"/>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2224980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5734050"/>
          </a:xfrm>
          <a:prstGeom prst="rect">
            <a:avLst/>
          </a:prstGeom>
        </p:spPr>
      </p:pic>
      <p:sp>
        <p:nvSpPr>
          <p:cNvPr id="14" name="Rectangle 13"/>
          <p:cNvSpPr/>
          <p:nvPr userDrawn="1"/>
        </p:nvSpPr>
        <p:spPr>
          <a:xfrm>
            <a:off x="0" y="4740642"/>
            <a:ext cx="12192000" cy="211735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5"/>
          <p:cNvSpPr>
            <a:spLocks noGrp="1"/>
          </p:cNvSpPr>
          <p:nvPr>
            <p:ph type="title"/>
          </p:nvPr>
        </p:nvSpPr>
        <p:spPr>
          <a:xfrm>
            <a:off x="6115050" y="5168216"/>
            <a:ext cx="6076950" cy="1325563"/>
          </a:xfrm>
        </p:spPr>
        <p:txBody>
          <a:bodyPr>
            <a:normAutofit/>
          </a:bodyPr>
          <a:lstStyle>
            <a:lvl1pPr algn="ctr" defTabSz="914400" rtl="0" eaLnBrk="1" latinLnBrk="0" hangingPunct="1">
              <a:lnSpc>
                <a:spcPct val="90000"/>
              </a:lnSpc>
              <a:spcBef>
                <a:spcPct val="0"/>
              </a:spcBef>
              <a:buNone/>
              <a:defRPr lang="en-US" sz="3600" b="1" kern="1200" dirty="0">
                <a:solidFill>
                  <a:schemeClr val="bg1"/>
                </a:solidFill>
                <a:latin typeface="+mn-lt"/>
                <a:ea typeface="+mj-ea"/>
                <a:cs typeface="+mj-cs"/>
              </a:defRPr>
            </a:lvl1pPr>
          </a:lstStyle>
          <a:p>
            <a:r>
              <a:rPr lang="en-US" dirty="0" smtClean="0"/>
              <a:t>Click to edit Master title style</a:t>
            </a:r>
            <a:endParaRPr lang="en-US" dirty="0"/>
          </a:p>
        </p:txBody>
      </p:sp>
      <p:sp>
        <p:nvSpPr>
          <p:cNvPr id="12" name="TextBox 11"/>
          <p:cNvSpPr txBox="1"/>
          <p:nvPr userDrawn="1"/>
        </p:nvSpPr>
        <p:spPr>
          <a:xfrm>
            <a:off x="898303" y="6486253"/>
            <a:ext cx="2656623" cy="307777"/>
          </a:xfrm>
          <a:prstGeom prst="rect">
            <a:avLst/>
          </a:prstGeom>
          <a:noFill/>
        </p:spPr>
        <p:txBody>
          <a:bodyPr wrap="square" rtlCol="0">
            <a:spAutoFit/>
          </a:bodyPr>
          <a:lstStyle/>
          <a:p>
            <a:pPr algn="ctr" defTabSz="457200" fontAlgn="auto">
              <a:spcBef>
                <a:spcPts val="0"/>
              </a:spcBef>
              <a:spcAft>
                <a:spcPts val="0"/>
              </a:spcAft>
            </a:pPr>
            <a:r>
              <a:rPr lang="en-US" sz="1400" b="0" dirty="0">
                <a:solidFill>
                  <a:schemeClr val="bg1">
                    <a:lumMod val="50000"/>
                  </a:schemeClr>
                </a:solidFill>
                <a:latin typeface="Calibri" panose="020F0502020204030204" pitchFamily="34" charset="0"/>
                <a:ea typeface="+mn-ea"/>
                <a:cs typeface="Calibri" panose="020F0502020204030204" pitchFamily="34" charset="0"/>
              </a:rPr>
              <a:t>© </a:t>
            </a:r>
            <a:r>
              <a:rPr lang="en-US" sz="1400" b="0" dirty="0" smtClean="0">
                <a:solidFill>
                  <a:schemeClr val="bg1">
                    <a:lumMod val="50000"/>
                  </a:schemeClr>
                </a:solidFill>
                <a:latin typeface="Calibri" panose="020F0502020204030204" pitchFamily="34" charset="0"/>
                <a:ea typeface="+mn-ea"/>
                <a:cs typeface="Calibri" panose="020F0502020204030204" pitchFamily="34" charset="0"/>
              </a:rPr>
              <a:t>2019 Cognizant Confidential </a:t>
            </a:r>
            <a:endParaRPr lang="en-US" sz="1400" b="0" dirty="0">
              <a:solidFill>
                <a:schemeClr val="bg1">
                  <a:lumMod val="50000"/>
                </a:schemeClr>
              </a:solidFill>
              <a:latin typeface="Calibri" panose="020F0502020204030204" pitchFamily="34" charset="0"/>
              <a:ea typeface="+mn-ea"/>
              <a:cs typeface="Calibri" panose="020F0502020204030204" pitchFamily="34" charset="0"/>
            </a:endParaRPr>
          </a:p>
        </p:txBody>
      </p:sp>
      <p:pic>
        <p:nvPicPr>
          <p:cNvPr id="18" name="Picture 17"/>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286309" y="4400109"/>
            <a:ext cx="1600891" cy="340533"/>
          </a:xfrm>
          <a:prstGeom prst="rect">
            <a:avLst/>
          </a:prstGeom>
        </p:spPr>
      </p:pic>
      <p:sp>
        <p:nvSpPr>
          <p:cNvPr id="3" name="Rectangle 2"/>
          <p:cNvSpPr/>
          <p:nvPr userDrawn="1"/>
        </p:nvSpPr>
        <p:spPr>
          <a:xfrm>
            <a:off x="0" y="4740625"/>
            <a:ext cx="12192000" cy="50477"/>
          </a:xfrm>
          <a:prstGeom prst="rect">
            <a:avLst/>
          </a:prstGeom>
          <a:solidFill>
            <a:srgbClr val="FA9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14934C6-C025-484E-B3C8-D78AEBE07431}"/>
              </a:ext>
            </a:extLst>
          </p:cNvPr>
          <p:cNvPicPr>
            <a:picLocks noChangeAspect="1"/>
          </p:cNvPicPr>
          <p:nvPr userDrawn="1"/>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68947" y="5304673"/>
            <a:ext cx="2612891" cy="995411"/>
          </a:xfrm>
          <a:prstGeom prst="rect">
            <a:avLst/>
          </a:prstGeom>
        </p:spPr>
      </p:pic>
    </p:spTree>
    <p:extLst>
      <p:ext uri="{BB962C8B-B14F-4D97-AF65-F5344CB8AC3E}">
        <p14:creationId xmlns:p14="http://schemas.microsoft.com/office/powerpoint/2010/main" val="15250702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1060704"/>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682496"/>
            <a:ext cx="11180064" cy="442569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7315200" y="6400800"/>
            <a:ext cx="1219200" cy="207264"/>
          </a:xfrm>
          <a:prstGeom prst="rect">
            <a:avLst/>
          </a:prstGeom>
        </p:spPr>
        <p:txBody>
          <a:bodyPr vert="horz" lIns="0" tIns="0" rIns="0" bIns="0" rtlCol="0" anchor="ctr"/>
          <a:lstStyle>
            <a:lvl1pPr algn="r">
              <a:defRPr sz="1000">
                <a:solidFill>
                  <a:schemeClr val="tx1"/>
                </a:solidFill>
              </a:defRPr>
            </a:lvl1pPr>
          </a:lstStyle>
          <a:p>
            <a:fld id="{72C7141F-1075-416F-B85B-2A67B4DBA6BF}" type="datetime1">
              <a:rPr lang="en-US" smtClean="0"/>
              <a:t>5/7/2019</a:t>
            </a:fld>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853440" y="6400800"/>
            <a:ext cx="6096000" cy="207264"/>
          </a:xfrm>
          <a:prstGeom prst="rect">
            <a:avLst/>
          </a:prstGeom>
        </p:spPr>
        <p:txBody>
          <a:bodyPr vert="horz" lIns="0" tIns="0" rIns="0" bIns="0" rtlCol="0" anchor="ctr"/>
          <a:lstStyle>
            <a:lvl1pPr algn="l">
              <a:defRPr sz="1000">
                <a:solidFill>
                  <a:schemeClr val="tx1"/>
                </a:solidFill>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dirty="0"/>
              <a:t>© 2019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512064" y="6400800"/>
            <a:ext cx="304800" cy="207264"/>
          </a:xfrm>
          <a:prstGeom prst="rect">
            <a:avLst/>
          </a:prstGeom>
        </p:spPr>
        <p:txBody>
          <a:bodyPr vert="horz" lIns="0" tIns="0" rIns="0" bIns="0" rtlCol="0" anchor="ctr"/>
          <a:lstStyle>
            <a:lvl1pPr algn="l">
              <a:defRPr sz="120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63393487"/>
      </p:ext>
    </p:extLst>
  </p:cSld>
  <p:clrMap bg1="lt1" tx1="dk1" bg2="lt2" tx2="dk2" accent1="accent1" accent2="accent2" accent3="accent3" accent4="accent4" accent5="accent5" accent6="accent6" hlink="hlink" folHlink="folHlink"/>
  <p:sldLayoutIdLst>
    <p:sldLayoutId id="2147483707" r:id="rId1"/>
    <p:sldLayoutId id="2147483709" r:id="rId2"/>
    <p:sldLayoutId id="2147483710" r:id="rId3"/>
    <p:sldLayoutId id="2147483711" r:id="rId4"/>
    <p:sldLayoutId id="2147483712" r:id="rId5"/>
    <p:sldLayoutId id="2147483713" r:id="rId6"/>
    <p:sldLayoutId id="2147483653" r:id="rId7"/>
    <p:sldLayoutId id="2147483651" r:id="rId8"/>
    <p:sldLayoutId id="2147483652" r:id="rId9"/>
    <p:sldLayoutId id="2147483655" r:id="rId10"/>
    <p:sldLayoutId id="2147483714" r:id="rId11"/>
    <p:sldLayoutId id="2147483715" r:id="rId12"/>
    <p:sldLayoutId id="2147483718" r:id="rId13"/>
    <p:sldLayoutId id="2147483719" r:id="rId14"/>
    <p:sldLayoutId id="2147483720" r:id="rId15"/>
    <p:sldLayoutId id="2147483721" r:id="rId16"/>
    <p:sldLayoutId id="2147483722" r:id="rId17"/>
    <p:sldLayoutId id="2147483726" r:id="rId18"/>
    <p:sldLayoutId id="2147483727" r:id="rId19"/>
    <p:sldLayoutId id="2147483737" r:id="rId20"/>
    <p:sldLayoutId id="2147483650" r:id="rId21"/>
    <p:sldLayoutId id="2147483735" r:id="rId22"/>
  </p:sldLayoutIdLst>
  <p:timing>
    <p:tnLst>
      <p:par>
        <p:cTn id="1" dur="indefinite" restart="never" nodeType="tmRoot"/>
      </p:par>
    </p:tnLst>
  </p:timing>
  <p:hf hdr="0" dt="0"/>
  <p:txStyles>
    <p:titleStyle>
      <a:lvl1pPr algn="l" defTabSz="121917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lnSpc>
          <a:spcPct val="100000"/>
        </a:lnSpc>
        <a:spcBef>
          <a:spcPts val="800"/>
        </a:spcBef>
        <a:buFont typeface="Arial" panose="020B0604020202020204" pitchFamily="34" charset="0"/>
        <a:buNone/>
        <a:defRPr sz="24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2133"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image" Target="../media/image61.emf"/><Relationship Id="rId7" Type="http://schemas.openxmlformats.org/officeDocument/2006/relationships/image" Target="../media/image65.emf"/><Relationship Id="rId2" Type="http://schemas.openxmlformats.org/officeDocument/2006/relationships/image" Target="../media/image60.emf"/><Relationship Id="rId1" Type="http://schemas.openxmlformats.org/officeDocument/2006/relationships/slideLayout" Target="../slideLayouts/slideLayout12.xml"/><Relationship Id="rId6" Type="http://schemas.openxmlformats.org/officeDocument/2006/relationships/image" Target="../media/image64.emf"/><Relationship Id="rId5" Type="http://schemas.openxmlformats.org/officeDocument/2006/relationships/image" Target="../media/image63.emf"/><Relationship Id="rId4" Type="http://schemas.openxmlformats.org/officeDocument/2006/relationships/image" Target="../media/image62.emf"/><Relationship Id="rId9" Type="http://schemas.openxmlformats.org/officeDocument/2006/relationships/image" Target="../media/image67.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31.emf"/><Relationship Id="rId13" Type="http://schemas.openxmlformats.org/officeDocument/2006/relationships/image" Target="../media/image36.emf"/><Relationship Id="rId3" Type="http://schemas.openxmlformats.org/officeDocument/2006/relationships/image" Target="../media/image26.emf"/><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emf"/></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1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image" Target="../media/image68.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2.xml"/><Relationship Id="rId5" Type="http://schemas.openxmlformats.org/officeDocument/2006/relationships/image" Target="../media/image73.png"/><Relationship Id="rId4" Type="http://schemas.openxmlformats.org/officeDocument/2006/relationships/image" Target="../media/image72.png"/></Relationships>
</file>

<file path=ppt/slides/_rels/slide28.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59.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2" Type="http://schemas.openxmlformats.org/officeDocument/2006/relationships/notesSlide" Target="../notesSlides/notesSlide6.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12.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jp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png"/><Relationship Id="rId27" Type="http://schemas.openxmlformats.org/officeDocument/2006/relationships/image" Target="../media/image1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2.png"/><Relationship Id="rId7" Type="http://schemas.openxmlformats.org/officeDocument/2006/relationships/diagramColors" Target="../diagrams/colors1.xml"/><Relationship Id="rId2" Type="http://schemas.openxmlformats.org/officeDocument/2006/relationships/image" Target="../media/image111.png"/><Relationship Id="rId1" Type="http://schemas.openxmlformats.org/officeDocument/2006/relationships/slideLayout" Target="../slideLayouts/slideLayout12.xml"/><Relationship Id="rId6" Type="http://schemas.openxmlformats.org/officeDocument/2006/relationships/diagramQuickStyle" Target="../diagrams/quickStyle1.xml"/><Relationship Id="rId11" Type="http://schemas.openxmlformats.org/officeDocument/2006/relationships/image" Target="../media/image115.png"/><Relationship Id="rId5" Type="http://schemas.openxmlformats.org/officeDocument/2006/relationships/diagramLayout" Target="../diagrams/layout1.xml"/><Relationship Id="rId10" Type="http://schemas.openxmlformats.org/officeDocument/2006/relationships/image" Target="../media/image114.jpeg"/><Relationship Id="rId4" Type="http://schemas.openxmlformats.org/officeDocument/2006/relationships/diagramData" Target="../diagrams/data1.xml"/><Relationship Id="rId9" Type="http://schemas.openxmlformats.org/officeDocument/2006/relationships/image" Target="../media/image113.jpeg"/></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13.jpeg"/><Relationship Id="rId3" Type="http://schemas.openxmlformats.org/officeDocument/2006/relationships/image" Target="../media/image117.png"/><Relationship Id="rId7" Type="http://schemas.openxmlformats.org/officeDocument/2006/relationships/image" Target="../media/image121.png"/><Relationship Id="rId12" Type="http://schemas.microsoft.com/office/2007/relationships/diagramDrawing" Target="../diagrams/drawing2.xml"/><Relationship Id="rId2" Type="http://schemas.openxmlformats.org/officeDocument/2006/relationships/image" Target="../media/image116.png"/><Relationship Id="rId1" Type="http://schemas.openxmlformats.org/officeDocument/2006/relationships/slideLayout" Target="../slideLayouts/slideLayout12.xml"/><Relationship Id="rId6" Type="http://schemas.openxmlformats.org/officeDocument/2006/relationships/image" Target="../media/image120.png"/><Relationship Id="rId11" Type="http://schemas.openxmlformats.org/officeDocument/2006/relationships/diagramColors" Target="../diagrams/colors2.xml"/><Relationship Id="rId5" Type="http://schemas.openxmlformats.org/officeDocument/2006/relationships/image" Target="../media/image119.png"/><Relationship Id="rId15" Type="http://schemas.openxmlformats.org/officeDocument/2006/relationships/image" Target="../media/image115.png"/><Relationship Id="rId10" Type="http://schemas.openxmlformats.org/officeDocument/2006/relationships/diagramQuickStyle" Target="../diagrams/quickStyle2.xml"/><Relationship Id="rId4" Type="http://schemas.openxmlformats.org/officeDocument/2006/relationships/image" Target="../media/image118.png"/><Relationship Id="rId9" Type="http://schemas.openxmlformats.org/officeDocument/2006/relationships/diagramLayout" Target="../diagrams/layout2.xml"/><Relationship Id="rId14" Type="http://schemas.openxmlformats.org/officeDocument/2006/relationships/image" Target="../media/image114.jpeg"/></Relationships>
</file>

<file path=ppt/slides/_rels/slide3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2.xml"/><Relationship Id="rId4" Type="http://schemas.openxmlformats.org/officeDocument/2006/relationships/image" Target="../media/image115.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22.png"/><Relationship Id="rId1" Type="http://schemas.openxmlformats.org/officeDocument/2006/relationships/slideLayout" Target="../slideLayouts/slideLayout12.xml"/><Relationship Id="rId5" Type="http://schemas.openxmlformats.org/officeDocument/2006/relationships/image" Target="../media/image115.png"/><Relationship Id="rId4" Type="http://schemas.openxmlformats.org/officeDocument/2006/relationships/image" Target="../media/image114.jpeg"/></Relationships>
</file>

<file path=ppt/slides/_rels/slide3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125.png"/><Relationship Id="rId4" Type="http://schemas.openxmlformats.org/officeDocument/2006/relationships/image" Target="../media/image124.png"/></Relationships>
</file>

<file path=ppt/slides/_rels/slide3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12.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jpeg"/></Relationships>
</file>

<file path=ppt/slides/_rels/slide41.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image" Target="../media/image146.png"/><Relationship Id="rId1" Type="http://schemas.openxmlformats.org/officeDocument/2006/relationships/slideLayout" Target="../slideLayouts/slideLayout1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microsoft.com/office/2007/relationships/hdphoto" Target="../media/hdphoto3.wdp"/><Relationship Id="rId9" Type="http://schemas.openxmlformats.org/officeDocument/2006/relationships/image" Target="../media/image43.png"/></Relationships>
</file>

<file path=ppt/slides/_rels/slide50.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7.png"/><Relationship Id="rId7" Type="http://schemas.openxmlformats.org/officeDocument/2006/relationships/image" Target="../media/image160.png"/><Relationship Id="rId2" Type="http://schemas.openxmlformats.org/officeDocument/2006/relationships/image" Target="../media/image156.jpeg"/><Relationship Id="rId1" Type="http://schemas.openxmlformats.org/officeDocument/2006/relationships/slideLayout" Target="../slideLayouts/slideLayout12.xml"/><Relationship Id="rId6" Type="http://schemas.openxmlformats.org/officeDocument/2006/relationships/image" Target="../media/image159.png"/><Relationship Id="rId5" Type="http://schemas.openxmlformats.org/officeDocument/2006/relationships/image" Target="../media/image158.tiff"/><Relationship Id="rId4" Type="http://schemas.microsoft.com/office/2007/relationships/hdphoto" Target="../media/hdphoto4.wdp"/><Relationship Id="rId9" Type="http://schemas.openxmlformats.org/officeDocument/2006/relationships/image" Target="../media/image16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12.xml"/><Relationship Id="rId4" Type="http://schemas.openxmlformats.org/officeDocument/2006/relationships/image" Target="../media/image166.png"/></Relationships>
</file>

<file path=ppt/slides/_rels/slide5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68.png"/><Relationship Id="rId7" Type="http://schemas.openxmlformats.org/officeDocument/2006/relationships/image" Target="../media/image114.jpe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113.jpeg"/><Relationship Id="rId5" Type="http://schemas.openxmlformats.org/officeDocument/2006/relationships/image" Target="../media/image170.png"/><Relationship Id="rId4" Type="http://schemas.openxmlformats.org/officeDocument/2006/relationships/image" Target="../media/image169.png"/></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6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5.png"/><Relationship Id="rId18" Type="http://schemas.openxmlformats.org/officeDocument/2006/relationships/image" Target="../media/image177.png"/><Relationship Id="rId3" Type="http://schemas.openxmlformats.org/officeDocument/2006/relationships/image" Target="../media/image174.png"/><Relationship Id="rId7" Type="http://schemas.openxmlformats.org/officeDocument/2006/relationships/image" Target="../media/image100.png"/><Relationship Id="rId12" Type="http://schemas.openxmlformats.org/officeDocument/2006/relationships/image" Target="../media/image104.png"/><Relationship Id="rId17" Type="http://schemas.openxmlformats.org/officeDocument/2006/relationships/image" Target="../media/image176.png"/><Relationship Id="rId2" Type="http://schemas.openxmlformats.org/officeDocument/2006/relationships/image" Target="../media/image173.png"/><Relationship Id="rId16" Type="http://schemas.openxmlformats.org/officeDocument/2006/relationships/image" Target="../media/image108.png"/><Relationship Id="rId20" Type="http://schemas.openxmlformats.org/officeDocument/2006/relationships/image" Target="../media/image179.jpeg"/><Relationship Id="rId1" Type="http://schemas.openxmlformats.org/officeDocument/2006/relationships/slideLayout" Target="../slideLayouts/slideLayout12.xml"/><Relationship Id="rId6" Type="http://schemas.openxmlformats.org/officeDocument/2006/relationships/image" Target="../media/image99.png"/><Relationship Id="rId11" Type="http://schemas.openxmlformats.org/officeDocument/2006/relationships/image" Target="../media/image87.jpg"/><Relationship Id="rId5" Type="http://schemas.openxmlformats.org/officeDocument/2006/relationships/image" Target="../media/image98.png"/><Relationship Id="rId15" Type="http://schemas.openxmlformats.org/officeDocument/2006/relationships/image" Target="../media/image107.png"/><Relationship Id="rId10" Type="http://schemas.openxmlformats.org/officeDocument/2006/relationships/image" Target="../media/image103.png"/><Relationship Id="rId19" Type="http://schemas.openxmlformats.org/officeDocument/2006/relationships/image" Target="../media/image178.jpeg"/><Relationship Id="rId4" Type="http://schemas.openxmlformats.org/officeDocument/2006/relationships/image" Target="../media/image175.png"/><Relationship Id="rId9" Type="http://schemas.openxmlformats.org/officeDocument/2006/relationships/image" Target="../media/image102.png"/><Relationship Id="rId14" Type="http://schemas.openxmlformats.org/officeDocument/2006/relationships/image" Target="../media/image106.png"/></Relationships>
</file>

<file path=ppt/slides/_rels/slide65.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3" Type="http://schemas.openxmlformats.org/officeDocument/2006/relationships/image" Target="../media/image181.png"/><Relationship Id="rId7" Type="http://schemas.openxmlformats.org/officeDocument/2006/relationships/image" Target="../media/image185.png"/><Relationship Id="rId12" Type="http://schemas.openxmlformats.org/officeDocument/2006/relationships/image" Target="../media/image190.png"/><Relationship Id="rId2" Type="http://schemas.openxmlformats.org/officeDocument/2006/relationships/image" Target="../media/image180.png"/><Relationship Id="rId1" Type="http://schemas.openxmlformats.org/officeDocument/2006/relationships/slideLayout" Target="../slideLayouts/slideLayout12.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83.png"/><Relationship Id="rId10" Type="http://schemas.openxmlformats.org/officeDocument/2006/relationships/image" Target="../media/image188.png"/><Relationship Id="rId4" Type="http://schemas.openxmlformats.org/officeDocument/2006/relationships/image" Target="../media/image182.png"/><Relationship Id="rId9" Type="http://schemas.openxmlformats.org/officeDocument/2006/relationships/image" Target="../media/image187.png"/><Relationship Id="rId14" Type="http://schemas.openxmlformats.org/officeDocument/2006/relationships/image" Target="../media/image192.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3.png"/><Relationship Id="rId7" Type="http://schemas.openxmlformats.org/officeDocument/2006/relationships/image" Target="../media/image196.png"/><Relationship Id="rId12" Type="http://schemas.openxmlformats.org/officeDocument/2006/relationships/image" Target="../media/image200.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83.png"/><Relationship Id="rId11" Type="http://schemas.openxmlformats.org/officeDocument/2006/relationships/image" Target="../media/image199.png"/><Relationship Id="rId5" Type="http://schemas.openxmlformats.org/officeDocument/2006/relationships/image" Target="../media/image195.png"/><Relationship Id="rId10" Type="http://schemas.openxmlformats.org/officeDocument/2006/relationships/image" Target="../media/image81.png"/><Relationship Id="rId4" Type="http://schemas.openxmlformats.org/officeDocument/2006/relationships/image" Target="../media/image194.png"/><Relationship Id="rId9" Type="http://schemas.openxmlformats.org/officeDocument/2006/relationships/image" Target="../media/image198.png"/></Relationships>
</file>

<file path=ppt/slides/_rels/slide69.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202.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emf"/><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205.png"/><Relationship Id="rId7" Type="http://schemas.openxmlformats.org/officeDocument/2006/relationships/image" Target="../media/image209.png"/><Relationship Id="rId12" Type="http://schemas.openxmlformats.org/officeDocument/2006/relationships/image" Target="../media/image213.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08.emf"/><Relationship Id="rId11" Type="http://schemas.openxmlformats.org/officeDocument/2006/relationships/image" Target="../media/image212.png"/><Relationship Id="rId5" Type="http://schemas.openxmlformats.org/officeDocument/2006/relationships/image" Target="../media/image207.emf"/><Relationship Id="rId10" Type="http://schemas.openxmlformats.org/officeDocument/2006/relationships/image" Target="../media/image211.png"/><Relationship Id="rId4" Type="http://schemas.openxmlformats.org/officeDocument/2006/relationships/image" Target="../media/image206.tiff"/><Relationship Id="rId9" Type="http://schemas.openxmlformats.org/officeDocument/2006/relationships/image" Target="../media/image210.emf"/></Relationships>
</file>

<file path=ppt/slides/_rels/slide7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12.xml"/><Relationship Id="rId4" Type="http://schemas.openxmlformats.org/officeDocument/2006/relationships/image" Target="../media/image216.png"/></Relationships>
</file>

<file path=ppt/slides/_rels/slide76.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13" Type="http://schemas.openxmlformats.org/officeDocument/2006/relationships/image" Target="../media/image231.png"/><Relationship Id="rId18" Type="http://schemas.openxmlformats.org/officeDocument/2006/relationships/image" Target="../media/image236.png"/><Relationship Id="rId26" Type="http://schemas.openxmlformats.org/officeDocument/2006/relationships/image" Target="../media/image244.png"/><Relationship Id="rId39" Type="http://schemas.openxmlformats.org/officeDocument/2006/relationships/image" Target="../media/image257.png"/><Relationship Id="rId21" Type="http://schemas.openxmlformats.org/officeDocument/2006/relationships/image" Target="../media/image239.png"/><Relationship Id="rId34" Type="http://schemas.openxmlformats.org/officeDocument/2006/relationships/image" Target="../media/image252.png"/><Relationship Id="rId42" Type="http://schemas.openxmlformats.org/officeDocument/2006/relationships/image" Target="../media/image260.png"/><Relationship Id="rId7" Type="http://schemas.openxmlformats.org/officeDocument/2006/relationships/image" Target="../media/image225.png"/><Relationship Id="rId2" Type="http://schemas.openxmlformats.org/officeDocument/2006/relationships/notesSlide" Target="../notesSlides/notesSlide23.xml"/><Relationship Id="rId16" Type="http://schemas.openxmlformats.org/officeDocument/2006/relationships/image" Target="../media/image234.png"/><Relationship Id="rId29" Type="http://schemas.openxmlformats.org/officeDocument/2006/relationships/image" Target="../media/image247.png"/><Relationship Id="rId1" Type="http://schemas.openxmlformats.org/officeDocument/2006/relationships/slideLayout" Target="../slideLayouts/slideLayout12.xml"/><Relationship Id="rId6" Type="http://schemas.openxmlformats.org/officeDocument/2006/relationships/image" Target="../media/image224.png"/><Relationship Id="rId11" Type="http://schemas.openxmlformats.org/officeDocument/2006/relationships/image" Target="../media/image229.png"/><Relationship Id="rId24" Type="http://schemas.openxmlformats.org/officeDocument/2006/relationships/image" Target="../media/image242.png"/><Relationship Id="rId32" Type="http://schemas.openxmlformats.org/officeDocument/2006/relationships/image" Target="../media/image250.png"/><Relationship Id="rId37" Type="http://schemas.openxmlformats.org/officeDocument/2006/relationships/image" Target="../media/image255.png"/><Relationship Id="rId40" Type="http://schemas.openxmlformats.org/officeDocument/2006/relationships/image" Target="../media/image258.png"/><Relationship Id="rId45" Type="http://schemas.openxmlformats.org/officeDocument/2006/relationships/image" Target="../media/image262.jpeg"/><Relationship Id="rId5" Type="http://schemas.openxmlformats.org/officeDocument/2006/relationships/image" Target="../media/image223.png"/><Relationship Id="rId15" Type="http://schemas.openxmlformats.org/officeDocument/2006/relationships/image" Target="../media/image233.png"/><Relationship Id="rId23" Type="http://schemas.openxmlformats.org/officeDocument/2006/relationships/image" Target="../media/image241.png"/><Relationship Id="rId28" Type="http://schemas.openxmlformats.org/officeDocument/2006/relationships/image" Target="../media/image246.png"/><Relationship Id="rId36" Type="http://schemas.openxmlformats.org/officeDocument/2006/relationships/image" Target="../media/image254.png"/><Relationship Id="rId10" Type="http://schemas.openxmlformats.org/officeDocument/2006/relationships/image" Target="../media/image228.png"/><Relationship Id="rId19" Type="http://schemas.openxmlformats.org/officeDocument/2006/relationships/image" Target="../media/image237.png"/><Relationship Id="rId31" Type="http://schemas.openxmlformats.org/officeDocument/2006/relationships/image" Target="../media/image249.png"/><Relationship Id="rId44" Type="http://schemas.microsoft.com/office/2007/relationships/hdphoto" Target="../media/hdphoto6.wdp"/><Relationship Id="rId4" Type="http://schemas.openxmlformats.org/officeDocument/2006/relationships/image" Target="../media/image222.png"/><Relationship Id="rId9" Type="http://schemas.openxmlformats.org/officeDocument/2006/relationships/image" Target="../media/image227.png"/><Relationship Id="rId14" Type="http://schemas.openxmlformats.org/officeDocument/2006/relationships/image" Target="../media/image232.png"/><Relationship Id="rId22" Type="http://schemas.openxmlformats.org/officeDocument/2006/relationships/image" Target="../media/image240.png"/><Relationship Id="rId27" Type="http://schemas.openxmlformats.org/officeDocument/2006/relationships/image" Target="../media/image245.png"/><Relationship Id="rId30" Type="http://schemas.openxmlformats.org/officeDocument/2006/relationships/image" Target="../media/image248.png"/><Relationship Id="rId35" Type="http://schemas.openxmlformats.org/officeDocument/2006/relationships/image" Target="../media/image253.png"/><Relationship Id="rId43" Type="http://schemas.openxmlformats.org/officeDocument/2006/relationships/image" Target="../media/image261.png"/><Relationship Id="rId8" Type="http://schemas.openxmlformats.org/officeDocument/2006/relationships/image" Target="../media/image226.png"/><Relationship Id="rId3" Type="http://schemas.openxmlformats.org/officeDocument/2006/relationships/image" Target="../media/image221.png"/><Relationship Id="rId12" Type="http://schemas.openxmlformats.org/officeDocument/2006/relationships/image" Target="../media/image230.png"/><Relationship Id="rId17" Type="http://schemas.openxmlformats.org/officeDocument/2006/relationships/image" Target="../media/image235.png"/><Relationship Id="rId25" Type="http://schemas.openxmlformats.org/officeDocument/2006/relationships/image" Target="../media/image243.png"/><Relationship Id="rId33" Type="http://schemas.openxmlformats.org/officeDocument/2006/relationships/image" Target="../media/image251.png"/><Relationship Id="rId38" Type="http://schemas.openxmlformats.org/officeDocument/2006/relationships/image" Target="../media/image256.png"/><Relationship Id="rId20" Type="http://schemas.openxmlformats.org/officeDocument/2006/relationships/image" Target="../media/image238.png"/><Relationship Id="rId41" Type="http://schemas.openxmlformats.org/officeDocument/2006/relationships/image" Target="../media/image259.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 Id="rId9" Type="http://schemas.openxmlformats.org/officeDocument/2006/relationships/image" Target="../media/image269.png"/></Relationships>
</file>

<file path=ppt/slides/_rels/slide85.xml.rels><?xml version="1.0" encoding="UTF-8" standalone="yes"?>
<Relationships xmlns="http://schemas.openxmlformats.org/package/2006/relationships"><Relationship Id="rId8" Type="http://schemas.openxmlformats.org/officeDocument/2006/relationships/image" Target="../media/image114.jpeg"/><Relationship Id="rId3" Type="http://schemas.openxmlformats.org/officeDocument/2006/relationships/diagramLayout" Target="../diagrams/layout4.xml"/><Relationship Id="rId7" Type="http://schemas.openxmlformats.org/officeDocument/2006/relationships/image" Target="../media/image113.jpeg"/><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115.png"/></Relationships>
</file>

<file path=ppt/slides/_rels/slide86.xml.rels><?xml version="1.0" encoding="UTF-8" standalone="yes"?>
<Relationships xmlns="http://schemas.openxmlformats.org/package/2006/relationships"><Relationship Id="rId8" Type="http://schemas.openxmlformats.org/officeDocument/2006/relationships/image" Target="../media/image113.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270.png"/><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image" Target="../media/image115.png"/><Relationship Id="rId4" Type="http://schemas.openxmlformats.org/officeDocument/2006/relationships/diagramLayout" Target="../diagrams/layout5.xml"/><Relationship Id="rId9" Type="http://schemas.openxmlformats.org/officeDocument/2006/relationships/image" Target="../media/image114.jpeg"/></Relationships>
</file>

<file path=ppt/slides/_rels/slide87.xml.rels><?xml version="1.0" encoding="UTF-8" standalone="yes"?>
<Relationships xmlns="http://schemas.openxmlformats.org/package/2006/relationships"><Relationship Id="rId8" Type="http://schemas.openxmlformats.org/officeDocument/2006/relationships/image" Target="../media/image114.jpeg"/><Relationship Id="rId3" Type="http://schemas.openxmlformats.org/officeDocument/2006/relationships/diagramLayout" Target="../diagrams/layout6.xml"/><Relationship Id="rId7" Type="http://schemas.openxmlformats.org/officeDocument/2006/relationships/image" Target="../media/image113.jpeg"/><Relationship Id="rId2" Type="http://schemas.openxmlformats.org/officeDocument/2006/relationships/diagramData" Target="../diagrams/data6.xml"/><Relationship Id="rId1" Type="http://schemas.openxmlformats.org/officeDocument/2006/relationships/slideLayout" Target="../slideLayouts/slideLayout1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 Id="rId9" Type="http://schemas.openxmlformats.org/officeDocument/2006/relationships/image" Target="../media/image115.png"/></Relationships>
</file>

<file path=ppt/slides/_rels/slide8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idx="4294967295"/>
          </p:nvPr>
        </p:nvSpPr>
        <p:spPr>
          <a:xfrm>
            <a:off x="299026" y="2586904"/>
            <a:ext cx="7099300" cy="1325562"/>
          </a:xfrm>
        </p:spPr>
        <p:txBody>
          <a:bodyPr/>
          <a:lstStyle/>
          <a:p>
            <a:pPr>
              <a:lnSpc>
                <a:spcPts val="4000"/>
              </a:lnSpc>
            </a:pPr>
            <a:r>
              <a:rPr lang="en-US" b="1" dirty="0" smtClean="0"/>
              <a:t>Marriot RFP1 &amp; RFP2 Orals</a:t>
            </a:r>
            <a:br>
              <a:rPr lang="en-US" b="1" dirty="0" smtClean="0"/>
            </a:br>
            <a:r>
              <a:rPr lang="en-US" sz="2400" b="1" i="1" dirty="0" smtClean="0">
                <a:solidFill>
                  <a:schemeClr val="tx1"/>
                </a:solidFill>
              </a:rPr>
              <a:t>10</a:t>
            </a:r>
            <a:r>
              <a:rPr lang="en-US" sz="2400" b="1" i="1" baseline="30000" dirty="0" smtClean="0">
                <a:solidFill>
                  <a:schemeClr val="tx1"/>
                </a:solidFill>
              </a:rPr>
              <a:t>th</a:t>
            </a:r>
            <a:r>
              <a:rPr lang="en-US" sz="2400" b="1" i="1" dirty="0" smtClean="0">
                <a:solidFill>
                  <a:schemeClr val="tx1"/>
                </a:solidFill>
              </a:rPr>
              <a:t> May-2019</a:t>
            </a:r>
            <a:endParaRPr lang="en-US" sz="2400" b="1" i="1" dirty="0">
              <a:solidFill>
                <a:schemeClr val="tx1"/>
              </a:solidFill>
            </a:endParaRPr>
          </a:p>
        </p:txBody>
      </p:sp>
    </p:spTree>
    <p:extLst>
      <p:ext uri="{BB962C8B-B14F-4D97-AF65-F5344CB8AC3E}">
        <p14:creationId xmlns:p14="http://schemas.microsoft.com/office/powerpoint/2010/main" val="30552407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0668" y="91683"/>
            <a:ext cx="11180064" cy="1060704"/>
          </a:xfrm>
        </p:spPr>
        <p:txBody>
          <a:bodyPr vert="horz" lIns="0" tIns="0" rIns="0" bIns="0" rtlCol="0" anchor="t" anchorCtr="0">
            <a:normAutofit/>
          </a:bodyPr>
          <a:lstStyle/>
          <a:p>
            <a:r>
              <a:rPr lang="en-US" sz="2667" dirty="0"/>
              <a:t>Transition risk mitigation</a:t>
            </a:r>
            <a:endParaRPr lang="en-GB" sz="2667" dirty="0"/>
          </a:p>
        </p:txBody>
      </p:sp>
      <p:sp>
        <p:nvSpPr>
          <p:cNvPr id="2" name="Slide Number Placeholder 1"/>
          <p:cNvSpPr>
            <a:spLocks noGrp="1"/>
          </p:cNvSpPr>
          <p:nvPr>
            <p:ph type="sldNum" sz="quarter" idx="12"/>
          </p:nvPr>
        </p:nvSpPr>
        <p:spPr/>
        <p:txBody>
          <a:bodyPr/>
          <a:lstStyle/>
          <a:p>
            <a:fld id="{2EFEF571-C9B4-4D92-A7F7-315B894862A8}" type="slidenum">
              <a:rPr lang="en-US" smtClean="0"/>
              <a:pPr/>
              <a:t>10</a:t>
            </a:fld>
            <a:endParaRPr lang="en-US" dirty="0"/>
          </a:p>
        </p:txBody>
      </p:sp>
      <p:sp>
        <p:nvSpPr>
          <p:cNvPr id="6" name="Rectangle 5"/>
          <p:cNvSpPr/>
          <p:nvPr/>
        </p:nvSpPr>
        <p:spPr>
          <a:xfrm>
            <a:off x="1007185" y="617401"/>
            <a:ext cx="10086211" cy="5349032"/>
          </a:xfrm>
          <a:prstGeom prst="rect">
            <a:avLst/>
          </a:prstGeom>
          <a:noFill/>
          <a:ln w="28575" cap="flat" cmpd="sng" algn="ctr">
            <a:solidFill>
              <a:schemeClr val="tx1"/>
            </a:solidFill>
            <a:prstDash val="solid"/>
          </a:ln>
          <a:effectLst/>
        </p:spPr>
        <p:txBody>
          <a:bodyPr lIns="85588" tIns="42795" rIns="85588" bIns="42795"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855857">
              <a:defRPr/>
            </a:pPr>
            <a:endParaRPr lang="en-US" sz="900" dirty="0">
              <a:solidFill>
                <a:prstClr val="black"/>
              </a:solidFill>
              <a:cs typeface="Arial" panose="020B0604020202020204" pitchFamily="34" charset="0"/>
            </a:endParaRPr>
          </a:p>
        </p:txBody>
      </p:sp>
      <p:sp>
        <p:nvSpPr>
          <p:cNvPr id="8" name="Right Triangle 7"/>
          <p:cNvSpPr/>
          <p:nvPr/>
        </p:nvSpPr>
        <p:spPr>
          <a:xfrm>
            <a:off x="1505512" y="1495008"/>
            <a:ext cx="5782873" cy="3781480"/>
          </a:xfrm>
          <a:prstGeom prst="rtTriangle">
            <a:avLst/>
          </a:prstGeom>
          <a:gradFill rotWithShape="1">
            <a:gsLst>
              <a:gs pos="0">
                <a:srgbClr val="B0CCB0">
                  <a:tint val="50000"/>
                  <a:satMod val="300000"/>
                </a:srgbClr>
              </a:gs>
              <a:gs pos="35000">
                <a:srgbClr val="B0CCB0">
                  <a:tint val="37000"/>
                  <a:satMod val="300000"/>
                </a:srgbClr>
              </a:gs>
              <a:gs pos="100000">
                <a:srgbClr val="B0CCB0">
                  <a:tint val="15000"/>
                  <a:satMod val="350000"/>
                </a:srgbClr>
              </a:gs>
            </a:gsLst>
            <a:lin ang="16200000" scaled="1"/>
          </a:gradFill>
          <a:ln w="9525" cap="flat" cmpd="sng" algn="ctr">
            <a:solidFill>
              <a:srgbClr val="B0CCB0">
                <a:shade val="95000"/>
                <a:satMod val="105000"/>
              </a:srgbClr>
            </a:solidFill>
            <a:prstDash val="solid"/>
          </a:ln>
          <a:effectLst/>
        </p:spPr>
        <p:txBody>
          <a:bodyPr lIns="85588" tIns="42795" rIns="85588" bIns="42795"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855857">
              <a:defRPr/>
            </a:pPr>
            <a:endParaRPr lang="en-US" sz="900" dirty="0">
              <a:solidFill>
                <a:prstClr val="black"/>
              </a:solidFill>
              <a:cs typeface="Arial" panose="020B0604020202020204" pitchFamily="34" charset="0"/>
            </a:endParaRPr>
          </a:p>
        </p:txBody>
      </p:sp>
      <p:sp>
        <p:nvSpPr>
          <p:cNvPr id="9" name="Right Triangle 8"/>
          <p:cNvSpPr/>
          <p:nvPr/>
        </p:nvSpPr>
        <p:spPr>
          <a:xfrm rot="16200000" flipH="1">
            <a:off x="4657953" y="920469"/>
            <a:ext cx="2058759" cy="3207835"/>
          </a:xfrm>
          <a:prstGeom prst="rtTriangle">
            <a:avLst/>
          </a:prstGeom>
          <a:gradFill rotWithShape="1">
            <a:gsLst>
              <a:gs pos="0">
                <a:srgbClr val="CEC597">
                  <a:tint val="50000"/>
                  <a:satMod val="300000"/>
                </a:srgbClr>
              </a:gs>
              <a:gs pos="35000">
                <a:srgbClr val="CEC597">
                  <a:tint val="37000"/>
                  <a:satMod val="300000"/>
                </a:srgbClr>
              </a:gs>
              <a:gs pos="100000">
                <a:srgbClr val="CEC597">
                  <a:tint val="15000"/>
                  <a:satMod val="350000"/>
                </a:srgbClr>
              </a:gs>
            </a:gsLst>
            <a:lin ang="16200000" scaled="1"/>
          </a:gradFill>
          <a:ln w="9525" cap="flat" cmpd="sng" algn="ctr">
            <a:solidFill>
              <a:srgbClr val="CEC597">
                <a:shade val="95000"/>
                <a:satMod val="105000"/>
              </a:srgbClr>
            </a:solidFill>
            <a:prstDash val="solid"/>
          </a:ln>
          <a:effectLst/>
        </p:spPr>
        <p:txBody>
          <a:bodyPr lIns="85588" tIns="42795" rIns="85588" bIns="42795"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855857">
              <a:defRPr/>
            </a:pPr>
            <a:endParaRPr lang="en-US" sz="900" dirty="0">
              <a:solidFill>
                <a:prstClr val="black"/>
              </a:solidFill>
              <a:cs typeface="Arial" panose="020B0604020202020204" pitchFamily="34" charset="0"/>
            </a:endParaRPr>
          </a:p>
        </p:txBody>
      </p:sp>
      <p:sp>
        <p:nvSpPr>
          <p:cNvPr id="10" name="Freeform 9"/>
          <p:cNvSpPr/>
          <p:nvPr/>
        </p:nvSpPr>
        <p:spPr>
          <a:xfrm>
            <a:off x="1518624" y="1495009"/>
            <a:ext cx="5769760" cy="3781479"/>
          </a:xfrm>
          <a:custGeom>
            <a:avLst/>
            <a:gdLst>
              <a:gd name="connsiteX0" fmla="*/ 0 w 5133975"/>
              <a:gd name="connsiteY0" fmla="*/ 0 h 4181475"/>
              <a:gd name="connsiteX1" fmla="*/ 2266950 w 5133975"/>
              <a:gd name="connsiteY1" fmla="*/ 0 h 4181475"/>
              <a:gd name="connsiteX2" fmla="*/ 5133975 w 5133975"/>
              <a:gd name="connsiteY2" fmla="*/ 2257425 h 4181475"/>
              <a:gd name="connsiteX3" fmla="*/ 5133975 w 5133975"/>
              <a:gd name="connsiteY3" fmla="*/ 4181475 h 4181475"/>
              <a:gd name="connsiteX4" fmla="*/ 57150 w 5133975"/>
              <a:gd name="connsiteY4" fmla="*/ 19050 h 4181475"/>
              <a:gd name="connsiteX5" fmla="*/ 0 w 5133975"/>
              <a:gd name="connsiteY5" fmla="*/ 0 h 4181475"/>
              <a:gd name="connsiteX0" fmla="*/ 0 w 5133975"/>
              <a:gd name="connsiteY0" fmla="*/ 0 h 4181475"/>
              <a:gd name="connsiteX1" fmla="*/ 2266950 w 5133975"/>
              <a:gd name="connsiteY1" fmla="*/ 0 h 4181475"/>
              <a:gd name="connsiteX2" fmla="*/ 5133975 w 5133975"/>
              <a:gd name="connsiteY2" fmla="*/ 2257425 h 4181475"/>
              <a:gd name="connsiteX3" fmla="*/ 5133975 w 5133975"/>
              <a:gd name="connsiteY3" fmla="*/ 4181475 h 4181475"/>
              <a:gd name="connsiteX4" fmla="*/ 28575 w 5133975"/>
              <a:gd name="connsiteY4" fmla="*/ 28575 h 4181475"/>
              <a:gd name="connsiteX5" fmla="*/ 0 w 5133975"/>
              <a:gd name="connsiteY5" fmla="*/ 0 h 4181475"/>
              <a:gd name="connsiteX0" fmla="*/ 0 w 5133975"/>
              <a:gd name="connsiteY0" fmla="*/ 0 h 4171950"/>
              <a:gd name="connsiteX1" fmla="*/ 2266950 w 5133975"/>
              <a:gd name="connsiteY1" fmla="*/ 0 h 4171950"/>
              <a:gd name="connsiteX2" fmla="*/ 5133975 w 5133975"/>
              <a:gd name="connsiteY2" fmla="*/ 2257425 h 4171950"/>
              <a:gd name="connsiteX3" fmla="*/ 5124450 w 5133975"/>
              <a:gd name="connsiteY3" fmla="*/ 4171950 h 4171950"/>
              <a:gd name="connsiteX4" fmla="*/ 28575 w 5133975"/>
              <a:gd name="connsiteY4" fmla="*/ 28575 h 4171950"/>
              <a:gd name="connsiteX5" fmla="*/ 0 w 5133975"/>
              <a:gd name="connsiteY5" fmla="*/ 0 h 4171950"/>
              <a:gd name="connsiteX0" fmla="*/ 0 w 5133975"/>
              <a:gd name="connsiteY0" fmla="*/ 0 h 4179570"/>
              <a:gd name="connsiteX1" fmla="*/ 2266950 w 5133975"/>
              <a:gd name="connsiteY1" fmla="*/ 0 h 4179570"/>
              <a:gd name="connsiteX2" fmla="*/ 5133975 w 5133975"/>
              <a:gd name="connsiteY2" fmla="*/ 2257425 h 4179570"/>
              <a:gd name="connsiteX3" fmla="*/ 5116830 w 5133975"/>
              <a:gd name="connsiteY3" fmla="*/ 4179570 h 4179570"/>
              <a:gd name="connsiteX4" fmla="*/ 28575 w 5133975"/>
              <a:gd name="connsiteY4" fmla="*/ 28575 h 4179570"/>
              <a:gd name="connsiteX5" fmla="*/ 0 w 5133975"/>
              <a:gd name="connsiteY5" fmla="*/ 0 h 4179570"/>
              <a:gd name="connsiteX0" fmla="*/ 0 w 5118735"/>
              <a:gd name="connsiteY0" fmla="*/ 0 h 4179570"/>
              <a:gd name="connsiteX1" fmla="*/ 2266950 w 5118735"/>
              <a:gd name="connsiteY1" fmla="*/ 0 h 4179570"/>
              <a:gd name="connsiteX2" fmla="*/ 5118735 w 5118735"/>
              <a:gd name="connsiteY2" fmla="*/ 2257425 h 4179570"/>
              <a:gd name="connsiteX3" fmla="*/ 5116830 w 5118735"/>
              <a:gd name="connsiteY3" fmla="*/ 4179570 h 4179570"/>
              <a:gd name="connsiteX4" fmla="*/ 28575 w 5118735"/>
              <a:gd name="connsiteY4" fmla="*/ 28575 h 4179570"/>
              <a:gd name="connsiteX5" fmla="*/ 0 w 5118735"/>
              <a:gd name="connsiteY5" fmla="*/ 0 h 417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8735" h="4179570">
                <a:moveTo>
                  <a:pt x="0" y="0"/>
                </a:moveTo>
                <a:lnTo>
                  <a:pt x="2266950" y="0"/>
                </a:lnTo>
                <a:lnTo>
                  <a:pt x="5118735" y="2257425"/>
                </a:lnTo>
                <a:lnTo>
                  <a:pt x="5116830" y="4179570"/>
                </a:lnTo>
                <a:lnTo>
                  <a:pt x="28575" y="28575"/>
                </a:lnTo>
                <a:lnTo>
                  <a:pt x="0" y="0"/>
                </a:lnTo>
                <a:close/>
              </a:path>
            </a:pathLst>
          </a:custGeom>
          <a:gradFill rotWithShape="1">
            <a:gsLst>
              <a:gs pos="0">
                <a:srgbClr val="C0BEAF">
                  <a:tint val="50000"/>
                  <a:satMod val="300000"/>
                </a:srgbClr>
              </a:gs>
              <a:gs pos="35000">
                <a:srgbClr val="C0BEAF">
                  <a:tint val="37000"/>
                  <a:satMod val="300000"/>
                </a:srgbClr>
              </a:gs>
              <a:gs pos="100000">
                <a:srgbClr val="C0BEAF">
                  <a:tint val="15000"/>
                  <a:satMod val="350000"/>
                </a:srgbClr>
              </a:gs>
            </a:gsLst>
            <a:lin ang="16200000" scaled="1"/>
          </a:gradFill>
          <a:ln w="9525" cap="flat" cmpd="sng" algn="ctr">
            <a:solidFill>
              <a:srgbClr val="C0BEAF">
                <a:shade val="95000"/>
                <a:satMod val="105000"/>
              </a:srgbClr>
            </a:solidFill>
            <a:prstDash val="solid"/>
          </a:ln>
          <a:effectLst/>
        </p:spPr>
        <p:txBody>
          <a:bodyPr lIns="85588" tIns="42795" rIns="85588" bIns="42795"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855857">
              <a:defRPr/>
            </a:pPr>
            <a:endParaRPr lang="en-US" sz="900" dirty="0">
              <a:solidFill>
                <a:prstClr val="black"/>
              </a:solidFill>
              <a:cs typeface="Arial" panose="020B0604020202020204" pitchFamily="34" charset="0"/>
            </a:endParaRPr>
          </a:p>
        </p:txBody>
      </p:sp>
      <p:cxnSp>
        <p:nvCxnSpPr>
          <p:cNvPr id="11" name="Straight Connector 10"/>
          <p:cNvCxnSpPr/>
          <p:nvPr/>
        </p:nvCxnSpPr>
        <p:spPr>
          <a:xfrm>
            <a:off x="2934745" y="1483672"/>
            <a:ext cx="0" cy="3806713"/>
          </a:xfrm>
          <a:prstGeom prst="line">
            <a:avLst/>
          </a:prstGeom>
          <a:noFill/>
          <a:ln w="9525" cap="flat" cmpd="sng" algn="ctr">
            <a:solidFill>
              <a:sysClr val="windowText" lastClr="000000">
                <a:lumMod val="50000"/>
                <a:lumOff val="50000"/>
              </a:sysClr>
            </a:solidFill>
            <a:prstDash val="dash"/>
          </a:ln>
          <a:effectLst/>
        </p:spPr>
      </p:cxnSp>
      <p:cxnSp>
        <p:nvCxnSpPr>
          <p:cNvPr id="12" name="Straight Connector 11"/>
          <p:cNvCxnSpPr/>
          <p:nvPr/>
        </p:nvCxnSpPr>
        <p:spPr>
          <a:xfrm>
            <a:off x="4377723" y="1483672"/>
            <a:ext cx="0" cy="3806713"/>
          </a:xfrm>
          <a:prstGeom prst="line">
            <a:avLst/>
          </a:prstGeom>
          <a:noFill/>
          <a:ln w="9525" cap="flat" cmpd="sng" algn="ctr">
            <a:solidFill>
              <a:sysClr val="windowText" lastClr="000000">
                <a:lumMod val="50000"/>
                <a:lumOff val="50000"/>
              </a:sysClr>
            </a:solidFill>
            <a:prstDash val="dash"/>
          </a:ln>
          <a:effectLst/>
        </p:spPr>
      </p:cxnSp>
      <p:cxnSp>
        <p:nvCxnSpPr>
          <p:cNvPr id="13" name="Straight Connector 12"/>
          <p:cNvCxnSpPr/>
          <p:nvPr/>
        </p:nvCxnSpPr>
        <p:spPr>
          <a:xfrm>
            <a:off x="5820700" y="1483672"/>
            <a:ext cx="0" cy="3806713"/>
          </a:xfrm>
          <a:prstGeom prst="line">
            <a:avLst/>
          </a:prstGeom>
          <a:noFill/>
          <a:ln w="9525" cap="flat" cmpd="sng" algn="ctr">
            <a:solidFill>
              <a:sysClr val="windowText" lastClr="000000">
                <a:lumMod val="50000"/>
                <a:lumOff val="50000"/>
              </a:sysClr>
            </a:solidFill>
            <a:prstDash val="dash"/>
          </a:ln>
          <a:effectLst/>
        </p:spPr>
      </p:cxnSp>
      <p:sp>
        <p:nvSpPr>
          <p:cNvPr id="38" name="Rectangle 37"/>
          <p:cNvSpPr/>
          <p:nvPr/>
        </p:nvSpPr>
        <p:spPr>
          <a:xfrm>
            <a:off x="7391625" y="1044084"/>
            <a:ext cx="3538728" cy="4897136"/>
          </a:xfrm>
          <a:prstGeom prst="rect">
            <a:avLst/>
          </a:prstGeom>
          <a:solidFill>
            <a:schemeClr val="bg1"/>
          </a:solidFill>
          <a:ln w="9525" cap="flat" cmpd="sng" algn="ctr">
            <a:solidFill>
              <a:srgbClr val="0070C0"/>
            </a:solidFill>
            <a:prstDash val="solid"/>
          </a:ln>
          <a:effectLst/>
        </p:spPr>
        <p:txBody>
          <a:bodyPr lIns="85588" tIns="42795" rIns="85588" bIns="42795"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Longer shadowing, simulations and simulate end of term services that do not occur during KT </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Executive commitment and joint focus on initial change management for new operating model</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SME backup planning, reverse engineering</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Focus on process definition and documentation in an integrated knowledge management tools</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Engage Air Canada’s architecture and Cognizant’s current IT teams for technical feasibility and hand holding users for increased adoption</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Iterative knowledge transfer to accelerate SME free-up to obtain rapid process knowledge</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Global operational governance with specific handoff procedures to follow the sun model</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Understanding of culture and collaborative governance from current IT engagement</a:t>
            </a:r>
          </a:p>
          <a:p>
            <a:pPr marL="256756" indent="-256756" algn="just" defTabSz="855857">
              <a:spcBef>
                <a:spcPts val="280"/>
              </a:spcBef>
              <a:buFont typeface="Arial" pitchFamily="34" charset="0"/>
              <a:buChar char="•"/>
              <a:defRPr/>
            </a:pPr>
            <a:endParaRPr lang="en-US" sz="1067" dirty="0">
              <a:solidFill>
                <a:prstClr val="black"/>
              </a:solidFill>
              <a:cs typeface="Arial" panose="020B0604020202020204" pitchFamily="34" charset="0"/>
            </a:endParaRPr>
          </a:p>
          <a:p>
            <a:pPr marL="256756" indent="-256756" algn="just" defTabSz="855857">
              <a:spcBef>
                <a:spcPts val="280"/>
              </a:spcBef>
              <a:buFont typeface="Arial" pitchFamily="34" charset="0"/>
              <a:buChar char="•"/>
              <a:defRPr/>
            </a:pPr>
            <a:r>
              <a:rPr lang="en-US" sz="1067" dirty="0">
                <a:solidFill>
                  <a:prstClr val="black"/>
                </a:solidFill>
                <a:cs typeface="Arial" panose="020B0604020202020204" pitchFamily="34" charset="0"/>
              </a:rPr>
              <a:t>Transparent and inclusive managed innovation platform with ‘ideadashboard’ for prioritization</a:t>
            </a:r>
          </a:p>
        </p:txBody>
      </p:sp>
      <p:sp>
        <p:nvSpPr>
          <p:cNvPr id="39" name="Rectangle 38"/>
          <p:cNvSpPr/>
          <p:nvPr/>
        </p:nvSpPr>
        <p:spPr>
          <a:xfrm>
            <a:off x="7391627" y="675668"/>
            <a:ext cx="3538727" cy="282797"/>
          </a:xfrm>
          <a:prstGeom prst="rect">
            <a:avLst/>
          </a:prstGeom>
          <a:solidFill>
            <a:srgbClr val="07409F">
              <a:alpha val="70000"/>
            </a:srgbClr>
          </a:solidFill>
          <a:ln w="9525">
            <a:noFill/>
            <a:miter lim="800000"/>
            <a:headEnd/>
            <a:tailEnd/>
          </a:ln>
          <a:effectLst/>
        </p:spPr>
        <p:txBody>
          <a:bodyPr lIns="61369" tIns="61369" rIns="24567" bIns="61369" anchor="ctr">
            <a:noAutofit/>
          </a:bodyPr>
          <a:lstStyle/>
          <a:p>
            <a:pPr algn="ctr" defTabSz="1495471" eaLnBrk="0" hangingPunct="0"/>
            <a:r>
              <a:rPr lang="en-GB" sz="1500" dirty="0">
                <a:solidFill>
                  <a:schemeClr val="bg1"/>
                </a:solidFill>
              </a:rPr>
              <a:t>Key Mitigation Strategies</a:t>
            </a:r>
          </a:p>
        </p:txBody>
      </p:sp>
      <p:sp>
        <p:nvSpPr>
          <p:cNvPr id="41" name="TextBox 54"/>
          <p:cNvSpPr txBox="1"/>
          <p:nvPr/>
        </p:nvSpPr>
        <p:spPr>
          <a:xfrm>
            <a:off x="2834971" y="5280859"/>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prstClr val="black"/>
                </a:solidFill>
                <a:ea typeface="Tahoma" pitchFamily="34" charset="0"/>
                <a:cs typeface="Arial" panose="020B0604020202020204" pitchFamily="34" charset="0"/>
              </a:rPr>
              <a:t>1</a:t>
            </a:r>
          </a:p>
        </p:txBody>
      </p:sp>
      <p:sp>
        <p:nvSpPr>
          <p:cNvPr id="42" name="TextBox 55"/>
          <p:cNvSpPr txBox="1"/>
          <p:nvPr/>
        </p:nvSpPr>
        <p:spPr>
          <a:xfrm>
            <a:off x="4279723" y="5280859"/>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prstClr val="black"/>
                </a:solidFill>
                <a:ea typeface="Tahoma" pitchFamily="34" charset="0"/>
                <a:cs typeface="Arial" panose="020B0604020202020204" pitchFamily="34" charset="0"/>
              </a:rPr>
              <a:t>2</a:t>
            </a:r>
          </a:p>
        </p:txBody>
      </p:sp>
      <p:sp>
        <p:nvSpPr>
          <p:cNvPr id="43" name="TextBox 56"/>
          <p:cNvSpPr txBox="1"/>
          <p:nvPr/>
        </p:nvSpPr>
        <p:spPr>
          <a:xfrm>
            <a:off x="5722734" y="5280859"/>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prstClr val="black"/>
                </a:solidFill>
                <a:ea typeface="Tahoma" pitchFamily="34" charset="0"/>
                <a:cs typeface="Arial" panose="020B0604020202020204" pitchFamily="34" charset="0"/>
              </a:rPr>
              <a:t>3</a:t>
            </a:r>
          </a:p>
        </p:txBody>
      </p:sp>
      <p:sp>
        <p:nvSpPr>
          <p:cNvPr id="44" name="TextBox 57"/>
          <p:cNvSpPr txBox="1"/>
          <p:nvPr/>
        </p:nvSpPr>
        <p:spPr>
          <a:xfrm>
            <a:off x="1505512" y="5301448"/>
            <a:ext cx="826779" cy="224925"/>
          </a:xfrm>
          <a:prstGeom prst="rect">
            <a:avLst/>
          </a:prstGeom>
          <a:noFill/>
          <a:effectLst/>
        </p:spPr>
        <p:txBody>
          <a:bodyPr wrap="square" lIns="85588" tIns="42795" rIns="85588" bIns="42795" rtlCol="0">
            <a:spAutoFit/>
          </a:bodyPr>
          <a:lstStyle>
            <a:defPPr>
              <a:defRPr lang="en-US"/>
            </a:defPPr>
            <a:lvl1pPr algn="ctr" defTabSz="914400">
              <a:defRPr sz="675" b="1">
                <a:solidFill>
                  <a:srgbClr val="0070C0"/>
                </a:solidFill>
                <a:ea typeface="Tahoma" pitchFamily="34" charset="0"/>
                <a:cs typeface="Arial" panose="020B0604020202020204" pitchFamily="34" charset="0"/>
              </a:defRPr>
            </a:lvl1pPr>
            <a:lvl2pPr defTabSz="914400"/>
            <a:lvl3pPr defTabSz="914400"/>
            <a:lvl4pPr defTabSz="914400"/>
            <a:lvl5pPr defTabSz="914400"/>
            <a:lvl6pPr defTabSz="914400"/>
            <a:lvl7pPr defTabSz="914400"/>
            <a:lvl8pPr defTabSz="914400"/>
            <a:lvl9pPr defTabSz="914400"/>
          </a:lstStyle>
          <a:p>
            <a:r>
              <a:rPr lang="en-US" sz="900" dirty="0"/>
              <a:t>Low Impact</a:t>
            </a:r>
          </a:p>
        </p:txBody>
      </p:sp>
      <p:sp>
        <p:nvSpPr>
          <p:cNvPr id="45" name="TextBox 58"/>
          <p:cNvSpPr txBox="1"/>
          <p:nvPr/>
        </p:nvSpPr>
        <p:spPr>
          <a:xfrm>
            <a:off x="6383616" y="5301448"/>
            <a:ext cx="907632" cy="224925"/>
          </a:xfrm>
          <a:prstGeom prst="rect">
            <a:avLst/>
          </a:prstGeom>
          <a:noFill/>
          <a:effectLst/>
        </p:spPr>
        <p:txBody>
          <a:bodyPr wrap="square" lIns="85588" tIns="42795" rIns="85588" bIns="42795" rtlCol="0">
            <a:spAutoFit/>
          </a:bodyPr>
          <a:lstStyle>
            <a:defPPr>
              <a:defRPr lang="en-US"/>
            </a:defPPr>
            <a:lvl1pPr algn="ctr" defTabSz="914400">
              <a:defRPr sz="675" b="1">
                <a:solidFill>
                  <a:srgbClr val="C00000"/>
                </a:solidFill>
                <a:ea typeface="Tahoma" pitchFamily="34" charset="0"/>
                <a:cs typeface="Arial" panose="020B0604020202020204" pitchFamily="34" charset="0"/>
              </a:defRPr>
            </a:lvl1pPr>
            <a:lvl2pPr defTabSz="914400"/>
            <a:lvl3pPr defTabSz="914400"/>
            <a:lvl4pPr defTabSz="914400"/>
            <a:lvl5pPr defTabSz="914400"/>
            <a:lvl6pPr defTabSz="914400"/>
            <a:lvl7pPr defTabSz="914400"/>
            <a:lvl8pPr defTabSz="914400"/>
            <a:lvl9pPr defTabSz="914400"/>
          </a:lstStyle>
          <a:p>
            <a:r>
              <a:rPr lang="en-US" sz="900" dirty="0"/>
              <a:t>High Impact</a:t>
            </a:r>
          </a:p>
        </p:txBody>
      </p:sp>
      <p:sp>
        <p:nvSpPr>
          <p:cNvPr id="46" name="TextBox 59"/>
          <p:cNvSpPr txBox="1"/>
          <p:nvPr/>
        </p:nvSpPr>
        <p:spPr>
          <a:xfrm>
            <a:off x="1333614" y="4849575"/>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1</a:t>
            </a:r>
          </a:p>
        </p:txBody>
      </p:sp>
      <p:sp>
        <p:nvSpPr>
          <p:cNvPr id="47" name="TextBox 60"/>
          <p:cNvSpPr txBox="1"/>
          <p:nvPr/>
        </p:nvSpPr>
        <p:spPr>
          <a:xfrm>
            <a:off x="1333614" y="4450303"/>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2</a:t>
            </a:r>
          </a:p>
        </p:txBody>
      </p:sp>
      <p:sp>
        <p:nvSpPr>
          <p:cNvPr id="48" name="TextBox 61"/>
          <p:cNvSpPr txBox="1"/>
          <p:nvPr/>
        </p:nvSpPr>
        <p:spPr>
          <a:xfrm>
            <a:off x="1333614" y="4104237"/>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3</a:t>
            </a:r>
          </a:p>
        </p:txBody>
      </p:sp>
      <p:sp>
        <p:nvSpPr>
          <p:cNvPr id="49" name="TextBox 62"/>
          <p:cNvSpPr txBox="1"/>
          <p:nvPr/>
        </p:nvSpPr>
        <p:spPr>
          <a:xfrm>
            <a:off x="1333614" y="3742168"/>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4</a:t>
            </a:r>
          </a:p>
        </p:txBody>
      </p:sp>
      <p:sp>
        <p:nvSpPr>
          <p:cNvPr id="50" name="TextBox 63"/>
          <p:cNvSpPr txBox="1"/>
          <p:nvPr/>
        </p:nvSpPr>
        <p:spPr>
          <a:xfrm>
            <a:off x="1333614" y="3342895"/>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5</a:t>
            </a:r>
          </a:p>
        </p:txBody>
      </p:sp>
      <p:sp>
        <p:nvSpPr>
          <p:cNvPr id="51" name="TextBox 64"/>
          <p:cNvSpPr txBox="1"/>
          <p:nvPr/>
        </p:nvSpPr>
        <p:spPr>
          <a:xfrm>
            <a:off x="1333614" y="2980825"/>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6</a:t>
            </a:r>
          </a:p>
        </p:txBody>
      </p:sp>
      <p:sp>
        <p:nvSpPr>
          <p:cNvPr id="52" name="TextBox 65"/>
          <p:cNvSpPr txBox="1"/>
          <p:nvPr/>
        </p:nvSpPr>
        <p:spPr>
          <a:xfrm>
            <a:off x="1333614" y="2591775"/>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7</a:t>
            </a:r>
          </a:p>
        </p:txBody>
      </p:sp>
      <p:sp>
        <p:nvSpPr>
          <p:cNvPr id="53" name="TextBox 66"/>
          <p:cNvSpPr txBox="1"/>
          <p:nvPr/>
        </p:nvSpPr>
        <p:spPr>
          <a:xfrm>
            <a:off x="1333614" y="2219483"/>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8</a:t>
            </a:r>
          </a:p>
        </p:txBody>
      </p:sp>
      <p:sp>
        <p:nvSpPr>
          <p:cNvPr id="54" name="TextBox 67"/>
          <p:cNvSpPr txBox="1"/>
          <p:nvPr/>
        </p:nvSpPr>
        <p:spPr>
          <a:xfrm>
            <a:off x="1333614" y="1820209"/>
            <a:ext cx="171783"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9</a:t>
            </a:r>
          </a:p>
        </p:txBody>
      </p:sp>
      <p:sp>
        <p:nvSpPr>
          <p:cNvPr id="55" name="TextBox 68"/>
          <p:cNvSpPr txBox="1"/>
          <p:nvPr/>
        </p:nvSpPr>
        <p:spPr>
          <a:xfrm>
            <a:off x="1204775" y="1493087"/>
            <a:ext cx="429459"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dirty="0">
                <a:solidFill>
                  <a:prstClr val="black"/>
                </a:solidFill>
                <a:ea typeface="Tahoma" pitchFamily="34" charset="0"/>
                <a:cs typeface="Arial" panose="020B0604020202020204" pitchFamily="34" charset="0"/>
              </a:rPr>
              <a:t>10</a:t>
            </a:r>
          </a:p>
        </p:txBody>
      </p:sp>
      <p:sp>
        <p:nvSpPr>
          <p:cNvPr id="56" name="TextBox 69"/>
          <p:cNvSpPr txBox="1"/>
          <p:nvPr/>
        </p:nvSpPr>
        <p:spPr>
          <a:xfrm rot="16200000">
            <a:off x="652349" y="4745094"/>
            <a:ext cx="1107407"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dirty="0">
                <a:solidFill>
                  <a:srgbClr val="0070C0"/>
                </a:solidFill>
                <a:ea typeface="Tahoma" pitchFamily="34" charset="0"/>
                <a:cs typeface="Arial" panose="020B0604020202020204" pitchFamily="34" charset="0"/>
              </a:rPr>
              <a:t>Low Probability</a:t>
            </a:r>
          </a:p>
        </p:txBody>
      </p:sp>
      <p:sp>
        <p:nvSpPr>
          <p:cNvPr id="57" name="TextBox 70"/>
          <p:cNvSpPr txBox="1"/>
          <p:nvPr/>
        </p:nvSpPr>
        <p:spPr>
          <a:xfrm rot="16200000">
            <a:off x="634861" y="1897903"/>
            <a:ext cx="1142379" cy="224925"/>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dirty="0">
                <a:solidFill>
                  <a:srgbClr val="C00000"/>
                </a:solidFill>
                <a:ea typeface="Tahoma" pitchFamily="34" charset="0"/>
                <a:cs typeface="Arial" panose="020B0604020202020204" pitchFamily="34" charset="0"/>
              </a:rPr>
              <a:t>High Probability</a:t>
            </a:r>
          </a:p>
        </p:txBody>
      </p:sp>
      <p:sp>
        <p:nvSpPr>
          <p:cNvPr id="58" name="TextBox 71"/>
          <p:cNvSpPr txBox="1"/>
          <p:nvPr/>
        </p:nvSpPr>
        <p:spPr>
          <a:xfrm rot="16200000">
            <a:off x="187421" y="3327502"/>
            <a:ext cx="2037124" cy="271092"/>
          </a:xfrm>
          <a:prstGeom prst="rect">
            <a:avLst/>
          </a:prstGeom>
          <a:noFill/>
          <a:effectLst/>
        </p:spPr>
        <p:txBody>
          <a:bodyPr wrap="square" lIns="85588" tIns="42795" rIns="85588" bIns="42795"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dirty="0">
                <a:solidFill>
                  <a:prstClr val="black"/>
                </a:solidFill>
                <a:ea typeface="Tahoma" pitchFamily="34" charset="0"/>
                <a:cs typeface="Arial" panose="020B0604020202020204" pitchFamily="34" charset="0"/>
              </a:rPr>
              <a:t>Probability of occurrence</a:t>
            </a:r>
          </a:p>
        </p:txBody>
      </p:sp>
      <p:sp>
        <p:nvSpPr>
          <p:cNvPr id="59" name="TextBox 72"/>
          <p:cNvSpPr txBox="1"/>
          <p:nvPr/>
        </p:nvSpPr>
        <p:spPr>
          <a:xfrm>
            <a:off x="3620966" y="5528326"/>
            <a:ext cx="1626785" cy="271092"/>
          </a:xfrm>
          <a:prstGeom prst="rect">
            <a:avLst/>
          </a:prstGeom>
          <a:noFill/>
          <a:effectLst/>
        </p:spPr>
        <p:txBody>
          <a:bodyPr wrap="square" lIns="85588" tIns="42795" rIns="85588" bIns="42795" rtlCol="0">
            <a:spAutoFit/>
          </a:bodyPr>
          <a:lstStyle>
            <a:defPPr>
              <a:defRPr lang="en-US"/>
            </a:defPPr>
            <a:lvl1pPr algn="ctr" defTabSz="914400">
              <a:defRPr sz="900" b="1">
                <a:solidFill>
                  <a:prstClr val="black"/>
                </a:solidFill>
                <a:ea typeface="Tahoma" pitchFamily="34" charset="0"/>
                <a:cs typeface="Arial" panose="020B0604020202020204" pitchFamily="34" charset="0"/>
              </a:defRPr>
            </a:lvl1pPr>
            <a:lvl2pPr defTabSz="914400"/>
            <a:lvl3pPr defTabSz="914400"/>
            <a:lvl4pPr defTabSz="914400"/>
            <a:lvl5pPr defTabSz="914400"/>
            <a:lvl6pPr defTabSz="914400"/>
            <a:lvl7pPr defTabSz="914400"/>
            <a:lvl8pPr defTabSz="914400"/>
            <a:lvl9pPr defTabSz="914400"/>
          </a:lstStyle>
          <a:p>
            <a:r>
              <a:rPr lang="en-US" sz="1200" dirty="0"/>
              <a:t>Potential Impact</a:t>
            </a:r>
          </a:p>
        </p:txBody>
      </p:sp>
      <p:grpSp>
        <p:nvGrpSpPr>
          <p:cNvPr id="113" name="Group 112"/>
          <p:cNvGrpSpPr/>
          <p:nvPr/>
        </p:nvGrpSpPr>
        <p:grpSpPr>
          <a:xfrm>
            <a:off x="3517168" y="2617691"/>
            <a:ext cx="1930761" cy="499950"/>
            <a:chOff x="4164835" y="3267604"/>
            <a:chExt cx="2145291" cy="499950"/>
          </a:xfrm>
        </p:grpSpPr>
        <p:sp>
          <p:nvSpPr>
            <p:cNvPr id="100" name="Oval 99"/>
            <p:cNvSpPr/>
            <p:nvPr/>
          </p:nvSpPr>
          <p:spPr bwMode="auto">
            <a:xfrm>
              <a:off x="6030412" y="3533247"/>
              <a:ext cx="279714"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solidFill>
                    <a:schemeClr val="bg1"/>
                  </a:solidFill>
                </a:rPr>
                <a:t>3</a:t>
              </a:r>
            </a:p>
          </p:txBody>
        </p:sp>
        <p:sp>
          <p:nvSpPr>
            <p:cNvPr id="101" name="Rounded Rectangular Callout 100"/>
            <p:cNvSpPr/>
            <p:nvPr/>
          </p:nvSpPr>
          <p:spPr>
            <a:xfrm>
              <a:off x="4164835" y="3267604"/>
              <a:ext cx="1778655" cy="388475"/>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Potential vendor to vendor transition</a:t>
              </a:r>
            </a:p>
          </p:txBody>
        </p:sp>
      </p:grpSp>
      <p:grpSp>
        <p:nvGrpSpPr>
          <p:cNvPr id="114" name="Group 113"/>
          <p:cNvGrpSpPr/>
          <p:nvPr/>
        </p:nvGrpSpPr>
        <p:grpSpPr>
          <a:xfrm>
            <a:off x="2221024" y="3378579"/>
            <a:ext cx="1930761" cy="589407"/>
            <a:chOff x="4810119" y="4038411"/>
            <a:chExt cx="2145291" cy="589406"/>
          </a:xfrm>
        </p:grpSpPr>
        <p:sp>
          <p:nvSpPr>
            <p:cNvPr id="102" name="Oval 101"/>
            <p:cNvSpPr/>
            <p:nvPr/>
          </p:nvSpPr>
          <p:spPr bwMode="auto">
            <a:xfrm>
              <a:off x="6675696" y="4393510"/>
              <a:ext cx="279714"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6</a:t>
              </a:r>
            </a:p>
          </p:txBody>
        </p:sp>
        <p:sp>
          <p:nvSpPr>
            <p:cNvPr id="103" name="Rounded Rectangular Callout 102"/>
            <p:cNvSpPr/>
            <p:nvPr/>
          </p:nvSpPr>
          <p:spPr>
            <a:xfrm>
              <a:off x="4810119" y="4038411"/>
              <a:ext cx="1778655" cy="567388"/>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SME attrition or premature release of vendor resources</a:t>
              </a:r>
            </a:p>
          </p:txBody>
        </p:sp>
      </p:grpSp>
      <p:grpSp>
        <p:nvGrpSpPr>
          <p:cNvPr id="108" name="Group 107"/>
          <p:cNvGrpSpPr/>
          <p:nvPr/>
        </p:nvGrpSpPr>
        <p:grpSpPr>
          <a:xfrm>
            <a:off x="4306135" y="1542198"/>
            <a:ext cx="2343525" cy="643580"/>
            <a:chOff x="4438413" y="1803962"/>
            <a:chExt cx="2603918" cy="643580"/>
          </a:xfrm>
        </p:grpSpPr>
        <p:sp>
          <p:nvSpPr>
            <p:cNvPr id="104" name="Oval 103"/>
            <p:cNvSpPr/>
            <p:nvPr/>
          </p:nvSpPr>
          <p:spPr bwMode="auto">
            <a:xfrm>
              <a:off x="6762617" y="2069500"/>
              <a:ext cx="279714" cy="234307"/>
            </a:xfrm>
            <a:prstGeom prst="ellips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solidFill>
                    <a:schemeClr val="bg1"/>
                  </a:solidFill>
                </a:rPr>
                <a:t>1</a:t>
              </a:r>
            </a:p>
          </p:txBody>
        </p:sp>
        <p:sp>
          <p:nvSpPr>
            <p:cNvPr id="105" name="Rounded Rectangular Callout 104"/>
            <p:cNvSpPr/>
            <p:nvPr/>
          </p:nvSpPr>
          <p:spPr>
            <a:xfrm>
              <a:off x="4438413" y="1803962"/>
              <a:ext cx="2168759" cy="643580"/>
            </a:xfrm>
            <a:prstGeom prst="wedgeRoundRectCallout">
              <a:avLst>
                <a:gd name="adj1" fmla="val 60952"/>
                <a:gd name="adj2" fmla="val -8150"/>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200" kern="0" dirty="0">
                  <a:solidFill>
                    <a:prstClr val="black"/>
                  </a:solidFill>
                  <a:ea typeface="Tahoma" pitchFamily="34" charset="0"/>
                  <a:cs typeface="Arial" panose="020B0604020202020204" pitchFamily="34" charset="0"/>
                </a:rPr>
                <a:t>Transition of challenging business scenarios (month end close)</a:t>
              </a:r>
            </a:p>
          </p:txBody>
        </p:sp>
      </p:grpSp>
      <p:grpSp>
        <p:nvGrpSpPr>
          <p:cNvPr id="112" name="Group 111"/>
          <p:cNvGrpSpPr/>
          <p:nvPr/>
        </p:nvGrpSpPr>
        <p:grpSpPr>
          <a:xfrm>
            <a:off x="5146636" y="3597099"/>
            <a:ext cx="1930761" cy="589406"/>
            <a:chOff x="1562593" y="4113686"/>
            <a:chExt cx="2145291" cy="589405"/>
          </a:xfrm>
        </p:grpSpPr>
        <p:sp>
          <p:nvSpPr>
            <p:cNvPr id="106" name="Oval 105"/>
            <p:cNvSpPr/>
            <p:nvPr/>
          </p:nvSpPr>
          <p:spPr bwMode="auto">
            <a:xfrm>
              <a:off x="3428170" y="4468784"/>
              <a:ext cx="279714"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solidFill>
                    <a:schemeClr val="bg1"/>
                  </a:solidFill>
                </a:rPr>
                <a:t>4</a:t>
              </a:r>
            </a:p>
          </p:txBody>
        </p:sp>
        <p:sp>
          <p:nvSpPr>
            <p:cNvPr id="107" name="Rounded Rectangular Callout 106"/>
            <p:cNvSpPr/>
            <p:nvPr/>
          </p:nvSpPr>
          <p:spPr>
            <a:xfrm>
              <a:off x="1562593" y="4113686"/>
              <a:ext cx="1778655" cy="567388"/>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Lack of standardized processes documentation</a:t>
              </a:r>
            </a:p>
          </p:txBody>
        </p:sp>
      </p:grpSp>
      <p:grpSp>
        <p:nvGrpSpPr>
          <p:cNvPr id="123" name="Group 122"/>
          <p:cNvGrpSpPr/>
          <p:nvPr/>
        </p:nvGrpSpPr>
        <p:grpSpPr>
          <a:xfrm>
            <a:off x="1626958" y="2711940"/>
            <a:ext cx="1930761" cy="499949"/>
            <a:chOff x="3188586" y="4801084"/>
            <a:chExt cx="2145291" cy="499950"/>
          </a:xfrm>
        </p:grpSpPr>
        <p:sp>
          <p:nvSpPr>
            <p:cNvPr id="115" name="Oval 114"/>
            <p:cNvSpPr/>
            <p:nvPr/>
          </p:nvSpPr>
          <p:spPr bwMode="auto">
            <a:xfrm>
              <a:off x="5054163" y="5066727"/>
              <a:ext cx="279714"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t>7</a:t>
              </a:r>
            </a:p>
          </p:txBody>
        </p:sp>
        <p:sp>
          <p:nvSpPr>
            <p:cNvPr id="116" name="Rounded Rectangular Callout 115"/>
            <p:cNvSpPr/>
            <p:nvPr/>
          </p:nvSpPr>
          <p:spPr>
            <a:xfrm>
              <a:off x="3188586" y="4801084"/>
              <a:ext cx="1778655" cy="388476"/>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Oneteam delivery model across geographies </a:t>
              </a:r>
            </a:p>
          </p:txBody>
        </p:sp>
      </p:grpSp>
      <p:grpSp>
        <p:nvGrpSpPr>
          <p:cNvPr id="122" name="Group 121"/>
          <p:cNvGrpSpPr/>
          <p:nvPr/>
        </p:nvGrpSpPr>
        <p:grpSpPr>
          <a:xfrm>
            <a:off x="1896988" y="1739830"/>
            <a:ext cx="1930761" cy="499949"/>
            <a:chOff x="5729212" y="4787610"/>
            <a:chExt cx="2145291" cy="499950"/>
          </a:xfrm>
        </p:grpSpPr>
        <p:sp>
          <p:nvSpPr>
            <p:cNvPr id="117" name="Oval 116"/>
            <p:cNvSpPr/>
            <p:nvPr/>
          </p:nvSpPr>
          <p:spPr bwMode="auto">
            <a:xfrm>
              <a:off x="7594789" y="5053253"/>
              <a:ext cx="279714"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solidFill>
                    <a:schemeClr val="bg1"/>
                  </a:solidFill>
                </a:rPr>
                <a:t>5</a:t>
              </a:r>
            </a:p>
          </p:txBody>
        </p:sp>
        <p:sp>
          <p:nvSpPr>
            <p:cNvPr id="118" name="Rounded Rectangular Callout 117"/>
            <p:cNvSpPr/>
            <p:nvPr/>
          </p:nvSpPr>
          <p:spPr>
            <a:xfrm>
              <a:off x="5729212" y="4787610"/>
              <a:ext cx="1778655" cy="388476"/>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Adoption and integration of new platforms</a:t>
              </a:r>
            </a:p>
          </p:txBody>
        </p:sp>
      </p:grpSp>
      <p:grpSp>
        <p:nvGrpSpPr>
          <p:cNvPr id="121" name="Group 120"/>
          <p:cNvGrpSpPr/>
          <p:nvPr/>
        </p:nvGrpSpPr>
        <p:grpSpPr>
          <a:xfrm>
            <a:off x="5284221" y="2340577"/>
            <a:ext cx="1930761" cy="446700"/>
            <a:chOff x="6705461" y="2703970"/>
            <a:chExt cx="2145291" cy="446700"/>
          </a:xfrm>
        </p:grpSpPr>
        <p:sp>
          <p:nvSpPr>
            <p:cNvPr id="119" name="Oval 118"/>
            <p:cNvSpPr/>
            <p:nvPr/>
          </p:nvSpPr>
          <p:spPr bwMode="auto">
            <a:xfrm>
              <a:off x="8571038" y="2916363"/>
              <a:ext cx="279714" cy="234307"/>
            </a:xfrm>
            <a:prstGeom prst="ellips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68580" tIns="34291" rIns="68580" bIns="34291" numCol="1" rtlCol="0" anchor="ctr" anchorCtr="0" compatLnSpc="1">
              <a:prstTxWarp prst="textNoShape">
                <a:avLst/>
              </a:prstTxWarp>
            </a:bodyPr>
            <a:lstStyle/>
            <a:p>
              <a:pPr algn="ctr" defTabSz="855857" eaLnBrk="0" hangingPunct="0"/>
              <a:r>
                <a:rPr lang="en-US" sz="1200" dirty="0">
                  <a:solidFill>
                    <a:schemeClr val="bg1"/>
                  </a:solidFill>
                </a:rPr>
                <a:t>2</a:t>
              </a:r>
            </a:p>
          </p:txBody>
        </p:sp>
        <p:sp>
          <p:nvSpPr>
            <p:cNvPr id="120" name="Rounded Rectangular Callout 119"/>
            <p:cNvSpPr/>
            <p:nvPr/>
          </p:nvSpPr>
          <p:spPr>
            <a:xfrm>
              <a:off x="6705461" y="2703970"/>
              <a:ext cx="1778655" cy="439269"/>
            </a:xfrm>
            <a:prstGeom prst="wedgeRoundRectCallout">
              <a:avLst>
                <a:gd name="adj1" fmla="val 56853"/>
                <a:gd name="adj2" fmla="val 32698"/>
                <a:gd name="adj3" fmla="val 16667"/>
              </a:avLst>
            </a:prstGeom>
            <a:solidFill>
              <a:sysClr val="window" lastClr="FFFFFF"/>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200" kern="0" dirty="0">
                  <a:solidFill>
                    <a:prstClr val="black"/>
                  </a:solidFill>
                  <a:ea typeface="Tahoma" pitchFamily="34" charset="0"/>
                  <a:cs typeface="Arial" panose="020B0604020202020204" pitchFamily="34" charset="0"/>
                </a:rPr>
                <a:t>Organizational change Management</a:t>
              </a:r>
            </a:p>
          </p:txBody>
        </p:sp>
      </p:grpSp>
      <p:sp>
        <p:nvSpPr>
          <p:cNvPr id="124" name="Oval 123"/>
          <p:cNvSpPr/>
          <p:nvPr/>
        </p:nvSpPr>
        <p:spPr bwMode="auto">
          <a:xfrm>
            <a:off x="7418335" y="1092825"/>
            <a:ext cx="251743" cy="234307"/>
          </a:xfrm>
          <a:prstGeom prst="ellips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solidFill>
                  <a:schemeClr val="bg1"/>
                </a:solidFill>
              </a:rPr>
              <a:t>1</a:t>
            </a:r>
          </a:p>
        </p:txBody>
      </p:sp>
      <p:sp>
        <p:nvSpPr>
          <p:cNvPr id="125" name="Oval 124"/>
          <p:cNvSpPr/>
          <p:nvPr/>
        </p:nvSpPr>
        <p:spPr bwMode="auto">
          <a:xfrm>
            <a:off x="7418335" y="1614281"/>
            <a:ext cx="251743" cy="234307"/>
          </a:xfrm>
          <a:prstGeom prst="ellips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solidFill>
                  <a:schemeClr val="bg1"/>
                </a:solidFill>
              </a:rPr>
              <a:t>2</a:t>
            </a:r>
          </a:p>
        </p:txBody>
      </p:sp>
      <p:sp>
        <p:nvSpPr>
          <p:cNvPr id="127" name="Oval 126"/>
          <p:cNvSpPr/>
          <p:nvPr/>
        </p:nvSpPr>
        <p:spPr bwMode="auto">
          <a:xfrm>
            <a:off x="7418335" y="2172624"/>
            <a:ext cx="251743"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solidFill>
                  <a:schemeClr val="bg1"/>
                </a:solidFill>
              </a:rPr>
              <a:t>3</a:t>
            </a:r>
          </a:p>
        </p:txBody>
      </p:sp>
      <p:sp>
        <p:nvSpPr>
          <p:cNvPr id="129" name="Oval 128"/>
          <p:cNvSpPr/>
          <p:nvPr/>
        </p:nvSpPr>
        <p:spPr bwMode="auto">
          <a:xfrm>
            <a:off x="7434083" y="2543813"/>
            <a:ext cx="251743"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solidFill>
                  <a:schemeClr val="bg1"/>
                </a:solidFill>
              </a:rPr>
              <a:t>4</a:t>
            </a:r>
          </a:p>
        </p:txBody>
      </p:sp>
      <p:sp>
        <p:nvSpPr>
          <p:cNvPr id="130" name="Oval 129"/>
          <p:cNvSpPr/>
          <p:nvPr/>
        </p:nvSpPr>
        <p:spPr bwMode="auto">
          <a:xfrm>
            <a:off x="7418335" y="3126449"/>
            <a:ext cx="251743" cy="234307"/>
          </a:xfrm>
          <a:prstGeom prst="ellips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solidFill>
                  <a:schemeClr val="bg1"/>
                </a:solidFill>
              </a:rPr>
              <a:t>5</a:t>
            </a:r>
          </a:p>
        </p:txBody>
      </p:sp>
      <p:sp>
        <p:nvSpPr>
          <p:cNvPr id="131" name="Oval 130"/>
          <p:cNvSpPr/>
          <p:nvPr/>
        </p:nvSpPr>
        <p:spPr bwMode="auto">
          <a:xfrm>
            <a:off x="7434085" y="3846809"/>
            <a:ext cx="251743"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85588" tIns="42795" rIns="85588" bIns="42795" numCol="1" rtlCol="0" anchor="ctr" anchorCtr="0" compatLnSpc="1">
            <a:prstTxWarp prst="textNoShape">
              <a:avLst/>
            </a:prstTxWarp>
          </a:bodyPr>
          <a:lstStyle/>
          <a:p>
            <a:pPr algn="ctr" defTabSz="855857" eaLnBrk="0" hangingPunct="0"/>
            <a:r>
              <a:rPr lang="en-US" sz="1200" dirty="0"/>
              <a:t>6</a:t>
            </a:r>
          </a:p>
        </p:txBody>
      </p:sp>
      <p:sp>
        <p:nvSpPr>
          <p:cNvPr id="133" name="Oval 132"/>
          <p:cNvSpPr/>
          <p:nvPr/>
        </p:nvSpPr>
        <p:spPr bwMode="auto">
          <a:xfrm>
            <a:off x="7418335" y="4429445"/>
            <a:ext cx="251743"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7</a:t>
            </a:r>
          </a:p>
        </p:txBody>
      </p:sp>
      <p:grpSp>
        <p:nvGrpSpPr>
          <p:cNvPr id="73" name="Group 72"/>
          <p:cNvGrpSpPr/>
          <p:nvPr/>
        </p:nvGrpSpPr>
        <p:grpSpPr>
          <a:xfrm>
            <a:off x="3517168" y="4071086"/>
            <a:ext cx="1930761" cy="499950"/>
            <a:chOff x="2499885" y="3554341"/>
            <a:chExt cx="2145291" cy="499950"/>
          </a:xfrm>
        </p:grpSpPr>
        <p:sp>
          <p:nvSpPr>
            <p:cNvPr id="74" name="Oval 73"/>
            <p:cNvSpPr/>
            <p:nvPr/>
          </p:nvSpPr>
          <p:spPr bwMode="auto">
            <a:xfrm>
              <a:off x="4365462" y="3819984"/>
              <a:ext cx="279714"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8</a:t>
              </a:r>
            </a:p>
          </p:txBody>
        </p:sp>
        <p:sp>
          <p:nvSpPr>
            <p:cNvPr id="75" name="Rounded Rectangular Callout 74"/>
            <p:cNvSpPr/>
            <p:nvPr/>
          </p:nvSpPr>
          <p:spPr>
            <a:xfrm>
              <a:off x="2499885" y="3554341"/>
              <a:ext cx="1778655" cy="388475"/>
            </a:xfrm>
            <a:prstGeom prst="wedgeRoundRectCallout">
              <a:avLst>
                <a:gd name="adj1" fmla="val 56853"/>
                <a:gd name="adj2" fmla="val 32698"/>
                <a:gd name="adj3" fmla="val 16667"/>
              </a:avLst>
            </a:prstGeom>
            <a:solidFill>
              <a:schemeClr val="bg1"/>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Cultural fitment within client landscape</a:t>
              </a:r>
            </a:p>
          </p:txBody>
        </p:sp>
      </p:grpSp>
      <p:sp>
        <p:nvSpPr>
          <p:cNvPr id="76" name="Oval 75"/>
          <p:cNvSpPr/>
          <p:nvPr/>
        </p:nvSpPr>
        <p:spPr bwMode="auto">
          <a:xfrm>
            <a:off x="7446151" y="4969505"/>
            <a:ext cx="251743"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8</a:t>
            </a:r>
          </a:p>
        </p:txBody>
      </p:sp>
      <p:grpSp>
        <p:nvGrpSpPr>
          <p:cNvPr id="77" name="Group 76"/>
          <p:cNvGrpSpPr/>
          <p:nvPr/>
        </p:nvGrpSpPr>
        <p:grpSpPr>
          <a:xfrm>
            <a:off x="1775521" y="4279529"/>
            <a:ext cx="1930761" cy="499949"/>
            <a:chOff x="2499885" y="3554341"/>
            <a:chExt cx="2145291" cy="499950"/>
          </a:xfrm>
        </p:grpSpPr>
        <p:sp>
          <p:nvSpPr>
            <p:cNvPr id="78" name="Oval 77"/>
            <p:cNvSpPr/>
            <p:nvPr/>
          </p:nvSpPr>
          <p:spPr bwMode="auto">
            <a:xfrm>
              <a:off x="4365462" y="3819984"/>
              <a:ext cx="279714"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9</a:t>
              </a:r>
            </a:p>
          </p:txBody>
        </p:sp>
        <p:sp>
          <p:nvSpPr>
            <p:cNvPr id="79" name="Rounded Rectangular Callout 78"/>
            <p:cNvSpPr/>
            <p:nvPr/>
          </p:nvSpPr>
          <p:spPr>
            <a:xfrm>
              <a:off x="2499885" y="3554341"/>
              <a:ext cx="1778655" cy="388475"/>
            </a:xfrm>
            <a:prstGeom prst="wedgeRoundRectCallout">
              <a:avLst>
                <a:gd name="adj1" fmla="val 56853"/>
                <a:gd name="adj2" fmla="val 32698"/>
                <a:gd name="adj3" fmla="val 16667"/>
              </a:avLst>
            </a:prstGeom>
            <a:solidFill>
              <a:schemeClr val="bg1"/>
            </a:solidFill>
            <a:ln w="3175" cap="flat" cmpd="sng" algn="ctr">
              <a:solidFill>
                <a:sysClr val="window" lastClr="FFFFFF">
                  <a:lumMod val="75000"/>
                </a:sysClr>
              </a:solidFill>
              <a:prstDash val="solid"/>
            </a:ln>
            <a:effectLst/>
          </p:spPr>
          <p:txBody>
            <a:bodyPr wrap="square" lIns="13716" tIns="13716" rIns="13716" bIns="13716" rtlCol="0" anchor="ctr">
              <a:spAutoFit/>
            </a:bodyPr>
            <a:lstStyle/>
            <a:p>
              <a:pPr algn="ctr">
                <a:defRPr/>
              </a:pPr>
              <a:r>
                <a:rPr lang="en-US" sz="1051" kern="0" dirty="0">
                  <a:solidFill>
                    <a:prstClr val="black"/>
                  </a:solidFill>
                  <a:ea typeface="Tahoma" pitchFamily="34" charset="0"/>
                  <a:cs typeface="Arial" panose="020B0604020202020204" pitchFamily="34" charset="0"/>
                </a:rPr>
                <a:t>Conflicting and multiple transformation initiatives</a:t>
              </a:r>
            </a:p>
          </p:txBody>
        </p:sp>
      </p:grpSp>
      <p:sp>
        <p:nvSpPr>
          <p:cNvPr id="80" name="Oval 79"/>
          <p:cNvSpPr/>
          <p:nvPr/>
        </p:nvSpPr>
        <p:spPr bwMode="auto">
          <a:xfrm>
            <a:off x="7446151" y="5519593"/>
            <a:ext cx="251743" cy="234307"/>
          </a:xfrm>
          <a:prstGeom prst="ellips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55857" eaLnBrk="0" hangingPunct="0"/>
            <a:r>
              <a:rPr lang="en-US" sz="1200" dirty="0"/>
              <a:t>9</a:t>
            </a:r>
          </a:p>
        </p:txBody>
      </p:sp>
      <p:sp>
        <p:nvSpPr>
          <p:cNvPr id="4" name="Rectangle 3"/>
          <p:cNvSpPr/>
          <p:nvPr/>
        </p:nvSpPr>
        <p:spPr>
          <a:xfrm>
            <a:off x="1269561" y="633742"/>
            <a:ext cx="6096000" cy="769634"/>
          </a:xfrm>
          <a:prstGeom prst="rect">
            <a:avLst/>
          </a:prstGeom>
        </p:spPr>
        <p:txBody>
          <a:bodyPr>
            <a:spAutoFit/>
          </a:bodyPr>
          <a:lstStyle/>
          <a:p>
            <a:r>
              <a:rPr lang="en-US" sz="1467" b="1" dirty="0">
                <a:solidFill>
                  <a:schemeClr val="tx2">
                    <a:lumMod val="65000"/>
                    <a:lumOff val="35000"/>
                  </a:schemeClr>
                </a:solidFill>
              </a:rPr>
              <a:t>Cognizant has designed specific mitigation strategies for potential risks based on experience with similar transformation initiatives for global clients</a:t>
            </a:r>
          </a:p>
        </p:txBody>
      </p:sp>
      <p:sp>
        <p:nvSpPr>
          <p:cNvPr id="70" name="Diagonal Stripe 69"/>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Placeholder, pls modify as appropriate</a:t>
            </a:r>
          </a:p>
        </p:txBody>
      </p:sp>
    </p:spTree>
    <p:extLst>
      <p:ext uri="{BB962C8B-B14F-4D97-AF65-F5344CB8AC3E}">
        <p14:creationId xmlns:p14="http://schemas.microsoft.com/office/powerpoint/2010/main" val="333343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617240" y="69989"/>
            <a:ext cx="10515600" cy="371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a:lstStyle>
          <a:p>
            <a:r>
              <a:rPr lang="en-US" b="0" dirty="0" smtClean="0"/>
              <a:t>Transition timeline- Integrated View- RFP1 &amp; RFP2</a:t>
            </a:r>
            <a:endParaRPr lang="en-US" b="0" dirty="0"/>
          </a:p>
        </p:txBody>
      </p:sp>
      <p:pic>
        <p:nvPicPr>
          <p:cNvPr id="22" name="Picture 21"/>
          <p:cNvPicPr>
            <a:picLocks noChangeAspect="1"/>
          </p:cNvPicPr>
          <p:nvPr/>
        </p:nvPicPr>
        <p:blipFill>
          <a:blip r:embed="rId2"/>
          <a:stretch>
            <a:fillRect/>
          </a:stretch>
        </p:blipFill>
        <p:spPr>
          <a:xfrm>
            <a:off x="133350" y="782053"/>
            <a:ext cx="11633534" cy="5580648"/>
          </a:xfrm>
          <a:prstGeom prst="rect">
            <a:avLst/>
          </a:prstGeom>
        </p:spPr>
      </p:pic>
      <p:sp>
        <p:nvSpPr>
          <p:cNvPr id="5" name="Diagonal Stripe 4"/>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Need a simplified single slide for RFP 1&amp; 2</a:t>
            </a:r>
          </a:p>
          <a:p>
            <a:pPr algn="ctr"/>
            <a:r>
              <a:rPr lang="en-US" sz="1400" dirty="0" smtClean="0">
                <a:solidFill>
                  <a:srgbClr val="FF0000"/>
                </a:solidFill>
              </a:rPr>
              <a:t> </a:t>
            </a:r>
            <a:endParaRPr lang="en-US" sz="1400" dirty="0">
              <a:solidFill>
                <a:srgbClr val="FF0000"/>
              </a:solidFill>
            </a:endParaRPr>
          </a:p>
        </p:txBody>
      </p:sp>
    </p:spTree>
    <p:extLst>
      <p:ext uri="{BB962C8B-B14F-4D97-AF65-F5344CB8AC3E}">
        <p14:creationId xmlns:p14="http://schemas.microsoft.com/office/powerpoint/2010/main" val="38791069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ound Same Side Corner Rectangle 65"/>
          <p:cNvSpPr/>
          <p:nvPr/>
        </p:nvSpPr>
        <p:spPr>
          <a:xfrm>
            <a:off x="9483206" y="495650"/>
            <a:ext cx="2502460" cy="565055"/>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b="1" dirty="0">
              <a:solidFill>
                <a:schemeClr val="tx1"/>
              </a:solidFill>
              <a:latin typeface="Calibiri"/>
              <a:ea typeface="Verdana" panose="020B0604030504040204" pitchFamily="34" charset="0"/>
              <a:cs typeface="Verdana" panose="020B0604030504040204" pitchFamily="34" charset="0"/>
            </a:endParaRPr>
          </a:p>
        </p:txBody>
      </p:sp>
      <p:sp>
        <p:nvSpPr>
          <p:cNvPr id="46" name="Rectangle 45"/>
          <p:cNvSpPr/>
          <p:nvPr/>
        </p:nvSpPr>
        <p:spPr>
          <a:xfrm>
            <a:off x="9483206" y="1095311"/>
            <a:ext cx="2502460" cy="63093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067" b="1" dirty="0">
                <a:solidFill>
                  <a:srgbClr val="002060"/>
                </a:solidFill>
                <a:ea typeface="Verdana" panose="020B0604030504040204" pitchFamily="34" charset="0"/>
                <a:cs typeface="Verdana" panose="020B0604030504040204" pitchFamily="34" charset="0"/>
              </a:rPr>
              <a:t>E2E Integrated Infrastructure &amp; Application Support</a:t>
            </a:r>
          </a:p>
        </p:txBody>
      </p:sp>
      <p:sp>
        <p:nvSpPr>
          <p:cNvPr id="47" name="Rectangle 46"/>
          <p:cNvSpPr/>
          <p:nvPr/>
        </p:nvSpPr>
        <p:spPr>
          <a:xfrm>
            <a:off x="9483206" y="1764415"/>
            <a:ext cx="2502460" cy="4719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b="1" dirty="0">
                <a:solidFill>
                  <a:srgbClr val="002060"/>
                </a:solidFill>
                <a:ea typeface="Verdana" panose="020B0604030504040204" pitchFamily="34" charset="0"/>
                <a:cs typeface="Verdana" panose="020B0604030504040204" pitchFamily="34" charset="0"/>
              </a:rPr>
              <a:t>250+</a:t>
            </a:r>
          </a:p>
        </p:txBody>
      </p:sp>
      <p:sp>
        <p:nvSpPr>
          <p:cNvPr id="48" name="Rectangle 47"/>
          <p:cNvSpPr/>
          <p:nvPr/>
        </p:nvSpPr>
        <p:spPr>
          <a:xfrm>
            <a:off x="9466418" y="2298509"/>
            <a:ext cx="2502460" cy="429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b="1" dirty="0">
                <a:solidFill>
                  <a:srgbClr val="002060"/>
                </a:solidFill>
                <a:ea typeface="Verdana" panose="020B0604030504040204" pitchFamily="34" charset="0"/>
                <a:cs typeface="Verdana" panose="020B0604030504040204" pitchFamily="34" charset="0"/>
              </a:rPr>
              <a:t>USA, Canada, UK</a:t>
            </a:r>
          </a:p>
        </p:txBody>
      </p:sp>
      <p:sp>
        <p:nvSpPr>
          <p:cNvPr id="49" name="Rectangle 48"/>
          <p:cNvSpPr/>
          <p:nvPr/>
        </p:nvSpPr>
        <p:spPr>
          <a:xfrm>
            <a:off x="9483206" y="2803845"/>
            <a:ext cx="2502460" cy="45116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b="1" dirty="0">
                <a:solidFill>
                  <a:srgbClr val="002060"/>
                </a:solidFill>
                <a:ea typeface="Verdana" panose="020B0604030504040204" pitchFamily="34" charset="0"/>
                <a:cs typeface="Verdana" panose="020B0604030504040204" pitchFamily="34" charset="0"/>
              </a:rPr>
              <a:t>~650</a:t>
            </a:r>
          </a:p>
        </p:txBody>
      </p:sp>
      <p:sp>
        <p:nvSpPr>
          <p:cNvPr id="50" name="Rectangle 49"/>
          <p:cNvSpPr/>
          <p:nvPr/>
        </p:nvSpPr>
        <p:spPr>
          <a:xfrm>
            <a:off x="9462494" y="3328667"/>
            <a:ext cx="2502460" cy="47817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dirty="0">
                <a:solidFill>
                  <a:srgbClr val="002060"/>
                </a:solidFill>
                <a:ea typeface="Verdana" panose="020B0604030504040204" pitchFamily="34" charset="0"/>
                <a:cs typeface="Verdana" panose="020B0604030504040204" pitchFamily="34" charset="0"/>
              </a:rPr>
              <a:t>Fujitsu &amp; In House</a:t>
            </a:r>
          </a:p>
        </p:txBody>
      </p:sp>
      <p:sp>
        <p:nvSpPr>
          <p:cNvPr id="56" name="Round Same Side Corner Rectangle 55"/>
          <p:cNvSpPr/>
          <p:nvPr/>
        </p:nvSpPr>
        <p:spPr>
          <a:xfrm rot="10800000">
            <a:off x="9462493" y="3874221"/>
            <a:ext cx="2502460" cy="1842105"/>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133">
              <a:solidFill>
                <a:srgbClr val="002060"/>
              </a:solidFill>
            </a:endParaRPr>
          </a:p>
        </p:txBody>
      </p:sp>
      <p:sp>
        <p:nvSpPr>
          <p:cNvPr id="57" name="TextBox 56"/>
          <p:cNvSpPr txBox="1"/>
          <p:nvPr/>
        </p:nvSpPr>
        <p:spPr>
          <a:xfrm>
            <a:off x="9541126" y="3856172"/>
            <a:ext cx="2518111" cy="1635319"/>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r>
              <a:rPr lang="en-US" sz="1200" dirty="0"/>
              <a:t>Accelerated transition and went live ahead of planned schedule</a:t>
            </a:r>
          </a:p>
          <a:p>
            <a:r>
              <a:rPr lang="en-US" sz="1200" dirty="0"/>
              <a:t>Successfully supported 2018 peak support immediately after transition</a:t>
            </a:r>
          </a:p>
          <a:p>
            <a:r>
              <a:rPr lang="en-US" sz="1200" dirty="0"/>
              <a:t>Unit price pricing model</a:t>
            </a:r>
          </a:p>
        </p:txBody>
      </p:sp>
      <p:pic>
        <p:nvPicPr>
          <p:cNvPr id="60" name="Picture 59"/>
          <p:cNvPicPr>
            <a:picLocks noChangeAspect="1"/>
          </p:cNvPicPr>
          <p:nvPr/>
        </p:nvPicPr>
        <p:blipFill>
          <a:blip r:embed="rId3"/>
          <a:stretch>
            <a:fillRect/>
          </a:stretch>
        </p:blipFill>
        <p:spPr>
          <a:xfrm>
            <a:off x="10428394" y="610249"/>
            <a:ext cx="611297" cy="342415"/>
          </a:xfrm>
          <a:prstGeom prst="rect">
            <a:avLst/>
          </a:prstGeom>
        </p:spPr>
      </p:pic>
      <p:sp>
        <p:nvSpPr>
          <p:cNvPr id="63" name="Rounded Rectangle 62"/>
          <p:cNvSpPr/>
          <p:nvPr/>
        </p:nvSpPr>
        <p:spPr>
          <a:xfrm>
            <a:off x="223625" y="1772118"/>
            <a:ext cx="1591215" cy="442623"/>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Apps</a:t>
            </a:r>
          </a:p>
        </p:txBody>
      </p:sp>
      <p:sp>
        <p:nvSpPr>
          <p:cNvPr id="4" name="Rounded Rectangle 3"/>
          <p:cNvSpPr/>
          <p:nvPr/>
        </p:nvSpPr>
        <p:spPr>
          <a:xfrm>
            <a:off x="223625" y="1095312"/>
            <a:ext cx="1591215" cy="569545"/>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Engagement</a:t>
            </a:r>
          </a:p>
        </p:txBody>
      </p:sp>
      <p:sp>
        <p:nvSpPr>
          <p:cNvPr id="2" name="Title 1"/>
          <p:cNvSpPr>
            <a:spLocks noGrp="1"/>
          </p:cNvSpPr>
          <p:nvPr>
            <p:ph type="title"/>
          </p:nvPr>
        </p:nvSpPr>
        <p:spPr>
          <a:xfrm>
            <a:off x="-43232" y="-6836"/>
            <a:ext cx="11180064" cy="1060704"/>
          </a:xfrm>
        </p:spPr>
        <p:txBody>
          <a:bodyPr vert="horz" lIns="91440" tIns="45720" rIns="91440" bIns="45720" rtlCol="0" anchor="t" anchorCtr="0">
            <a:normAutofit/>
          </a:bodyPr>
          <a:lstStyle/>
          <a:p>
            <a:r>
              <a:rPr lang="en-US" sz="2667" dirty="0">
                <a:latin typeface="+mn-lt"/>
                <a:ea typeface="Verdana" panose="020B0604030504040204" pitchFamily="34" charset="0"/>
                <a:cs typeface="Verdana" panose="020B0604030504040204" pitchFamily="34" charset="0"/>
              </a:rPr>
              <a:t>We have managed complex transitions before</a:t>
            </a:r>
          </a:p>
        </p:txBody>
      </p:sp>
      <p:sp>
        <p:nvSpPr>
          <p:cNvPr id="6" name="Slide Number Placeholder 5"/>
          <p:cNvSpPr>
            <a:spLocks noGrp="1"/>
          </p:cNvSpPr>
          <p:nvPr>
            <p:ph type="sldNum" sz="quarter" idx="12"/>
          </p:nvPr>
        </p:nvSpPr>
        <p:spPr/>
        <p:txBody>
          <a:bodyPr/>
          <a:lstStyle/>
          <a:p>
            <a:fld id="{2EFEF571-C9B4-4D92-A7F7-315B894862A8}" type="slidenum">
              <a:rPr lang="en-US" smtClean="0"/>
              <a:pPr/>
              <a:t>12</a:t>
            </a:fld>
            <a:endParaRPr lang="en-US" dirty="0"/>
          </a:p>
        </p:txBody>
      </p:sp>
      <p:sp>
        <p:nvSpPr>
          <p:cNvPr id="5" name="AutoShape 4" descr="Image result for tjx logo"/>
          <p:cNvSpPr>
            <a:spLocks noChangeAspect="1" noChangeArrowheads="1"/>
          </p:cNvSpPr>
          <p:nvPr/>
        </p:nvSpPr>
        <p:spPr bwMode="auto">
          <a:xfrm>
            <a:off x="155575" y="-144462"/>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Rounded Rectangle 63"/>
          <p:cNvSpPr/>
          <p:nvPr/>
        </p:nvSpPr>
        <p:spPr>
          <a:xfrm>
            <a:off x="206837" y="2303275"/>
            <a:ext cx="1591215" cy="401075"/>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Geographies</a:t>
            </a:r>
          </a:p>
        </p:txBody>
      </p:sp>
      <p:sp>
        <p:nvSpPr>
          <p:cNvPr id="72" name="Rounded Rectangle 71"/>
          <p:cNvSpPr/>
          <p:nvPr/>
        </p:nvSpPr>
        <p:spPr>
          <a:xfrm>
            <a:off x="223625" y="2817669"/>
            <a:ext cx="1591215" cy="415648"/>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FTEs</a:t>
            </a:r>
          </a:p>
        </p:txBody>
      </p:sp>
      <p:sp>
        <p:nvSpPr>
          <p:cNvPr id="74" name="Rounded Rectangle 73"/>
          <p:cNvSpPr/>
          <p:nvPr/>
        </p:nvSpPr>
        <p:spPr>
          <a:xfrm>
            <a:off x="223625" y="3336236"/>
            <a:ext cx="1591215" cy="470603"/>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Transitioned</a:t>
            </a:r>
          </a:p>
          <a:p>
            <a:r>
              <a:rPr lang="en-US" sz="1333" b="1" dirty="0">
                <a:ea typeface="Verdana" panose="020B0604030504040204" pitchFamily="34" charset="0"/>
                <a:cs typeface="Verdana" panose="020B0604030504040204" pitchFamily="34" charset="0"/>
              </a:rPr>
              <a:t>from</a:t>
            </a:r>
          </a:p>
        </p:txBody>
      </p:sp>
      <p:sp>
        <p:nvSpPr>
          <p:cNvPr id="76" name="Rounded Rectangle 75"/>
          <p:cNvSpPr/>
          <p:nvPr/>
        </p:nvSpPr>
        <p:spPr>
          <a:xfrm>
            <a:off x="155575" y="3880491"/>
            <a:ext cx="2084279" cy="1512253"/>
          </a:xfrm>
          <a:prstGeom prst="roundRect">
            <a:avLst/>
          </a:prstGeom>
          <a:solidFill>
            <a:srgbClr val="2B578A"/>
          </a:solidFill>
          <a:ln>
            <a:solidFill>
              <a:srgbClr val="2B57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33" b="1" dirty="0">
                <a:ea typeface="Verdana" panose="020B0604030504040204" pitchFamily="34" charset="0"/>
                <a:cs typeface="Verdana" panose="020B0604030504040204" pitchFamily="34" charset="0"/>
              </a:rPr>
              <a:t>Business</a:t>
            </a:r>
          </a:p>
          <a:p>
            <a:r>
              <a:rPr lang="en-US" sz="1333" b="1" dirty="0">
                <a:ea typeface="Verdana" panose="020B0604030504040204" pitchFamily="34" charset="0"/>
                <a:cs typeface="Verdana" panose="020B0604030504040204" pitchFamily="34" charset="0"/>
              </a:rPr>
              <a:t>Benefits</a:t>
            </a:r>
          </a:p>
        </p:txBody>
      </p:sp>
      <p:sp>
        <p:nvSpPr>
          <p:cNvPr id="44" name="Round Same Side Corner Rectangle 43"/>
          <p:cNvSpPr/>
          <p:nvPr/>
        </p:nvSpPr>
        <p:spPr>
          <a:xfrm>
            <a:off x="4172599" y="495650"/>
            <a:ext cx="2502460" cy="565055"/>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b="1" dirty="0">
              <a:solidFill>
                <a:schemeClr val="tx1"/>
              </a:solidFill>
              <a:latin typeface="Calibiri"/>
              <a:ea typeface="Verdana" panose="020B0604030504040204" pitchFamily="34" charset="0"/>
              <a:cs typeface="Verdana" panose="020B0604030504040204" pitchFamily="34" charset="0"/>
            </a:endParaRPr>
          </a:p>
        </p:txBody>
      </p:sp>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88832" y="584813"/>
            <a:ext cx="1100475" cy="398831"/>
          </a:xfrm>
          <a:prstGeom prst="rect">
            <a:avLst/>
          </a:prstGeom>
          <a:effectLst/>
        </p:spPr>
      </p:pic>
      <p:sp>
        <p:nvSpPr>
          <p:cNvPr id="90" name="Rectangle 89"/>
          <p:cNvSpPr/>
          <p:nvPr/>
        </p:nvSpPr>
        <p:spPr>
          <a:xfrm>
            <a:off x="4172599" y="1095311"/>
            <a:ext cx="2502460" cy="63093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67" b="1" dirty="0">
                <a:solidFill>
                  <a:srgbClr val="002060"/>
                </a:solidFill>
                <a:ea typeface="Verdana" panose="020B0604030504040204" pitchFamily="34" charset="0"/>
                <a:cs typeface="Verdana" panose="020B0604030504040204" pitchFamily="34" charset="0"/>
              </a:rPr>
              <a:t>E2E Infrastructure Support &amp; Testing Services</a:t>
            </a:r>
          </a:p>
        </p:txBody>
      </p:sp>
      <p:sp>
        <p:nvSpPr>
          <p:cNvPr id="91" name="Rectangle 90"/>
          <p:cNvSpPr/>
          <p:nvPr/>
        </p:nvSpPr>
        <p:spPr>
          <a:xfrm>
            <a:off x="4172599" y="1764415"/>
            <a:ext cx="2502460" cy="4719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600+</a:t>
            </a:r>
          </a:p>
        </p:txBody>
      </p:sp>
      <p:sp>
        <p:nvSpPr>
          <p:cNvPr id="92" name="Rectangle 91"/>
          <p:cNvSpPr/>
          <p:nvPr/>
        </p:nvSpPr>
        <p:spPr>
          <a:xfrm>
            <a:off x="4155811" y="2298509"/>
            <a:ext cx="2502460" cy="429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Canada</a:t>
            </a:r>
          </a:p>
        </p:txBody>
      </p:sp>
      <p:sp>
        <p:nvSpPr>
          <p:cNvPr id="93" name="Rectangle 92"/>
          <p:cNvSpPr/>
          <p:nvPr/>
        </p:nvSpPr>
        <p:spPr>
          <a:xfrm>
            <a:off x="4172599" y="2803845"/>
            <a:ext cx="2502460" cy="45116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700+</a:t>
            </a:r>
          </a:p>
        </p:txBody>
      </p:sp>
      <p:sp>
        <p:nvSpPr>
          <p:cNvPr id="94" name="Rectangle 93"/>
          <p:cNvSpPr/>
          <p:nvPr/>
        </p:nvSpPr>
        <p:spPr>
          <a:xfrm>
            <a:off x="4151887" y="3328667"/>
            <a:ext cx="2502460" cy="47817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kern="0" dirty="0">
                <a:solidFill>
                  <a:srgbClr val="002060"/>
                </a:solidFill>
                <a:ea typeface="Verdana" panose="020B0604030504040204" pitchFamily="34" charset="0"/>
                <a:cs typeface="Verdana" panose="020B0604030504040204" pitchFamily="34" charset="0"/>
              </a:rPr>
              <a:t>Accenture, TCS, NTT</a:t>
            </a:r>
            <a:endParaRPr lang="en-US" sz="1333" dirty="0">
              <a:solidFill>
                <a:srgbClr val="002060"/>
              </a:solidFill>
              <a:ea typeface="Verdana" panose="020B0604030504040204" pitchFamily="34" charset="0"/>
              <a:cs typeface="Verdana" panose="020B0604030504040204" pitchFamily="34" charset="0"/>
            </a:endParaRPr>
          </a:p>
        </p:txBody>
      </p:sp>
      <p:sp>
        <p:nvSpPr>
          <p:cNvPr id="95" name="Round Same Side Corner Rectangle 94"/>
          <p:cNvSpPr/>
          <p:nvPr/>
        </p:nvSpPr>
        <p:spPr>
          <a:xfrm rot="10800000">
            <a:off x="4151886" y="3874221"/>
            <a:ext cx="2502460" cy="1842104"/>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a:solidFill>
                <a:srgbClr val="002060"/>
              </a:solidFill>
            </a:endParaRPr>
          </a:p>
        </p:txBody>
      </p:sp>
      <p:sp>
        <p:nvSpPr>
          <p:cNvPr id="10" name="TextBox 9"/>
          <p:cNvSpPr txBox="1"/>
          <p:nvPr/>
        </p:nvSpPr>
        <p:spPr>
          <a:xfrm>
            <a:off x="4298491" y="3902667"/>
            <a:ext cx="2496619" cy="1926681"/>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r>
              <a:rPr lang="en-GB" sz="1200" dirty="0"/>
              <a:t>$15MN+ savings thru DC consolidation, License Rationalization and App Transformation </a:t>
            </a:r>
          </a:p>
          <a:p>
            <a:r>
              <a:rPr lang="en-GB" sz="1200" dirty="0"/>
              <a:t>40% Infra Automation </a:t>
            </a:r>
          </a:p>
          <a:p>
            <a:r>
              <a:rPr lang="en-US" sz="1200" dirty="0"/>
              <a:t>CSAT Score 4.7/5 </a:t>
            </a:r>
          </a:p>
          <a:p>
            <a:endParaRPr lang="en-US" sz="1200" dirty="0"/>
          </a:p>
        </p:txBody>
      </p:sp>
      <p:sp>
        <p:nvSpPr>
          <p:cNvPr id="41" name="Round Same Side Corner Rectangle 40"/>
          <p:cNvSpPr/>
          <p:nvPr/>
        </p:nvSpPr>
        <p:spPr>
          <a:xfrm>
            <a:off x="1528242" y="495650"/>
            <a:ext cx="2502460" cy="555569"/>
          </a:xfrm>
          <a:prstGeom prst="round2SameRect">
            <a:avLst/>
          </a:prstGeom>
          <a:solidFill>
            <a:srgbClr val="47831E"/>
          </a:solidFill>
          <a:ln>
            <a:solidFill>
              <a:srgbClr val="478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Calibiri"/>
              <a:ea typeface="Verdana" panose="020B0604030504040204" pitchFamily="34" charset="0"/>
              <a:cs typeface="Verdana" panose="020B0604030504040204" pitchFamily="34" charset="0"/>
            </a:endParaRPr>
          </a:p>
        </p:txBody>
      </p:sp>
      <p:sp>
        <p:nvSpPr>
          <p:cNvPr id="3" name="Rectangle 2"/>
          <p:cNvSpPr/>
          <p:nvPr/>
        </p:nvSpPr>
        <p:spPr>
          <a:xfrm>
            <a:off x="1528242" y="1095312"/>
            <a:ext cx="2502460" cy="56954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67" b="1" dirty="0">
                <a:solidFill>
                  <a:srgbClr val="002060"/>
                </a:solidFill>
                <a:ea typeface="Verdana" panose="020B0604030504040204" pitchFamily="34" charset="0"/>
                <a:cs typeface="Verdana" panose="020B0604030504040204" pitchFamily="34" charset="0"/>
              </a:rPr>
              <a:t>Integrated SD, Apps and Infra services</a:t>
            </a:r>
          </a:p>
        </p:txBody>
      </p:sp>
      <p:pic>
        <p:nvPicPr>
          <p:cNvPr id="61" name="Picture 60"/>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140713" y="550710"/>
            <a:ext cx="1283104" cy="422247"/>
          </a:xfrm>
          <a:prstGeom prst="rect">
            <a:avLst/>
          </a:prstGeom>
          <a:effectLst/>
        </p:spPr>
      </p:pic>
      <p:sp>
        <p:nvSpPr>
          <p:cNvPr id="7" name="Rectangle 6"/>
          <p:cNvSpPr/>
          <p:nvPr/>
        </p:nvSpPr>
        <p:spPr>
          <a:xfrm>
            <a:off x="1528242" y="1764415"/>
            <a:ext cx="2502460" cy="4719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350+</a:t>
            </a:r>
          </a:p>
        </p:txBody>
      </p:sp>
      <p:sp>
        <p:nvSpPr>
          <p:cNvPr id="71" name="Rectangle 70"/>
          <p:cNvSpPr/>
          <p:nvPr/>
        </p:nvSpPr>
        <p:spPr>
          <a:xfrm>
            <a:off x="1511454" y="2298509"/>
            <a:ext cx="2502460" cy="429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US</a:t>
            </a:r>
          </a:p>
        </p:txBody>
      </p:sp>
      <p:sp>
        <p:nvSpPr>
          <p:cNvPr id="73" name="Rectangle 72"/>
          <p:cNvSpPr/>
          <p:nvPr/>
        </p:nvSpPr>
        <p:spPr>
          <a:xfrm>
            <a:off x="1528242" y="2803845"/>
            <a:ext cx="2502460" cy="45116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rgbClr val="002060"/>
                </a:solidFill>
                <a:ea typeface="Verdana" panose="020B0604030504040204" pitchFamily="34" charset="0"/>
                <a:cs typeface="Verdana" panose="020B0604030504040204" pitchFamily="34" charset="0"/>
              </a:rPr>
              <a:t>470+</a:t>
            </a:r>
          </a:p>
        </p:txBody>
      </p:sp>
      <p:sp>
        <p:nvSpPr>
          <p:cNvPr id="75" name="Rectangle 74"/>
          <p:cNvSpPr/>
          <p:nvPr/>
        </p:nvSpPr>
        <p:spPr>
          <a:xfrm>
            <a:off x="1507530" y="3328667"/>
            <a:ext cx="2502460" cy="47817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kern="0" dirty="0">
                <a:solidFill>
                  <a:srgbClr val="002060"/>
                </a:solidFill>
                <a:ea typeface="Verdana" panose="020B0604030504040204" pitchFamily="34" charset="0"/>
                <a:cs typeface="Verdana" panose="020B0604030504040204" pitchFamily="34" charset="0"/>
              </a:rPr>
              <a:t>Wipro, Accenture, IBM, GeoSpan, Internal</a:t>
            </a:r>
            <a:endParaRPr lang="en-US" sz="1333" dirty="0">
              <a:solidFill>
                <a:srgbClr val="002060"/>
              </a:solidFill>
              <a:ea typeface="Verdana" panose="020B0604030504040204" pitchFamily="34" charset="0"/>
              <a:cs typeface="Verdana" panose="020B0604030504040204" pitchFamily="34" charset="0"/>
            </a:endParaRPr>
          </a:p>
        </p:txBody>
      </p:sp>
      <p:sp>
        <p:nvSpPr>
          <p:cNvPr id="77" name="Round Same Side Corner Rectangle 76"/>
          <p:cNvSpPr/>
          <p:nvPr/>
        </p:nvSpPr>
        <p:spPr>
          <a:xfrm rot="10800000">
            <a:off x="1507530" y="3874221"/>
            <a:ext cx="2502460" cy="1842104"/>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a:solidFill>
                <a:srgbClr val="002060"/>
              </a:solidFill>
            </a:endParaRPr>
          </a:p>
        </p:txBody>
      </p:sp>
      <p:sp>
        <p:nvSpPr>
          <p:cNvPr id="96" name="TextBox 95"/>
          <p:cNvSpPr txBox="1"/>
          <p:nvPr/>
        </p:nvSpPr>
        <p:spPr>
          <a:xfrm>
            <a:off x="1633774" y="3902667"/>
            <a:ext cx="2518111" cy="1737912"/>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r>
              <a:rPr lang="en-US" sz="1200" dirty="0"/>
              <a:t>$14.5Mn savings In 4 Years</a:t>
            </a:r>
          </a:p>
          <a:p>
            <a:r>
              <a:rPr lang="en-US" sz="1200" dirty="0"/>
              <a:t>60% Incident Automation</a:t>
            </a:r>
          </a:p>
          <a:p>
            <a:r>
              <a:rPr lang="en-US" sz="1200" dirty="0"/>
              <a:t>55% ↓In resolution time</a:t>
            </a:r>
          </a:p>
          <a:p>
            <a:r>
              <a:rPr lang="en-US" sz="1200" dirty="0"/>
              <a:t>Zero Outage During peak support</a:t>
            </a:r>
          </a:p>
          <a:p>
            <a:r>
              <a:rPr lang="en-US" sz="1200" dirty="0"/>
              <a:t>4.44/5 CSAT Score</a:t>
            </a:r>
          </a:p>
        </p:txBody>
      </p:sp>
      <p:sp>
        <p:nvSpPr>
          <p:cNvPr id="65" name="Round Same Side Corner Rectangle 64"/>
          <p:cNvSpPr/>
          <p:nvPr/>
        </p:nvSpPr>
        <p:spPr>
          <a:xfrm>
            <a:off x="6815822" y="495650"/>
            <a:ext cx="2502460" cy="565055"/>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b="1" dirty="0">
              <a:solidFill>
                <a:schemeClr val="tx1"/>
              </a:solidFill>
              <a:latin typeface="Calibiri"/>
              <a:ea typeface="Verdana" panose="020B0604030504040204" pitchFamily="34" charset="0"/>
              <a:cs typeface="Verdana" panose="020B0604030504040204" pitchFamily="34" charset="0"/>
            </a:endParaRPr>
          </a:p>
        </p:txBody>
      </p:sp>
      <p:sp>
        <p:nvSpPr>
          <p:cNvPr id="51" name="Rectangle 50"/>
          <p:cNvSpPr/>
          <p:nvPr/>
        </p:nvSpPr>
        <p:spPr>
          <a:xfrm>
            <a:off x="6815822" y="1095311"/>
            <a:ext cx="2502460" cy="63093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067" b="1" dirty="0">
                <a:solidFill>
                  <a:srgbClr val="002060"/>
                </a:solidFill>
                <a:ea typeface="Verdana" panose="020B0604030504040204" pitchFamily="34" charset="0"/>
                <a:cs typeface="Verdana" panose="020B0604030504040204" pitchFamily="34" charset="0"/>
              </a:rPr>
              <a:t>Multi-tower, cross-technology, dedicated maintenance &amp; support team</a:t>
            </a:r>
          </a:p>
        </p:txBody>
      </p:sp>
      <p:sp>
        <p:nvSpPr>
          <p:cNvPr id="52" name="Rectangle 51"/>
          <p:cNvSpPr/>
          <p:nvPr/>
        </p:nvSpPr>
        <p:spPr>
          <a:xfrm>
            <a:off x="6815822" y="1764415"/>
            <a:ext cx="2502460" cy="4719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r>
              <a:rPr lang="en-US" sz="1333" b="1" dirty="0">
                <a:solidFill>
                  <a:srgbClr val="002060"/>
                </a:solidFill>
                <a:ea typeface="Verdana" panose="020B0604030504040204" pitchFamily="34" charset="0"/>
                <a:cs typeface="Verdana" panose="020B0604030504040204" pitchFamily="34" charset="0"/>
              </a:rPr>
              <a:t>150+</a:t>
            </a:r>
          </a:p>
        </p:txBody>
      </p:sp>
      <p:sp>
        <p:nvSpPr>
          <p:cNvPr id="53" name="Rectangle 52"/>
          <p:cNvSpPr/>
          <p:nvPr/>
        </p:nvSpPr>
        <p:spPr>
          <a:xfrm>
            <a:off x="6799034" y="2298509"/>
            <a:ext cx="2502460" cy="429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b="1" dirty="0">
                <a:solidFill>
                  <a:srgbClr val="002060"/>
                </a:solidFill>
                <a:ea typeface="Verdana" panose="020B0604030504040204" pitchFamily="34" charset="0"/>
                <a:cs typeface="Verdana" panose="020B0604030504040204" pitchFamily="34" charset="0"/>
              </a:rPr>
              <a:t>UK</a:t>
            </a:r>
          </a:p>
        </p:txBody>
      </p:sp>
      <p:sp>
        <p:nvSpPr>
          <p:cNvPr id="54" name="Rectangle 53"/>
          <p:cNvSpPr/>
          <p:nvPr/>
        </p:nvSpPr>
        <p:spPr>
          <a:xfrm>
            <a:off x="6815822" y="2803845"/>
            <a:ext cx="2502460" cy="45116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b="1" dirty="0">
                <a:solidFill>
                  <a:srgbClr val="002060"/>
                </a:solidFill>
                <a:ea typeface="Verdana" panose="020B0604030504040204" pitchFamily="34" charset="0"/>
                <a:cs typeface="Verdana" panose="020B0604030504040204" pitchFamily="34" charset="0"/>
              </a:rPr>
              <a:t>~400</a:t>
            </a:r>
          </a:p>
        </p:txBody>
      </p:sp>
      <p:sp>
        <p:nvSpPr>
          <p:cNvPr id="55" name="Rectangle 54"/>
          <p:cNvSpPr/>
          <p:nvPr/>
        </p:nvSpPr>
        <p:spPr>
          <a:xfrm>
            <a:off x="6795110" y="3328667"/>
            <a:ext cx="2502460" cy="47817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333" dirty="0">
                <a:solidFill>
                  <a:srgbClr val="002060"/>
                </a:solidFill>
                <a:ea typeface="Verdana" panose="020B0604030504040204" pitchFamily="34" charset="0"/>
                <a:cs typeface="Verdana" panose="020B0604030504040204" pitchFamily="34" charset="0"/>
              </a:rPr>
              <a:t>NIIT</a:t>
            </a:r>
          </a:p>
        </p:txBody>
      </p:sp>
      <p:sp>
        <p:nvSpPr>
          <p:cNvPr id="58" name="Round Same Side Corner Rectangle 57"/>
          <p:cNvSpPr/>
          <p:nvPr/>
        </p:nvSpPr>
        <p:spPr>
          <a:xfrm rot="10800000">
            <a:off x="6803621" y="3874221"/>
            <a:ext cx="2502460" cy="1842104"/>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133">
              <a:solidFill>
                <a:srgbClr val="002060"/>
              </a:solidFill>
            </a:endParaRPr>
          </a:p>
        </p:txBody>
      </p:sp>
      <p:sp>
        <p:nvSpPr>
          <p:cNvPr id="59" name="TextBox 58"/>
          <p:cNvSpPr txBox="1"/>
          <p:nvPr/>
        </p:nvSpPr>
        <p:spPr>
          <a:xfrm>
            <a:off x="6828855" y="3869185"/>
            <a:ext cx="2487947" cy="1356782"/>
          </a:xfrm>
          <a:prstGeom prst="rect">
            <a:avLst/>
          </a:prstGeom>
          <a:noFill/>
        </p:spPr>
        <p:txBody>
          <a:bodyPr wrap="square" rtlCol="0">
            <a:spAutoFit/>
          </a:bodyPr>
          <a:lstStyle/>
          <a:p>
            <a:pPr marL="183866" indent="-183866" defTabSz="761952" eaLnBrk="0" fontAlgn="base" hangingPunct="0">
              <a:lnSpc>
                <a:spcPct val="130000"/>
              </a:lnSpc>
              <a:spcBef>
                <a:spcPts val="500"/>
              </a:spcBef>
              <a:spcAft>
                <a:spcPct val="0"/>
              </a:spcAft>
              <a:buFont typeface="Arial" panose="020B0604020202020204" pitchFamily="34" charset="0"/>
              <a:buChar char="•"/>
              <a:defRPr/>
            </a:pPr>
            <a:r>
              <a:rPr lang="en-US" sz="1200" dirty="0">
                <a:solidFill>
                  <a:srgbClr val="002060"/>
                </a:solidFill>
                <a:ea typeface="Verdana" panose="020B0604030504040204" pitchFamily="34" charset="0"/>
                <a:cs typeface="Verdana" panose="020B0604030504040204" pitchFamily="34" charset="0"/>
              </a:rPr>
              <a:t>30% reduction of ticket count in 1 year of steady state</a:t>
            </a:r>
          </a:p>
          <a:p>
            <a:pPr marL="183866" indent="-183866" defTabSz="761952" eaLnBrk="0" fontAlgn="base" hangingPunct="0">
              <a:lnSpc>
                <a:spcPct val="130000"/>
              </a:lnSpc>
              <a:spcBef>
                <a:spcPts val="500"/>
              </a:spcBef>
              <a:spcAft>
                <a:spcPct val="0"/>
              </a:spcAft>
              <a:buFont typeface="Arial" panose="020B0604020202020204" pitchFamily="34" charset="0"/>
              <a:buChar char="•"/>
              <a:defRPr/>
            </a:pPr>
            <a:r>
              <a:rPr lang="en-US" sz="1200" dirty="0">
                <a:solidFill>
                  <a:srgbClr val="002060"/>
                </a:solidFill>
                <a:ea typeface="Verdana" panose="020B0604030504040204" pitchFamily="34" charset="0"/>
                <a:cs typeface="Verdana" panose="020B0604030504040204" pitchFamily="34" charset="0"/>
              </a:rPr>
              <a:t>More than $1 MN of service optimization and innovation delivered in a year</a:t>
            </a:r>
          </a:p>
        </p:txBody>
      </p:sp>
      <p:pic>
        <p:nvPicPr>
          <p:cNvPr id="67" name="Picture 2" descr="Image result for british airways logo 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096935" y="603831"/>
            <a:ext cx="2221347" cy="348832"/>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67"/>
          <p:cNvSpPr/>
          <p:nvPr/>
        </p:nvSpPr>
        <p:spPr>
          <a:xfrm>
            <a:off x="0" y="5883863"/>
            <a:ext cx="12192000" cy="338554"/>
          </a:xfrm>
          <a:prstGeom prst="rect">
            <a:avLst/>
          </a:prstGeom>
          <a:solidFill>
            <a:schemeClr val="bg2">
              <a:lumMod val="75000"/>
            </a:schemeClr>
          </a:solidFill>
        </p:spPr>
        <p:txBody>
          <a:bodyPr wrap="square">
            <a:spAutoFit/>
          </a:bodyPr>
          <a:lstStyle/>
          <a:p>
            <a:pPr algn="ctr" defTabSz="685730"/>
            <a:r>
              <a:rPr lang="en-US" sz="1600" b="1" dirty="0">
                <a:solidFill>
                  <a:srgbClr val="002060"/>
                </a:solidFill>
              </a:rPr>
              <a:t>Cognizant will leverage its experience of having managed 200+ transitions in the last 3 years ranging from 50 to 3000 FTEs</a:t>
            </a:r>
          </a:p>
        </p:txBody>
      </p:sp>
      <p:sp>
        <p:nvSpPr>
          <p:cNvPr id="69" name="Diagonal Stripe 68"/>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Placeholder, pls modify as appropriate</a:t>
            </a:r>
          </a:p>
        </p:txBody>
      </p:sp>
    </p:spTree>
    <p:extLst>
      <p:ext uri="{BB962C8B-B14F-4D97-AF65-F5344CB8AC3E}">
        <p14:creationId xmlns:p14="http://schemas.microsoft.com/office/powerpoint/2010/main" val="1810781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FP 1 - Solution Overview</a:t>
            </a:r>
            <a:endParaRPr lang="en-US" dirty="0"/>
          </a:p>
        </p:txBody>
      </p:sp>
    </p:spTree>
    <p:extLst>
      <p:ext uri="{BB962C8B-B14F-4D97-AF65-F5344CB8AC3E}">
        <p14:creationId xmlns:p14="http://schemas.microsoft.com/office/powerpoint/2010/main" val="39127055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dirty="0"/>
              <a:t>Objectives and Solution Alignment for Marriott </a:t>
            </a:r>
            <a:r>
              <a:rPr lang="en-US" dirty="0" smtClean="0"/>
              <a:t>– Illustrative – RFP 1</a:t>
            </a:r>
            <a:endParaRPr lang="en-US" dirty="0"/>
          </a:p>
        </p:txBody>
      </p:sp>
      <p:cxnSp>
        <p:nvCxnSpPr>
          <p:cNvPr id="3" name="Straight Connector 2"/>
          <p:cNvCxnSpPr>
            <a:cxnSpLocks noChangeAspect="1"/>
          </p:cNvCxnSpPr>
          <p:nvPr/>
        </p:nvCxnSpPr>
        <p:spPr bwMode="auto">
          <a:xfrm>
            <a:off x="1806260" y="1186387"/>
            <a:ext cx="0" cy="5279462"/>
          </a:xfrm>
          <a:prstGeom prst="line">
            <a:avLst/>
          </a:prstGeom>
          <a:solidFill>
            <a:srgbClr val="075371"/>
          </a:solidFill>
          <a:ln w="12700" cap="rnd" cmpd="sng" algn="ctr">
            <a:solidFill>
              <a:srgbClr val="FFFFFF">
                <a:lumMod val="50000"/>
              </a:srgbClr>
            </a:solidFill>
            <a:prstDash val="sysDot"/>
            <a:round/>
            <a:headEnd type="none" w="med" len="med"/>
            <a:tailEnd type="none" w="med" len="med"/>
          </a:ln>
          <a:effectLst/>
        </p:spPr>
      </p:cxnSp>
      <p:sp>
        <p:nvSpPr>
          <p:cNvPr id="10" name="Rectangle 9"/>
          <p:cNvSpPr>
            <a:spLocks noChangeAspect="1"/>
          </p:cNvSpPr>
          <p:nvPr/>
        </p:nvSpPr>
        <p:spPr>
          <a:xfrm>
            <a:off x="148123" y="807046"/>
            <a:ext cx="1538788" cy="601009"/>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a:t>
            </a: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Marriott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bjectives</a:t>
            </a:r>
          </a:p>
        </p:txBody>
      </p:sp>
      <p:sp>
        <p:nvSpPr>
          <p:cNvPr id="18" name="Rectangle 17"/>
          <p:cNvSpPr>
            <a:spLocks/>
          </p:cNvSpPr>
          <p:nvPr/>
        </p:nvSpPr>
        <p:spPr>
          <a:xfrm>
            <a:off x="10163457" y="3872923"/>
            <a:ext cx="1914871" cy="731520"/>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70351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100%  SLA Adherence </a:t>
            </a:r>
          </a:p>
        </p:txBody>
      </p:sp>
      <p:sp>
        <p:nvSpPr>
          <p:cNvPr id="20" name="Rectangle 19"/>
          <p:cNvSpPr>
            <a:spLocks/>
          </p:cNvSpPr>
          <p:nvPr/>
        </p:nvSpPr>
        <p:spPr>
          <a:xfrm>
            <a:off x="10164715" y="2173751"/>
            <a:ext cx="1914869" cy="731520"/>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0-40% Leakage reduction in Problems</a:t>
            </a:r>
          </a:p>
        </p:txBody>
      </p:sp>
      <p:sp>
        <p:nvSpPr>
          <p:cNvPr id="21" name="Rectangle 20"/>
          <p:cNvSpPr>
            <a:spLocks/>
          </p:cNvSpPr>
          <p:nvPr/>
        </p:nvSpPr>
        <p:spPr>
          <a:xfrm>
            <a:off x="10156852" y="3023337"/>
            <a:ext cx="1914868" cy="731520"/>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isk Mitigated Transition (4 Week Pre-Planning &amp; Due Diligence, 4 Week Transition)</a:t>
            </a:r>
          </a:p>
        </p:txBody>
      </p:sp>
      <p:sp>
        <p:nvSpPr>
          <p:cNvPr id="86" name="Rectangle 85"/>
          <p:cNvSpPr/>
          <p:nvPr/>
        </p:nvSpPr>
        <p:spPr>
          <a:xfrm>
            <a:off x="5252703" y="4616378"/>
            <a:ext cx="1033616" cy="124364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90" name="Straight Connector 89"/>
          <p:cNvCxnSpPr>
            <a:cxnSpLocks noChangeAspect="1"/>
          </p:cNvCxnSpPr>
          <p:nvPr/>
        </p:nvCxnSpPr>
        <p:spPr bwMode="auto">
          <a:xfrm>
            <a:off x="10070694" y="1186387"/>
            <a:ext cx="0" cy="5279462"/>
          </a:xfrm>
          <a:prstGeom prst="line">
            <a:avLst/>
          </a:prstGeom>
          <a:solidFill>
            <a:srgbClr val="075371"/>
          </a:solidFill>
          <a:ln w="12700" cap="rnd" cmpd="sng" algn="ctr">
            <a:solidFill>
              <a:srgbClr val="FFFFFF">
                <a:lumMod val="50000"/>
              </a:srgbClr>
            </a:solidFill>
            <a:prstDash val="sysDot"/>
            <a:round/>
            <a:headEnd type="none" w="med" len="med"/>
            <a:tailEnd type="none" w="med" len="med"/>
          </a:ln>
          <a:effectLst/>
        </p:spPr>
      </p:cxnSp>
      <p:sp>
        <p:nvSpPr>
          <p:cNvPr id="51" name="Rounded Rectangle 23"/>
          <p:cNvSpPr/>
          <p:nvPr/>
        </p:nvSpPr>
        <p:spPr bwMode="gray">
          <a:xfrm rot="10800000" flipH="1" flipV="1">
            <a:off x="2041932" y="1889093"/>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Zero Disruption Transition</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sp>
        <p:nvSpPr>
          <p:cNvPr id="52" name="Rounded Rectangle 23"/>
          <p:cNvSpPr/>
          <p:nvPr/>
        </p:nvSpPr>
        <p:spPr bwMode="gray">
          <a:xfrm rot="10800000" flipH="1" flipV="1">
            <a:off x="6071648" y="1896634"/>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45" rtl="0" eaLnBrk="1" fontAlgn="auto"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Proven Transition </a:t>
            </a: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Approach</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sp>
        <p:nvSpPr>
          <p:cNvPr id="53" name="Rounded Rectangle 23"/>
          <p:cNvSpPr/>
          <p:nvPr/>
        </p:nvSpPr>
        <p:spPr bwMode="gray">
          <a:xfrm rot="10800000" flipH="1" flipV="1">
            <a:off x="2041932" y="2222172"/>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45" rtl="0" eaLnBrk="1" fontAlgn="auto"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Wave Approach for Bundle A &amp; B</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sp>
        <p:nvSpPr>
          <p:cNvPr id="54" name="Rounded Rectangle 23"/>
          <p:cNvSpPr/>
          <p:nvPr/>
        </p:nvSpPr>
        <p:spPr bwMode="gray">
          <a:xfrm rot="10800000" flipH="1" flipV="1">
            <a:off x="6071648" y="2222172"/>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Leverage Best Practices and Learnings from past</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sp>
        <p:nvSpPr>
          <p:cNvPr id="56" name="Rounded Rectangle 55"/>
          <p:cNvSpPr/>
          <p:nvPr/>
        </p:nvSpPr>
        <p:spPr>
          <a:xfrm>
            <a:off x="2024896" y="1457152"/>
            <a:ext cx="7978867" cy="400698"/>
          </a:xfrm>
          <a:prstGeom prst="roundRect">
            <a:avLst>
              <a:gd name="adj" fmla="val 50000"/>
            </a:avLst>
          </a:prstGeom>
          <a:solidFill>
            <a:srgbClr val="164D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7" name="Rectangle 56"/>
          <p:cNvSpPr/>
          <p:nvPr/>
        </p:nvSpPr>
        <p:spPr>
          <a:xfrm>
            <a:off x="5972495" y="1470797"/>
            <a:ext cx="3499945" cy="338554"/>
          </a:xfrm>
          <a:prstGeom prst="rect">
            <a:avLst/>
          </a:prstGeom>
        </p:spPr>
        <p:txBody>
          <a:bodyPr wrap="square">
            <a:spAutoFit/>
          </a:bodyPr>
          <a:lstStyle/>
          <a:p>
            <a:pPr marL="0" marR="0" lvl="0" indent="0" algn="l" defTabSz="838138"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Laying the Foundation</a:t>
            </a:r>
            <a:endParaRPr kumimoji="0" lang="en-US" sz="1600" b="0" i="1"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pic>
        <p:nvPicPr>
          <p:cNvPr id="58" name="Picture 57"/>
          <p:cNvPicPr>
            <a:picLocks noChangeAspect="1"/>
          </p:cNvPicPr>
          <p:nvPr/>
        </p:nvPicPr>
        <p:blipFill>
          <a:blip r:embed="rId2">
            <a:biLevel thresh="75000"/>
            <a:extLst/>
          </a:blip>
          <a:stretch>
            <a:fillRect/>
          </a:stretch>
        </p:blipFill>
        <p:spPr>
          <a:xfrm>
            <a:off x="2626111" y="1492151"/>
            <a:ext cx="881615" cy="300090"/>
          </a:xfrm>
          <a:prstGeom prst="rect">
            <a:avLst/>
          </a:prstGeom>
        </p:spPr>
      </p:pic>
      <p:sp>
        <p:nvSpPr>
          <p:cNvPr id="59" name="Rectangle 58"/>
          <p:cNvSpPr/>
          <p:nvPr/>
        </p:nvSpPr>
        <p:spPr>
          <a:xfrm>
            <a:off x="2518176" y="1503255"/>
            <a:ext cx="3155192" cy="307777"/>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AND SAFE</a:t>
            </a:r>
          </a:p>
        </p:txBody>
      </p:sp>
      <p:sp>
        <p:nvSpPr>
          <p:cNvPr id="61" name="Rounded Rectangle 60"/>
          <p:cNvSpPr/>
          <p:nvPr/>
        </p:nvSpPr>
        <p:spPr>
          <a:xfrm>
            <a:off x="2041933" y="2710775"/>
            <a:ext cx="7966777" cy="421779"/>
          </a:xfrm>
          <a:prstGeom prst="roundRect">
            <a:avLst>
              <a:gd name="adj" fmla="val 50000"/>
            </a:avLst>
          </a:prstGeom>
          <a:solidFill>
            <a:srgbClr val="00CC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1" name="Rectangle 90"/>
          <p:cNvSpPr/>
          <p:nvPr/>
        </p:nvSpPr>
        <p:spPr>
          <a:xfrm>
            <a:off x="5972495" y="2765588"/>
            <a:ext cx="3330151" cy="338554"/>
          </a:xfrm>
          <a:prstGeom prst="rect">
            <a:avLst/>
          </a:prstGeom>
        </p:spPr>
        <p:txBody>
          <a:bodyPr wrap="square">
            <a:spAutoFit/>
          </a:bodyPr>
          <a:lstStyle/>
          <a:p>
            <a:pPr marL="0" marR="0" lvl="0" indent="0" algn="l" defTabSz="838138"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solidFill>
                <a:effectLst/>
                <a:uLnTx/>
                <a:uFillTx/>
                <a:latin typeface="Calibri" panose="020F0502020204030204" pitchFamily="34" charset="0"/>
                <a:ea typeface="Open Sans" panose="020B0606030504020204" pitchFamily="34" charset="0"/>
                <a:cs typeface="Calibri" panose="020F0502020204030204" pitchFamily="34" charset="0"/>
              </a:rPr>
              <a:t>Drive IT Efficiency at Scale</a:t>
            </a:r>
          </a:p>
        </p:txBody>
      </p:sp>
      <p:pic>
        <p:nvPicPr>
          <p:cNvPr id="92" name="Picture 91">
            <a:extLst>
              <a:ext uri="{FF2B5EF4-FFF2-40B4-BE49-F238E27FC236}">
                <a16:creationId xmlns:a16="http://schemas.microsoft.com/office/drawing/2014/main" id="{D52F3F49-EF0E-434C-9D91-0C800B6BF256}"/>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2001" y="2775739"/>
            <a:ext cx="916904" cy="318053"/>
          </a:xfrm>
          <a:prstGeom prst="rect">
            <a:avLst/>
          </a:prstGeom>
        </p:spPr>
      </p:pic>
      <p:sp>
        <p:nvSpPr>
          <p:cNvPr id="93" name="Rectangle 92"/>
          <p:cNvSpPr/>
          <p:nvPr/>
        </p:nvSpPr>
        <p:spPr>
          <a:xfrm>
            <a:off x="2522956" y="2765488"/>
            <a:ext cx="3150412" cy="338554"/>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un Better</a:t>
            </a:r>
          </a:p>
        </p:txBody>
      </p:sp>
      <p:sp>
        <p:nvSpPr>
          <p:cNvPr id="94" name="Rounded Rectangle 23"/>
          <p:cNvSpPr/>
          <p:nvPr/>
        </p:nvSpPr>
        <p:spPr bwMode="gray">
          <a:xfrm rot="10800000" flipH="1" flipV="1">
            <a:off x="2108870" y="3256988"/>
            <a:ext cx="3840480" cy="457200"/>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Zero Maintenance Framework driven by AI/ML toolset (</a:t>
            </a:r>
            <a:r>
              <a:rPr kumimoji="0" lang="en-US" sz="1400" b="0" i="0" u="none" strike="noStrike" kern="1200" cap="none" spc="0" normalizeH="0" baseline="0" noProof="0" dirty="0" err="1">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AppLens</a:t>
            </a: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a:t>
            </a:r>
          </a:p>
        </p:txBody>
      </p:sp>
      <p:sp>
        <p:nvSpPr>
          <p:cNvPr id="95" name="Rounded Rectangle 23"/>
          <p:cNvSpPr/>
          <p:nvPr/>
        </p:nvSpPr>
        <p:spPr bwMode="gray">
          <a:xfrm rot="10800000" flipH="1" flipV="1">
            <a:off x="6132968" y="3256459"/>
            <a:ext cx="3840480" cy="457200"/>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 </a:t>
            </a: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Institute rigor across tower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transform to AI / ML based problem mgmt.</a:t>
            </a:r>
          </a:p>
        </p:txBody>
      </p:sp>
      <p:sp>
        <p:nvSpPr>
          <p:cNvPr id="97" name="Rounded Rectangle 23"/>
          <p:cNvSpPr/>
          <p:nvPr/>
        </p:nvSpPr>
        <p:spPr bwMode="gray">
          <a:xfrm rot="10800000" flipH="1" flipV="1">
            <a:off x="2122480" y="3808583"/>
            <a:ext cx="3840480" cy="457200"/>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IAL* Framework for Multi-Vendor Environment</a:t>
            </a:r>
          </a:p>
        </p:txBody>
      </p:sp>
      <p:sp>
        <p:nvSpPr>
          <p:cNvPr id="102" name="Rounded Rectangle 101"/>
          <p:cNvSpPr/>
          <p:nvPr/>
        </p:nvSpPr>
        <p:spPr>
          <a:xfrm>
            <a:off x="2028669" y="4481902"/>
            <a:ext cx="7955868" cy="402340"/>
          </a:xfrm>
          <a:prstGeom prst="roundRect">
            <a:avLst>
              <a:gd name="adj" fmla="val 50000"/>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0" name="Rounded Rectangle 23"/>
          <p:cNvSpPr/>
          <p:nvPr/>
        </p:nvSpPr>
        <p:spPr bwMode="gray">
          <a:xfrm rot="10800000" flipH="1" flipV="1">
            <a:off x="2098894" y="5023835"/>
            <a:ext cx="3873601"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AppLens</a:t>
            </a:r>
            <a:r>
              <a:rPr kumimoji="0" lang="en-US" sz="1400" b="0" i="0" u="none" strike="noStrike" kern="1200" cap="none" spc="0" normalizeH="0" baseline="30000" noProof="0" dirty="0" err="1">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TM</a:t>
            </a: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 based diagnostics</a:t>
            </a:r>
          </a:p>
        </p:txBody>
      </p:sp>
      <p:pic>
        <p:nvPicPr>
          <p:cNvPr id="104" name="Picture 103">
            <a:extLst>
              <a:ext uri="{FF2B5EF4-FFF2-40B4-BE49-F238E27FC236}">
                <a16:creationId xmlns:a16="http://schemas.microsoft.com/office/drawing/2014/main" id="{A0E687FA-6339-9E45-A7D5-B93770329D2B}"/>
              </a:ext>
            </a:extLst>
          </p:cNvPr>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2736973" y="4476482"/>
            <a:ext cx="793389" cy="333219"/>
          </a:xfrm>
          <a:prstGeom prst="rect">
            <a:avLst/>
          </a:prstGeom>
        </p:spPr>
      </p:pic>
      <p:sp>
        <p:nvSpPr>
          <p:cNvPr id="105" name="Rectangle 104"/>
          <p:cNvSpPr/>
          <p:nvPr/>
        </p:nvSpPr>
        <p:spPr>
          <a:xfrm>
            <a:off x="2101546" y="4497267"/>
            <a:ext cx="3585036" cy="338554"/>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un Different</a:t>
            </a:r>
          </a:p>
        </p:txBody>
      </p:sp>
      <p:sp>
        <p:nvSpPr>
          <p:cNvPr id="62" name="Rounded Rectangle 23"/>
          <p:cNvSpPr/>
          <p:nvPr/>
        </p:nvSpPr>
        <p:spPr bwMode="gray">
          <a:xfrm rot="10800000" flipH="1" flipV="1">
            <a:off x="6123415" y="3797521"/>
            <a:ext cx="3840480" cy="457200"/>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ITIL Alignment &amp; Process Standardization</a:t>
            </a:r>
          </a:p>
        </p:txBody>
      </p:sp>
      <p:sp>
        <p:nvSpPr>
          <p:cNvPr id="60" name="Rounded Rectangle 23"/>
          <p:cNvSpPr/>
          <p:nvPr/>
        </p:nvSpPr>
        <p:spPr bwMode="gray">
          <a:xfrm rot="10800000" flipH="1" flipV="1">
            <a:off x="2098893" y="5566008"/>
            <a:ext cx="3873602"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Automation</a:t>
            </a:r>
          </a:p>
        </p:txBody>
      </p:sp>
      <p:sp>
        <p:nvSpPr>
          <p:cNvPr id="70" name="Rounded Rectangle 23"/>
          <p:cNvSpPr/>
          <p:nvPr/>
        </p:nvSpPr>
        <p:spPr bwMode="gray">
          <a:xfrm rot="10800000" flipH="1" flipV="1">
            <a:off x="6077323" y="5025045"/>
            <a:ext cx="3873601"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Monitoring transformation with PID 3.0**</a:t>
            </a:r>
          </a:p>
        </p:txBody>
      </p:sp>
      <p:sp>
        <p:nvSpPr>
          <p:cNvPr id="130" name="Rounded Rectangle 129"/>
          <p:cNvSpPr/>
          <p:nvPr/>
        </p:nvSpPr>
        <p:spPr bwMode="auto">
          <a:xfrm>
            <a:off x="93421" y="2312233"/>
            <a:ext cx="1645920" cy="64008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Improved Problem Management</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1" name="Rounded Rectangle 130"/>
          <p:cNvSpPr/>
          <p:nvPr/>
        </p:nvSpPr>
        <p:spPr bwMode="auto">
          <a:xfrm>
            <a:off x="93421" y="3055802"/>
            <a:ext cx="1645920" cy="64008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Stability through Industry Processes</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2" name="Rounded Rectangle 131"/>
          <p:cNvSpPr/>
          <p:nvPr/>
        </p:nvSpPr>
        <p:spPr bwMode="auto">
          <a:xfrm>
            <a:off x="93421" y="3799371"/>
            <a:ext cx="1645920" cy="64008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Improved Knowledge Management</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4" name="Rectangle 133"/>
          <p:cNvSpPr>
            <a:spLocks noChangeAspect="1"/>
          </p:cNvSpPr>
          <p:nvPr/>
        </p:nvSpPr>
        <p:spPr>
          <a:xfrm>
            <a:off x="2024896" y="807046"/>
            <a:ext cx="7946427" cy="601009"/>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Solution Tenets</a:t>
            </a:r>
          </a:p>
        </p:txBody>
      </p:sp>
      <p:sp>
        <p:nvSpPr>
          <p:cNvPr id="135" name="Rectangle 134"/>
          <p:cNvSpPr>
            <a:spLocks noChangeAspect="1"/>
          </p:cNvSpPr>
          <p:nvPr/>
        </p:nvSpPr>
        <p:spPr>
          <a:xfrm>
            <a:off x="10177494" y="782564"/>
            <a:ext cx="1874781" cy="625492"/>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Outcomes committed for </a:t>
            </a: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Marriott </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 name="Rounded Rectangle 23"/>
          <p:cNvSpPr/>
          <p:nvPr/>
        </p:nvSpPr>
        <p:spPr bwMode="gray">
          <a:xfrm rot="10800000" flipH="1" flipV="1">
            <a:off x="6091915" y="5573584"/>
            <a:ext cx="3873602"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Service Management Transformation</a:t>
            </a:r>
          </a:p>
        </p:txBody>
      </p:sp>
      <p:sp>
        <p:nvSpPr>
          <p:cNvPr id="67" name="Rounded Rectangle 66"/>
          <p:cNvSpPr/>
          <p:nvPr/>
        </p:nvSpPr>
        <p:spPr bwMode="auto">
          <a:xfrm>
            <a:off x="126110" y="4542939"/>
            <a:ext cx="1645920" cy="64008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Improve production metrics</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48" name="Rectangle 47"/>
          <p:cNvSpPr>
            <a:spLocks/>
          </p:cNvSpPr>
          <p:nvPr/>
        </p:nvSpPr>
        <p:spPr>
          <a:xfrm>
            <a:off x="10173144" y="4722510"/>
            <a:ext cx="1914871" cy="731520"/>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tandardized and improved service effectiveness </a:t>
            </a:r>
          </a:p>
        </p:txBody>
      </p:sp>
      <p:sp>
        <p:nvSpPr>
          <p:cNvPr id="78" name="TextBox 77"/>
          <p:cNvSpPr txBox="1"/>
          <p:nvPr/>
        </p:nvSpPr>
        <p:spPr>
          <a:xfrm>
            <a:off x="4219057" y="6124462"/>
            <a:ext cx="370518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Delivery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tegration &amp; Liaison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DIA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odel</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PID 3.0 is CTS Predictive Intelligence platform solution</a:t>
            </a:r>
          </a:p>
        </p:txBody>
      </p:sp>
    </p:spTree>
    <p:extLst>
      <p:ext uri="{BB962C8B-B14F-4D97-AF65-F5344CB8AC3E}">
        <p14:creationId xmlns:p14="http://schemas.microsoft.com/office/powerpoint/2010/main" val="237286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419100" y="1114425"/>
            <a:ext cx="7239000" cy="4800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Title 1"/>
          <p:cNvSpPr>
            <a:spLocks noGrp="1"/>
          </p:cNvSpPr>
          <p:nvPr>
            <p:ph type="title"/>
          </p:nvPr>
        </p:nvSpPr>
        <p:spPr>
          <a:xfrm>
            <a:off x="470065" y="122109"/>
            <a:ext cx="10515600" cy="618385"/>
          </a:xfrm>
        </p:spPr>
        <p:txBody>
          <a:bodyPr>
            <a:normAutofit/>
          </a:bodyPr>
          <a:lstStyle/>
          <a:p>
            <a:r>
              <a:rPr lang="en-US" sz="2667" dirty="0" smtClean="0"/>
              <a:t>Setting it up - Our </a:t>
            </a:r>
            <a:r>
              <a:rPr lang="en-US" sz="2667" dirty="0"/>
              <a:t>proposed team </a:t>
            </a:r>
            <a:r>
              <a:rPr lang="en-US" sz="2667" dirty="0" smtClean="0"/>
              <a:t>structure </a:t>
            </a:r>
            <a:endParaRPr lang="en-US" sz="2667" dirty="0"/>
          </a:p>
        </p:txBody>
      </p:sp>
      <p:sp>
        <p:nvSpPr>
          <p:cNvPr id="3" name="Rectangle 2"/>
          <p:cNvSpPr/>
          <p:nvPr/>
        </p:nvSpPr>
        <p:spPr>
          <a:xfrm>
            <a:off x="581026" y="1276628"/>
            <a:ext cx="6800850" cy="6381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p:cNvSpPr/>
          <p:nvPr/>
        </p:nvSpPr>
        <p:spPr>
          <a:xfrm>
            <a:off x="581026" y="2115991"/>
            <a:ext cx="6800850" cy="63817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p:cNvSpPr/>
          <p:nvPr/>
        </p:nvSpPr>
        <p:spPr>
          <a:xfrm>
            <a:off x="581025" y="2942229"/>
            <a:ext cx="6800850" cy="201104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581025" y="5141341"/>
            <a:ext cx="6800850" cy="6381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p:cNvSpPr txBox="1"/>
          <p:nvPr/>
        </p:nvSpPr>
        <p:spPr>
          <a:xfrm>
            <a:off x="647711" y="1283427"/>
            <a:ext cx="150495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Calibri" panose="020F0502020204030204"/>
                <a:ea typeface="+mn-ea"/>
                <a:cs typeface="+mn-cs"/>
              </a:rPr>
              <a:t>MARRIOTT STAKEHOLDER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TextBox 99"/>
          <p:cNvSpPr txBox="1"/>
          <p:nvPr/>
        </p:nvSpPr>
        <p:spPr>
          <a:xfrm>
            <a:off x="635312" y="2250266"/>
            <a:ext cx="177011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Calibri" panose="020F0502020204030204"/>
                <a:ea typeface="+mn-ea"/>
                <a:cs typeface="+mn-cs"/>
              </a:rPr>
              <a:t>ONSITE TEAM (2)</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TextBox 100"/>
          <p:cNvSpPr txBox="1"/>
          <p:nvPr/>
        </p:nvSpPr>
        <p:spPr>
          <a:xfrm>
            <a:off x="647711" y="3547504"/>
            <a:ext cx="150495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Calibri" panose="020F0502020204030204"/>
                <a:ea typeface="+mn-ea"/>
                <a:cs typeface="+mn-cs"/>
              </a:rPr>
              <a:t>OFFSHORE TEAM (15)</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TextBox 101"/>
          <p:cNvSpPr txBox="1"/>
          <p:nvPr/>
        </p:nvSpPr>
        <p:spPr>
          <a:xfrm>
            <a:off x="647711" y="5124728"/>
            <a:ext cx="169545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Calibri" panose="020F0502020204030204"/>
                <a:ea typeface="+mn-ea"/>
                <a:cs typeface="+mn-cs"/>
              </a:rPr>
              <a:t>PARTNER ECOSYSTE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8" name="Group 107"/>
          <p:cNvGrpSpPr/>
          <p:nvPr/>
        </p:nvGrpSpPr>
        <p:grpSpPr>
          <a:xfrm>
            <a:off x="4190645" y="1392040"/>
            <a:ext cx="429331" cy="371752"/>
            <a:chOff x="5529273" y="1898659"/>
            <a:chExt cx="350838" cy="325439"/>
          </a:xfrm>
          <a:solidFill>
            <a:schemeClr val="tx2">
              <a:lumMod val="50000"/>
            </a:schemeClr>
          </a:solidFill>
        </p:grpSpPr>
        <p:sp>
          <p:nvSpPr>
            <p:cNvPr id="110"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1"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20" name="Group 119"/>
          <p:cNvGrpSpPr/>
          <p:nvPr/>
        </p:nvGrpSpPr>
        <p:grpSpPr>
          <a:xfrm>
            <a:off x="2566857" y="2240250"/>
            <a:ext cx="429331" cy="371752"/>
            <a:chOff x="5529273" y="1898659"/>
            <a:chExt cx="350838" cy="325439"/>
          </a:xfrm>
          <a:solidFill>
            <a:schemeClr val="tx2">
              <a:lumMod val="50000"/>
            </a:schemeClr>
          </a:solidFill>
        </p:grpSpPr>
        <p:sp>
          <p:nvSpPr>
            <p:cNvPr id="121"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2"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23" name="TextBox 122"/>
          <p:cNvSpPr txBox="1"/>
          <p:nvPr/>
        </p:nvSpPr>
        <p:spPr>
          <a:xfrm>
            <a:off x="3044945" y="2220634"/>
            <a:ext cx="159661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Management Lead (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4" name="Group 123"/>
          <p:cNvGrpSpPr/>
          <p:nvPr/>
        </p:nvGrpSpPr>
        <p:grpSpPr>
          <a:xfrm>
            <a:off x="5255847" y="2233681"/>
            <a:ext cx="429331" cy="371752"/>
            <a:chOff x="5529273" y="1898659"/>
            <a:chExt cx="350838" cy="325439"/>
          </a:xfrm>
          <a:solidFill>
            <a:schemeClr val="tx2">
              <a:lumMod val="50000"/>
            </a:schemeClr>
          </a:solidFill>
        </p:grpSpPr>
        <p:sp>
          <p:nvSpPr>
            <p:cNvPr id="125"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6"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27" name="TextBox 126"/>
          <p:cNvSpPr txBox="1"/>
          <p:nvPr/>
        </p:nvSpPr>
        <p:spPr>
          <a:xfrm>
            <a:off x="5727865" y="2330166"/>
            <a:ext cx="15049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Problem Manager (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8" name="Group 127"/>
          <p:cNvGrpSpPr/>
          <p:nvPr/>
        </p:nvGrpSpPr>
        <p:grpSpPr>
          <a:xfrm>
            <a:off x="2562585" y="3110543"/>
            <a:ext cx="429331" cy="371752"/>
            <a:chOff x="5529273" y="1898659"/>
            <a:chExt cx="350838" cy="325439"/>
          </a:xfrm>
          <a:solidFill>
            <a:schemeClr val="tx2">
              <a:lumMod val="50000"/>
            </a:schemeClr>
          </a:solidFill>
        </p:grpSpPr>
        <p:sp>
          <p:nvSpPr>
            <p:cNvPr id="129"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0"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31" name="Group 130"/>
          <p:cNvGrpSpPr/>
          <p:nvPr/>
        </p:nvGrpSpPr>
        <p:grpSpPr>
          <a:xfrm>
            <a:off x="2566856" y="3717659"/>
            <a:ext cx="429331" cy="371752"/>
            <a:chOff x="5529273" y="1898659"/>
            <a:chExt cx="350838" cy="325439"/>
          </a:xfrm>
          <a:solidFill>
            <a:schemeClr val="tx2">
              <a:lumMod val="50000"/>
            </a:schemeClr>
          </a:solidFill>
        </p:grpSpPr>
        <p:sp>
          <p:nvSpPr>
            <p:cNvPr id="132"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3"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34" name="Group 133"/>
          <p:cNvGrpSpPr/>
          <p:nvPr/>
        </p:nvGrpSpPr>
        <p:grpSpPr>
          <a:xfrm>
            <a:off x="2562584" y="4285475"/>
            <a:ext cx="429331" cy="371752"/>
            <a:chOff x="5529273" y="1898659"/>
            <a:chExt cx="350838" cy="325439"/>
          </a:xfrm>
          <a:solidFill>
            <a:schemeClr val="tx2">
              <a:lumMod val="50000"/>
            </a:schemeClr>
          </a:solidFill>
        </p:grpSpPr>
        <p:sp>
          <p:nvSpPr>
            <p:cNvPr id="135"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6"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37" name="Group 136"/>
          <p:cNvGrpSpPr/>
          <p:nvPr/>
        </p:nvGrpSpPr>
        <p:grpSpPr>
          <a:xfrm>
            <a:off x="5266560" y="3110543"/>
            <a:ext cx="429331" cy="371752"/>
            <a:chOff x="5529273" y="1898659"/>
            <a:chExt cx="350838" cy="325439"/>
          </a:xfrm>
          <a:solidFill>
            <a:schemeClr val="tx2">
              <a:lumMod val="50000"/>
            </a:schemeClr>
          </a:solidFill>
        </p:grpSpPr>
        <p:sp>
          <p:nvSpPr>
            <p:cNvPr id="138"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9"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40" name="Group 139"/>
          <p:cNvGrpSpPr/>
          <p:nvPr/>
        </p:nvGrpSpPr>
        <p:grpSpPr>
          <a:xfrm>
            <a:off x="5270831" y="3717659"/>
            <a:ext cx="429331" cy="371752"/>
            <a:chOff x="5529273" y="1898659"/>
            <a:chExt cx="350838" cy="325439"/>
          </a:xfrm>
          <a:solidFill>
            <a:schemeClr val="tx2">
              <a:lumMod val="50000"/>
            </a:schemeClr>
          </a:solidFill>
        </p:grpSpPr>
        <p:sp>
          <p:nvSpPr>
            <p:cNvPr id="141"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2"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43" name="Group 142"/>
          <p:cNvGrpSpPr/>
          <p:nvPr/>
        </p:nvGrpSpPr>
        <p:grpSpPr>
          <a:xfrm>
            <a:off x="5266559" y="4285475"/>
            <a:ext cx="429331" cy="371752"/>
            <a:chOff x="5529273" y="1898659"/>
            <a:chExt cx="350838" cy="325439"/>
          </a:xfrm>
          <a:solidFill>
            <a:schemeClr val="tx2">
              <a:lumMod val="50000"/>
            </a:schemeClr>
          </a:solidFill>
        </p:grpSpPr>
        <p:sp>
          <p:nvSpPr>
            <p:cNvPr id="144"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5"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46" name="TextBox 145"/>
          <p:cNvSpPr txBox="1"/>
          <p:nvPr/>
        </p:nvSpPr>
        <p:spPr>
          <a:xfrm>
            <a:off x="3041016" y="3079703"/>
            <a:ext cx="150495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Incident/Major Incident Manager (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TextBox 146"/>
          <p:cNvSpPr txBox="1"/>
          <p:nvPr/>
        </p:nvSpPr>
        <p:spPr>
          <a:xfrm>
            <a:off x="3028231" y="3775750"/>
            <a:ext cx="15049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Capacity Manager (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TextBox 147"/>
          <p:cNvSpPr txBox="1"/>
          <p:nvPr/>
        </p:nvSpPr>
        <p:spPr>
          <a:xfrm>
            <a:off x="3028230" y="4342675"/>
            <a:ext cx="17013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Monitoring (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TextBox 148"/>
          <p:cNvSpPr txBox="1"/>
          <p:nvPr/>
        </p:nvSpPr>
        <p:spPr>
          <a:xfrm>
            <a:off x="5786408" y="3188252"/>
            <a:ext cx="15049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Release Manager (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TextBox 149"/>
          <p:cNvSpPr txBox="1"/>
          <p:nvPr/>
        </p:nvSpPr>
        <p:spPr>
          <a:xfrm>
            <a:off x="5772932" y="3803803"/>
            <a:ext cx="15049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Change Manager (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TextBox 150"/>
          <p:cNvSpPr txBox="1"/>
          <p:nvPr/>
        </p:nvSpPr>
        <p:spPr>
          <a:xfrm>
            <a:off x="5772932" y="4370728"/>
            <a:ext cx="150495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Configuration Manager (2)</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52" name="Group 151"/>
          <p:cNvGrpSpPr/>
          <p:nvPr/>
        </p:nvGrpSpPr>
        <p:grpSpPr>
          <a:xfrm>
            <a:off x="3661998" y="5274552"/>
            <a:ext cx="429331" cy="371752"/>
            <a:chOff x="5529273" y="1898659"/>
            <a:chExt cx="350838" cy="325439"/>
          </a:xfrm>
          <a:solidFill>
            <a:schemeClr val="tx2">
              <a:lumMod val="50000"/>
            </a:schemeClr>
          </a:solidFill>
        </p:grpSpPr>
        <p:sp>
          <p:nvSpPr>
            <p:cNvPr id="15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55" name="Group 154"/>
          <p:cNvGrpSpPr/>
          <p:nvPr/>
        </p:nvGrpSpPr>
        <p:grpSpPr>
          <a:xfrm>
            <a:off x="4122109" y="5173861"/>
            <a:ext cx="429331" cy="371752"/>
            <a:chOff x="5529273" y="1898659"/>
            <a:chExt cx="350838" cy="325439"/>
          </a:xfrm>
          <a:solidFill>
            <a:schemeClr val="tx2">
              <a:lumMod val="50000"/>
            </a:schemeClr>
          </a:solidFill>
        </p:grpSpPr>
        <p:sp>
          <p:nvSpPr>
            <p:cNvPr id="156"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7"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nvGrpSpPr>
          <p:cNvPr id="158" name="Group 157"/>
          <p:cNvGrpSpPr/>
          <p:nvPr/>
        </p:nvGrpSpPr>
        <p:grpSpPr>
          <a:xfrm>
            <a:off x="4613000" y="5274552"/>
            <a:ext cx="429331" cy="371752"/>
            <a:chOff x="5529273" y="1898659"/>
            <a:chExt cx="350838" cy="325439"/>
          </a:xfrm>
          <a:solidFill>
            <a:schemeClr val="tx2">
              <a:lumMod val="50000"/>
            </a:schemeClr>
          </a:solidFill>
        </p:grpSpPr>
        <p:sp>
          <p:nvSpPr>
            <p:cNvPr id="159"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0"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7" rIns="67733" bIns="3386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4" name="Rectangle 3"/>
          <p:cNvSpPr/>
          <p:nvPr/>
        </p:nvSpPr>
        <p:spPr>
          <a:xfrm>
            <a:off x="7912632" y="1114425"/>
            <a:ext cx="3883145" cy="4800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smtClean="0">
                <a:ln>
                  <a:noFill/>
                </a:ln>
                <a:solidFill>
                  <a:prstClr val="black"/>
                </a:solidFill>
                <a:effectLst/>
                <a:uLnTx/>
                <a:uFillTx/>
                <a:latin typeface="Calibri" panose="020F0502020204030204"/>
                <a:ea typeface="+mn-ea"/>
                <a:cs typeface="+mn-cs"/>
              </a:rPr>
              <a:t>Location Strateg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Onsite Team – Washington, DC</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Service Management Lead – Ensure overall governance, SLA &amp; KPI Reporting, Liaise with Marriot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Problem Manager – Institutionalize process, End to End coordination with other suppli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Offshore Team – Chennai, India</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Other process leads – work with SMO and Marriott to drive all individual process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ctangle 1"/>
          <p:cNvSpPr/>
          <p:nvPr/>
        </p:nvSpPr>
        <p:spPr>
          <a:xfrm>
            <a:off x="76200" y="2009776"/>
            <a:ext cx="7486650" cy="304494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rot="16200000">
            <a:off x="74869" y="3314335"/>
            <a:ext cx="525785" cy="276999"/>
          </a:xfrm>
          <a:prstGeom prst="rect">
            <a:avLst/>
          </a:prstGeom>
        </p:spPr>
        <p:txBody>
          <a:bodyPr wrap="none" lIns="0" tIns="0" rIns="0" bIns="0" rtlCol="0">
            <a:spAutoFit/>
          </a:bodyPr>
          <a:lstStyle/>
          <a:p>
            <a:pPr algn="l"/>
            <a:r>
              <a:rPr lang="en-US" dirty="0" smtClean="0">
                <a:solidFill>
                  <a:schemeClr val="tx2"/>
                </a:solidFill>
              </a:rPr>
              <a:t>SMO</a:t>
            </a:r>
          </a:p>
        </p:txBody>
      </p:sp>
    </p:spTree>
    <p:extLst>
      <p:ext uri="{BB962C8B-B14F-4D97-AF65-F5344CB8AC3E}">
        <p14:creationId xmlns:p14="http://schemas.microsoft.com/office/powerpoint/2010/main" val="1876185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ing Efficiencies through ZERO MAINTENANCE FRAMEWORK </a:t>
            </a:r>
            <a:endParaRPr lang="en-US" dirty="0"/>
          </a:p>
        </p:txBody>
      </p:sp>
      <p:graphicFrame>
        <p:nvGraphicFramePr>
          <p:cNvPr id="3" name="Chart 4"/>
          <p:cNvGraphicFramePr/>
          <p:nvPr>
            <p:extLst/>
          </p:nvPr>
        </p:nvGraphicFramePr>
        <p:xfrm>
          <a:off x="-37409" y="1241237"/>
          <a:ext cx="11979201" cy="466566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14"/>
          <p:cNvSpPr>
            <a:spLocks noChangeArrowheads="1"/>
          </p:cNvSpPr>
          <p:nvPr/>
        </p:nvSpPr>
        <p:spPr bwMode="auto">
          <a:xfrm>
            <a:off x="10585968" y="3260848"/>
            <a:ext cx="1285533" cy="128650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TOOLS FOR SMART IT OPERATION</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CONTINUOUS SERVICE IMPROVEMENT FRAMEWORK</a:t>
            </a:r>
          </a:p>
        </p:txBody>
      </p:sp>
      <p:sp>
        <p:nvSpPr>
          <p:cNvPr id="8" name="Rectangle 50"/>
          <p:cNvSpPr>
            <a:spLocks noChangeArrowheads="1"/>
          </p:cNvSpPr>
          <p:nvPr/>
        </p:nvSpPr>
        <p:spPr bwMode="auto">
          <a:xfrm>
            <a:off x="631962" y="1824737"/>
            <a:ext cx="670713" cy="3548044"/>
          </a:xfrm>
          <a:prstGeom prst="rect">
            <a:avLst/>
          </a:prstGeom>
          <a:solidFill>
            <a:srgbClr val="258B3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0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a:endParaRPr>
          </a:p>
        </p:txBody>
      </p:sp>
      <p:sp>
        <p:nvSpPr>
          <p:cNvPr id="9" name="Text Box 51"/>
          <p:cNvSpPr txBox="1">
            <a:spLocks noChangeArrowheads="1"/>
          </p:cNvSpPr>
          <p:nvPr/>
        </p:nvSpPr>
        <p:spPr bwMode="auto">
          <a:xfrm>
            <a:off x="549343" y="3855989"/>
            <a:ext cx="86016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Steady State Day1</a:t>
            </a:r>
          </a:p>
        </p:txBody>
      </p:sp>
      <p:sp>
        <p:nvSpPr>
          <p:cNvPr id="13" name="Rectangle 59"/>
          <p:cNvSpPr>
            <a:spLocks noChangeArrowheads="1"/>
          </p:cNvSpPr>
          <p:nvPr/>
        </p:nvSpPr>
        <p:spPr bwMode="auto">
          <a:xfrm rot="5400000">
            <a:off x="9355773" y="1833469"/>
            <a:ext cx="1343655" cy="887968"/>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a:endParaRPr>
          </a:p>
        </p:txBody>
      </p:sp>
      <p:sp>
        <p:nvSpPr>
          <p:cNvPr id="14" name="TextBox 10"/>
          <p:cNvSpPr txBox="1">
            <a:spLocks noChangeArrowheads="1"/>
          </p:cNvSpPr>
          <p:nvPr/>
        </p:nvSpPr>
        <p:spPr bwMode="auto">
          <a:xfrm>
            <a:off x="9545314" y="1758987"/>
            <a:ext cx="96457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lang="en-US" altLang="en-US" sz="1400" kern="0" dirty="0">
                <a:solidFill>
                  <a:srgbClr val="FFFFFF"/>
                </a:solidFill>
                <a:latin typeface="Calibri" panose="020F0502020204030204" pitchFamily="34" charset="0"/>
                <a:cs typeface="Arial"/>
              </a:rPr>
              <a:t>Reduce</a:t>
            </a:r>
          </a:p>
          <a:p>
            <a:pPr marL="0" marR="0" lvl="0" indent="0" algn="ctr" defTabSz="914332" rtl="0" eaLnBrk="0" fontAlgn="base" latinLnBrk="0" hangingPunct="0">
              <a:lnSpc>
                <a:spcPct val="100000"/>
              </a:lnSpc>
              <a:spcBef>
                <a:spcPct val="0"/>
              </a:spcBef>
              <a:spcAft>
                <a:spcPct val="0"/>
              </a:spcAft>
              <a:buClrTx/>
              <a:buSzTx/>
              <a:buFontTx/>
              <a:buNone/>
              <a:tabLst/>
              <a:defRPr/>
            </a:pPr>
            <a:r>
              <a:rPr lang="en-US" altLang="en-US" sz="1400" kern="0" dirty="0" smtClean="0">
                <a:solidFill>
                  <a:srgbClr val="FFFFFF"/>
                </a:solidFill>
                <a:latin typeface="Calibri" panose="020F0502020204030204" pitchFamily="34" charset="0"/>
                <a:cs typeface="Arial"/>
              </a:rPr>
              <a:t>~35% Effort in 5 Years</a:t>
            </a:r>
            <a:endParaRPr lang="en-US" altLang="en-US" sz="1400" kern="0" dirty="0">
              <a:solidFill>
                <a:srgbClr val="FFFFFF"/>
              </a:solidFill>
              <a:latin typeface="Calibri" panose="020F0502020204030204" pitchFamily="34" charset="0"/>
              <a:cs typeface="Arial"/>
            </a:endParaRPr>
          </a:p>
        </p:txBody>
      </p:sp>
      <p:sp>
        <p:nvSpPr>
          <p:cNvPr id="15" name="TextBox 5"/>
          <p:cNvSpPr txBox="1">
            <a:spLocks noChangeArrowheads="1"/>
          </p:cNvSpPr>
          <p:nvPr/>
        </p:nvSpPr>
        <p:spPr bwMode="auto">
          <a:xfrm>
            <a:off x="605972" y="3123296"/>
            <a:ext cx="6574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100%</a:t>
            </a:r>
          </a:p>
        </p:txBody>
      </p:sp>
      <p:sp>
        <p:nvSpPr>
          <p:cNvPr id="16" name="Rectangle 73"/>
          <p:cNvSpPr>
            <a:spLocks noChangeArrowheads="1"/>
          </p:cNvSpPr>
          <p:nvPr/>
        </p:nvSpPr>
        <p:spPr bwMode="auto">
          <a:xfrm rot="10800000">
            <a:off x="221254" y="2954206"/>
            <a:ext cx="410931" cy="1231900"/>
          </a:xfrm>
          <a:prstGeom prst="rect">
            <a:avLst/>
          </a:prstGeom>
          <a:noFill/>
          <a:ln>
            <a:noFill/>
          </a:ln>
          <a:extLst>
            <a:ext uri="{91240B29-F687-4F45-9708-019B960494DF}">
              <a14:hiddenLine xmlns:a14="http://schemas.microsoft.com/office/drawing/2010/main" w="9525" algn="ctr">
                <a:solidFill>
                  <a:srgbClr val="000000"/>
                </a:solidFill>
                <a:miter lim="800000"/>
                <a:headEnd/>
                <a:tailEnd/>
              </a14:hiddenLine>
            </a:ext>
          </a:extLst>
        </p:spPr>
        <p:txBody>
          <a:bodyPr vert="eaVert" wrap="none" lIns="45720" rIns="45720" anchor="ctr" anchorCtr="1"/>
          <a:lstStyle>
            <a:lvl1pPr defTabSz="877888" eaLnBrk="0" hangingPunct="0">
              <a:defRPr sz="1000" b="1">
                <a:solidFill>
                  <a:schemeClr val="tx1"/>
                </a:solidFill>
                <a:latin typeface="Times New Roman" panose="02020603050405020304" pitchFamily="18" charset="0"/>
                <a:ea typeface="ＭＳ Ｐゴシック" pitchFamily="34" charset="-128"/>
              </a:defRPr>
            </a:lvl1pPr>
            <a:lvl2pPr marL="742950" indent="-285750" defTabSz="877888" eaLnBrk="0" hangingPunct="0">
              <a:defRPr sz="1000" b="1">
                <a:solidFill>
                  <a:schemeClr val="tx1"/>
                </a:solidFill>
                <a:latin typeface="Times New Roman" panose="02020603050405020304" pitchFamily="18" charset="0"/>
                <a:ea typeface="ＭＳ Ｐゴシック" pitchFamily="34" charset="-128"/>
              </a:defRPr>
            </a:lvl2pPr>
            <a:lvl3pPr marL="1143000" indent="-228600" defTabSz="877888" eaLnBrk="0" hangingPunct="0">
              <a:defRPr sz="1000" b="1">
                <a:solidFill>
                  <a:schemeClr val="tx1"/>
                </a:solidFill>
                <a:latin typeface="Times New Roman" panose="02020603050405020304" pitchFamily="18" charset="0"/>
                <a:ea typeface="ＭＳ Ｐゴシック" pitchFamily="34" charset="-128"/>
              </a:defRPr>
            </a:lvl3pPr>
            <a:lvl4pPr marL="1600200" indent="-228600" defTabSz="877888" eaLnBrk="0" hangingPunct="0">
              <a:defRPr sz="1000" b="1">
                <a:solidFill>
                  <a:schemeClr val="tx1"/>
                </a:solidFill>
                <a:latin typeface="Times New Roman" panose="02020603050405020304" pitchFamily="18" charset="0"/>
                <a:ea typeface="ＭＳ Ｐゴシック" pitchFamily="34" charset="-128"/>
              </a:defRPr>
            </a:lvl4pPr>
            <a:lvl5pPr marL="2057400" indent="-228600" defTabSz="877888"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1170429"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Index</a:t>
            </a:r>
          </a:p>
        </p:txBody>
      </p:sp>
      <p:grpSp>
        <p:nvGrpSpPr>
          <p:cNvPr id="38" name="Group 37"/>
          <p:cNvGrpSpPr/>
          <p:nvPr/>
        </p:nvGrpSpPr>
        <p:grpSpPr>
          <a:xfrm>
            <a:off x="5419842" y="2411287"/>
            <a:ext cx="2085369" cy="2681481"/>
            <a:chOff x="4480247" y="2441703"/>
            <a:chExt cx="1666267" cy="2681481"/>
          </a:xfrm>
        </p:grpSpPr>
        <p:sp>
          <p:nvSpPr>
            <p:cNvPr id="4" name="Rectangle 12"/>
            <p:cNvSpPr>
              <a:spLocks noChangeArrowheads="1"/>
            </p:cNvSpPr>
            <p:nvPr/>
          </p:nvSpPr>
          <p:spPr bwMode="auto">
            <a:xfrm>
              <a:off x="4547448" y="2814860"/>
              <a:ext cx="1599066" cy="2308324"/>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INSTITUTIONALIZE</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PROCESSES, DRIVE SOP BASED DELIVERY</a:t>
              </a:r>
            </a:p>
            <a:p>
              <a:pPr lvl="0" defTabSz="914332" fontAlgn="base">
                <a:spcBef>
                  <a:spcPct val="0"/>
                </a:spcBef>
                <a:spcAft>
                  <a:spcPts val="600"/>
                </a:spcAft>
                <a:buFont typeface="Arial" panose="020B0604020202020204" pitchFamily="34" charset="0"/>
                <a:buChar char="•"/>
                <a:defRPr/>
              </a:pPr>
              <a:r>
                <a:rPr lang="en-US" altLang="en-US" sz="1200" b="0" kern="0" dirty="0">
                  <a:solidFill>
                    <a:prstClr val="black"/>
                  </a:solidFill>
                  <a:latin typeface="Calibri" panose="020F0502020204030204" pitchFamily="34" charset="0"/>
                  <a:cs typeface="Arial"/>
                </a:rPr>
                <a:t>SMART TOOLS AND </a:t>
              </a:r>
              <a:r>
                <a:rPr lang="en-US" altLang="en-US" sz="1200" b="0" kern="0" dirty="0" smtClean="0">
                  <a:solidFill>
                    <a:prstClr val="black"/>
                  </a:solidFill>
                  <a:latin typeface="Calibri" panose="020F0502020204030204" pitchFamily="34" charset="0"/>
                  <a:cs typeface="Arial"/>
                </a:rPr>
                <a:t>OPS -  </a:t>
              </a:r>
              <a:r>
                <a:rPr lang="en-US" altLang="en-US" sz="1200" b="0" kern="0" noProof="0" dirty="0" smtClean="0">
                  <a:solidFill>
                    <a:prstClr val="black"/>
                  </a:solidFill>
                  <a:latin typeface="Calibri" panose="020F0502020204030204" pitchFamily="34" charset="0"/>
                  <a:cs typeface="Arial"/>
                </a:rPr>
                <a:t>SERVICENOW, APPDYNAMICS, DYNATRACE, APPLENS</a:t>
              </a:r>
              <a:endPar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endParaRP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CENTRALIZED </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KEDB</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SMO AND DIAL FRAMEWORK</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FOR PROCESS ADHERENCE</a:t>
              </a:r>
              <a:endPar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endParaRPr>
            </a:p>
          </p:txBody>
        </p:sp>
        <p:sp>
          <p:nvSpPr>
            <p:cNvPr id="10" name="Rectangle 55"/>
            <p:cNvSpPr>
              <a:spLocks noChangeArrowheads="1"/>
            </p:cNvSpPr>
            <p:nvPr/>
          </p:nvSpPr>
          <p:spPr bwMode="auto">
            <a:xfrm>
              <a:off x="4547448" y="2498317"/>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endParaRPr>
            </a:p>
          </p:txBody>
        </p:sp>
        <p:sp>
          <p:nvSpPr>
            <p:cNvPr id="17" name="TextBox 9"/>
            <p:cNvSpPr txBox="1">
              <a:spLocks noChangeArrowheads="1"/>
            </p:cNvSpPr>
            <p:nvPr/>
          </p:nvSpPr>
          <p:spPr bwMode="auto">
            <a:xfrm>
              <a:off x="4480247" y="2441703"/>
              <a:ext cx="1531402"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chemeClr val="bg1"/>
                  </a:solidFill>
                  <a:effectLst/>
                  <a:uLnTx/>
                  <a:uFillTx/>
                  <a:latin typeface="Calibri" panose="020F0502020204030204" pitchFamily="34" charset="0"/>
                  <a:ea typeface="ＭＳ Ｐゴシック" pitchFamily="34" charset="-128"/>
                  <a:cs typeface="Arial"/>
                </a:rPr>
                <a:t>INDUSTRIALIZE</a:t>
              </a:r>
              <a:endParaRPr kumimoji="0" lang="en-US" altLang="en-US" sz="1600" b="1" i="0" u="none" strike="noStrike" kern="0" cap="none" spc="0" normalizeH="0" baseline="0" noProof="0" dirty="0">
                <a:ln>
                  <a:noFill/>
                </a:ln>
                <a:solidFill>
                  <a:schemeClr val="bg1"/>
                </a:solidFill>
                <a:effectLst/>
                <a:uLnTx/>
                <a:uFillTx/>
                <a:latin typeface="Calibri" panose="020F0502020204030204" pitchFamily="34" charset="0"/>
                <a:ea typeface="ＭＳ Ｐゴシック" pitchFamily="34" charset="-128"/>
                <a:cs typeface="Arial"/>
              </a:endParaRPr>
            </a:p>
          </p:txBody>
        </p:sp>
      </p:grpSp>
      <p:grpSp>
        <p:nvGrpSpPr>
          <p:cNvPr id="39" name="Group 38"/>
          <p:cNvGrpSpPr/>
          <p:nvPr/>
        </p:nvGrpSpPr>
        <p:grpSpPr>
          <a:xfrm>
            <a:off x="3494023" y="2093949"/>
            <a:ext cx="1832193" cy="3268016"/>
            <a:chOff x="2933972" y="2198018"/>
            <a:chExt cx="1463972" cy="3268016"/>
          </a:xfrm>
        </p:grpSpPr>
        <p:sp>
          <p:nvSpPr>
            <p:cNvPr id="5" name="Rectangle 13"/>
            <p:cNvSpPr>
              <a:spLocks noChangeArrowheads="1"/>
            </p:cNvSpPr>
            <p:nvPr/>
          </p:nvSpPr>
          <p:spPr bwMode="auto">
            <a:xfrm>
              <a:off x="2933972" y="2557545"/>
              <a:ext cx="1361381" cy="2908489"/>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WORKFLOW</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BASED AUTOMATION </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US" altLang="en-US" sz="1200" b="0" kern="0" noProof="0" dirty="0" smtClean="0">
                  <a:solidFill>
                    <a:prstClr val="black"/>
                  </a:solidFill>
                  <a:latin typeface="Calibri" panose="020F0502020204030204" pitchFamily="34" charset="0"/>
                  <a:cs typeface="Arial"/>
                </a:rPr>
                <a:t>INCIDENT TRIAGING BOT </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dirty="0" smtClean="0">
                  <a:ln>
                    <a:noFill/>
                  </a:ln>
                  <a:solidFill>
                    <a:prstClr val="black"/>
                  </a:solidFill>
                  <a:effectLst/>
                  <a:uLnTx/>
                  <a:uFillTx/>
                  <a:latin typeface="Calibri" panose="020F0502020204030204" pitchFamily="34" charset="0"/>
                  <a:ea typeface="ＭＳ Ｐゴシック" pitchFamily="34" charset="-128"/>
                  <a:cs typeface="Arial"/>
                </a:rPr>
                <a:t>REPORTING</a:t>
              </a:r>
              <a:r>
                <a:rPr kumimoji="0" lang="en-US" altLang="en-US" sz="1200" b="0" i="0" u="none" strike="noStrike" kern="0" cap="none" spc="0" normalizeH="0" dirty="0" smtClean="0">
                  <a:ln>
                    <a:noFill/>
                  </a:ln>
                  <a:solidFill>
                    <a:prstClr val="black"/>
                  </a:solidFill>
                  <a:effectLst/>
                  <a:uLnTx/>
                  <a:uFillTx/>
                  <a:latin typeface="Calibri" panose="020F0502020204030204" pitchFamily="34" charset="0"/>
                  <a:ea typeface="ＭＳ Ｐゴシック" pitchFamily="34" charset="-128"/>
                  <a:cs typeface="Arial"/>
                </a:rPr>
                <a:t> AUTOMATION</a:t>
              </a:r>
              <a:endPar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endParaRP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MATURE TOWARDS</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AGENTLESS MONITORING</a:t>
              </a:r>
              <a:endPar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endParaRP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IT </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RUNBOOK </a:t>
              </a: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AUTOMATION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endParaRP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endParaRPr>
            </a:p>
          </p:txBody>
        </p:sp>
        <p:sp>
          <p:nvSpPr>
            <p:cNvPr id="11" name="Rectangle 56"/>
            <p:cNvSpPr>
              <a:spLocks noChangeArrowheads="1"/>
            </p:cNvSpPr>
            <p:nvPr/>
          </p:nvSpPr>
          <p:spPr bwMode="auto">
            <a:xfrm>
              <a:off x="2934904" y="2241279"/>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endParaRPr>
            </a:p>
          </p:txBody>
        </p:sp>
        <p:sp>
          <p:nvSpPr>
            <p:cNvPr id="20" name="TextBox 9"/>
            <p:cNvSpPr txBox="1">
              <a:spLocks noChangeArrowheads="1"/>
            </p:cNvSpPr>
            <p:nvPr/>
          </p:nvSpPr>
          <p:spPr bwMode="auto">
            <a:xfrm>
              <a:off x="2951315" y="2198018"/>
              <a:ext cx="1329905"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chemeClr val="bg1"/>
                  </a:solidFill>
                  <a:effectLst/>
                  <a:uLnTx/>
                  <a:uFillTx/>
                  <a:latin typeface="Calibri" panose="020F0502020204030204" pitchFamily="34" charset="0"/>
                  <a:ea typeface="ＭＳ Ｐゴシック" pitchFamily="34" charset="-128"/>
                  <a:cs typeface="Arial"/>
                </a:rPr>
                <a:t>AUTOMATE</a:t>
              </a:r>
              <a:endParaRPr kumimoji="0" lang="en-US" altLang="en-US" sz="1600" b="1" i="0" u="none" strike="noStrike" kern="0" cap="none" spc="0" normalizeH="0" baseline="0" noProof="0" dirty="0">
                <a:ln>
                  <a:noFill/>
                </a:ln>
                <a:solidFill>
                  <a:schemeClr val="bg1"/>
                </a:solidFill>
                <a:effectLst/>
                <a:uLnTx/>
                <a:uFillTx/>
                <a:latin typeface="Calibri" panose="020F0502020204030204" pitchFamily="34" charset="0"/>
                <a:ea typeface="ＭＳ Ｐゴシック" pitchFamily="34" charset="-128"/>
                <a:cs typeface="Arial"/>
              </a:endParaRPr>
            </a:p>
          </p:txBody>
        </p:sp>
      </p:grpSp>
      <p:sp>
        <p:nvSpPr>
          <p:cNvPr id="21" name="Rectangle 59"/>
          <p:cNvSpPr>
            <a:spLocks noChangeArrowheads="1"/>
          </p:cNvSpPr>
          <p:nvPr/>
        </p:nvSpPr>
        <p:spPr bwMode="auto">
          <a:xfrm>
            <a:off x="10588067" y="2859323"/>
            <a:ext cx="1463040" cy="274320"/>
          </a:xfrm>
          <a:prstGeom prst="homePlate">
            <a:avLst/>
          </a:prstGeom>
          <a:solidFill>
            <a:schemeClr val="accent6">
              <a:lumMod val="75000"/>
            </a:schemeClr>
          </a:solidFill>
          <a:ln>
            <a:noFill/>
          </a:ln>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endParaRPr>
          </a:p>
        </p:txBody>
      </p:sp>
      <p:sp>
        <p:nvSpPr>
          <p:cNvPr id="22" name="TextBox 21"/>
          <p:cNvSpPr txBox="1"/>
          <p:nvPr/>
        </p:nvSpPr>
        <p:spPr>
          <a:xfrm>
            <a:off x="127997" y="1769110"/>
            <a:ext cx="503664" cy="261610"/>
          </a:xfrm>
          <a:prstGeom prst="rect">
            <a:avLst/>
          </a:prstGeom>
          <a:noFill/>
        </p:spPr>
        <p:txBody>
          <a:bodyPr wrap="none" rtlCol="0">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872123"/>
                </a:solidFill>
                <a:effectLst/>
                <a:uLnTx/>
                <a:uFillTx/>
                <a:latin typeface="Calibri" panose="020F0502020204030204" pitchFamily="34" charset="0"/>
                <a:ea typeface="+mn-ea"/>
                <a:cs typeface="Arial"/>
              </a:rPr>
              <a:t>100%</a:t>
            </a:r>
          </a:p>
        </p:txBody>
      </p:sp>
      <p:sp>
        <p:nvSpPr>
          <p:cNvPr id="23" name="TextBox 22"/>
          <p:cNvSpPr txBox="1"/>
          <p:nvPr/>
        </p:nvSpPr>
        <p:spPr>
          <a:xfrm>
            <a:off x="159339" y="5015698"/>
            <a:ext cx="359393" cy="261610"/>
          </a:xfrm>
          <a:prstGeom prst="rect">
            <a:avLst/>
          </a:prstGeom>
          <a:noFill/>
        </p:spPr>
        <p:txBody>
          <a:bodyPr wrap="none" rtlCol="0">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872123"/>
                </a:solidFill>
                <a:effectLst/>
                <a:uLnTx/>
                <a:uFillTx/>
                <a:latin typeface="Calibri" panose="020F0502020204030204" pitchFamily="34" charset="0"/>
                <a:ea typeface="+mn-ea"/>
                <a:cs typeface="Arial"/>
              </a:rPr>
              <a:t>0%</a:t>
            </a:r>
          </a:p>
        </p:txBody>
      </p:sp>
      <p:sp>
        <p:nvSpPr>
          <p:cNvPr id="24" name="Rectangle 23"/>
          <p:cNvSpPr/>
          <p:nvPr/>
        </p:nvSpPr>
        <p:spPr>
          <a:xfrm>
            <a:off x="3" y="1119026"/>
            <a:ext cx="12191999" cy="91279"/>
          </a:xfrm>
          <a:prstGeom prst="rect">
            <a:avLst/>
          </a:prstGeom>
          <a:solidFill>
            <a:srgbClr val="825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7" name="Group 36"/>
          <p:cNvGrpSpPr/>
          <p:nvPr/>
        </p:nvGrpSpPr>
        <p:grpSpPr>
          <a:xfrm>
            <a:off x="7451453" y="2715654"/>
            <a:ext cx="2022846" cy="1900478"/>
            <a:chOff x="7307082" y="2730065"/>
            <a:chExt cx="1616309" cy="1900478"/>
          </a:xfrm>
        </p:grpSpPr>
        <p:sp>
          <p:nvSpPr>
            <p:cNvPr id="7" name="Rectangle 15"/>
            <p:cNvSpPr>
              <a:spLocks noChangeArrowheads="1"/>
            </p:cNvSpPr>
            <p:nvPr/>
          </p:nvSpPr>
          <p:spPr bwMode="auto">
            <a:xfrm>
              <a:off x="7359976" y="3137827"/>
              <a:ext cx="1563415" cy="149271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SYNERGIES FROM PARTNER</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ECOSYSTEM</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US" altLang="en-US" sz="1200" b="0" kern="0" dirty="0" smtClean="0">
                  <a:solidFill>
                    <a:prstClr val="black"/>
                  </a:solidFill>
                  <a:latin typeface="Calibri" panose="020F0502020204030204" pitchFamily="34" charset="0"/>
                  <a:cs typeface="Arial"/>
                </a:rPr>
                <a:t>METRICS GOVERNED THROUGH OLA’s WITH THIRD PARTY</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CROSS</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TOWER RCA ASSESSMENT</a:t>
              </a:r>
              <a:endPar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endParaRPr>
            </a:p>
          </p:txBody>
        </p:sp>
        <p:sp>
          <p:nvSpPr>
            <p:cNvPr id="28" name="Rectangle 57"/>
            <p:cNvSpPr>
              <a:spLocks noChangeArrowheads="1"/>
            </p:cNvSpPr>
            <p:nvPr/>
          </p:nvSpPr>
          <p:spPr bwMode="auto">
            <a:xfrm>
              <a:off x="7349459" y="2778870"/>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endParaRPr>
            </a:p>
          </p:txBody>
        </p:sp>
        <p:sp>
          <p:nvSpPr>
            <p:cNvPr id="29" name="TextBox 9"/>
            <p:cNvSpPr txBox="1">
              <a:spLocks noChangeArrowheads="1"/>
            </p:cNvSpPr>
            <p:nvPr/>
          </p:nvSpPr>
          <p:spPr bwMode="auto">
            <a:xfrm>
              <a:off x="7307082" y="2730065"/>
              <a:ext cx="1494827"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chemeClr val="bg1"/>
                  </a:solidFill>
                  <a:effectLst/>
                  <a:uLnTx/>
                  <a:uFillTx/>
                  <a:latin typeface="Calibri" panose="020F0502020204030204" pitchFamily="34" charset="0"/>
                  <a:ea typeface="ＭＳ Ｐゴシック" pitchFamily="34" charset="-128"/>
                  <a:cs typeface="Arial"/>
                </a:rPr>
                <a:t>SYNERGIZE</a:t>
              </a:r>
            </a:p>
          </p:txBody>
        </p:sp>
      </p:grpSp>
      <p:grpSp>
        <p:nvGrpSpPr>
          <p:cNvPr id="40" name="Group 39"/>
          <p:cNvGrpSpPr/>
          <p:nvPr/>
        </p:nvGrpSpPr>
        <p:grpSpPr>
          <a:xfrm>
            <a:off x="1301032" y="1781391"/>
            <a:ext cx="1961958" cy="2635500"/>
            <a:chOff x="1314849" y="1918551"/>
            <a:chExt cx="1567658" cy="2635500"/>
          </a:xfrm>
        </p:grpSpPr>
        <p:sp>
          <p:nvSpPr>
            <p:cNvPr id="12" name="Rectangle 57"/>
            <p:cNvSpPr>
              <a:spLocks noChangeArrowheads="1"/>
            </p:cNvSpPr>
            <p:nvPr/>
          </p:nvSpPr>
          <p:spPr bwMode="auto">
            <a:xfrm>
              <a:off x="1419467" y="1962539"/>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endParaRPr>
            </a:p>
          </p:txBody>
        </p:sp>
        <p:sp>
          <p:nvSpPr>
            <p:cNvPr id="18" name="TextBox 9"/>
            <p:cNvSpPr txBox="1">
              <a:spLocks noChangeArrowheads="1"/>
            </p:cNvSpPr>
            <p:nvPr/>
          </p:nvSpPr>
          <p:spPr bwMode="auto">
            <a:xfrm>
              <a:off x="1314849" y="1918551"/>
              <a:ext cx="1533497"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chemeClr val="bg1"/>
                  </a:solidFill>
                  <a:effectLst/>
                  <a:uLnTx/>
                  <a:uFillTx/>
                  <a:latin typeface="Calibri" panose="020F0502020204030204" pitchFamily="34" charset="0"/>
                  <a:ea typeface="ＭＳ Ｐゴシック" pitchFamily="34" charset="-128"/>
                  <a:cs typeface="Arial"/>
                </a:rPr>
                <a:t>ELIMINATE</a:t>
              </a:r>
              <a:endParaRPr kumimoji="0" lang="en-US" altLang="en-US" sz="1400" b="0" i="0" u="none" strike="noStrike" kern="0" cap="none" spc="0" normalizeH="0" baseline="0" noProof="0" dirty="0">
                <a:ln>
                  <a:noFill/>
                </a:ln>
                <a:solidFill>
                  <a:schemeClr val="bg1"/>
                </a:solidFill>
                <a:effectLst/>
                <a:uLnTx/>
                <a:uFillTx/>
                <a:latin typeface="Calibri" panose="020F0502020204030204" pitchFamily="34" charset="0"/>
                <a:ea typeface="ＭＳ Ｐゴシック" pitchFamily="34" charset="-128"/>
                <a:cs typeface="Arial"/>
              </a:endParaRPr>
            </a:p>
          </p:txBody>
        </p:sp>
        <p:sp>
          <p:nvSpPr>
            <p:cNvPr id="30" name="Rectangle 15"/>
            <p:cNvSpPr>
              <a:spLocks noChangeArrowheads="1"/>
            </p:cNvSpPr>
            <p:nvPr/>
          </p:nvSpPr>
          <p:spPr bwMode="auto">
            <a:xfrm>
              <a:off x="1419466" y="2430393"/>
              <a:ext cx="1418137" cy="2123658"/>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PROBLEM MANAGEMENT</a:t>
              </a:r>
              <a:r>
                <a:rPr kumimoji="0" lang="en-US" altLang="en-US" sz="1200" b="0" i="0" u="none" strike="noStrike" kern="0" cap="none" spc="0" normalizeH="0" noProof="0" dirty="0" smtClean="0">
                  <a:ln>
                    <a:noFill/>
                  </a:ln>
                  <a:solidFill>
                    <a:prstClr val="black"/>
                  </a:solidFill>
                  <a:effectLst/>
                  <a:uLnTx/>
                  <a:uFillTx/>
                  <a:latin typeface="Calibri" panose="020F0502020204030204" pitchFamily="34" charset="0"/>
                  <a:ea typeface="ＭＳ Ｐゴシック" pitchFamily="34" charset="-128"/>
                  <a:cs typeface="Arial"/>
                </a:rPr>
                <a:t> USING DEBT FRAMEWORK &amp; APPLENS</a:t>
              </a:r>
              <a:r>
                <a:rPr lang="en-US" altLang="en-US" sz="1200" b="0" kern="0" baseline="30000" dirty="0" smtClean="0">
                  <a:solidFill>
                    <a:prstClr val="black"/>
                  </a:solidFill>
                  <a:latin typeface="Calibri" panose="020F0502020204030204" pitchFamily="34" charset="0"/>
                  <a:cs typeface="Arial"/>
                </a:rPr>
                <a:t>TM</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US" altLang="en-US" sz="1200" b="0" kern="0" noProof="0" dirty="0" smtClean="0">
                  <a:solidFill>
                    <a:prstClr val="black"/>
                  </a:solidFill>
                  <a:latin typeface="Calibri" panose="020F0502020204030204" pitchFamily="34" charset="0"/>
                  <a:cs typeface="Arial"/>
                </a:rPr>
                <a:t>APPLICATION STRENGTHENING</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US" altLang="en-US" sz="1200" b="0" kern="0" dirty="0" smtClean="0">
                  <a:solidFill>
                    <a:prstClr val="black"/>
                  </a:solidFill>
                  <a:latin typeface="Calibri" panose="020F0502020204030204" pitchFamily="34" charset="0"/>
                  <a:cs typeface="Arial"/>
                </a:rPr>
                <a:t>IDENTIFY AREAS FOR SELF-HELP AND LEFT SHIFT</a:t>
              </a:r>
              <a:endParaRPr lang="en-US" altLang="en-US" sz="1200" b="0" kern="0" noProof="0" dirty="0" smtClean="0">
                <a:solidFill>
                  <a:prstClr val="black"/>
                </a:solidFill>
                <a:latin typeface="Calibri" panose="020F0502020204030204" pitchFamily="34" charset="0"/>
                <a:cs typeface="Arial"/>
              </a:endParaRP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altLang="en-US" sz="1200" b="0" i="0" u="none" strike="noStrike" kern="0" cap="none" spc="0" normalizeH="0" noProof="0" dirty="0">
                <a:ln>
                  <a:noFill/>
                </a:ln>
                <a:solidFill>
                  <a:prstClr val="black"/>
                </a:solidFill>
                <a:effectLst/>
                <a:uLnTx/>
                <a:uFillTx/>
                <a:latin typeface="Calibri" panose="020F0502020204030204" pitchFamily="34" charset="0"/>
                <a:cs typeface="Arial"/>
              </a:endParaRPr>
            </a:p>
          </p:txBody>
        </p:sp>
      </p:grpSp>
      <p:sp>
        <p:nvSpPr>
          <p:cNvPr id="31" name="TextBox 9"/>
          <p:cNvSpPr txBox="1">
            <a:spLocks noChangeArrowheads="1"/>
          </p:cNvSpPr>
          <p:nvPr/>
        </p:nvSpPr>
        <p:spPr bwMode="auto">
          <a:xfrm>
            <a:off x="4317873" y="5324378"/>
            <a:ext cx="3427171"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IT SERVICE MANAGEMENT</a:t>
            </a:r>
          </a:p>
        </p:txBody>
      </p:sp>
      <p:cxnSp>
        <p:nvCxnSpPr>
          <p:cNvPr id="32" name="Straight Arrow Connector 31"/>
          <p:cNvCxnSpPr/>
          <p:nvPr/>
        </p:nvCxnSpPr>
        <p:spPr>
          <a:xfrm>
            <a:off x="7427695" y="5493652"/>
            <a:ext cx="3645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1119831" y="5493652"/>
            <a:ext cx="3645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1</a:t>
            </a:r>
          </a:p>
        </p:txBody>
      </p:sp>
      <p:sp>
        <p:nvSpPr>
          <p:cNvPr id="41" name="TextBox 40"/>
          <p:cNvSpPr txBox="1"/>
          <p:nvPr/>
        </p:nvSpPr>
        <p:spPr>
          <a:xfrm>
            <a:off x="575657" y="5732138"/>
            <a:ext cx="10447860" cy="584775"/>
          </a:xfrm>
          <a:prstGeom prst="rect">
            <a:avLst/>
          </a:prstGeom>
          <a:noFill/>
        </p:spPr>
        <p:txBody>
          <a:bodyPr wrap="none" rtlCol="0">
            <a:spAutoFit/>
          </a:bodyPr>
          <a:lstStyle/>
          <a:p>
            <a:r>
              <a:rPr lang="en-US" sz="1600" i="1" dirty="0" smtClean="0"/>
              <a:t>For Eliminate and Automate levers, Cognizant will drive and facilitate changes across the supplier ecosystem of Marriott.</a:t>
            </a:r>
          </a:p>
          <a:p>
            <a:r>
              <a:rPr lang="en-US" sz="1600" i="1" dirty="0" smtClean="0"/>
              <a:t>**  The Zero Maintenance framework is applicable in RFP #2 more strongly and is part of CTS response for RFP #2</a:t>
            </a:r>
            <a:endParaRPr lang="en-US" sz="1600" i="1" dirty="0"/>
          </a:p>
        </p:txBody>
      </p:sp>
      <p:sp>
        <p:nvSpPr>
          <p:cNvPr id="19" name="TextBox 9"/>
          <p:cNvSpPr txBox="1">
            <a:spLocks noChangeArrowheads="1"/>
          </p:cNvSpPr>
          <p:nvPr/>
        </p:nvSpPr>
        <p:spPr bwMode="auto">
          <a:xfrm>
            <a:off x="10588233" y="2819107"/>
            <a:ext cx="1399915"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chemeClr val="bg1"/>
                </a:solidFill>
                <a:effectLst/>
                <a:uLnTx/>
                <a:uFillTx/>
                <a:latin typeface="Calibri" panose="020F0502020204030204" pitchFamily="34" charset="0"/>
                <a:ea typeface="ＭＳ Ｐゴシック" pitchFamily="34" charset="-128"/>
                <a:cs typeface="Arial"/>
              </a:rPr>
              <a:t>ENABLERS</a:t>
            </a:r>
          </a:p>
        </p:txBody>
      </p:sp>
    </p:spTree>
    <p:extLst>
      <p:ext uri="{BB962C8B-B14F-4D97-AF65-F5344CB8AC3E}">
        <p14:creationId xmlns:p14="http://schemas.microsoft.com/office/powerpoint/2010/main" val="12692681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93"/>
          <p:cNvSpPr>
            <a:spLocks noChangeArrowheads="1"/>
          </p:cNvSpPr>
          <p:nvPr/>
        </p:nvSpPr>
        <p:spPr bwMode="auto">
          <a:xfrm>
            <a:off x="6002389" y="4550708"/>
            <a:ext cx="458052" cy="611415"/>
          </a:xfrm>
          <a:prstGeom prst="rect">
            <a:avLst/>
          </a:pr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5" name="Elbow Connector 24"/>
          <p:cNvCxnSpPr>
            <a:stCxn id="382" idx="1"/>
            <a:endCxn id="4" idx="3"/>
          </p:cNvCxnSpPr>
          <p:nvPr/>
        </p:nvCxnSpPr>
        <p:spPr>
          <a:xfrm rot="10800000">
            <a:off x="2991356" y="996807"/>
            <a:ext cx="5723658" cy="3007773"/>
          </a:xfrm>
          <a:prstGeom prst="bentConnector3">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V="1">
            <a:off x="8538151" y="1437476"/>
            <a:ext cx="0" cy="36576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V="1">
            <a:off x="4195516" y="1622322"/>
            <a:ext cx="0" cy="36576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404856" y="2420007"/>
            <a:ext cx="0" cy="64008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95300" y="71014"/>
            <a:ext cx="11615000" cy="618385"/>
          </a:xfrm>
        </p:spPr>
        <p:txBody>
          <a:bodyPr/>
          <a:lstStyle/>
          <a:p>
            <a:r>
              <a:rPr lang="en-US" dirty="0" smtClean="0"/>
              <a:t>Illustrative Blueprint : Contextualize, Standardize and </a:t>
            </a:r>
            <a:r>
              <a:rPr lang="en-US" dirty="0"/>
              <a:t>Institute rigor across towers and p</a:t>
            </a:r>
            <a:r>
              <a:rPr lang="en-US" dirty="0" smtClean="0"/>
              <a:t>artners … Augment with AI / ML enabled Applens</a:t>
            </a:r>
            <a:r>
              <a:rPr lang="en-US" baseline="30000" dirty="0" smtClean="0"/>
              <a:t>TM</a:t>
            </a:r>
            <a:r>
              <a:rPr lang="en-US" dirty="0" smtClean="0"/>
              <a:t> platform</a:t>
            </a:r>
            <a:endParaRPr lang="en-US" dirty="0"/>
          </a:p>
        </p:txBody>
      </p:sp>
      <p:sp>
        <p:nvSpPr>
          <p:cNvPr id="10" name="Slide Number Placeholder 9"/>
          <p:cNvSpPr>
            <a:spLocks noGrp="1"/>
          </p:cNvSpPr>
          <p:nvPr>
            <p:ph type="sldNum" sz="quarter" idx="4294967295"/>
          </p:nvPr>
        </p:nvSpPr>
        <p:spPr>
          <a:xfrm>
            <a:off x="11561763" y="6370638"/>
            <a:ext cx="630237" cy="48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8233F8-0520-40A8-B4A0-C98BF98BE3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92" name="Group 91"/>
          <p:cNvGrpSpPr/>
          <p:nvPr/>
        </p:nvGrpSpPr>
        <p:grpSpPr>
          <a:xfrm rot="312052">
            <a:off x="9112606" y="2736989"/>
            <a:ext cx="1365191" cy="1528895"/>
            <a:chOff x="8588894" y="2255520"/>
            <a:chExt cx="3013174" cy="3225446"/>
          </a:xfrm>
        </p:grpSpPr>
        <p:sp>
          <p:nvSpPr>
            <p:cNvPr id="93" name="Freeform 92"/>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93"/>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94"/>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95"/>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99"/>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00"/>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101"/>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2"/>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4" name="Group 103"/>
          <p:cNvGrpSpPr/>
          <p:nvPr/>
        </p:nvGrpSpPr>
        <p:grpSpPr>
          <a:xfrm rot="312052">
            <a:off x="8970332" y="1782432"/>
            <a:ext cx="917011" cy="991809"/>
            <a:chOff x="8588894" y="2255520"/>
            <a:chExt cx="3013174" cy="3225446"/>
          </a:xfrm>
        </p:grpSpPr>
        <p:sp>
          <p:nvSpPr>
            <p:cNvPr id="106" name="Freeform 105"/>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7"/>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09"/>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110"/>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11"/>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12"/>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114"/>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117"/>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2" name="Rectangle 187"/>
          <p:cNvSpPr>
            <a:spLocks noChangeArrowheads="1"/>
          </p:cNvSpPr>
          <p:nvPr/>
        </p:nvSpPr>
        <p:spPr bwMode="auto">
          <a:xfrm>
            <a:off x="821201" y="732733"/>
            <a:ext cx="743075" cy="73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Rectangle 186"/>
          <p:cNvSpPr>
            <a:spLocks noChangeArrowheads="1"/>
          </p:cNvSpPr>
          <p:nvPr/>
        </p:nvSpPr>
        <p:spPr bwMode="auto">
          <a:xfrm>
            <a:off x="889839" y="831848"/>
            <a:ext cx="743075" cy="234379"/>
          </a:xfrm>
          <a:prstGeom prst="rect">
            <a:avLst/>
          </a:prstGeom>
          <a:solidFill>
            <a:schemeClr val="bg1">
              <a:lumMod val="50000"/>
            </a:schemeClr>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Rectangle 188"/>
          <p:cNvSpPr>
            <a:spLocks noChangeArrowheads="1"/>
          </p:cNvSpPr>
          <p:nvPr/>
        </p:nvSpPr>
        <p:spPr bwMode="auto">
          <a:xfrm>
            <a:off x="889839" y="1097272"/>
            <a:ext cx="743075" cy="636085"/>
          </a:xfrm>
          <a:prstGeom prst="rect">
            <a:avLst/>
          </a:prstGeom>
          <a:solidFill>
            <a:schemeClr val="tx1"/>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Rectangle 192"/>
          <p:cNvSpPr>
            <a:spLocks noChangeArrowheads="1"/>
          </p:cNvSpPr>
          <p:nvPr/>
        </p:nvSpPr>
        <p:spPr bwMode="auto">
          <a:xfrm>
            <a:off x="3362339" y="4549785"/>
            <a:ext cx="951103" cy="611415"/>
          </a:xfrm>
          <a:prstGeom prst="rect">
            <a:avLst/>
          </a:pr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Rectangle 193"/>
          <p:cNvSpPr>
            <a:spLocks noChangeArrowheads="1"/>
          </p:cNvSpPr>
          <p:nvPr/>
        </p:nvSpPr>
        <p:spPr bwMode="auto">
          <a:xfrm>
            <a:off x="4348909" y="4549785"/>
            <a:ext cx="1589252" cy="611415"/>
          </a:xfrm>
          <a:prstGeom prst="rect">
            <a:avLst/>
          </a:pr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Rectangle 195"/>
          <p:cNvSpPr>
            <a:spLocks noChangeArrowheads="1"/>
          </p:cNvSpPr>
          <p:nvPr/>
        </p:nvSpPr>
        <p:spPr bwMode="auto">
          <a:xfrm>
            <a:off x="3433959" y="3415475"/>
            <a:ext cx="993608" cy="670447"/>
          </a:xfrm>
          <a:prstGeom prst="rect">
            <a:avLst/>
          </a:prstGeom>
          <a:solidFill>
            <a:srgbClr val="00000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96"/>
          <p:cNvSpPr>
            <a:spLocks/>
          </p:cNvSpPr>
          <p:nvPr/>
        </p:nvSpPr>
        <p:spPr bwMode="auto">
          <a:xfrm>
            <a:off x="889844" y="1773714"/>
            <a:ext cx="977121" cy="815220"/>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197"/>
          <p:cNvSpPr>
            <a:spLocks/>
          </p:cNvSpPr>
          <p:nvPr/>
        </p:nvSpPr>
        <p:spPr bwMode="auto">
          <a:xfrm>
            <a:off x="4517459" y="1980608"/>
            <a:ext cx="979123" cy="1187894"/>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Lst>
            <a:ahLst/>
            <a:cxnLst>
              <a:cxn ang="0">
                <a:pos x="T0" y="T1"/>
              </a:cxn>
              <a:cxn ang="0">
                <a:pos x="T2" y="T3"/>
              </a:cxn>
              <a:cxn ang="0">
                <a:pos x="T4" y="T5"/>
              </a:cxn>
              <a:cxn ang="0">
                <a:pos x="T6" y="T7"/>
              </a:cxn>
              <a:cxn ang="0">
                <a:pos x="T8" y="T9"/>
              </a:cxn>
              <a:cxn ang="0">
                <a:pos x="T10" y="T11"/>
              </a:cxn>
              <a:cxn ang="0">
                <a:pos x="T12" y="T13"/>
              </a:cxn>
            </a:cxnLst>
            <a:rect l="0" t="0" r="r" b="b"/>
            <a:pathLst>
              <a:path w="481" h="489">
                <a:moveTo>
                  <a:pt x="0" y="366"/>
                </a:moveTo>
                <a:cubicBezTo>
                  <a:pt x="64" y="368"/>
                  <a:pt x="115" y="420"/>
                  <a:pt x="115" y="485"/>
                </a:cubicBezTo>
                <a:cubicBezTo>
                  <a:pt x="115" y="486"/>
                  <a:pt x="115" y="487"/>
                  <a:pt x="115" y="489"/>
                </a:cubicBezTo>
                <a:cubicBezTo>
                  <a:pt x="481" y="489"/>
                  <a:pt x="481" y="489"/>
                  <a:pt x="481" y="489"/>
                </a:cubicBezTo>
                <a:cubicBezTo>
                  <a:pt x="481" y="487"/>
                  <a:pt x="481" y="486"/>
                  <a:pt x="481" y="485"/>
                </a:cubicBezTo>
                <a:cubicBezTo>
                  <a:pt x="481" y="218"/>
                  <a:pt x="266" y="2"/>
                  <a:pt x="0" y="0"/>
                </a:cubicBezTo>
                <a:lnTo>
                  <a:pt x="0" y="366"/>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198"/>
          <p:cNvSpPr>
            <a:spLocks/>
          </p:cNvSpPr>
          <p:nvPr/>
        </p:nvSpPr>
        <p:spPr bwMode="auto">
          <a:xfrm>
            <a:off x="4484523" y="3204628"/>
            <a:ext cx="1012059" cy="876563"/>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489" h="481">
                <a:moveTo>
                  <a:pt x="123" y="0"/>
                </a:moveTo>
                <a:cubicBezTo>
                  <a:pt x="121" y="64"/>
                  <a:pt x="69" y="115"/>
                  <a:pt x="4" y="115"/>
                </a:cubicBezTo>
                <a:cubicBezTo>
                  <a:pt x="3" y="115"/>
                  <a:pt x="2" y="115"/>
                  <a:pt x="0" y="115"/>
                </a:cubicBezTo>
                <a:cubicBezTo>
                  <a:pt x="0" y="481"/>
                  <a:pt x="0" y="481"/>
                  <a:pt x="0" y="481"/>
                </a:cubicBezTo>
                <a:cubicBezTo>
                  <a:pt x="2" y="481"/>
                  <a:pt x="3" y="481"/>
                  <a:pt x="4" y="481"/>
                </a:cubicBezTo>
                <a:cubicBezTo>
                  <a:pt x="271" y="481"/>
                  <a:pt x="487" y="266"/>
                  <a:pt x="489" y="0"/>
                </a:cubicBezTo>
                <a:lnTo>
                  <a:pt x="123" y="0"/>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199"/>
          <p:cNvSpPr>
            <a:spLocks/>
          </p:cNvSpPr>
          <p:nvPr/>
        </p:nvSpPr>
        <p:spPr bwMode="auto">
          <a:xfrm>
            <a:off x="2539569" y="4344950"/>
            <a:ext cx="846913" cy="816249"/>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Lst>
            <a:ahLst/>
            <a:cxnLst>
              <a:cxn ang="0">
                <a:pos x="T0" y="T1"/>
              </a:cxn>
              <a:cxn ang="0">
                <a:pos x="T2" y="T3"/>
              </a:cxn>
              <a:cxn ang="0">
                <a:pos x="T4" y="T5"/>
              </a:cxn>
              <a:cxn ang="0">
                <a:pos x="T6" y="T7"/>
              </a:cxn>
              <a:cxn ang="0">
                <a:pos x="T8" y="T9"/>
              </a:cxn>
              <a:cxn ang="0">
                <a:pos x="T10" y="T11"/>
              </a:cxn>
              <a:cxn ang="0">
                <a:pos x="T12" y="T13"/>
              </a:cxn>
            </a:cxnLst>
            <a:rect l="0" t="0" r="r" b="b"/>
            <a:pathLst>
              <a:path w="480" h="489">
                <a:moveTo>
                  <a:pt x="480" y="123"/>
                </a:moveTo>
                <a:cubicBezTo>
                  <a:pt x="417" y="121"/>
                  <a:pt x="366" y="68"/>
                  <a:pt x="366" y="4"/>
                </a:cubicBezTo>
                <a:cubicBezTo>
                  <a:pt x="366" y="3"/>
                  <a:pt x="366" y="1"/>
                  <a:pt x="366" y="0"/>
                </a:cubicBezTo>
                <a:cubicBezTo>
                  <a:pt x="0" y="0"/>
                  <a:pt x="0" y="0"/>
                  <a:pt x="0" y="0"/>
                </a:cubicBezTo>
                <a:cubicBezTo>
                  <a:pt x="0" y="1"/>
                  <a:pt x="0" y="3"/>
                  <a:pt x="0" y="4"/>
                </a:cubicBezTo>
                <a:cubicBezTo>
                  <a:pt x="0" y="270"/>
                  <a:pt x="215" y="487"/>
                  <a:pt x="480" y="489"/>
                </a:cubicBezTo>
                <a:lnTo>
                  <a:pt x="480" y="123"/>
                </a:lnTo>
                <a:close/>
              </a:path>
            </a:pathLst>
          </a:cu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0"/>
          <p:cNvSpPr>
            <a:spLocks/>
          </p:cNvSpPr>
          <p:nvPr/>
        </p:nvSpPr>
        <p:spPr bwMode="auto">
          <a:xfrm>
            <a:off x="2539569" y="3415477"/>
            <a:ext cx="855308" cy="882129"/>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chemeClr val="tx1"/>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20"/>
          <p:cNvSpPr>
            <a:spLocks/>
          </p:cNvSpPr>
          <p:nvPr/>
        </p:nvSpPr>
        <p:spPr bwMode="auto">
          <a:xfrm>
            <a:off x="757796" y="459022"/>
            <a:ext cx="313813" cy="212039"/>
          </a:xfrm>
          <a:custGeom>
            <a:avLst/>
            <a:gdLst>
              <a:gd name="T0" fmla="*/ 299 w 299"/>
              <a:gd name="T1" fmla="*/ 0 h 206"/>
              <a:gd name="T2" fmla="*/ 0 w 299"/>
              <a:gd name="T3" fmla="*/ 0 h 206"/>
              <a:gd name="T4" fmla="*/ 151 w 299"/>
              <a:gd name="T5" fmla="*/ 206 h 206"/>
              <a:gd name="T6" fmla="*/ 299 w 299"/>
              <a:gd name="T7" fmla="*/ 0 h 206"/>
            </a:gdLst>
            <a:ahLst/>
            <a:cxnLst>
              <a:cxn ang="0">
                <a:pos x="T0" y="T1"/>
              </a:cxn>
              <a:cxn ang="0">
                <a:pos x="T2" y="T3"/>
              </a:cxn>
              <a:cxn ang="0">
                <a:pos x="T4" y="T5"/>
              </a:cxn>
              <a:cxn ang="0">
                <a:pos x="T6" y="T7"/>
              </a:cxn>
            </a:cxnLst>
            <a:rect l="0" t="0" r="r" b="b"/>
            <a:pathLst>
              <a:path w="299" h="206">
                <a:moveTo>
                  <a:pt x="299" y="0"/>
                </a:moveTo>
                <a:lnTo>
                  <a:pt x="0" y="0"/>
                </a:lnTo>
                <a:lnTo>
                  <a:pt x="151" y="206"/>
                </a:lnTo>
                <a:lnTo>
                  <a:pt x="2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Rectangle 235"/>
          <p:cNvSpPr>
            <a:spLocks noChangeArrowheads="1"/>
          </p:cNvSpPr>
          <p:nvPr/>
        </p:nvSpPr>
        <p:spPr bwMode="auto">
          <a:xfrm>
            <a:off x="4513973" y="2378260"/>
            <a:ext cx="84765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Update SD </a:t>
            </a:r>
            <a:r>
              <a:rPr lang="en-US" altLang="en-US" sz="900" dirty="0" smtClean="0">
                <a:solidFill>
                  <a:prstClr val="white"/>
                </a:solidFill>
                <a:latin typeface="Calibri" panose="020F0502020204030204"/>
              </a:rPr>
              <a:t>&amp; </a:t>
            </a: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Marriott on ETA to restore operations</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0" name="Rectangle 235"/>
          <p:cNvSpPr>
            <a:spLocks noChangeArrowheads="1"/>
          </p:cNvSpPr>
          <p:nvPr/>
        </p:nvSpPr>
        <p:spPr bwMode="auto">
          <a:xfrm>
            <a:off x="2563924" y="3895147"/>
            <a:ext cx="8309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OPEN PROBLEM TICKE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1" name="Group 180"/>
          <p:cNvGrpSpPr/>
          <p:nvPr/>
        </p:nvGrpSpPr>
        <p:grpSpPr>
          <a:xfrm>
            <a:off x="1131343" y="1132061"/>
            <a:ext cx="247061" cy="246804"/>
            <a:chOff x="1761659" y="2098289"/>
            <a:chExt cx="668337" cy="668341"/>
          </a:xfrm>
        </p:grpSpPr>
        <p:sp>
          <p:nvSpPr>
            <p:cNvPr id="183" name="Oval 182"/>
            <p:cNvSpPr/>
            <p:nvPr/>
          </p:nvSpPr>
          <p:spPr>
            <a:xfrm>
              <a:off x="1761659" y="2098289"/>
              <a:ext cx="668337" cy="668341"/>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4" name="Rectangle 222"/>
            <p:cNvSpPr>
              <a:spLocks noChangeArrowheads="1"/>
            </p:cNvSpPr>
            <p:nvPr/>
          </p:nvSpPr>
          <p:spPr bwMode="auto">
            <a:xfrm>
              <a:off x="1979194" y="2130831"/>
              <a:ext cx="234163" cy="555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1</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185" name="Rectangle 235"/>
          <p:cNvSpPr>
            <a:spLocks noChangeArrowheads="1"/>
          </p:cNvSpPr>
          <p:nvPr/>
        </p:nvSpPr>
        <p:spPr bwMode="auto">
          <a:xfrm>
            <a:off x="1011514" y="1425823"/>
            <a:ext cx="5321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prstClr val="white"/>
                </a:solidFill>
                <a:effectLst/>
                <a:uLnTx/>
                <a:uFillTx/>
                <a:latin typeface="Calibri" panose="020F0502020204030204"/>
                <a:ea typeface="+mn-ea"/>
                <a:cs typeface="+mn-cs"/>
              </a:rPr>
              <a:t>INCIDENT </a:t>
            </a: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prstClr val="white"/>
                </a:solidFill>
                <a:effectLst/>
                <a:uLnTx/>
                <a:uFillTx/>
                <a:latin typeface="Calibri" panose="020F0502020204030204"/>
                <a:ea typeface="+mn-ea"/>
                <a:cs typeface="+mn-cs"/>
              </a:rPr>
              <a:t>RECEIVED</a:t>
            </a:r>
            <a:endParaRPr kumimoji="0" lang="en-US" alt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6" name="Group 185"/>
          <p:cNvGrpSpPr/>
          <p:nvPr/>
        </p:nvGrpSpPr>
        <p:grpSpPr>
          <a:xfrm>
            <a:off x="3846663" y="3462584"/>
            <a:ext cx="247061" cy="246802"/>
            <a:chOff x="1744663" y="2034383"/>
            <a:chExt cx="668337" cy="668337"/>
          </a:xfrm>
        </p:grpSpPr>
        <p:sp>
          <p:nvSpPr>
            <p:cNvPr id="187" name="Oval 186"/>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8" name="Rectangle 222"/>
            <p:cNvSpPr>
              <a:spLocks noChangeArrowheads="1"/>
            </p:cNvSpPr>
            <p:nvPr/>
          </p:nvSpPr>
          <p:spPr bwMode="auto">
            <a:xfrm>
              <a:off x="1962198" y="2070730"/>
              <a:ext cx="234163" cy="55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2</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189" name="Rectangle 235"/>
          <p:cNvSpPr>
            <a:spLocks noChangeArrowheads="1"/>
          </p:cNvSpPr>
          <p:nvPr/>
        </p:nvSpPr>
        <p:spPr bwMode="auto">
          <a:xfrm>
            <a:off x="3353046" y="3741934"/>
            <a:ext cx="1182067" cy="28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smtClean="0">
                <a:ln>
                  <a:noFill/>
                </a:ln>
                <a:solidFill>
                  <a:prstClr val="white"/>
                </a:solidFill>
                <a:effectLst/>
                <a:uLnTx/>
                <a:uFillTx/>
                <a:latin typeface="Calibri" panose="020F0502020204030204"/>
                <a:ea typeface="+mn-ea"/>
                <a:cs typeface="+mn-cs"/>
              </a:rPr>
              <a:t>UPDATE INCIDENT PLAYBOOK</a:t>
            </a:r>
            <a:endParaRPr kumimoji="0" lang="en-US" alt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1" name="Rectangle 235"/>
          <p:cNvSpPr>
            <a:spLocks noChangeArrowheads="1"/>
          </p:cNvSpPr>
          <p:nvPr/>
        </p:nvSpPr>
        <p:spPr bwMode="auto">
          <a:xfrm>
            <a:off x="3043714" y="4706496"/>
            <a:ext cx="114353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Identify involved teams and initiate RCA</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3" name="Rectangle 235"/>
          <p:cNvSpPr>
            <a:spLocks noChangeArrowheads="1"/>
          </p:cNvSpPr>
          <p:nvPr/>
        </p:nvSpPr>
        <p:spPr bwMode="auto">
          <a:xfrm>
            <a:off x="4544876" y="4634320"/>
            <a:ext cx="122427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Assign Ownership and timelines for RCA. Track till closure</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5" name="Freeform 199"/>
          <p:cNvSpPr>
            <a:spLocks/>
          </p:cNvSpPr>
          <p:nvPr/>
        </p:nvSpPr>
        <p:spPr bwMode="auto">
          <a:xfrm flipH="1">
            <a:off x="6459873" y="4344949"/>
            <a:ext cx="977574" cy="816575"/>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4">
                <a:moveTo>
                  <a:pt x="10000" y="2515"/>
                </a:moveTo>
                <a:cubicBezTo>
                  <a:pt x="8688" y="2474"/>
                  <a:pt x="7625" y="1391"/>
                  <a:pt x="7625" y="82"/>
                </a:cubicBezTo>
                <a:lnTo>
                  <a:pt x="7625" y="0"/>
                </a:lnTo>
                <a:lnTo>
                  <a:pt x="0" y="0"/>
                </a:lnTo>
                <a:lnTo>
                  <a:pt x="0" y="82"/>
                </a:lnTo>
                <a:cubicBezTo>
                  <a:pt x="291" y="6099"/>
                  <a:pt x="2125" y="10165"/>
                  <a:pt x="10000" y="10000"/>
                </a:cubicBezTo>
                <a:lnTo>
                  <a:pt x="10000" y="2515"/>
                </a:lnTo>
                <a:close/>
              </a:path>
            </a:pathLst>
          </a:cu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Rectangle 235"/>
          <p:cNvSpPr>
            <a:spLocks noChangeArrowheads="1"/>
          </p:cNvSpPr>
          <p:nvPr/>
        </p:nvSpPr>
        <p:spPr bwMode="auto">
          <a:xfrm>
            <a:off x="6179746" y="4676082"/>
            <a:ext cx="9836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rPr>
              <a:t>Inform IM team and update KEDB</a:t>
            </a:r>
          </a:p>
        </p:txBody>
      </p:sp>
      <p:sp>
        <p:nvSpPr>
          <p:cNvPr id="201" name="Rectangle 186"/>
          <p:cNvSpPr>
            <a:spLocks noChangeArrowheads="1"/>
          </p:cNvSpPr>
          <p:nvPr/>
        </p:nvSpPr>
        <p:spPr bwMode="auto">
          <a:xfrm>
            <a:off x="6696631" y="2715262"/>
            <a:ext cx="743075" cy="65899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Rectangle 188"/>
          <p:cNvSpPr>
            <a:spLocks noChangeArrowheads="1"/>
          </p:cNvSpPr>
          <p:nvPr/>
        </p:nvSpPr>
        <p:spPr bwMode="auto">
          <a:xfrm>
            <a:off x="6696631" y="3412442"/>
            <a:ext cx="743075" cy="895089"/>
          </a:xfrm>
          <a:prstGeom prst="rect">
            <a:avLst/>
          </a:prstGeom>
          <a:solidFill>
            <a:srgbClr val="7030A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Rectangle 235"/>
          <p:cNvSpPr>
            <a:spLocks noChangeArrowheads="1"/>
          </p:cNvSpPr>
          <p:nvPr/>
        </p:nvSpPr>
        <p:spPr bwMode="auto">
          <a:xfrm>
            <a:off x="6650398" y="3793465"/>
            <a:ext cx="7992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CHANGE MANAGEMEN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4" name="Rectangle 235"/>
          <p:cNvSpPr>
            <a:spLocks noChangeArrowheads="1"/>
          </p:cNvSpPr>
          <p:nvPr/>
        </p:nvSpPr>
        <p:spPr bwMode="auto">
          <a:xfrm>
            <a:off x="6716390" y="2783088"/>
            <a:ext cx="66370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Classify and Assess Change Reques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6" name="Freeform 196"/>
          <p:cNvSpPr>
            <a:spLocks/>
          </p:cNvSpPr>
          <p:nvPr/>
        </p:nvSpPr>
        <p:spPr bwMode="auto">
          <a:xfrm flipV="1">
            <a:off x="6696631" y="1684489"/>
            <a:ext cx="970023" cy="800918"/>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Rectangle 235"/>
          <p:cNvSpPr>
            <a:spLocks noChangeArrowheads="1"/>
          </p:cNvSpPr>
          <p:nvPr/>
        </p:nvSpPr>
        <p:spPr bwMode="auto">
          <a:xfrm>
            <a:off x="6835934" y="1915278"/>
            <a:ext cx="82150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Participate in CAB  and help in analyzing impac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8" name="Rectangle 189"/>
          <p:cNvSpPr>
            <a:spLocks noChangeArrowheads="1"/>
          </p:cNvSpPr>
          <p:nvPr/>
        </p:nvSpPr>
        <p:spPr bwMode="auto">
          <a:xfrm>
            <a:off x="7701042" y="1676869"/>
            <a:ext cx="1574045" cy="60761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Rectangle 191"/>
          <p:cNvSpPr>
            <a:spLocks noChangeArrowheads="1"/>
          </p:cNvSpPr>
          <p:nvPr/>
        </p:nvSpPr>
        <p:spPr bwMode="auto">
          <a:xfrm>
            <a:off x="9324372" y="1664607"/>
            <a:ext cx="1254411" cy="60761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Rectangle 235"/>
          <p:cNvSpPr>
            <a:spLocks noChangeArrowheads="1"/>
          </p:cNvSpPr>
          <p:nvPr/>
        </p:nvSpPr>
        <p:spPr bwMode="auto">
          <a:xfrm>
            <a:off x="7818512" y="1771153"/>
            <a:ext cx="118226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Schedule changes along with Marriott and other suppliers</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1" name="Rectangle 235"/>
          <p:cNvSpPr>
            <a:spLocks noChangeArrowheads="1"/>
          </p:cNvSpPr>
          <p:nvPr/>
        </p:nvSpPr>
        <p:spPr bwMode="auto">
          <a:xfrm>
            <a:off x="9518544" y="1773104"/>
            <a:ext cx="75425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Track Change till closure and update ITSM</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4" name="Freeform 197"/>
          <p:cNvSpPr>
            <a:spLocks/>
          </p:cNvSpPr>
          <p:nvPr/>
        </p:nvSpPr>
        <p:spPr bwMode="auto">
          <a:xfrm>
            <a:off x="10621578" y="1664376"/>
            <a:ext cx="1173135" cy="817277"/>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 name="connsiteX0" fmla="*/ 0 w 10000"/>
              <a:gd name="connsiteY0" fmla="*/ 7485 h 10000"/>
              <a:gd name="connsiteX1" fmla="*/ 2391 w 10000"/>
              <a:gd name="connsiteY1" fmla="*/ 9918 h 10000"/>
              <a:gd name="connsiteX2" fmla="*/ 2391 w 10000"/>
              <a:gd name="connsiteY2" fmla="*/ 10000 h 10000"/>
              <a:gd name="connsiteX3" fmla="*/ 10000 w 10000"/>
              <a:gd name="connsiteY3" fmla="*/ 10000 h 10000"/>
              <a:gd name="connsiteX4" fmla="*/ 10000 w 10000"/>
              <a:gd name="connsiteY4" fmla="*/ 9918 h 10000"/>
              <a:gd name="connsiteX5" fmla="*/ 0 w 10000"/>
              <a:gd name="connsiteY5" fmla="*/ 0 h 10000"/>
              <a:gd name="connsiteX6" fmla="*/ 0 w 10000"/>
              <a:gd name="connsiteY6" fmla="*/ 74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7485"/>
                </a:moveTo>
                <a:cubicBezTo>
                  <a:pt x="1331" y="7526"/>
                  <a:pt x="2391" y="8589"/>
                  <a:pt x="2391" y="9918"/>
                </a:cubicBezTo>
                <a:lnTo>
                  <a:pt x="2391" y="10000"/>
                </a:lnTo>
                <a:lnTo>
                  <a:pt x="10000" y="10000"/>
                </a:lnTo>
                <a:lnTo>
                  <a:pt x="10000" y="9918"/>
                </a:lnTo>
                <a:cubicBezTo>
                  <a:pt x="9958" y="1752"/>
                  <a:pt x="5530" y="41"/>
                  <a:pt x="0" y="0"/>
                </a:cubicBezTo>
                <a:lnTo>
                  <a:pt x="0" y="7485"/>
                </a:lnTo>
                <a:close/>
              </a:path>
            </a:pathLst>
          </a:custGeom>
          <a:solidFill>
            <a:srgbClr val="7030A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198"/>
          <p:cNvSpPr>
            <a:spLocks/>
          </p:cNvSpPr>
          <p:nvPr/>
        </p:nvSpPr>
        <p:spPr bwMode="auto">
          <a:xfrm>
            <a:off x="10590627" y="2539400"/>
            <a:ext cx="1204085" cy="866409"/>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 name="connsiteX0" fmla="*/ 2515 w 10000"/>
              <a:gd name="connsiteY0" fmla="*/ 0 h 10000"/>
              <a:gd name="connsiteX1" fmla="*/ 82 w 10000"/>
              <a:gd name="connsiteY1" fmla="*/ 2391 h 10000"/>
              <a:gd name="connsiteX2" fmla="*/ 0 w 10000"/>
              <a:gd name="connsiteY2" fmla="*/ 2391 h 10000"/>
              <a:gd name="connsiteX3" fmla="*/ 0 w 10000"/>
              <a:gd name="connsiteY3" fmla="*/ 10000 h 10000"/>
              <a:gd name="connsiteX4" fmla="*/ 82 w 10000"/>
              <a:gd name="connsiteY4" fmla="*/ 10000 h 10000"/>
              <a:gd name="connsiteX5" fmla="*/ 10000 w 10000"/>
              <a:gd name="connsiteY5" fmla="*/ 0 h 10000"/>
              <a:gd name="connsiteX6" fmla="*/ 2515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2515" y="0"/>
                </a:moveTo>
                <a:cubicBezTo>
                  <a:pt x="2474" y="1331"/>
                  <a:pt x="1411" y="2391"/>
                  <a:pt x="82" y="2391"/>
                </a:cubicBezTo>
                <a:lnTo>
                  <a:pt x="0" y="2391"/>
                </a:lnTo>
                <a:lnTo>
                  <a:pt x="0" y="10000"/>
                </a:lnTo>
                <a:lnTo>
                  <a:pt x="82" y="10000"/>
                </a:lnTo>
                <a:cubicBezTo>
                  <a:pt x="5542" y="10000"/>
                  <a:pt x="10054" y="8292"/>
                  <a:pt x="10000" y="0"/>
                </a:cubicBezTo>
                <a:lnTo>
                  <a:pt x="2515" y="0"/>
                </a:lnTo>
                <a:close/>
              </a:path>
            </a:pathLst>
          </a:custGeom>
          <a:solidFill>
            <a:srgbClr val="046B7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Rectangle 195"/>
          <p:cNvSpPr>
            <a:spLocks noChangeArrowheads="1"/>
          </p:cNvSpPr>
          <p:nvPr/>
        </p:nvSpPr>
        <p:spPr bwMode="auto">
          <a:xfrm>
            <a:off x="9765643" y="2747289"/>
            <a:ext cx="787239" cy="656539"/>
          </a:xfrm>
          <a:prstGeom prst="rect">
            <a:avLst/>
          </a:prstGeom>
          <a:solidFill>
            <a:srgbClr val="046B7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200"/>
          <p:cNvSpPr>
            <a:spLocks/>
          </p:cNvSpPr>
          <p:nvPr/>
        </p:nvSpPr>
        <p:spPr bwMode="auto">
          <a:xfrm>
            <a:off x="8741243" y="2747290"/>
            <a:ext cx="988527" cy="860703"/>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rgbClr val="7030A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Rectangle 235"/>
          <p:cNvSpPr>
            <a:spLocks noChangeArrowheads="1"/>
          </p:cNvSpPr>
          <p:nvPr/>
        </p:nvSpPr>
        <p:spPr bwMode="auto">
          <a:xfrm>
            <a:off x="9761266" y="2896921"/>
            <a:ext cx="80353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Validate Release Approval &amp; track till closure</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9" name="Rectangle 235"/>
          <p:cNvSpPr>
            <a:spLocks noChangeArrowheads="1"/>
          </p:cNvSpPr>
          <p:nvPr/>
        </p:nvSpPr>
        <p:spPr bwMode="auto">
          <a:xfrm>
            <a:off x="8858223" y="3192331"/>
            <a:ext cx="83536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CONFIGURATION MANAGEMEN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3" name="Rectangle 191"/>
          <p:cNvSpPr>
            <a:spLocks noChangeArrowheads="1"/>
          </p:cNvSpPr>
          <p:nvPr/>
        </p:nvSpPr>
        <p:spPr bwMode="auto">
          <a:xfrm>
            <a:off x="3407916" y="1980610"/>
            <a:ext cx="1047729" cy="611415"/>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Rectangle 235"/>
          <p:cNvSpPr>
            <a:spLocks noChangeArrowheads="1"/>
          </p:cNvSpPr>
          <p:nvPr/>
        </p:nvSpPr>
        <p:spPr bwMode="auto">
          <a:xfrm>
            <a:off x="3474728" y="2033802"/>
            <a:ext cx="98354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Identify teams responsible and setup </a:t>
            </a:r>
            <a:r>
              <a:rPr kumimoji="0" lang="en-US" altLang="en-US" sz="900" i="0" u="none" strike="noStrike" kern="1200" cap="none" spc="0" normalizeH="0" baseline="0" noProof="0" dirty="0" err="1" smtClean="0">
                <a:ln>
                  <a:noFill/>
                </a:ln>
                <a:solidFill>
                  <a:prstClr val="white"/>
                </a:solidFill>
                <a:effectLst/>
                <a:uLnTx/>
                <a:uFillTx/>
                <a:latin typeface="Calibri" panose="020F0502020204030204"/>
                <a:ea typeface="+mn-ea"/>
                <a:cs typeface="+mn-cs"/>
              </a:rPr>
              <a:t>warroom</a:t>
            </a: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 for P1 &amp; P2 incidents</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0" name="Freeform 494"/>
          <p:cNvSpPr>
            <a:spLocks/>
          </p:cNvSpPr>
          <p:nvPr/>
        </p:nvSpPr>
        <p:spPr bwMode="auto">
          <a:xfrm rot="5400000">
            <a:off x="1154211" y="863607"/>
            <a:ext cx="167119" cy="179748"/>
          </a:xfrm>
          <a:custGeom>
            <a:avLst/>
            <a:gdLst>
              <a:gd name="T0" fmla="*/ 201 w 394"/>
              <a:gd name="T1" fmla="*/ 0 h 391"/>
              <a:gd name="T2" fmla="*/ 145 w 394"/>
              <a:gd name="T3" fmla="*/ 58 h 391"/>
              <a:gd name="T4" fmla="*/ 226 w 394"/>
              <a:gd name="T5" fmla="*/ 141 h 391"/>
              <a:gd name="T6" fmla="*/ 0 w 394"/>
              <a:gd name="T7" fmla="*/ 141 h 391"/>
              <a:gd name="T8" fmla="*/ 0 w 394"/>
              <a:gd name="T9" fmla="*/ 250 h 391"/>
              <a:gd name="T10" fmla="*/ 226 w 394"/>
              <a:gd name="T11" fmla="*/ 250 h 391"/>
              <a:gd name="T12" fmla="*/ 145 w 394"/>
              <a:gd name="T13" fmla="*/ 333 h 391"/>
              <a:gd name="T14" fmla="*/ 201 w 394"/>
              <a:gd name="T15" fmla="*/ 391 h 391"/>
              <a:gd name="T16" fmla="*/ 394 w 394"/>
              <a:gd name="T17" fmla="*/ 195 h 391"/>
              <a:gd name="T18" fmla="*/ 201 w 394"/>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1">
                <a:moveTo>
                  <a:pt x="201" y="0"/>
                </a:moveTo>
                <a:lnTo>
                  <a:pt x="145" y="58"/>
                </a:lnTo>
                <a:lnTo>
                  <a:pt x="226" y="141"/>
                </a:lnTo>
                <a:lnTo>
                  <a:pt x="0" y="141"/>
                </a:lnTo>
                <a:lnTo>
                  <a:pt x="0" y="250"/>
                </a:lnTo>
                <a:lnTo>
                  <a:pt x="226" y="250"/>
                </a:lnTo>
                <a:lnTo>
                  <a:pt x="145" y="333"/>
                </a:lnTo>
                <a:lnTo>
                  <a:pt x="201" y="391"/>
                </a:lnTo>
                <a:lnTo>
                  <a:pt x="394" y="195"/>
                </a:lnTo>
                <a:lnTo>
                  <a:pt x="201" y="0"/>
                </a:lnTo>
                <a:close/>
              </a:path>
            </a:pathLst>
          </a:custGeom>
          <a:solidFill>
            <a:schemeClr val="bg1">
              <a:lumMod val="85000"/>
            </a:schemeClr>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Rectangle 189"/>
          <p:cNvSpPr>
            <a:spLocks noChangeArrowheads="1"/>
          </p:cNvSpPr>
          <p:nvPr/>
        </p:nvSpPr>
        <p:spPr bwMode="auto">
          <a:xfrm rot="5400000">
            <a:off x="8773549" y="3598600"/>
            <a:ext cx="666548" cy="747777"/>
          </a:xfrm>
          <a:prstGeom prst="rect">
            <a:avLst/>
          </a:prstGeom>
          <a:solidFill>
            <a:srgbClr val="7F7F7F"/>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Rectangle 235"/>
          <p:cNvSpPr>
            <a:spLocks noChangeArrowheads="1"/>
          </p:cNvSpPr>
          <p:nvPr/>
        </p:nvSpPr>
        <p:spPr bwMode="auto">
          <a:xfrm>
            <a:off x="10732639" y="2054230"/>
            <a:ext cx="889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RELEASE MANAGEMEN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7" name="Group 286"/>
          <p:cNvGrpSpPr/>
          <p:nvPr/>
        </p:nvGrpSpPr>
        <p:grpSpPr>
          <a:xfrm>
            <a:off x="10930032" y="1718284"/>
            <a:ext cx="247061" cy="246799"/>
            <a:chOff x="1744663" y="2095243"/>
            <a:chExt cx="668337" cy="668336"/>
          </a:xfrm>
        </p:grpSpPr>
        <p:sp>
          <p:nvSpPr>
            <p:cNvPr id="288" name="Oval 287"/>
            <p:cNvSpPr/>
            <p:nvPr/>
          </p:nvSpPr>
          <p:spPr>
            <a:xfrm>
              <a:off x="1744663" y="2095243"/>
              <a:ext cx="668337" cy="668336"/>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9" name="Rectangle 222"/>
            <p:cNvSpPr>
              <a:spLocks noChangeArrowheads="1"/>
            </p:cNvSpPr>
            <p:nvPr/>
          </p:nvSpPr>
          <p:spPr bwMode="auto">
            <a:xfrm>
              <a:off x="1962198" y="2127785"/>
              <a:ext cx="234166" cy="55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5</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290" name="Rectangle 235"/>
          <p:cNvSpPr>
            <a:spLocks noChangeArrowheads="1"/>
          </p:cNvSpPr>
          <p:nvPr/>
        </p:nvSpPr>
        <p:spPr bwMode="auto">
          <a:xfrm>
            <a:off x="10812373" y="2734962"/>
            <a:ext cx="76059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rPr>
              <a:t>Provide Release Management Guidelines</a:t>
            </a:r>
          </a:p>
        </p:txBody>
      </p:sp>
      <p:sp>
        <p:nvSpPr>
          <p:cNvPr id="311" name="Rectangle 189"/>
          <p:cNvSpPr>
            <a:spLocks noChangeArrowheads="1"/>
          </p:cNvSpPr>
          <p:nvPr/>
        </p:nvSpPr>
        <p:spPr bwMode="auto">
          <a:xfrm>
            <a:off x="2632087" y="1980610"/>
            <a:ext cx="738084" cy="611415"/>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Rectangle 235"/>
          <p:cNvSpPr>
            <a:spLocks noChangeArrowheads="1"/>
          </p:cNvSpPr>
          <p:nvPr/>
        </p:nvSpPr>
        <p:spPr bwMode="auto">
          <a:xfrm>
            <a:off x="2714153" y="2008510"/>
            <a:ext cx="60087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Triage Incident using Triaging BO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6" name="Freeform 325"/>
          <p:cNvSpPr/>
          <p:nvPr/>
        </p:nvSpPr>
        <p:spPr>
          <a:xfrm>
            <a:off x="3185393" y="2920523"/>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8" name="Rectangle 357"/>
          <p:cNvSpPr/>
          <p:nvPr/>
        </p:nvSpPr>
        <p:spPr>
          <a:xfrm>
            <a:off x="9855198" y="5158090"/>
            <a:ext cx="2255102" cy="658375"/>
          </a:xfrm>
          <a:prstGeom prst="rect">
            <a:avLst/>
          </a:prstGeom>
          <a:ln/>
        </p:spPr>
        <p:style>
          <a:lnRef idx="1">
            <a:schemeClr val="accent3"/>
          </a:lnRef>
          <a:fillRef idx="2">
            <a:schemeClr val="accent3"/>
          </a:fillRef>
          <a:effectRef idx="1">
            <a:schemeClr val="accent3"/>
          </a:effectRef>
          <a:fontRef idx="minor">
            <a:schemeClr val="dk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house tools first</a:t>
            </a:r>
          </a:p>
          <a:p>
            <a:pPr marL="171446" marR="0" lvl="0" indent="-17144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0" cap="none" spc="0" normalizeH="0" baseline="0" noProof="0" dirty="0" smtClean="0">
                <a:ln>
                  <a:noFill/>
                </a:ln>
                <a:solidFill>
                  <a:prstClr val="black">
                    <a:lumMod val="85000"/>
                    <a:lumOff val="15000"/>
                  </a:prstClr>
                </a:solidFill>
                <a:effectLst/>
                <a:uLnTx/>
                <a:uFillTx/>
                <a:latin typeface="Segoe UI" panose="020B0502040204020203" pitchFamily="34" charset="0"/>
                <a:ea typeface="Segoe UI" panose="020B0502040204020203" pitchFamily="34" charset="0"/>
                <a:cs typeface="Segoe UI" panose="020B0502040204020203" pitchFamily="34" charset="0"/>
              </a:rPr>
              <a:t>Service-now</a:t>
            </a:r>
          </a:p>
          <a:p>
            <a:pPr marR="0" lvl="0" algn="l" defTabSz="914400" rtl="0" eaLnBrk="1" fontAlgn="auto" latinLnBrk="0" hangingPunct="1">
              <a:lnSpc>
                <a:spcPct val="100000"/>
              </a:lnSpc>
              <a:spcBef>
                <a:spcPts val="0"/>
              </a:spcBef>
              <a:spcAft>
                <a:spcPts val="0"/>
              </a:spcAft>
              <a:buClrTx/>
              <a:buSzTx/>
              <a:tabLst/>
              <a:defRPr/>
            </a:pPr>
            <a:r>
              <a:rPr lang="en-US" sz="933" kern="0" dirty="0" smtClean="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rPr>
              <a:t>Cognizant Propo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33" kern="0" dirty="0" err="1" smtClean="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rPr>
              <a:t>AppLens</a:t>
            </a:r>
            <a:r>
              <a:rPr lang="en-US" sz="933" kern="0" baseline="30000" dirty="0" err="1" smtClean="0">
                <a:solidFill>
                  <a:prstClr val="black">
                    <a:lumMod val="85000"/>
                    <a:lumOff val="15000"/>
                  </a:prstClr>
                </a:solidFill>
                <a:latin typeface="Segoe UI" panose="020B0502040204020203" pitchFamily="34" charset="0"/>
                <a:ea typeface="Segoe UI" panose="020B0502040204020203" pitchFamily="34" charset="0"/>
                <a:cs typeface="Segoe UI" panose="020B0502040204020203" pitchFamily="34" charset="0"/>
              </a:rPr>
              <a:t>TM</a:t>
            </a:r>
            <a:endParaRPr kumimoji="0" lang="en-US" sz="933" b="0" i="0" u="none" strike="noStrike" kern="0" cap="none" spc="0" normalizeH="0" baseline="30000" noProof="0" dirty="0">
              <a:ln>
                <a:noFill/>
              </a:ln>
              <a:solidFill>
                <a:prstClr val="black">
                  <a:lumMod val="85000"/>
                  <a:lumOff val="15000"/>
                </a:prst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TextBox 365"/>
          <p:cNvSpPr txBox="1"/>
          <p:nvPr/>
        </p:nvSpPr>
        <p:spPr>
          <a:xfrm>
            <a:off x="9855198" y="4706496"/>
            <a:ext cx="2255102" cy="369332"/>
          </a:xfrm>
          <a:prstGeom prst="rect">
            <a:avLst/>
          </a:prstGeom>
          <a:solidFill>
            <a:schemeClr val="accent4">
              <a:lumMod val="20000"/>
              <a:lumOff val="80000"/>
            </a:schemeClr>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Implement in first 3 months of delivery</a:t>
            </a:r>
            <a:endParaRPr kumimoji="0" lang="en-US"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4" name="Picture 3"/>
          <p:cNvPicPr>
            <a:picLocks noChangeAspect="1"/>
          </p:cNvPicPr>
          <p:nvPr/>
        </p:nvPicPr>
        <p:blipFill>
          <a:blip r:embed="rId2"/>
          <a:stretch>
            <a:fillRect/>
          </a:stretch>
        </p:blipFill>
        <p:spPr>
          <a:xfrm>
            <a:off x="1692586" y="873264"/>
            <a:ext cx="1298770" cy="247083"/>
          </a:xfrm>
          <a:prstGeom prst="rect">
            <a:avLst/>
          </a:prstGeom>
        </p:spPr>
      </p:pic>
      <p:sp>
        <p:nvSpPr>
          <p:cNvPr id="321" name="Rectangle 235"/>
          <p:cNvSpPr>
            <a:spLocks noChangeArrowheads="1"/>
          </p:cNvSpPr>
          <p:nvPr/>
        </p:nvSpPr>
        <p:spPr bwMode="auto">
          <a:xfrm>
            <a:off x="4673901" y="3325095"/>
            <a:ext cx="7261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Track incident till closure</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15" name="Group 314"/>
          <p:cNvGrpSpPr/>
          <p:nvPr/>
        </p:nvGrpSpPr>
        <p:grpSpPr>
          <a:xfrm>
            <a:off x="2948955" y="3577639"/>
            <a:ext cx="247061" cy="246802"/>
            <a:chOff x="1744663" y="2034383"/>
            <a:chExt cx="668337" cy="668337"/>
          </a:xfrm>
        </p:grpSpPr>
        <p:sp>
          <p:nvSpPr>
            <p:cNvPr id="316" name="Oval 315"/>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0" name="Rectangle 222"/>
            <p:cNvSpPr>
              <a:spLocks noChangeArrowheads="1"/>
            </p:cNvSpPr>
            <p:nvPr/>
          </p:nvSpPr>
          <p:spPr bwMode="auto">
            <a:xfrm>
              <a:off x="1976611" y="2072443"/>
              <a:ext cx="234166" cy="55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3</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grpSp>
        <p:nvGrpSpPr>
          <p:cNvPr id="323" name="Group 322"/>
          <p:cNvGrpSpPr/>
          <p:nvPr/>
        </p:nvGrpSpPr>
        <p:grpSpPr>
          <a:xfrm>
            <a:off x="6967247" y="3486723"/>
            <a:ext cx="247061" cy="246802"/>
            <a:chOff x="1744663" y="2034383"/>
            <a:chExt cx="668337" cy="668337"/>
          </a:xfrm>
        </p:grpSpPr>
        <p:sp>
          <p:nvSpPr>
            <p:cNvPr id="347" name="Oval 346"/>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5" name="Rectangle 222"/>
            <p:cNvSpPr>
              <a:spLocks noChangeArrowheads="1"/>
            </p:cNvSpPr>
            <p:nvPr/>
          </p:nvSpPr>
          <p:spPr bwMode="auto">
            <a:xfrm>
              <a:off x="1962198" y="2054855"/>
              <a:ext cx="234166" cy="55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4</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grpSp>
        <p:nvGrpSpPr>
          <p:cNvPr id="360" name="Group 359"/>
          <p:cNvGrpSpPr/>
          <p:nvPr/>
        </p:nvGrpSpPr>
        <p:grpSpPr>
          <a:xfrm>
            <a:off x="9329236" y="2883164"/>
            <a:ext cx="247061" cy="246799"/>
            <a:chOff x="1744663" y="2095243"/>
            <a:chExt cx="668337" cy="668336"/>
          </a:xfrm>
        </p:grpSpPr>
        <p:sp>
          <p:nvSpPr>
            <p:cNvPr id="361" name="Oval 360"/>
            <p:cNvSpPr/>
            <p:nvPr/>
          </p:nvSpPr>
          <p:spPr>
            <a:xfrm>
              <a:off x="1744663" y="2095243"/>
              <a:ext cx="668337" cy="668336"/>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1" name="Rectangle 222"/>
            <p:cNvSpPr>
              <a:spLocks noChangeArrowheads="1"/>
            </p:cNvSpPr>
            <p:nvPr/>
          </p:nvSpPr>
          <p:spPr bwMode="auto">
            <a:xfrm>
              <a:off x="1962198" y="2127785"/>
              <a:ext cx="234166" cy="55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6</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382" name="Rectangle 235"/>
          <p:cNvSpPr>
            <a:spLocks noChangeArrowheads="1"/>
          </p:cNvSpPr>
          <p:nvPr/>
        </p:nvSpPr>
        <p:spPr bwMode="auto">
          <a:xfrm>
            <a:off x="8715014" y="3727580"/>
            <a:ext cx="80353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Update CMDB based on Application Changes</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7" name="Rectangle 235"/>
          <p:cNvSpPr>
            <a:spLocks noChangeArrowheads="1"/>
          </p:cNvSpPr>
          <p:nvPr/>
        </p:nvSpPr>
        <p:spPr bwMode="auto">
          <a:xfrm>
            <a:off x="1108773" y="1979242"/>
            <a:ext cx="68237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Check in KEDB if it’s a known Inciden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8" name="Rectangle 189"/>
          <p:cNvSpPr>
            <a:spLocks noChangeArrowheads="1"/>
          </p:cNvSpPr>
          <p:nvPr/>
        </p:nvSpPr>
        <p:spPr bwMode="auto">
          <a:xfrm>
            <a:off x="1893181" y="1978074"/>
            <a:ext cx="700439" cy="611415"/>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Rectangle 235"/>
          <p:cNvSpPr>
            <a:spLocks noChangeArrowheads="1"/>
          </p:cNvSpPr>
          <p:nvPr/>
        </p:nvSpPr>
        <p:spPr bwMode="auto">
          <a:xfrm>
            <a:off x="1912961" y="2101651"/>
            <a:ext cx="68237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smtClean="0">
                <a:ln>
                  <a:noFill/>
                </a:ln>
                <a:solidFill>
                  <a:prstClr val="white"/>
                </a:solidFill>
                <a:effectLst/>
                <a:uLnTx/>
                <a:uFillTx/>
                <a:latin typeface="Calibri" panose="020F0502020204030204"/>
                <a:ea typeface="+mn-ea"/>
                <a:cs typeface="+mn-cs"/>
              </a:rPr>
              <a:t>Analyze and Prioritize Incident</a:t>
            </a:r>
            <a:endParaRPr kumimoji="0" lang="en-US" altLang="en-US" sz="9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p:cNvSpPr txBox="1"/>
          <p:nvPr/>
        </p:nvSpPr>
        <p:spPr>
          <a:xfrm>
            <a:off x="838721" y="3024385"/>
            <a:ext cx="108032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a:ea typeface="+mn-ea"/>
                <a:cs typeface="+mn-cs"/>
              </a:rPr>
              <a:t>Refer KEDB to provide resolution</a:t>
            </a:r>
          </a:p>
        </p:txBody>
      </p:sp>
      <p:sp>
        <p:nvSpPr>
          <p:cNvPr id="151" name="TextBox 150"/>
          <p:cNvSpPr txBox="1"/>
          <p:nvPr/>
        </p:nvSpPr>
        <p:spPr>
          <a:xfrm>
            <a:off x="3304536" y="1344677"/>
            <a:ext cx="1904694" cy="230832"/>
          </a:xfrm>
          <a:prstGeom prst="rect">
            <a:avLst/>
          </a:prstGeom>
          <a:solidFill>
            <a:schemeClr val="accent6">
              <a:lumMod val="40000"/>
              <a:lumOff val="60000"/>
            </a:schemeClr>
          </a:solidFill>
        </p:spPr>
        <p:txBody>
          <a:bodyPr wrap="square" rtlCol="0">
            <a:spAutoFit/>
          </a:bodyPr>
          <a:lstStyle>
            <a:defPPr>
              <a:defRPr lang="en-US"/>
            </a:defPPr>
            <a:lvl1pPr>
              <a:defRPr sz="1200" b="1"/>
            </a:lvl1pPr>
          </a:lstStyle>
          <a:p>
            <a:pPr algn="ctr"/>
            <a:r>
              <a:rPr lang="en-US" sz="900" b="0" dirty="0"/>
              <a:t>Assign to </a:t>
            </a:r>
            <a:r>
              <a:rPr lang="en-US" sz="900" b="0" dirty="0" smtClean="0"/>
              <a:t>SME in App </a:t>
            </a:r>
            <a:r>
              <a:rPr lang="en-US" sz="900" b="0" dirty="0" err="1" smtClean="0"/>
              <a:t>Maint</a:t>
            </a:r>
            <a:r>
              <a:rPr lang="en-US" sz="900" b="0" dirty="0" smtClean="0"/>
              <a:t>. track</a:t>
            </a:r>
            <a:endParaRPr lang="en-US" sz="900" b="0" dirty="0"/>
          </a:p>
        </p:txBody>
      </p:sp>
      <p:cxnSp>
        <p:nvCxnSpPr>
          <p:cNvPr id="12" name="Elbow Connector 11"/>
          <p:cNvCxnSpPr>
            <a:stCxn id="321" idx="3"/>
            <a:endCxn id="4" idx="3"/>
          </p:cNvCxnSpPr>
          <p:nvPr/>
        </p:nvCxnSpPr>
        <p:spPr>
          <a:xfrm flipH="1" flipV="1">
            <a:off x="2991356" y="996806"/>
            <a:ext cx="2408701" cy="2466789"/>
          </a:xfrm>
          <a:prstGeom prst="bentConnector3">
            <a:avLst>
              <a:gd name="adj1" fmla="val -949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5" name="TextBox 154"/>
          <p:cNvSpPr txBox="1"/>
          <p:nvPr/>
        </p:nvSpPr>
        <p:spPr>
          <a:xfrm>
            <a:off x="5506382" y="5253004"/>
            <a:ext cx="1945409" cy="230832"/>
          </a:xfrm>
          <a:prstGeom prst="rect">
            <a:avLst/>
          </a:prstGeom>
          <a:solidFill>
            <a:schemeClr val="accent6">
              <a:lumMod val="40000"/>
              <a:lumOff val="60000"/>
            </a:schemeClr>
          </a:solidFill>
        </p:spPr>
        <p:txBody>
          <a:bodyPr wrap="square" rtlCol="0">
            <a:spAutoFit/>
          </a:bodyPr>
          <a:lstStyle>
            <a:defPPr>
              <a:defRPr lang="en-US"/>
            </a:defPPr>
            <a:lvl1pPr algn="ctr">
              <a:defRPr sz="900" b="0"/>
            </a:lvl1pPr>
          </a:lstStyle>
          <a:p>
            <a:r>
              <a:rPr lang="en-US" dirty="0"/>
              <a:t>Assign to SME in App </a:t>
            </a:r>
            <a:r>
              <a:rPr lang="en-US" dirty="0" err="1"/>
              <a:t>Maint</a:t>
            </a:r>
            <a:r>
              <a:rPr lang="en-US" dirty="0"/>
              <a:t>. track</a:t>
            </a:r>
          </a:p>
        </p:txBody>
      </p:sp>
      <p:cxnSp>
        <p:nvCxnSpPr>
          <p:cNvPr id="14" name="Elbow Connector 13"/>
          <p:cNvCxnSpPr>
            <a:stCxn id="167" idx="2"/>
            <a:endCxn id="155" idx="1"/>
          </p:cNvCxnSpPr>
          <p:nvPr/>
        </p:nvCxnSpPr>
        <p:spPr>
          <a:xfrm rot="16200000" flipH="1">
            <a:off x="5221348" y="5083386"/>
            <a:ext cx="207220" cy="362847"/>
          </a:xfrm>
          <a:prstGeom prst="bentConnector2">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95" idx="0"/>
            <a:endCxn id="4" idx="3"/>
          </p:cNvCxnSpPr>
          <p:nvPr/>
        </p:nvCxnSpPr>
        <p:spPr>
          <a:xfrm rot="10800000">
            <a:off x="2991357" y="996807"/>
            <a:ext cx="3468517" cy="3553429"/>
          </a:xfrm>
          <a:prstGeom prst="bentConnector3">
            <a:avLst>
              <a:gd name="adj1" fmla="val 1943"/>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7833023" y="1110297"/>
            <a:ext cx="1402483" cy="369332"/>
          </a:xfrm>
          <a:prstGeom prst="rect">
            <a:avLst/>
          </a:prstGeom>
          <a:solidFill>
            <a:schemeClr val="accent6">
              <a:lumMod val="40000"/>
              <a:lumOff val="60000"/>
            </a:schemeClr>
          </a:solidFill>
        </p:spPr>
        <p:txBody>
          <a:bodyPr wrap="square" rtlCol="0">
            <a:spAutoFit/>
          </a:bodyPr>
          <a:lstStyle>
            <a:defPPr>
              <a:defRPr lang="en-US"/>
            </a:defPPr>
            <a:lvl1pPr algn="ctr">
              <a:defRPr sz="900" b="0"/>
            </a:lvl1pPr>
          </a:lstStyle>
          <a:p>
            <a:r>
              <a:rPr lang="en-US" dirty="0"/>
              <a:t>Interact with Marriott and Other suppliers </a:t>
            </a:r>
          </a:p>
        </p:txBody>
      </p:sp>
      <p:cxnSp>
        <p:nvCxnSpPr>
          <p:cNvPr id="21" name="Elbow Connector 20"/>
          <p:cNvCxnSpPr>
            <a:stCxn id="209" idx="0"/>
            <a:endCxn id="4" idx="3"/>
          </p:cNvCxnSpPr>
          <p:nvPr/>
        </p:nvCxnSpPr>
        <p:spPr>
          <a:xfrm rot="16200000" flipV="1">
            <a:off x="6137567" y="-2149404"/>
            <a:ext cx="667801" cy="6960222"/>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9570163" y="3762180"/>
            <a:ext cx="1402483" cy="369332"/>
          </a:xfrm>
          <a:prstGeom prst="rect">
            <a:avLst/>
          </a:prstGeom>
          <a:solidFill>
            <a:schemeClr val="accent6">
              <a:lumMod val="40000"/>
              <a:lumOff val="60000"/>
            </a:schemeClr>
          </a:solidFill>
        </p:spPr>
        <p:txBody>
          <a:bodyPr wrap="square" rtlCol="0">
            <a:spAutoFit/>
          </a:bodyPr>
          <a:lstStyle>
            <a:defPPr>
              <a:defRPr lang="en-US"/>
            </a:defPPr>
            <a:lvl1pPr algn="ctr">
              <a:defRPr sz="900" b="0"/>
            </a:lvl1pPr>
          </a:lstStyle>
          <a:p>
            <a:r>
              <a:rPr lang="en-US" dirty="0"/>
              <a:t>Interact with all suppliers to finalize Release Plan</a:t>
            </a:r>
          </a:p>
        </p:txBody>
      </p:sp>
      <p:cxnSp>
        <p:nvCxnSpPr>
          <p:cNvPr id="23" name="Straight Arrow Connector 22"/>
          <p:cNvCxnSpPr>
            <a:stCxn id="216" idx="2"/>
          </p:cNvCxnSpPr>
          <p:nvPr/>
        </p:nvCxnSpPr>
        <p:spPr>
          <a:xfrm flipH="1">
            <a:off x="10159262" y="3403828"/>
            <a:ext cx="1" cy="37856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9" name="TextBox 178"/>
          <p:cNvSpPr txBox="1"/>
          <p:nvPr/>
        </p:nvSpPr>
        <p:spPr>
          <a:xfrm>
            <a:off x="454490" y="4129439"/>
            <a:ext cx="1647257"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a:ea typeface="+mn-ea"/>
                <a:cs typeface="+mn-cs"/>
              </a:rPr>
              <a:t>Problem Ticket raised by –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a:ea typeface="+mn-ea"/>
                <a:cs typeface="+mn-cs"/>
              </a:rPr>
              <a:t>Incident Team</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a:ea typeface="+mn-ea"/>
                <a:cs typeface="+mn-cs"/>
              </a:rPr>
              <a:t>Other Suppli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a:ea typeface="+mn-ea"/>
                <a:cs typeface="+mn-cs"/>
              </a:rPr>
              <a:t>For recurring issues, proactive problems and trends</a:t>
            </a:r>
          </a:p>
        </p:txBody>
      </p:sp>
      <p:sp>
        <p:nvSpPr>
          <p:cNvPr id="29" name="Rectangle 28"/>
          <p:cNvSpPr/>
          <p:nvPr/>
        </p:nvSpPr>
        <p:spPr>
          <a:xfrm>
            <a:off x="9855198" y="5927505"/>
            <a:ext cx="1005840" cy="2920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white"/>
                </a:solidFill>
                <a:effectLst/>
                <a:uLnTx/>
                <a:uFillTx/>
                <a:latin typeface="Calibri" panose="020F0502020204030204"/>
                <a:ea typeface="+mn-ea"/>
                <a:cs typeface="+mn-cs"/>
              </a:rPr>
              <a:t>Bundle 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2" name="Rectangle 181"/>
          <p:cNvSpPr/>
          <p:nvPr/>
        </p:nvSpPr>
        <p:spPr>
          <a:xfrm>
            <a:off x="11104460" y="5927505"/>
            <a:ext cx="1005840" cy="292076"/>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white"/>
                </a:solidFill>
                <a:effectLst/>
                <a:uLnTx/>
                <a:uFillTx/>
                <a:latin typeface="Calibri" panose="020F0502020204030204"/>
                <a:ea typeface="+mn-ea"/>
                <a:cs typeface="+mn-cs"/>
              </a:rPr>
              <a:t>Bundle B</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p:cNvSpPr txBox="1"/>
          <p:nvPr/>
        </p:nvSpPr>
        <p:spPr>
          <a:xfrm>
            <a:off x="207148" y="5226907"/>
            <a:ext cx="3551212" cy="1015663"/>
          </a:xfrm>
          <a:prstGeom prst="rect">
            <a:avLst/>
          </a:prstGeom>
          <a:solidFill>
            <a:schemeClr val="accent6">
              <a:lumMod val="40000"/>
              <a:lumOff val="60000"/>
            </a:schemeClr>
          </a:solidFill>
        </p:spPr>
        <p:txBody>
          <a:bodyPr wrap="square" rtlCol="0">
            <a:spAutoFit/>
          </a:bodyPr>
          <a:lstStyle/>
          <a:p>
            <a:r>
              <a:rPr lang="en-US" sz="1200" b="1" dirty="0" smtClean="0"/>
              <a:t>Key Exceptions – Alternate Paths</a:t>
            </a:r>
          </a:p>
          <a:p>
            <a:pPr marL="228600" indent="-228600">
              <a:buFont typeface="+mj-lt"/>
              <a:buAutoNum type="arabicPeriod"/>
            </a:pPr>
            <a:r>
              <a:rPr lang="en-US" sz="1200" dirty="0" smtClean="0"/>
              <a:t>Resolution with SME’s / Third parties - Conflict on priority and resolutions (Synergize, communicate and escalate as needed)</a:t>
            </a:r>
          </a:p>
          <a:p>
            <a:pPr marL="228600" indent="-228600">
              <a:buFont typeface="+mj-lt"/>
              <a:buAutoNum type="arabicPeriod"/>
            </a:pPr>
            <a:r>
              <a:rPr lang="en-US" sz="1200" dirty="0" smtClean="0"/>
              <a:t>Process Adherence – Communication, Audits, R&amp;R</a:t>
            </a:r>
          </a:p>
        </p:txBody>
      </p:sp>
      <p:sp>
        <p:nvSpPr>
          <p:cNvPr id="123" name="Oval 122">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3</a:t>
            </a:r>
            <a:endParaRPr lang="en-US" sz="2133" b="1" dirty="0">
              <a:solidFill>
                <a:schemeClr val="bg1"/>
              </a:solidFill>
              <a:latin typeface="Calibri" panose="020F0502020204030204"/>
            </a:endParaRPr>
          </a:p>
        </p:txBody>
      </p:sp>
      <p:sp>
        <p:nvSpPr>
          <p:cNvPr id="126" name="Rectangle 186"/>
          <p:cNvSpPr>
            <a:spLocks noChangeArrowheads="1"/>
          </p:cNvSpPr>
          <p:nvPr/>
        </p:nvSpPr>
        <p:spPr bwMode="auto">
          <a:xfrm>
            <a:off x="6696630" y="2477561"/>
            <a:ext cx="740817" cy="182331"/>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p:cNvSpPr/>
          <p:nvPr/>
        </p:nvSpPr>
        <p:spPr>
          <a:xfrm>
            <a:off x="5471062" y="1110297"/>
            <a:ext cx="1237411" cy="573593"/>
          </a:xfrm>
          <a:prstGeom prst="rect">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Keep SNOW Updated at every stage</a:t>
            </a:r>
            <a:endParaRPr lang="en-US" sz="1100" dirty="0"/>
          </a:p>
        </p:txBody>
      </p:sp>
      <p:sp>
        <p:nvSpPr>
          <p:cNvPr id="9" name="Rectangle 8"/>
          <p:cNvSpPr/>
          <p:nvPr/>
        </p:nvSpPr>
        <p:spPr>
          <a:xfrm>
            <a:off x="422866" y="3622804"/>
            <a:ext cx="1512221" cy="507831"/>
          </a:xfrm>
          <a:prstGeom prst="rect">
            <a:avLst/>
          </a:prstGeom>
          <a:solidFill>
            <a:schemeClr val="accent4">
              <a:lumMod val="20000"/>
              <a:lumOff val="80000"/>
            </a:schemeClr>
          </a:solidFill>
        </p:spPr>
        <p:txBody>
          <a:bodyPr wrap="square">
            <a:spAutoFit/>
          </a:bodyPr>
          <a:lstStyle/>
          <a:p>
            <a:pPr lvl="0" algn="ctr">
              <a:defRPr/>
            </a:pPr>
            <a:r>
              <a:rPr lang="en-US" sz="900" dirty="0">
                <a:solidFill>
                  <a:prstClr val="black"/>
                </a:solidFill>
              </a:rPr>
              <a:t>**Diagnose with </a:t>
            </a:r>
            <a:r>
              <a:rPr lang="en-US" sz="900" b="1" dirty="0" err="1" smtClean="0">
                <a:solidFill>
                  <a:prstClr val="black"/>
                </a:solidFill>
              </a:rPr>
              <a:t>AppLens</a:t>
            </a:r>
            <a:r>
              <a:rPr lang="en-US" sz="900" b="1" baseline="30000" dirty="0" err="1" smtClean="0">
                <a:solidFill>
                  <a:prstClr val="black"/>
                </a:solidFill>
              </a:rPr>
              <a:t>TM</a:t>
            </a:r>
            <a:endParaRPr lang="en-US" sz="900" b="1" baseline="30000" dirty="0" smtClean="0">
              <a:solidFill>
                <a:prstClr val="black"/>
              </a:solidFill>
            </a:endParaRPr>
          </a:p>
          <a:p>
            <a:pPr lvl="0" algn="ctr">
              <a:defRPr/>
            </a:pPr>
            <a:r>
              <a:rPr lang="en-US" sz="900" dirty="0" smtClean="0">
                <a:solidFill>
                  <a:prstClr val="black"/>
                </a:solidFill>
              </a:rPr>
              <a:t>(Leakage Reduction </a:t>
            </a:r>
            <a:r>
              <a:rPr lang="en-US" sz="900" dirty="0" err="1" smtClean="0">
                <a:solidFill>
                  <a:prstClr val="black"/>
                </a:solidFill>
              </a:rPr>
              <a:t>wrt</a:t>
            </a:r>
            <a:r>
              <a:rPr lang="en-US" sz="900" dirty="0" smtClean="0">
                <a:solidFill>
                  <a:prstClr val="black"/>
                </a:solidFill>
              </a:rPr>
              <a:t> elimination &amp; Automation) </a:t>
            </a:r>
            <a:endParaRPr lang="en-US" sz="900" dirty="0">
              <a:solidFill>
                <a:prstClr val="black"/>
              </a:solidFill>
            </a:endParaRPr>
          </a:p>
        </p:txBody>
      </p:sp>
      <p:grpSp>
        <p:nvGrpSpPr>
          <p:cNvPr id="35" name="Group 34"/>
          <p:cNvGrpSpPr/>
          <p:nvPr/>
        </p:nvGrpSpPr>
        <p:grpSpPr>
          <a:xfrm>
            <a:off x="2101747" y="3782388"/>
            <a:ext cx="622494" cy="739466"/>
            <a:chOff x="1992887" y="3782388"/>
            <a:chExt cx="622494" cy="739466"/>
          </a:xfrm>
        </p:grpSpPr>
        <p:cxnSp>
          <p:nvCxnSpPr>
            <p:cNvPr id="30" name="Straight Arrow Connector 29"/>
            <p:cNvCxnSpPr/>
            <p:nvPr/>
          </p:nvCxnSpPr>
          <p:spPr>
            <a:xfrm>
              <a:off x="2332360" y="3792128"/>
              <a:ext cx="283021"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332360" y="3782388"/>
              <a:ext cx="0" cy="731465"/>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992887" y="4521854"/>
              <a:ext cx="349305"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a:xfrm>
            <a:off x="48426" y="813762"/>
            <a:ext cx="786225" cy="507831"/>
          </a:xfrm>
          <a:prstGeom prst="rect">
            <a:avLst/>
          </a:prstGeom>
          <a:solidFill>
            <a:schemeClr val="accent4">
              <a:lumMod val="20000"/>
              <a:lumOff val="80000"/>
            </a:schemeClr>
          </a:solidFill>
        </p:spPr>
        <p:txBody>
          <a:bodyPr wrap="square">
            <a:spAutoFit/>
          </a:bodyPr>
          <a:lstStyle>
            <a:defPPr>
              <a:defRPr lang="en-US"/>
            </a:defPPr>
            <a:lvl1pPr lvl="0" algn="ctr">
              <a:defRPr sz="900">
                <a:solidFill>
                  <a:prstClr val="black"/>
                </a:solidFill>
              </a:defRPr>
            </a:lvl1pPr>
          </a:lstStyle>
          <a:p>
            <a:r>
              <a:rPr lang="en-US" dirty="0"/>
              <a:t>PID 3.0 </a:t>
            </a:r>
            <a:r>
              <a:rPr lang="en-US" dirty="0" smtClean="0"/>
              <a:t>(Unified Monitoring)</a:t>
            </a:r>
            <a:endParaRPr lang="en-US" dirty="0"/>
          </a:p>
        </p:txBody>
      </p:sp>
      <p:cxnSp>
        <p:nvCxnSpPr>
          <p:cNvPr id="41" name="Elbow Connector 40"/>
          <p:cNvCxnSpPr>
            <a:stCxn id="38" idx="2"/>
          </p:cNvCxnSpPr>
          <p:nvPr/>
        </p:nvCxnSpPr>
        <p:spPr>
          <a:xfrm rot="16200000" flipH="1">
            <a:off x="538732" y="1224400"/>
            <a:ext cx="253915" cy="448300"/>
          </a:xfrm>
          <a:prstGeom prst="bentConnector2">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8557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6" grpId="0" animBg="1"/>
      <p:bldP spid="151" grpId="0" animBg="1"/>
      <p:bldP spid="155" grpId="0" animBg="1"/>
      <p:bldP spid="169" grpId="0" animBg="1"/>
      <p:bldP spid="176" grpId="0" animBg="1"/>
      <p:bldP spid="3" grpId="0" animBg="1"/>
      <p:bldP spid="8" grpId="0" animBg="1"/>
      <p:bldP spid="9" grpId="0" animBg="1"/>
      <p:bldP spid="3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0949648" cy="618385"/>
          </a:xfrm>
        </p:spPr>
        <p:txBody>
          <a:bodyPr/>
          <a:lstStyle/>
          <a:p>
            <a:r>
              <a:rPr lang="en-US" dirty="0" smtClean="0"/>
              <a:t>..And leverages our AppLens</a:t>
            </a:r>
            <a:r>
              <a:rPr lang="en-US" baseline="30000" dirty="0" smtClean="0"/>
              <a:t>TM </a:t>
            </a:r>
            <a:r>
              <a:rPr lang="en-US" dirty="0" smtClean="0"/>
              <a:t>platform to drive overall </a:t>
            </a:r>
            <a:r>
              <a:rPr lang="en-US" dirty="0"/>
              <a:t>services Transformation </a:t>
            </a:r>
          </a:p>
        </p:txBody>
      </p:sp>
      <p:grpSp>
        <p:nvGrpSpPr>
          <p:cNvPr id="28" name="Group 27"/>
          <p:cNvGrpSpPr/>
          <p:nvPr/>
        </p:nvGrpSpPr>
        <p:grpSpPr>
          <a:xfrm>
            <a:off x="173720" y="923637"/>
            <a:ext cx="9463765" cy="5332111"/>
            <a:chOff x="249114" y="608559"/>
            <a:chExt cx="6540729" cy="3943489"/>
          </a:xfrm>
        </p:grpSpPr>
        <p:sp>
          <p:nvSpPr>
            <p:cNvPr id="29" name="Rectangle 28">
              <a:extLst>
                <a:ext uri="{FF2B5EF4-FFF2-40B4-BE49-F238E27FC236}">
                  <a16:creationId xmlns:a16="http://schemas.microsoft.com/office/drawing/2014/main" id="{F7C3AA5F-CC0A-E742-A1C9-0F9C3929365A}"/>
                </a:ext>
              </a:extLst>
            </p:cNvPr>
            <p:cNvSpPr/>
            <p:nvPr/>
          </p:nvSpPr>
          <p:spPr>
            <a:xfrm>
              <a:off x="251658" y="610151"/>
              <a:ext cx="1525203" cy="1821824"/>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30" name="Rectangle 29">
              <a:extLst>
                <a:ext uri="{FF2B5EF4-FFF2-40B4-BE49-F238E27FC236}">
                  <a16:creationId xmlns:a16="http://schemas.microsoft.com/office/drawing/2014/main" id="{A9C8DD59-EA98-974E-939F-7D4369F4564A}"/>
                </a:ext>
              </a:extLst>
            </p:cNvPr>
            <p:cNvSpPr/>
            <p:nvPr/>
          </p:nvSpPr>
          <p:spPr>
            <a:xfrm>
              <a:off x="249114" y="608559"/>
              <a:ext cx="1527745" cy="308596"/>
            </a:xfrm>
            <a:prstGeom prst="rect">
              <a:avLst/>
            </a:prstGeom>
            <a:solidFill>
              <a:srgbClr val="00A769"/>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Ticketing Module</a:t>
              </a:r>
            </a:p>
          </p:txBody>
        </p:sp>
        <p:sp>
          <p:nvSpPr>
            <p:cNvPr id="31" name="Rectangle 30">
              <a:extLst>
                <a:ext uri="{FF2B5EF4-FFF2-40B4-BE49-F238E27FC236}">
                  <a16:creationId xmlns:a16="http://schemas.microsoft.com/office/drawing/2014/main" id="{71DB8480-7DE7-FA49-AF9C-5836AC3EA390}"/>
                </a:ext>
              </a:extLst>
            </p:cNvPr>
            <p:cNvSpPr/>
            <p:nvPr/>
          </p:nvSpPr>
          <p:spPr>
            <a:xfrm>
              <a:off x="249114" y="1678609"/>
              <a:ext cx="1527745" cy="691832"/>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Integrates with ITSM tool, to track effort against Ticketed &amp; Non-Ticketed activities and  identifies effort reduction</a:t>
              </a:r>
            </a:p>
            <a:p>
              <a:pPr algn="ctr" defTabSz="914354">
                <a:defRPr/>
              </a:pPr>
              <a:r>
                <a:rPr lang="en-US" sz="1100" dirty="0">
                  <a:solidFill>
                    <a:srgbClr val="000000">
                      <a:lumMod val="75000"/>
                      <a:lumOff val="25000"/>
                    </a:srgbClr>
                  </a:solidFill>
                  <a:latin typeface="Arial"/>
                  <a:cs typeface="Calibri" panose="020F0502020204030204" pitchFamily="34" charset="0"/>
                </a:rPr>
                <a:t>opportunities</a:t>
              </a:r>
            </a:p>
          </p:txBody>
        </p:sp>
        <p:sp>
          <p:nvSpPr>
            <p:cNvPr id="32" name="Rectangle 31">
              <a:extLst>
                <a:ext uri="{FF2B5EF4-FFF2-40B4-BE49-F238E27FC236}">
                  <a16:creationId xmlns:a16="http://schemas.microsoft.com/office/drawing/2014/main" id="{F7C3AA5F-CC0A-E742-A1C9-0F9C3929365A}"/>
                </a:ext>
              </a:extLst>
            </p:cNvPr>
            <p:cNvSpPr/>
            <p:nvPr/>
          </p:nvSpPr>
          <p:spPr>
            <a:xfrm>
              <a:off x="1922652" y="610151"/>
              <a:ext cx="1525203" cy="1821824"/>
            </a:xfrm>
            <a:prstGeom prst="rect">
              <a:avLst/>
            </a:prstGeom>
            <a:solidFill>
              <a:srgbClr val="FAFBFC"/>
            </a:solidFill>
            <a:ln w="1143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33" name="Rectangle 32">
              <a:extLst>
                <a:ext uri="{FF2B5EF4-FFF2-40B4-BE49-F238E27FC236}">
                  <a16:creationId xmlns:a16="http://schemas.microsoft.com/office/drawing/2014/main" id="{A9C8DD59-EA98-974E-939F-7D4369F4564A}"/>
                </a:ext>
              </a:extLst>
            </p:cNvPr>
            <p:cNvSpPr/>
            <p:nvPr/>
          </p:nvSpPr>
          <p:spPr>
            <a:xfrm>
              <a:off x="1920108" y="608559"/>
              <a:ext cx="1527745" cy="308596"/>
            </a:xfrm>
            <a:prstGeom prst="rect">
              <a:avLst/>
            </a:prstGeom>
            <a:solidFill>
              <a:srgbClr val="00A769"/>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Debt Engine</a:t>
              </a:r>
            </a:p>
          </p:txBody>
        </p:sp>
        <p:sp>
          <p:nvSpPr>
            <p:cNvPr id="34" name="Rectangle 33">
              <a:extLst>
                <a:ext uri="{FF2B5EF4-FFF2-40B4-BE49-F238E27FC236}">
                  <a16:creationId xmlns:a16="http://schemas.microsoft.com/office/drawing/2014/main" id="{71DB8480-7DE7-FA49-AF9C-5836AC3EA390}"/>
                </a:ext>
              </a:extLst>
            </p:cNvPr>
            <p:cNvSpPr/>
            <p:nvPr/>
          </p:nvSpPr>
          <p:spPr>
            <a:xfrm>
              <a:off x="1920108" y="1678609"/>
              <a:ext cx="1527745"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Identifies and classifies debt for an account and creates Healing and Automation opportunities </a:t>
              </a:r>
            </a:p>
          </p:txBody>
        </p:sp>
        <p:sp>
          <p:nvSpPr>
            <p:cNvPr id="35" name="Rectangle 34">
              <a:extLst>
                <a:ext uri="{FF2B5EF4-FFF2-40B4-BE49-F238E27FC236}">
                  <a16:creationId xmlns:a16="http://schemas.microsoft.com/office/drawing/2014/main" id="{F7C3AA5F-CC0A-E742-A1C9-0F9C3929365A}"/>
                </a:ext>
              </a:extLst>
            </p:cNvPr>
            <p:cNvSpPr/>
            <p:nvPr/>
          </p:nvSpPr>
          <p:spPr>
            <a:xfrm>
              <a:off x="3593645" y="610151"/>
              <a:ext cx="1525203" cy="1822418"/>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36" name="Rectangle 35">
              <a:extLst>
                <a:ext uri="{FF2B5EF4-FFF2-40B4-BE49-F238E27FC236}">
                  <a16:creationId xmlns:a16="http://schemas.microsoft.com/office/drawing/2014/main" id="{A9C8DD59-EA98-974E-939F-7D4369F4564A}"/>
                </a:ext>
              </a:extLst>
            </p:cNvPr>
            <p:cNvSpPr/>
            <p:nvPr/>
          </p:nvSpPr>
          <p:spPr>
            <a:xfrm>
              <a:off x="3591102" y="608559"/>
              <a:ext cx="1527745" cy="308596"/>
            </a:xfrm>
            <a:prstGeom prst="rect">
              <a:avLst/>
            </a:prstGeom>
            <a:solidFill>
              <a:srgbClr val="00A769"/>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App Healer</a:t>
              </a:r>
            </a:p>
          </p:txBody>
        </p:sp>
        <p:sp>
          <p:nvSpPr>
            <p:cNvPr id="37" name="Rectangle 36">
              <a:extLst>
                <a:ext uri="{FF2B5EF4-FFF2-40B4-BE49-F238E27FC236}">
                  <a16:creationId xmlns:a16="http://schemas.microsoft.com/office/drawing/2014/main" id="{71DB8480-7DE7-FA49-AF9C-5836AC3EA390}"/>
                </a:ext>
              </a:extLst>
            </p:cNvPr>
            <p:cNvSpPr/>
            <p:nvPr/>
          </p:nvSpPr>
          <p:spPr>
            <a:xfrm>
              <a:off x="3591101" y="1678609"/>
              <a:ext cx="1527745"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Identifies Debt elimination through application healing </a:t>
              </a:r>
            </a:p>
            <a:p>
              <a:pPr algn="ctr" defTabSz="914354">
                <a:defRPr/>
              </a:pPr>
              <a:r>
                <a:rPr lang="en-US" sz="1100" dirty="0">
                  <a:solidFill>
                    <a:srgbClr val="000000">
                      <a:lumMod val="75000"/>
                      <a:lumOff val="25000"/>
                    </a:srgbClr>
                  </a:solidFill>
                  <a:latin typeface="Arial"/>
                  <a:cs typeface="Calibri" panose="020F0502020204030204" pitchFamily="34" charset="0"/>
                </a:rPr>
                <a:t>(enhancements) and recommends  clients on optimum healing solution </a:t>
              </a:r>
            </a:p>
          </p:txBody>
        </p:sp>
        <p:sp>
          <p:nvSpPr>
            <p:cNvPr id="38" name="Rectangle 37">
              <a:extLst>
                <a:ext uri="{FF2B5EF4-FFF2-40B4-BE49-F238E27FC236}">
                  <a16:creationId xmlns:a16="http://schemas.microsoft.com/office/drawing/2014/main" id="{F7C3AA5F-CC0A-E742-A1C9-0F9C3929365A}"/>
                </a:ext>
              </a:extLst>
            </p:cNvPr>
            <p:cNvSpPr/>
            <p:nvPr/>
          </p:nvSpPr>
          <p:spPr>
            <a:xfrm>
              <a:off x="5264640" y="610151"/>
              <a:ext cx="1525203" cy="1822418"/>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39" name="Rectangle 38">
              <a:extLst>
                <a:ext uri="{FF2B5EF4-FFF2-40B4-BE49-F238E27FC236}">
                  <a16:creationId xmlns:a16="http://schemas.microsoft.com/office/drawing/2014/main" id="{A9C8DD59-EA98-974E-939F-7D4369F4564A}"/>
                </a:ext>
              </a:extLst>
            </p:cNvPr>
            <p:cNvSpPr/>
            <p:nvPr/>
          </p:nvSpPr>
          <p:spPr>
            <a:xfrm>
              <a:off x="5262097" y="608559"/>
              <a:ext cx="1527745" cy="308596"/>
            </a:xfrm>
            <a:prstGeom prst="rect">
              <a:avLst/>
            </a:prstGeom>
            <a:solidFill>
              <a:srgbClr val="00A769"/>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Automation Enabler</a:t>
              </a:r>
            </a:p>
          </p:txBody>
        </p:sp>
        <p:sp>
          <p:nvSpPr>
            <p:cNvPr id="40" name="Rectangle 39">
              <a:extLst>
                <a:ext uri="{FF2B5EF4-FFF2-40B4-BE49-F238E27FC236}">
                  <a16:creationId xmlns:a16="http://schemas.microsoft.com/office/drawing/2014/main" id="{71DB8480-7DE7-FA49-AF9C-5836AC3EA390}"/>
                </a:ext>
              </a:extLst>
            </p:cNvPr>
            <p:cNvSpPr/>
            <p:nvPr/>
          </p:nvSpPr>
          <p:spPr>
            <a:xfrm>
              <a:off x="5262096" y="1678609"/>
              <a:ext cx="1527745"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Identifies potential effort elimination opportunities through automation</a:t>
              </a:r>
            </a:p>
          </p:txBody>
        </p:sp>
        <p:sp>
          <p:nvSpPr>
            <p:cNvPr id="41" name="Rectangle 40">
              <a:extLst>
                <a:ext uri="{FF2B5EF4-FFF2-40B4-BE49-F238E27FC236}">
                  <a16:creationId xmlns:a16="http://schemas.microsoft.com/office/drawing/2014/main" id="{F7C3AA5F-CC0A-E742-A1C9-0F9C3929365A}"/>
                </a:ext>
              </a:extLst>
            </p:cNvPr>
            <p:cNvSpPr/>
            <p:nvPr/>
          </p:nvSpPr>
          <p:spPr>
            <a:xfrm>
              <a:off x="251658" y="2563621"/>
              <a:ext cx="1525203" cy="1988427"/>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42" name="Rectangle 41">
              <a:extLst>
                <a:ext uri="{FF2B5EF4-FFF2-40B4-BE49-F238E27FC236}">
                  <a16:creationId xmlns:a16="http://schemas.microsoft.com/office/drawing/2014/main" id="{A9C8DD59-EA98-974E-939F-7D4369F4564A}"/>
                </a:ext>
              </a:extLst>
            </p:cNvPr>
            <p:cNvSpPr/>
            <p:nvPr/>
          </p:nvSpPr>
          <p:spPr>
            <a:xfrm>
              <a:off x="249115" y="2562029"/>
              <a:ext cx="1527745" cy="308596"/>
            </a:xfrm>
            <a:prstGeom prst="rect">
              <a:avLst/>
            </a:prstGeom>
            <a:solidFill>
              <a:srgbClr val="0033A0"/>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Service Analytics</a:t>
              </a:r>
            </a:p>
          </p:txBody>
        </p:sp>
        <p:sp>
          <p:nvSpPr>
            <p:cNvPr id="43" name="Rectangle 42">
              <a:extLst>
                <a:ext uri="{FF2B5EF4-FFF2-40B4-BE49-F238E27FC236}">
                  <a16:creationId xmlns:a16="http://schemas.microsoft.com/office/drawing/2014/main" id="{71DB8480-7DE7-FA49-AF9C-5836AC3EA390}"/>
                </a:ext>
              </a:extLst>
            </p:cNvPr>
            <p:cNvSpPr/>
            <p:nvPr/>
          </p:nvSpPr>
          <p:spPr>
            <a:xfrm>
              <a:off x="331822" y="3725029"/>
              <a:ext cx="1352608"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Provides detailed view of Service Delivery health through analytics on tickets, productivity and utilization</a:t>
              </a:r>
            </a:p>
          </p:txBody>
        </p:sp>
        <p:sp>
          <p:nvSpPr>
            <p:cNvPr id="44" name="Rectangle 43">
              <a:extLst>
                <a:ext uri="{FF2B5EF4-FFF2-40B4-BE49-F238E27FC236}">
                  <a16:creationId xmlns:a16="http://schemas.microsoft.com/office/drawing/2014/main" id="{F7C3AA5F-CC0A-E742-A1C9-0F9C3929365A}"/>
                </a:ext>
              </a:extLst>
            </p:cNvPr>
            <p:cNvSpPr/>
            <p:nvPr/>
          </p:nvSpPr>
          <p:spPr>
            <a:xfrm>
              <a:off x="1922652" y="2563621"/>
              <a:ext cx="1525203" cy="1988427"/>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45" name="Rectangle 44">
              <a:extLst>
                <a:ext uri="{FF2B5EF4-FFF2-40B4-BE49-F238E27FC236}">
                  <a16:creationId xmlns:a16="http://schemas.microsoft.com/office/drawing/2014/main" id="{A9C8DD59-EA98-974E-939F-7D4369F4564A}"/>
                </a:ext>
              </a:extLst>
            </p:cNvPr>
            <p:cNvSpPr/>
            <p:nvPr/>
          </p:nvSpPr>
          <p:spPr>
            <a:xfrm>
              <a:off x="1922533" y="2556421"/>
              <a:ext cx="1525321" cy="314204"/>
            </a:xfrm>
            <a:prstGeom prst="rect">
              <a:avLst/>
            </a:prstGeom>
            <a:solidFill>
              <a:srgbClr val="0033A0"/>
            </a:solidFill>
            <a:ln w="9525">
              <a:noFill/>
            </a:ln>
          </p:spPr>
          <p:txBody>
            <a:bodyPr wrap="square" lIns="0" rIns="0"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Predictive and Prescriptive  Analytics</a:t>
              </a:r>
            </a:p>
          </p:txBody>
        </p:sp>
        <p:sp>
          <p:nvSpPr>
            <p:cNvPr id="46" name="Rectangle 45">
              <a:extLst>
                <a:ext uri="{FF2B5EF4-FFF2-40B4-BE49-F238E27FC236}">
                  <a16:creationId xmlns:a16="http://schemas.microsoft.com/office/drawing/2014/main" id="{71DB8480-7DE7-FA49-AF9C-5836AC3EA390}"/>
                </a:ext>
              </a:extLst>
            </p:cNvPr>
            <p:cNvSpPr/>
            <p:nvPr/>
          </p:nvSpPr>
          <p:spPr>
            <a:xfrm>
              <a:off x="1992480" y="3725029"/>
              <a:ext cx="1384969"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Analyzes the past data and pattern to provide actionable future insights and guides towards assisted CSI and Transformation</a:t>
              </a:r>
            </a:p>
          </p:txBody>
        </p:sp>
        <p:sp>
          <p:nvSpPr>
            <p:cNvPr id="47" name="Rectangle 46">
              <a:extLst>
                <a:ext uri="{FF2B5EF4-FFF2-40B4-BE49-F238E27FC236}">
                  <a16:creationId xmlns:a16="http://schemas.microsoft.com/office/drawing/2014/main" id="{F7C3AA5F-CC0A-E742-A1C9-0F9C3929365A}"/>
                </a:ext>
              </a:extLst>
            </p:cNvPr>
            <p:cNvSpPr/>
            <p:nvPr/>
          </p:nvSpPr>
          <p:spPr>
            <a:xfrm>
              <a:off x="3593645" y="2563621"/>
              <a:ext cx="1525203" cy="1988427"/>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48" name="Rectangle 47">
              <a:extLst>
                <a:ext uri="{FF2B5EF4-FFF2-40B4-BE49-F238E27FC236}">
                  <a16:creationId xmlns:a16="http://schemas.microsoft.com/office/drawing/2014/main" id="{A9C8DD59-EA98-974E-939F-7D4369F4564A}"/>
                </a:ext>
              </a:extLst>
            </p:cNvPr>
            <p:cNvSpPr/>
            <p:nvPr/>
          </p:nvSpPr>
          <p:spPr>
            <a:xfrm>
              <a:off x="3591102" y="2562162"/>
              <a:ext cx="1527745" cy="308462"/>
            </a:xfrm>
            <a:prstGeom prst="rect">
              <a:avLst/>
            </a:prstGeom>
            <a:solidFill>
              <a:srgbClr val="0033A0"/>
            </a:solidFill>
            <a:ln w="9525">
              <a:noFill/>
            </a:ln>
          </p:spPr>
          <p:txBody>
            <a:bodyPr wrap="square" lIns="0" rIns="0"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Business Outcome</a:t>
              </a:r>
            </a:p>
            <a:p>
              <a:pPr algn="ctr" defTabSz="914354">
                <a:lnSpc>
                  <a:spcPct val="90000"/>
                </a:lnSpc>
                <a:defRPr/>
              </a:pPr>
              <a:r>
                <a:rPr lang="en-US" sz="1467" b="1" dirty="0">
                  <a:solidFill>
                    <a:srgbClr val="FFFFFF"/>
                  </a:solidFill>
                  <a:latin typeface="Arial"/>
                  <a:cs typeface="Calibri" panose="020F0502020204030204" pitchFamily="34" charset="0"/>
                </a:rPr>
                <a:t> Modeler</a:t>
              </a:r>
            </a:p>
          </p:txBody>
        </p:sp>
        <p:sp>
          <p:nvSpPr>
            <p:cNvPr id="49" name="Rectangle 48">
              <a:extLst>
                <a:ext uri="{FF2B5EF4-FFF2-40B4-BE49-F238E27FC236}">
                  <a16:creationId xmlns:a16="http://schemas.microsoft.com/office/drawing/2014/main" id="{71DB8480-7DE7-FA49-AF9C-5836AC3EA390}"/>
                </a:ext>
              </a:extLst>
            </p:cNvPr>
            <p:cNvSpPr/>
            <p:nvPr/>
          </p:nvSpPr>
          <p:spPr>
            <a:xfrm>
              <a:off x="3591100" y="3725029"/>
              <a:ext cx="1527745"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Helps in aligning the application with its business objectives by defining &amp; measuring key business KPIs and linking those KPIs with the business processes</a:t>
              </a:r>
            </a:p>
          </p:txBody>
        </p:sp>
        <p:sp>
          <p:nvSpPr>
            <p:cNvPr id="50" name="Rectangle 49">
              <a:extLst>
                <a:ext uri="{FF2B5EF4-FFF2-40B4-BE49-F238E27FC236}">
                  <a16:creationId xmlns:a16="http://schemas.microsoft.com/office/drawing/2014/main" id="{F7C3AA5F-CC0A-E742-A1C9-0F9C3929365A}"/>
                </a:ext>
              </a:extLst>
            </p:cNvPr>
            <p:cNvSpPr/>
            <p:nvPr/>
          </p:nvSpPr>
          <p:spPr>
            <a:xfrm>
              <a:off x="5264640" y="2563621"/>
              <a:ext cx="1525203" cy="1988427"/>
            </a:xfrm>
            <a:prstGeom prst="rect">
              <a:avLst/>
            </a:prstGeom>
            <a:solidFill>
              <a:srgbClr val="FAFBFC"/>
            </a:solidFill>
            <a:ln w="952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endParaRPr lang="en-US" dirty="0">
                <a:solidFill>
                  <a:srgbClr val="0033A0"/>
                </a:solidFill>
                <a:latin typeface="Arial"/>
                <a:cs typeface="Calibri" panose="020F0502020204030204" pitchFamily="34" charset="0"/>
              </a:endParaRPr>
            </a:p>
          </p:txBody>
        </p:sp>
        <p:sp>
          <p:nvSpPr>
            <p:cNvPr id="51" name="Rectangle 50">
              <a:extLst>
                <a:ext uri="{FF2B5EF4-FFF2-40B4-BE49-F238E27FC236}">
                  <a16:creationId xmlns:a16="http://schemas.microsoft.com/office/drawing/2014/main" id="{A9C8DD59-EA98-974E-939F-7D4369F4564A}"/>
                </a:ext>
              </a:extLst>
            </p:cNvPr>
            <p:cNvSpPr/>
            <p:nvPr/>
          </p:nvSpPr>
          <p:spPr>
            <a:xfrm>
              <a:off x="5262097" y="2562029"/>
              <a:ext cx="1527745" cy="308596"/>
            </a:xfrm>
            <a:prstGeom prst="rect">
              <a:avLst/>
            </a:prstGeom>
            <a:solidFill>
              <a:srgbClr val="0033A0"/>
            </a:solidFill>
            <a:ln w="9525">
              <a:noFill/>
            </a:ln>
          </p:spPr>
          <p:txBody>
            <a:bodyPr wrap="square" anchor="ctr">
              <a:noAutofit/>
            </a:bodyPr>
            <a:lstStyle/>
            <a:p>
              <a:pPr algn="ctr" defTabSz="914354">
                <a:lnSpc>
                  <a:spcPct val="90000"/>
                </a:lnSpc>
                <a:defRPr/>
              </a:pPr>
              <a:r>
                <a:rPr lang="en-US" sz="1467" b="1" dirty="0">
                  <a:solidFill>
                    <a:srgbClr val="FFFFFF"/>
                  </a:solidFill>
                  <a:latin typeface="Arial"/>
                  <a:cs typeface="Calibri" panose="020F0502020204030204" pitchFamily="34" charset="0"/>
                </a:rPr>
                <a:t>App Profiler</a:t>
              </a:r>
            </a:p>
          </p:txBody>
        </p:sp>
        <p:sp>
          <p:nvSpPr>
            <p:cNvPr id="52" name="Rectangle 51">
              <a:extLst>
                <a:ext uri="{FF2B5EF4-FFF2-40B4-BE49-F238E27FC236}">
                  <a16:creationId xmlns:a16="http://schemas.microsoft.com/office/drawing/2014/main" id="{71DB8480-7DE7-FA49-AF9C-5836AC3EA390}"/>
                </a:ext>
              </a:extLst>
            </p:cNvPr>
            <p:cNvSpPr/>
            <p:nvPr/>
          </p:nvSpPr>
          <p:spPr>
            <a:xfrm>
              <a:off x="5259550" y="3725029"/>
              <a:ext cx="1527745" cy="753251"/>
            </a:xfrm>
            <a:prstGeom prst="rect">
              <a:avLst/>
            </a:prstGeom>
          </p:spPr>
          <p:txBody>
            <a:bodyPr wrap="square" lIns="45720" rIns="45720">
              <a:noAutofit/>
            </a:bodyPr>
            <a:lstStyle/>
            <a:p>
              <a:pPr algn="ctr" defTabSz="914354">
                <a:defRPr/>
              </a:pPr>
              <a:r>
                <a:rPr lang="en-US" sz="1100" dirty="0">
                  <a:solidFill>
                    <a:srgbClr val="000000">
                      <a:lumMod val="75000"/>
                      <a:lumOff val="25000"/>
                    </a:srgbClr>
                  </a:solidFill>
                  <a:latin typeface="Arial"/>
                  <a:cs typeface="Calibri" panose="020F0502020204030204" pitchFamily="34" charset="0"/>
                </a:rPr>
                <a:t>One stop assessment platform to evaluate technical and business value of the application and measure cloud and digital readiness for applications</a:t>
              </a:r>
            </a:p>
          </p:txBody>
        </p:sp>
        <p:sp>
          <p:nvSpPr>
            <p:cNvPr id="53" name="TextBox 52">
              <a:extLst>
                <a:ext uri="{FF2B5EF4-FFF2-40B4-BE49-F238E27FC236}">
                  <a16:creationId xmlns:a16="http://schemas.microsoft.com/office/drawing/2014/main" id="{F2D13CD8-173F-4940-9A5D-FFD25182BE7D}"/>
                </a:ext>
              </a:extLst>
            </p:cNvPr>
            <p:cNvSpPr txBox="1"/>
            <p:nvPr/>
          </p:nvSpPr>
          <p:spPr>
            <a:xfrm>
              <a:off x="5184327" y="3039373"/>
              <a:ext cx="127674" cy="273148"/>
            </a:xfrm>
            <a:prstGeom prst="rect">
              <a:avLst/>
            </a:prstGeom>
            <a:noFill/>
          </p:spPr>
          <p:txBody>
            <a:bodyPr wrap="none" rtlCol="0">
              <a:spAutoFit/>
            </a:bodyPr>
            <a:lstStyle/>
            <a:p>
              <a:pPr defTabSz="914354">
                <a:defRPr/>
              </a:pPr>
              <a:endParaRPr lang="en-US" dirty="0">
                <a:solidFill>
                  <a:srgbClr val="0033A0"/>
                </a:solidFill>
                <a:latin typeface="Arial"/>
                <a:cs typeface="Calibri" panose="020F0502020204030204" pitchFamily="34" charset="0"/>
              </a:endParaRPr>
            </a:p>
          </p:txBody>
        </p:sp>
        <p:pic>
          <p:nvPicPr>
            <p:cNvPr id="54" name="Picture 53">
              <a:extLst>
                <a:ext uri="{FF2B5EF4-FFF2-40B4-BE49-F238E27FC236}">
                  <a16:creationId xmlns:a16="http://schemas.microsoft.com/office/drawing/2014/main" id="{ADADE0B9-74C8-BB44-AEE5-4ED742315F7E}"/>
                </a:ext>
              </a:extLst>
            </p:cNvPr>
            <p:cNvPicPr>
              <a:picLocks noChangeAspect="1"/>
            </p:cNvPicPr>
            <p:nvPr/>
          </p:nvPicPr>
          <p:blipFill>
            <a:blip r:embed="rId2"/>
            <a:stretch>
              <a:fillRect/>
            </a:stretch>
          </p:blipFill>
          <p:spPr>
            <a:xfrm>
              <a:off x="827608" y="974130"/>
              <a:ext cx="487166" cy="545973"/>
            </a:xfrm>
            <a:prstGeom prst="rect">
              <a:avLst/>
            </a:prstGeom>
          </p:spPr>
        </p:pic>
        <p:pic>
          <p:nvPicPr>
            <p:cNvPr id="55" name="Picture 54">
              <a:extLst>
                <a:ext uri="{FF2B5EF4-FFF2-40B4-BE49-F238E27FC236}">
                  <a16:creationId xmlns:a16="http://schemas.microsoft.com/office/drawing/2014/main" id="{05C3240A-A64C-264F-8D78-949960E7F0E6}"/>
                </a:ext>
              </a:extLst>
            </p:cNvPr>
            <p:cNvPicPr>
              <a:picLocks noChangeAspect="1"/>
            </p:cNvPicPr>
            <p:nvPr/>
          </p:nvPicPr>
          <p:blipFill>
            <a:blip r:embed="rId3"/>
            <a:stretch>
              <a:fillRect/>
            </a:stretch>
          </p:blipFill>
          <p:spPr>
            <a:xfrm>
              <a:off x="2372423" y="977674"/>
              <a:ext cx="605248" cy="548677"/>
            </a:xfrm>
            <a:prstGeom prst="rect">
              <a:avLst/>
            </a:prstGeom>
          </p:spPr>
        </p:pic>
        <p:pic>
          <p:nvPicPr>
            <p:cNvPr id="56" name="Picture 55">
              <a:extLst>
                <a:ext uri="{FF2B5EF4-FFF2-40B4-BE49-F238E27FC236}">
                  <a16:creationId xmlns:a16="http://schemas.microsoft.com/office/drawing/2014/main" id="{6AD3699E-E5A5-DE48-B1E4-AF2B34A7652E}"/>
                </a:ext>
              </a:extLst>
            </p:cNvPr>
            <p:cNvPicPr>
              <a:picLocks noChangeAspect="1"/>
            </p:cNvPicPr>
            <p:nvPr/>
          </p:nvPicPr>
          <p:blipFill>
            <a:blip r:embed="rId4"/>
            <a:stretch>
              <a:fillRect/>
            </a:stretch>
          </p:blipFill>
          <p:spPr>
            <a:xfrm>
              <a:off x="4081222" y="969475"/>
              <a:ext cx="594388" cy="555937"/>
            </a:xfrm>
            <a:prstGeom prst="rect">
              <a:avLst/>
            </a:prstGeom>
          </p:spPr>
        </p:pic>
        <p:pic>
          <p:nvPicPr>
            <p:cNvPr id="57" name="Picture 56">
              <a:extLst>
                <a:ext uri="{FF2B5EF4-FFF2-40B4-BE49-F238E27FC236}">
                  <a16:creationId xmlns:a16="http://schemas.microsoft.com/office/drawing/2014/main" id="{E76B2850-12AB-5A42-B07B-123B7B425939}"/>
                </a:ext>
              </a:extLst>
            </p:cNvPr>
            <p:cNvPicPr>
              <a:picLocks noChangeAspect="1"/>
            </p:cNvPicPr>
            <p:nvPr/>
          </p:nvPicPr>
          <p:blipFill>
            <a:blip r:embed="rId5"/>
            <a:stretch>
              <a:fillRect/>
            </a:stretch>
          </p:blipFill>
          <p:spPr>
            <a:xfrm>
              <a:off x="5823806" y="1028596"/>
              <a:ext cx="511504" cy="496816"/>
            </a:xfrm>
            <a:prstGeom prst="rect">
              <a:avLst/>
            </a:prstGeom>
          </p:spPr>
        </p:pic>
        <p:pic>
          <p:nvPicPr>
            <p:cNvPr id="58" name="Picture 57">
              <a:extLst>
                <a:ext uri="{FF2B5EF4-FFF2-40B4-BE49-F238E27FC236}">
                  <a16:creationId xmlns:a16="http://schemas.microsoft.com/office/drawing/2014/main" id="{1A3D6048-6C41-364A-8C15-CEC595EFCC01}"/>
                </a:ext>
              </a:extLst>
            </p:cNvPr>
            <p:cNvPicPr>
              <a:picLocks noChangeAspect="1"/>
            </p:cNvPicPr>
            <p:nvPr/>
          </p:nvPicPr>
          <p:blipFill>
            <a:blip r:embed="rId6"/>
            <a:stretch>
              <a:fillRect/>
            </a:stretch>
          </p:blipFill>
          <p:spPr>
            <a:xfrm>
              <a:off x="680605" y="3036257"/>
              <a:ext cx="659675" cy="486072"/>
            </a:xfrm>
            <a:prstGeom prst="rect">
              <a:avLst/>
            </a:prstGeom>
          </p:spPr>
        </p:pic>
        <p:pic>
          <p:nvPicPr>
            <p:cNvPr id="59" name="Picture 58">
              <a:extLst>
                <a:ext uri="{FF2B5EF4-FFF2-40B4-BE49-F238E27FC236}">
                  <a16:creationId xmlns:a16="http://schemas.microsoft.com/office/drawing/2014/main" id="{78ABCBB6-9F38-DB44-A57E-E2FABABA1385}"/>
                </a:ext>
              </a:extLst>
            </p:cNvPr>
            <p:cNvPicPr>
              <a:picLocks noChangeAspect="1"/>
            </p:cNvPicPr>
            <p:nvPr/>
          </p:nvPicPr>
          <p:blipFill>
            <a:blip r:embed="rId7"/>
            <a:stretch>
              <a:fillRect/>
            </a:stretch>
          </p:blipFill>
          <p:spPr>
            <a:xfrm>
              <a:off x="2372423" y="3037005"/>
              <a:ext cx="608298" cy="485324"/>
            </a:xfrm>
            <a:prstGeom prst="rect">
              <a:avLst/>
            </a:prstGeom>
          </p:spPr>
        </p:pic>
        <p:pic>
          <p:nvPicPr>
            <p:cNvPr id="60" name="Picture 59">
              <a:extLst>
                <a:ext uri="{FF2B5EF4-FFF2-40B4-BE49-F238E27FC236}">
                  <a16:creationId xmlns:a16="http://schemas.microsoft.com/office/drawing/2014/main" id="{D27E8AC8-B3A4-924B-9942-B349E6EFB198}"/>
                </a:ext>
              </a:extLst>
            </p:cNvPr>
            <p:cNvPicPr>
              <a:picLocks noChangeAspect="1"/>
            </p:cNvPicPr>
            <p:nvPr/>
          </p:nvPicPr>
          <p:blipFill>
            <a:blip r:embed="rId8"/>
            <a:stretch>
              <a:fillRect/>
            </a:stretch>
          </p:blipFill>
          <p:spPr>
            <a:xfrm>
              <a:off x="4132985" y="3034857"/>
              <a:ext cx="443976" cy="487472"/>
            </a:xfrm>
            <a:prstGeom prst="rect">
              <a:avLst/>
            </a:prstGeom>
          </p:spPr>
        </p:pic>
        <p:pic>
          <p:nvPicPr>
            <p:cNvPr id="61" name="Picture 60">
              <a:extLst>
                <a:ext uri="{FF2B5EF4-FFF2-40B4-BE49-F238E27FC236}">
                  <a16:creationId xmlns:a16="http://schemas.microsoft.com/office/drawing/2014/main" id="{409E7341-E5DC-BC47-AF0F-6257D36C6FC6}"/>
                </a:ext>
              </a:extLst>
            </p:cNvPr>
            <p:cNvPicPr>
              <a:picLocks noChangeAspect="1"/>
            </p:cNvPicPr>
            <p:nvPr/>
          </p:nvPicPr>
          <p:blipFill>
            <a:blip r:embed="rId9"/>
            <a:stretch>
              <a:fillRect/>
            </a:stretch>
          </p:blipFill>
          <p:spPr>
            <a:xfrm>
              <a:off x="5750305" y="3007367"/>
              <a:ext cx="546234" cy="491249"/>
            </a:xfrm>
            <a:prstGeom prst="rect">
              <a:avLst/>
            </a:prstGeom>
          </p:spPr>
        </p:pic>
        <p:cxnSp>
          <p:nvCxnSpPr>
            <p:cNvPr id="62" name="Straight Connector 61">
              <a:extLst>
                <a:ext uri="{FF2B5EF4-FFF2-40B4-BE49-F238E27FC236}">
                  <a16:creationId xmlns:a16="http://schemas.microsoft.com/office/drawing/2014/main" id="{86158FBB-F0DF-ED47-9E5B-DDCD15EACC2D}"/>
                </a:ext>
              </a:extLst>
            </p:cNvPr>
            <p:cNvCxnSpPr/>
            <p:nvPr/>
          </p:nvCxnSpPr>
          <p:spPr>
            <a:xfrm>
              <a:off x="334138" y="1640666"/>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E83890C2-0645-CF47-8EB2-A8FD049CCF69}"/>
                </a:ext>
              </a:extLst>
            </p:cNvPr>
            <p:cNvCxnSpPr/>
            <p:nvPr/>
          </p:nvCxnSpPr>
          <p:spPr>
            <a:xfrm>
              <a:off x="2005942" y="1640666"/>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F60478DC-6A1C-1D4A-A693-A56CA49D0486}"/>
                </a:ext>
              </a:extLst>
            </p:cNvPr>
            <p:cNvCxnSpPr/>
            <p:nvPr/>
          </p:nvCxnSpPr>
          <p:spPr>
            <a:xfrm>
              <a:off x="3678669" y="1640666"/>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C3E964FC-50EA-8E48-B345-2215363B0CE7}"/>
                </a:ext>
              </a:extLst>
            </p:cNvPr>
            <p:cNvCxnSpPr/>
            <p:nvPr/>
          </p:nvCxnSpPr>
          <p:spPr>
            <a:xfrm>
              <a:off x="5347117" y="1631611"/>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885D9573-B1D9-4242-BD04-16393A844433}"/>
                </a:ext>
              </a:extLst>
            </p:cNvPr>
            <p:cNvCxnSpPr/>
            <p:nvPr/>
          </p:nvCxnSpPr>
          <p:spPr>
            <a:xfrm>
              <a:off x="331822" y="3672859"/>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4824E592-0095-364F-8933-F9DE646E268B}"/>
                </a:ext>
              </a:extLst>
            </p:cNvPr>
            <p:cNvCxnSpPr/>
            <p:nvPr/>
          </p:nvCxnSpPr>
          <p:spPr>
            <a:xfrm>
              <a:off x="2003626" y="3672859"/>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BE361C70-A6B5-2E41-984B-F899026BF740}"/>
                </a:ext>
              </a:extLst>
            </p:cNvPr>
            <p:cNvCxnSpPr/>
            <p:nvPr/>
          </p:nvCxnSpPr>
          <p:spPr>
            <a:xfrm>
              <a:off x="3676352" y="3672859"/>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A9286C65-539E-684B-93B1-5143BD454187}"/>
                </a:ext>
              </a:extLst>
            </p:cNvPr>
            <p:cNvCxnSpPr/>
            <p:nvPr/>
          </p:nvCxnSpPr>
          <p:spPr>
            <a:xfrm>
              <a:off x="5344801" y="3663803"/>
              <a:ext cx="1352608"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71" name="Isosceles Triangle 70"/>
          <p:cNvSpPr/>
          <p:nvPr/>
        </p:nvSpPr>
        <p:spPr>
          <a:xfrm rot="5400000">
            <a:off x="7228521" y="3445632"/>
            <a:ext cx="5332113" cy="288121"/>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1867">
              <a:solidFill>
                <a:srgbClr val="FFFFFF"/>
              </a:solidFill>
              <a:latin typeface="Arial"/>
            </a:endParaRPr>
          </a:p>
        </p:txBody>
      </p:sp>
      <p:sp>
        <p:nvSpPr>
          <p:cNvPr id="74" name="Rectangle 73"/>
          <p:cNvSpPr/>
          <p:nvPr/>
        </p:nvSpPr>
        <p:spPr>
          <a:xfrm>
            <a:off x="71852" y="3499620"/>
            <a:ext cx="2366857" cy="2754406"/>
          </a:xfrm>
          <a:prstGeom prst="rect">
            <a:avLst/>
          </a:prstGeom>
          <a:noFill/>
          <a:ln w="38100">
            <a:solidFill>
              <a:srgbClr val="C915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5" name="Rectangle 74"/>
          <p:cNvSpPr/>
          <p:nvPr/>
        </p:nvSpPr>
        <p:spPr>
          <a:xfrm>
            <a:off x="84044" y="845722"/>
            <a:ext cx="9666472" cy="2645735"/>
          </a:xfrm>
          <a:prstGeom prst="rect">
            <a:avLst/>
          </a:prstGeom>
          <a:noFill/>
          <a:ln w="38100">
            <a:solidFill>
              <a:srgbClr val="C915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2" name="Oval 71">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1</a:t>
            </a:r>
          </a:p>
        </p:txBody>
      </p:sp>
      <p:grpSp>
        <p:nvGrpSpPr>
          <p:cNvPr id="7" name="Group 6"/>
          <p:cNvGrpSpPr/>
          <p:nvPr/>
        </p:nvGrpSpPr>
        <p:grpSpPr>
          <a:xfrm>
            <a:off x="10115671" y="1827462"/>
            <a:ext cx="1925895" cy="3523708"/>
            <a:chOff x="10128653" y="1622581"/>
            <a:chExt cx="1925895" cy="4114678"/>
          </a:xfrm>
        </p:grpSpPr>
        <p:sp>
          <p:nvSpPr>
            <p:cNvPr id="70" name="Rounded Rectangle 69"/>
            <p:cNvSpPr/>
            <p:nvPr/>
          </p:nvSpPr>
          <p:spPr>
            <a:xfrm>
              <a:off x="10128653" y="1622581"/>
              <a:ext cx="1925895" cy="4114678"/>
            </a:xfrm>
            <a:prstGeom prst="roundRect">
              <a:avLst>
                <a:gd name="adj" fmla="val 0"/>
              </a:avLst>
            </a:prstGeom>
            <a:solidFill>
              <a:srgbClr val="0037A0"/>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p>
              <a:pPr algn="ctr" defTabSz="1219110">
                <a:defRPr/>
              </a:pPr>
              <a:r>
                <a:rPr lang="en-US" sz="2000" b="1" dirty="0" smtClean="0">
                  <a:solidFill>
                    <a:srgbClr val="FFFFFF"/>
                  </a:solidFill>
                  <a:latin typeface="Calibri" panose="020F0502020204030204" pitchFamily="34" charset="0"/>
                  <a:cs typeface="Calibri" panose="020F0502020204030204" pitchFamily="34" charset="0"/>
                </a:rPr>
                <a:t>BENEFITS</a:t>
              </a:r>
              <a:endParaRPr lang="en-US" sz="2000" b="1" dirty="0">
                <a:solidFill>
                  <a:srgbClr val="FFFFFF"/>
                </a:solidFill>
                <a:latin typeface="Calibri" panose="020F0502020204030204" pitchFamily="34" charset="0"/>
                <a:cs typeface="Calibri" panose="020F0502020204030204" pitchFamily="34" charset="0"/>
              </a:endParaRPr>
            </a:p>
            <a:p>
              <a:pPr algn="ctr" defTabSz="1219110">
                <a:defRPr/>
              </a:pPr>
              <a:endParaRPr lang="en-US" sz="2000" b="1" dirty="0">
                <a:solidFill>
                  <a:srgbClr val="FFFFFF"/>
                </a:solidFill>
                <a:latin typeface="Calibri" panose="020F0502020204030204" pitchFamily="34" charset="0"/>
                <a:cs typeface="Calibri" panose="020F0502020204030204" pitchFamily="34" charset="0"/>
              </a:endParaRPr>
            </a:p>
            <a:p>
              <a:pPr algn="ctr" defTabSz="1219110">
                <a:defRPr/>
              </a:pPr>
              <a:r>
                <a:rPr lang="en-US" sz="2000" b="1" dirty="0">
                  <a:solidFill>
                    <a:srgbClr val="FFFFFF"/>
                  </a:solidFill>
                  <a:latin typeface="Calibri" panose="020F0502020204030204" pitchFamily="34" charset="0"/>
                  <a:cs typeface="Calibri" panose="020F0502020204030204" pitchFamily="34" charset="0"/>
                </a:rPr>
                <a:t>20-40% </a:t>
              </a:r>
            </a:p>
            <a:p>
              <a:pPr algn="ctr" defTabSz="1219110">
                <a:defRPr/>
              </a:pPr>
              <a:r>
                <a:rPr lang="en-US" b="1" dirty="0">
                  <a:solidFill>
                    <a:srgbClr val="FFFFFF"/>
                  </a:solidFill>
                  <a:latin typeface="Calibri" panose="020F0502020204030204" pitchFamily="34" charset="0"/>
                  <a:cs typeface="Calibri" panose="020F0502020204030204" pitchFamily="34" charset="0"/>
                </a:rPr>
                <a:t>Leakage </a:t>
              </a:r>
              <a:r>
                <a:rPr lang="en-US" b="1" dirty="0" smtClean="0">
                  <a:solidFill>
                    <a:srgbClr val="FFFFFF"/>
                  </a:solidFill>
                  <a:latin typeface="Calibri" panose="020F0502020204030204" pitchFamily="34" charset="0"/>
                  <a:cs typeface="Calibri" panose="020F0502020204030204" pitchFamily="34" charset="0"/>
                </a:rPr>
                <a:t>reduction</a:t>
              </a:r>
              <a:endParaRPr lang="en-US" b="1" dirty="0">
                <a:solidFill>
                  <a:srgbClr val="FFFFFF"/>
                </a:solidFill>
                <a:latin typeface="Calibri" panose="020F0502020204030204" pitchFamily="34" charset="0"/>
                <a:cs typeface="Calibri" panose="020F0502020204030204" pitchFamily="34" charset="0"/>
              </a:endParaRPr>
            </a:p>
            <a:p>
              <a:pPr algn="ctr" defTabSz="1219110">
                <a:defRPr/>
              </a:pPr>
              <a:endParaRPr lang="en-US" b="1" dirty="0">
                <a:solidFill>
                  <a:srgbClr val="FFFFFF"/>
                </a:solidFill>
                <a:latin typeface="Calibri" panose="020F0502020204030204" pitchFamily="34" charset="0"/>
                <a:cs typeface="Calibri" panose="020F0502020204030204" pitchFamily="34" charset="0"/>
              </a:endParaRPr>
            </a:p>
            <a:p>
              <a:pPr algn="ctr" defTabSz="1219110">
                <a:defRPr/>
              </a:pPr>
              <a:r>
                <a:rPr lang="en-US" b="1" dirty="0">
                  <a:solidFill>
                    <a:srgbClr val="FFFFFF"/>
                  </a:solidFill>
                  <a:latin typeface="Calibri" panose="020F0502020204030204" pitchFamily="34" charset="0"/>
                  <a:cs typeface="Calibri" panose="020F0502020204030204" pitchFamily="34" charset="0"/>
                </a:rPr>
                <a:t>Overall Service </a:t>
              </a:r>
              <a:r>
                <a:rPr lang="en-US" b="1" dirty="0" smtClean="0">
                  <a:solidFill>
                    <a:srgbClr val="FFFFFF"/>
                  </a:solidFill>
                  <a:latin typeface="Calibri" panose="020F0502020204030204" pitchFamily="34" charset="0"/>
                  <a:cs typeface="Calibri" panose="020F0502020204030204" pitchFamily="34" charset="0"/>
                </a:rPr>
                <a:t>Governance</a:t>
              </a:r>
            </a:p>
            <a:p>
              <a:pPr algn="ctr" defTabSz="1219110">
                <a:defRPr/>
              </a:pPr>
              <a:endParaRPr lang="en-US" b="1" dirty="0">
                <a:solidFill>
                  <a:srgbClr val="FFFFFF"/>
                </a:solidFill>
                <a:latin typeface="Calibri" panose="020F0502020204030204" pitchFamily="34" charset="0"/>
                <a:cs typeface="Calibri" panose="020F0502020204030204" pitchFamily="34" charset="0"/>
              </a:endParaRPr>
            </a:p>
            <a:p>
              <a:pPr algn="ctr" defTabSz="1219110">
                <a:defRPr/>
              </a:pPr>
              <a:r>
                <a:rPr lang="en-US" b="1" dirty="0" smtClean="0">
                  <a:solidFill>
                    <a:srgbClr val="FFFFFF"/>
                  </a:solidFill>
                  <a:latin typeface="Calibri" panose="020F0502020204030204" pitchFamily="34" charset="0"/>
                  <a:cs typeface="Calibri" panose="020F0502020204030204" pitchFamily="34" charset="0"/>
                </a:rPr>
                <a:t>Identify Automation Opportunities </a:t>
              </a:r>
              <a:endParaRPr lang="en-US" b="1" dirty="0">
                <a:solidFill>
                  <a:srgbClr val="FFFFFF"/>
                </a:solidFill>
                <a:latin typeface="Calibri" panose="020F0502020204030204" pitchFamily="34" charset="0"/>
                <a:cs typeface="Calibri" panose="020F0502020204030204" pitchFamily="34" charset="0"/>
              </a:endParaRPr>
            </a:p>
          </p:txBody>
        </p:sp>
        <p:cxnSp>
          <p:nvCxnSpPr>
            <p:cNvPr id="6" name="Straight Connector 5"/>
            <p:cNvCxnSpPr/>
            <p:nvPr/>
          </p:nvCxnSpPr>
          <p:spPr>
            <a:xfrm>
              <a:off x="10384979" y="3445983"/>
              <a:ext cx="141324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0384979" y="4413572"/>
              <a:ext cx="141324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0231269" y="5762928"/>
            <a:ext cx="1694695" cy="310056"/>
            <a:chOff x="10023218" y="5783493"/>
            <a:chExt cx="1694695" cy="310056"/>
          </a:xfrm>
        </p:grpSpPr>
        <p:sp>
          <p:nvSpPr>
            <p:cNvPr id="77" name="Rectangle 76"/>
            <p:cNvSpPr/>
            <p:nvPr/>
          </p:nvSpPr>
          <p:spPr>
            <a:xfrm>
              <a:off x="10047254" y="5783493"/>
              <a:ext cx="1670659" cy="310056"/>
            </a:xfrm>
            <a:prstGeom prst="rect">
              <a:avLst/>
            </a:prstGeom>
            <a:noFill/>
            <a:ln w="38100">
              <a:solidFill>
                <a:srgbClr val="C915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Box 7"/>
            <p:cNvSpPr txBox="1"/>
            <p:nvPr/>
          </p:nvSpPr>
          <p:spPr>
            <a:xfrm>
              <a:off x="10023218" y="5817465"/>
              <a:ext cx="1694695" cy="261610"/>
            </a:xfrm>
            <a:prstGeom prst="rect">
              <a:avLst/>
            </a:prstGeom>
            <a:noFill/>
          </p:spPr>
          <p:txBody>
            <a:bodyPr wrap="none" rtlCol="0">
              <a:spAutoFit/>
            </a:bodyPr>
            <a:lstStyle/>
            <a:p>
              <a:r>
                <a:rPr lang="en-US" sz="1100" dirty="0" smtClean="0"/>
                <a:t>*Applicable to RFP1 Scope</a:t>
              </a:r>
              <a:endParaRPr lang="en-US" sz="1100" dirty="0"/>
            </a:p>
          </p:txBody>
        </p:sp>
      </p:grpSp>
    </p:spTree>
    <p:extLst>
      <p:ext uri="{BB962C8B-B14F-4D97-AF65-F5344CB8AC3E}">
        <p14:creationId xmlns:p14="http://schemas.microsoft.com/office/powerpoint/2010/main" val="18952282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TextBox 246"/>
          <p:cNvSpPr txBox="1"/>
          <p:nvPr/>
        </p:nvSpPr>
        <p:spPr>
          <a:xfrm>
            <a:off x="6843550" y="-616449"/>
            <a:ext cx="184666" cy="369332"/>
          </a:xfrm>
          <a:prstGeom prst="rect">
            <a:avLst/>
          </a:prstGeom>
          <a:noFill/>
        </p:spPr>
        <p:txBody>
          <a:bodyPr wrap="none" rtlCol="0">
            <a:spAutoFit/>
          </a:bodyPr>
          <a:lstStyle>
            <a:defPPr>
              <a:defRPr lang="en-US"/>
            </a:defPPr>
          </a:lstStyle>
          <a:p>
            <a:endParaRPr lang="en-US"/>
          </a:p>
        </p:txBody>
      </p:sp>
      <p:sp>
        <p:nvSpPr>
          <p:cNvPr id="4" name="Title 3"/>
          <p:cNvSpPr>
            <a:spLocks noGrp="1"/>
          </p:cNvSpPr>
          <p:nvPr>
            <p:ph type="title"/>
          </p:nvPr>
        </p:nvSpPr>
        <p:spPr/>
        <p:txBody>
          <a:bodyPr anchor="ctr">
            <a:normAutofit/>
          </a:bodyPr>
          <a:lstStyle/>
          <a:p>
            <a:r>
              <a:rPr lang="en-US" dirty="0" smtClean="0"/>
              <a:t>Automation Roadmap &amp; Potential Use Cases</a:t>
            </a:r>
            <a:endParaRPr lang="en-US" dirty="0"/>
          </a:p>
        </p:txBody>
      </p:sp>
      <p:sp>
        <p:nvSpPr>
          <p:cNvPr id="2" name="Slide Number Placeholder 1"/>
          <p:cNvSpPr>
            <a:spLocks noGrp="1"/>
          </p:cNvSpPr>
          <p:nvPr>
            <p:ph type="sldNum" sz="quarter" idx="4294967295"/>
          </p:nvPr>
        </p:nvSpPr>
        <p:spPr>
          <a:xfrm>
            <a:off x="0" y="6565900"/>
            <a:ext cx="387350" cy="206375"/>
          </a:xfrm>
        </p:spPr>
        <p:txBody>
          <a:bodyPr/>
          <a:lstStyle/>
          <a:p>
            <a:pPr marL="0" marR="0" lvl="0" indent="0" algn="l" defTabSz="914400" rtl="0" eaLnBrk="1" fontAlgn="auto" latinLnBrk="0" hangingPunct="1">
              <a:lnSpc>
                <a:spcPct val="100000"/>
              </a:lnSpc>
              <a:spcBef>
                <a:spcPct val="0"/>
              </a:spcBef>
              <a:spcAft>
                <a:spcPct val="0"/>
              </a:spcAft>
              <a:buClrTx/>
              <a:buSzTx/>
              <a:buFontTx/>
              <a:buNone/>
              <a:defRPr/>
            </a:pPr>
            <a:fld id="{2EFEF571-C9B4-4D92-A7F7-315B894862A8}" type="slidenum">
              <a:rPr kumimoji="0" lang="en-US" sz="1000" b="0" i="0" u="none" strike="noStrike" kern="1200" cap="none" spc="0" normalizeH="0" baseline="0" noProof="0" smtClean="0">
                <a:ln>
                  <a:noFill/>
                </a:ln>
                <a:solidFill>
                  <a:srgbClr val="00B140"/>
                </a:solidFill>
                <a:effectLst/>
                <a:uLnTx/>
                <a:uFillTx/>
                <a:latin typeface="Calibri"/>
                <a:ea typeface="+mn-ea"/>
                <a:cs typeface="+mn-cs"/>
              </a:rPr>
              <a:pPr marL="0" marR="0" lvl="0" indent="0" algn="l" defTabSz="914400" rtl="0" eaLnBrk="1" fontAlgn="auto" latinLnBrk="0" hangingPunct="1">
                <a:lnSpc>
                  <a:spcPct val="100000"/>
                </a:lnSpc>
                <a:spcBef>
                  <a:spcPct val="0"/>
                </a:spcBef>
                <a:spcAft>
                  <a:spcPct val="0"/>
                </a:spcAft>
                <a:buClrTx/>
                <a:buSzTx/>
                <a:buFontTx/>
                <a:buNone/>
                <a:defRPr/>
              </a:pPr>
              <a:t>19</a:t>
            </a:fld>
            <a:endParaRPr kumimoji="0" lang="en-US" sz="1000" b="0" i="0" u="none" strike="noStrike" kern="1200" cap="none" spc="0" normalizeH="0" baseline="0" noProof="0">
              <a:ln>
                <a:noFill/>
              </a:ln>
              <a:solidFill>
                <a:srgbClr val="00B140"/>
              </a:solidFill>
              <a:effectLst/>
              <a:uLnTx/>
              <a:uFillTx/>
              <a:latin typeface="Calibri"/>
              <a:ea typeface="+mn-ea"/>
              <a:cs typeface="+mn-cs"/>
            </a:endParaRPr>
          </a:p>
        </p:txBody>
      </p:sp>
      <p:sp>
        <p:nvSpPr>
          <p:cNvPr id="66" name="Rounded Rectangle 65"/>
          <p:cNvSpPr/>
          <p:nvPr/>
        </p:nvSpPr>
        <p:spPr>
          <a:xfrm>
            <a:off x="1859459" y="2007165"/>
            <a:ext cx="1794599" cy="2571074"/>
          </a:xfrm>
          <a:prstGeom prst="roundRect">
            <a:avLst>
              <a:gd name="adj" fmla="val 3710"/>
            </a:avLst>
          </a:prstGeom>
          <a:solidFill>
            <a:srgbClr val="F7F7F7"/>
          </a:solidFill>
          <a:ln w="9525">
            <a:gradFill>
              <a:gsLst>
                <a:gs pos="0">
                  <a:srgbClr val="70AD47"/>
                </a:gs>
                <a:gs pos="100000">
                  <a:srgbClr val="1BA1F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9pPr>
          </a:lstStyle>
          <a:p>
            <a:pPr algn="ctr"/>
            <a:endParaRPr lang="en-US">
              <a:latin typeface="+mj-lt"/>
            </a:endParaRPr>
          </a:p>
        </p:txBody>
      </p:sp>
      <p:grpSp>
        <p:nvGrpSpPr>
          <p:cNvPr id="5" name="Group 4"/>
          <p:cNvGrpSpPr/>
          <p:nvPr/>
        </p:nvGrpSpPr>
        <p:grpSpPr>
          <a:xfrm>
            <a:off x="1696852" y="1860821"/>
            <a:ext cx="1156844" cy="1648212"/>
            <a:chOff x="1636071" y="2249489"/>
            <a:chExt cx="1156844" cy="1772438"/>
          </a:xfrm>
        </p:grpSpPr>
        <p:sp>
          <p:nvSpPr>
            <p:cNvPr id="67" name="Freeform 5"/>
            <p:cNvSpPr/>
            <p:nvPr/>
          </p:nvSpPr>
          <p:spPr bwMode="auto">
            <a:xfrm>
              <a:off x="1643480" y="3351991"/>
              <a:ext cx="155319" cy="669936"/>
            </a:xfrm>
            <a:custGeom>
              <a:avLst/>
              <a:gdLst>
                <a:gd name="T0" fmla="*/ 53 w 53"/>
                <a:gd name="T1" fmla="*/ 0 h 248"/>
                <a:gd name="T2" fmla="*/ 1 w 53"/>
                <a:gd name="T3" fmla="*/ 0 h 248"/>
                <a:gd name="T4" fmla="*/ 1 w 53"/>
                <a:gd name="T5" fmla="*/ 180 h 248"/>
                <a:gd name="T6" fmla="*/ 53 w 53"/>
                <a:gd name="T7" fmla="*/ 248 h 248"/>
                <a:gd name="T8" fmla="*/ 53 w 53"/>
                <a:gd name="T9" fmla="*/ 0 h 248"/>
              </a:gdLst>
              <a:ahLst/>
              <a:cxnLst>
                <a:cxn ang="0">
                  <a:pos x="T0" y="T1"/>
                </a:cxn>
                <a:cxn ang="0">
                  <a:pos x="T2" y="T3"/>
                </a:cxn>
                <a:cxn ang="0">
                  <a:pos x="T4" y="T5"/>
                </a:cxn>
                <a:cxn ang="0">
                  <a:pos x="T6" y="T7"/>
                </a:cxn>
                <a:cxn ang="0">
                  <a:pos x="T8" y="T9"/>
                </a:cxn>
              </a:cxnLst>
              <a:rect l="0" t="0" r="r" b="b"/>
              <a:pathLst>
                <a:path w="52" h="248">
                  <a:moveTo>
                    <a:pt x="53" y="0"/>
                  </a:moveTo>
                  <a:cubicBezTo>
                    <a:pt x="1" y="0"/>
                    <a:pt x="1" y="0"/>
                    <a:pt x="1" y="0"/>
                  </a:cubicBezTo>
                  <a:cubicBezTo>
                    <a:pt x="1" y="180"/>
                    <a:pt x="1" y="180"/>
                    <a:pt x="1" y="180"/>
                  </a:cubicBezTo>
                  <a:cubicBezTo>
                    <a:pt x="1" y="180"/>
                    <a:pt x="0" y="217"/>
                    <a:pt x="53" y="248"/>
                  </a:cubicBezTo>
                  <a:lnTo>
                    <a:pt x="53" y="0"/>
                  </a:lnTo>
                  <a:close/>
                </a:path>
              </a:pathLst>
            </a:custGeom>
            <a:solidFill>
              <a:srgbClr val="2A69A2"/>
            </a:solidFill>
            <a:ln>
              <a:noFill/>
            </a:ln>
            <a:extLst>
              <a:ext uri="{91240B29-F687-4f45-9708-019B960494DF}">
                <a14:hiddenLine xmlns="" xmlns:a14="http://schemas.microsoft.com/office/drawing/2010/main" xmlns:p15="http://schemas.microsoft.com/office/powerpoint/2012/main" xmlns:p14="http://schemas.microsoft.com/office/powerpoint/2010/main" w="9525">
                  <a:solidFill>
                    <a:srgbClr val="000000"/>
                  </a:solidFill>
                  <a:round/>
                  <a:headEnd/>
                  <a:tailEnd/>
                </a14:hiddenLine>
              </a:ext>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68" name="Freeform 6"/>
            <p:cNvSpPr/>
            <p:nvPr/>
          </p:nvSpPr>
          <p:spPr bwMode="auto">
            <a:xfrm>
              <a:off x="1666243" y="2300734"/>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0000">
                <a:alpha val="15000"/>
              </a:srgbClr>
            </a:solidFill>
            <a:ln>
              <a:noFill/>
            </a:ln>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69" name="Freeform 68"/>
            <p:cNvSpPr/>
            <p:nvPr/>
          </p:nvSpPr>
          <p:spPr bwMode="auto">
            <a:xfrm>
              <a:off x="1636071" y="2253680"/>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589D"/>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70" name="Rectangle 69"/>
            <p:cNvSpPr/>
            <p:nvPr/>
          </p:nvSpPr>
          <p:spPr>
            <a:xfrm rot="18900000">
              <a:off x="1886910" y="2249489"/>
              <a:ext cx="755987" cy="768672"/>
            </a:xfrm>
            <a:prstGeom prst="rect">
              <a:avLst/>
            </a:prstGeom>
          </p:spPr>
          <p:txBody>
            <a:bodyPr wrap="none">
              <a:spAutoFit/>
            </a:bodyPr>
            <a:lstStyle>
              <a:defPPr>
                <a:defRPr lang="en-US"/>
              </a:defPPr>
            </a:lstStyle>
            <a:p>
              <a:pPr defTabSz="608853">
                <a:defRPr/>
              </a:pPr>
              <a:r>
                <a:rPr lang="en-US" sz="4395" b="1" dirty="0">
                  <a:solidFill>
                    <a:srgbClr val="FFFFFF"/>
                  </a:solidFill>
                  <a:latin typeface="+mj-lt"/>
                  <a:cs typeface="Calibri"/>
                </a:rPr>
                <a:t>01</a:t>
              </a:r>
              <a:endParaRPr lang="en-US" sz="2797" b="1" dirty="0">
                <a:solidFill>
                  <a:srgbClr val="FFFFFF"/>
                </a:solidFill>
                <a:latin typeface="+mj-lt"/>
                <a:cs typeface="Calibri"/>
              </a:endParaRPr>
            </a:p>
          </p:txBody>
        </p:sp>
      </p:grpSp>
      <p:sp>
        <p:nvSpPr>
          <p:cNvPr id="71" name="Rounded Rectangle 70"/>
          <p:cNvSpPr/>
          <p:nvPr/>
        </p:nvSpPr>
        <p:spPr>
          <a:xfrm>
            <a:off x="3839464" y="1767592"/>
            <a:ext cx="1794599" cy="2791265"/>
          </a:xfrm>
          <a:prstGeom prst="roundRect">
            <a:avLst>
              <a:gd name="adj" fmla="val 3710"/>
            </a:avLst>
          </a:prstGeom>
          <a:solidFill>
            <a:srgbClr val="F7F7F7"/>
          </a:solidFill>
          <a:ln w="9525">
            <a:gradFill>
              <a:gsLst>
                <a:gs pos="0">
                  <a:srgbClr val="70AD47"/>
                </a:gs>
                <a:gs pos="100000">
                  <a:srgbClr val="1BA1F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9pPr>
          </a:lstStyle>
          <a:p>
            <a:pPr algn="ctr"/>
            <a:endParaRPr lang="en-US">
              <a:latin typeface="+mj-lt"/>
            </a:endParaRPr>
          </a:p>
        </p:txBody>
      </p:sp>
      <p:grpSp>
        <p:nvGrpSpPr>
          <p:cNvPr id="6" name="Group 5"/>
          <p:cNvGrpSpPr/>
          <p:nvPr/>
        </p:nvGrpSpPr>
        <p:grpSpPr>
          <a:xfrm>
            <a:off x="3676839" y="1624748"/>
            <a:ext cx="1156862" cy="1648212"/>
            <a:chOff x="3616058" y="1995624"/>
            <a:chExt cx="1156862" cy="1772437"/>
          </a:xfrm>
        </p:grpSpPr>
        <p:sp>
          <p:nvSpPr>
            <p:cNvPr id="72" name="Freeform 5"/>
            <p:cNvSpPr/>
            <p:nvPr/>
          </p:nvSpPr>
          <p:spPr bwMode="auto">
            <a:xfrm>
              <a:off x="3623473" y="3098125"/>
              <a:ext cx="155319" cy="669936"/>
            </a:xfrm>
            <a:custGeom>
              <a:avLst/>
              <a:gdLst>
                <a:gd name="T0" fmla="*/ 53 w 53"/>
                <a:gd name="T1" fmla="*/ 0 h 248"/>
                <a:gd name="T2" fmla="*/ 1 w 53"/>
                <a:gd name="T3" fmla="*/ 0 h 248"/>
                <a:gd name="T4" fmla="*/ 1 w 53"/>
                <a:gd name="T5" fmla="*/ 180 h 248"/>
                <a:gd name="T6" fmla="*/ 53 w 53"/>
                <a:gd name="T7" fmla="*/ 248 h 248"/>
                <a:gd name="T8" fmla="*/ 53 w 53"/>
                <a:gd name="T9" fmla="*/ 0 h 248"/>
              </a:gdLst>
              <a:ahLst/>
              <a:cxnLst>
                <a:cxn ang="0">
                  <a:pos x="T0" y="T1"/>
                </a:cxn>
                <a:cxn ang="0">
                  <a:pos x="T2" y="T3"/>
                </a:cxn>
                <a:cxn ang="0">
                  <a:pos x="T4" y="T5"/>
                </a:cxn>
                <a:cxn ang="0">
                  <a:pos x="T6" y="T7"/>
                </a:cxn>
                <a:cxn ang="0">
                  <a:pos x="T8" y="T9"/>
                </a:cxn>
              </a:cxnLst>
              <a:rect l="0" t="0" r="r" b="b"/>
              <a:pathLst>
                <a:path w="52" h="248">
                  <a:moveTo>
                    <a:pt x="53" y="0"/>
                  </a:moveTo>
                  <a:cubicBezTo>
                    <a:pt x="1" y="0"/>
                    <a:pt x="1" y="0"/>
                    <a:pt x="1" y="0"/>
                  </a:cubicBezTo>
                  <a:cubicBezTo>
                    <a:pt x="1" y="180"/>
                    <a:pt x="1" y="180"/>
                    <a:pt x="1" y="180"/>
                  </a:cubicBezTo>
                  <a:cubicBezTo>
                    <a:pt x="1" y="180"/>
                    <a:pt x="0" y="217"/>
                    <a:pt x="53" y="248"/>
                  </a:cubicBezTo>
                  <a:lnTo>
                    <a:pt x="53" y="0"/>
                  </a:lnTo>
                  <a:close/>
                </a:path>
              </a:pathLst>
            </a:custGeom>
            <a:solidFill>
              <a:srgbClr val="0088B8"/>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73" name="Freeform 6"/>
            <p:cNvSpPr/>
            <p:nvPr/>
          </p:nvSpPr>
          <p:spPr bwMode="auto">
            <a:xfrm>
              <a:off x="3646248" y="2046868"/>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0000">
                <a:alpha val="15000"/>
              </a:srgbClr>
            </a:solidFill>
            <a:ln>
              <a:noFill/>
            </a:ln>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74" name="Freeform 6"/>
            <p:cNvSpPr/>
            <p:nvPr/>
          </p:nvSpPr>
          <p:spPr bwMode="auto">
            <a:xfrm>
              <a:off x="3616058" y="1999814"/>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6F96"/>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75" name="Rectangle 74"/>
            <p:cNvSpPr/>
            <p:nvPr/>
          </p:nvSpPr>
          <p:spPr>
            <a:xfrm rot="18900000">
              <a:off x="3866898" y="1995624"/>
              <a:ext cx="755987" cy="768672"/>
            </a:xfrm>
            <a:prstGeom prst="rect">
              <a:avLst/>
            </a:prstGeom>
          </p:spPr>
          <p:txBody>
            <a:bodyPr wrap="none">
              <a:spAutoFit/>
            </a:bodyPr>
            <a:lstStyle>
              <a:defPPr>
                <a:defRPr lang="en-US"/>
              </a:defPPr>
            </a:lstStyle>
            <a:p>
              <a:pPr defTabSz="608853">
                <a:defRPr/>
              </a:pPr>
              <a:r>
                <a:rPr lang="en-US" sz="4395" b="1">
                  <a:solidFill>
                    <a:srgbClr val="FFFFFF"/>
                  </a:solidFill>
                  <a:latin typeface="+mj-lt"/>
                  <a:cs typeface="Calibri"/>
                </a:rPr>
                <a:t>02</a:t>
              </a:r>
              <a:endParaRPr lang="en-US" sz="2797" b="1">
                <a:solidFill>
                  <a:srgbClr val="FFFFFF"/>
                </a:solidFill>
                <a:latin typeface="+mj-lt"/>
                <a:cs typeface="Calibri"/>
              </a:endParaRPr>
            </a:p>
          </p:txBody>
        </p:sp>
      </p:grpSp>
      <p:sp>
        <p:nvSpPr>
          <p:cNvPr id="76" name="Rounded Rectangle 75"/>
          <p:cNvSpPr/>
          <p:nvPr/>
        </p:nvSpPr>
        <p:spPr>
          <a:xfrm>
            <a:off x="5819462" y="1531519"/>
            <a:ext cx="1794599" cy="3008240"/>
          </a:xfrm>
          <a:prstGeom prst="roundRect">
            <a:avLst>
              <a:gd name="adj" fmla="val 3710"/>
            </a:avLst>
          </a:prstGeom>
          <a:solidFill>
            <a:srgbClr val="F7F7F7"/>
          </a:solidFill>
          <a:ln w="9525">
            <a:gradFill>
              <a:gsLst>
                <a:gs pos="0">
                  <a:srgbClr val="70AD47"/>
                </a:gs>
                <a:gs pos="100000">
                  <a:srgbClr val="1BA1F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9pPr>
          </a:lstStyle>
          <a:p>
            <a:pPr algn="ctr"/>
            <a:endParaRPr lang="en-US">
              <a:latin typeface="+mj-lt"/>
            </a:endParaRPr>
          </a:p>
        </p:txBody>
      </p:sp>
      <p:grpSp>
        <p:nvGrpSpPr>
          <p:cNvPr id="9" name="Group 8"/>
          <p:cNvGrpSpPr/>
          <p:nvPr/>
        </p:nvGrpSpPr>
        <p:grpSpPr>
          <a:xfrm>
            <a:off x="5656855" y="1388676"/>
            <a:ext cx="1156861" cy="1648212"/>
            <a:chOff x="5596074" y="1741759"/>
            <a:chExt cx="1156861" cy="1772437"/>
          </a:xfrm>
        </p:grpSpPr>
        <p:sp>
          <p:nvSpPr>
            <p:cNvPr id="77" name="Freeform 5"/>
            <p:cNvSpPr/>
            <p:nvPr/>
          </p:nvSpPr>
          <p:spPr bwMode="auto">
            <a:xfrm>
              <a:off x="5603490" y="2844260"/>
              <a:ext cx="155319" cy="669936"/>
            </a:xfrm>
            <a:custGeom>
              <a:avLst/>
              <a:gdLst>
                <a:gd name="T0" fmla="*/ 53 w 53"/>
                <a:gd name="T1" fmla="*/ 0 h 248"/>
                <a:gd name="T2" fmla="*/ 1 w 53"/>
                <a:gd name="T3" fmla="*/ 0 h 248"/>
                <a:gd name="T4" fmla="*/ 1 w 53"/>
                <a:gd name="T5" fmla="*/ 180 h 248"/>
                <a:gd name="T6" fmla="*/ 53 w 53"/>
                <a:gd name="T7" fmla="*/ 248 h 248"/>
                <a:gd name="T8" fmla="*/ 53 w 53"/>
                <a:gd name="T9" fmla="*/ 0 h 248"/>
              </a:gdLst>
              <a:ahLst/>
              <a:cxnLst>
                <a:cxn ang="0">
                  <a:pos x="T0" y="T1"/>
                </a:cxn>
                <a:cxn ang="0">
                  <a:pos x="T2" y="T3"/>
                </a:cxn>
                <a:cxn ang="0">
                  <a:pos x="T4" y="T5"/>
                </a:cxn>
                <a:cxn ang="0">
                  <a:pos x="T6" y="T7"/>
                </a:cxn>
                <a:cxn ang="0">
                  <a:pos x="T8" y="T9"/>
                </a:cxn>
              </a:cxnLst>
              <a:rect l="0" t="0" r="r" b="b"/>
              <a:pathLst>
                <a:path w="52" h="248">
                  <a:moveTo>
                    <a:pt x="53" y="0"/>
                  </a:moveTo>
                  <a:cubicBezTo>
                    <a:pt x="1" y="0"/>
                    <a:pt x="1" y="0"/>
                    <a:pt x="1" y="0"/>
                  </a:cubicBezTo>
                  <a:cubicBezTo>
                    <a:pt x="1" y="180"/>
                    <a:pt x="1" y="180"/>
                    <a:pt x="1" y="180"/>
                  </a:cubicBezTo>
                  <a:cubicBezTo>
                    <a:pt x="1" y="180"/>
                    <a:pt x="0" y="217"/>
                    <a:pt x="53" y="248"/>
                  </a:cubicBezTo>
                  <a:lnTo>
                    <a:pt x="53" y="0"/>
                  </a:lnTo>
                  <a:close/>
                </a:path>
              </a:pathLst>
            </a:custGeom>
            <a:solidFill>
              <a:srgbClr val="00C0AE"/>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79" name="Freeform 6"/>
            <p:cNvSpPr/>
            <p:nvPr/>
          </p:nvSpPr>
          <p:spPr bwMode="auto">
            <a:xfrm>
              <a:off x="5626263" y="1793003"/>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0000">
                <a:alpha val="15000"/>
              </a:srgbClr>
            </a:solidFill>
            <a:ln>
              <a:noFill/>
            </a:ln>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84" name="Freeform 6"/>
            <p:cNvSpPr/>
            <p:nvPr/>
          </p:nvSpPr>
          <p:spPr bwMode="auto">
            <a:xfrm>
              <a:off x="5596074" y="1745949"/>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9084"/>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97" name="Rectangle 96"/>
            <p:cNvSpPr/>
            <p:nvPr/>
          </p:nvSpPr>
          <p:spPr>
            <a:xfrm rot="18900000">
              <a:off x="5846914" y="1741759"/>
              <a:ext cx="755987" cy="768672"/>
            </a:xfrm>
            <a:prstGeom prst="rect">
              <a:avLst/>
            </a:prstGeom>
          </p:spPr>
          <p:txBody>
            <a:bodyPr wrap="none">
              <a:spAutoFit/>
            </a:bodyPr>
            <a:lstStyle>
              <a:defPPr>
                <a:defRPr lang="en-US"/>
              </a:defPPr>
            </a:lstStyle>
            <a:p>
              <a:pPr defTabSz="608853">
                <a:defRPr/>
              </a:pPr>
              <a:r>
                <a:rPr lang="en-US" sz="4395" b="1">
                  <a:solidFill>
                    <a:srgbClr val="FFFFFF"/>
                  </a:solidFill>
                  <a:latin typeface="+mj-lt"/>
                  <a:cs typeface="Calibri"/>
                </a:rPr>
                <a:t>03</a:t>
              </a:r>
              <a:endParaRPr lang="en-US" sz="2797" b="1">
                <a:solidFill>
                  <a:srgbClr val="FFFFFF"/>
                </a:solidFill>
                <a:latin typeface="+mj-lt"/>
                <a:cs typeface="Calibri"/>
              </a:endParaRPr>
            </a:p>
          </p:txBody>
        </p:sp>
      </p:grpSp>
      <p:sp>
        <p:nvSpPr>
          <p:cNvPr id="98" name="Rounded Rectangle 97"/>
          <p:cNvSpPr/>
          <p:nvPr/>
        </p:nvSpPr>
        <p:spPr>
          <a:xfrm>
            <a:off x="7799474" y="1295445"/>
            <a:ext cx="1794599" cy="3225216"/>
          </a:xfrm>
          <a:prstGeom prst="roundRect">
            <a:avLst>
              <a:gd name="adj" fmla="val 3710"/>
            </a:avLst>
          </a:prstGeom>
          <a:solidFill>
            <a:srgbClr val="F7F7F7"/>
          </a:solidFill>
          <a:ln w="9525">
            <a:gradFill>
              <a:gsLst>
                <a:gs pos="0">
                  <a:srgbClr val="70AD47"/>
                </a:gs>
                <a:gs pos="100000">
                  <a:srgbClr val="1BA1F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9pPr>
          </a:lstStyle>
          <a:p>
            <a:pPr algn="ctr"/>
            <a:endParaRPr lang="en-US">
              <a:latin typeface="+mj-lt"/>
            </a:endParaRPr>
          </a:p>
        </p:txBody>
      </p:sp>
      <p:grpSp>
        <p:nvGrpSpPr>
          <p:cNvPr id="10" name="Group 9"/>
          <p:cNvGrpSpPr/>
          <p:nvPr/>
        </p:nvGrpSpPr>
        <p:grpSpPr>
          <a:xfrm>
            <a:off x="7636866" y="1152602"/>
            <a:ext cx="1156827" cy="1648212"/>
            <a:chOff x="7576085" y="1487892"/>
            <a:chExt cx="1156827" cy="1772438"/>
          </a:xfrm>
        </p:grpSpPr>
        <p:sp>
          <p:nvSpPr>
            <p:cNvPr id="99" name="Freeform 5"/>
            <p:cNvSpPr/>
            <p:nvPr/>
          </p:nvSpPr>
          <p:spPr bwMode="auto">
            <a:xfrm>
              <a:off x="7583483" y="2590394"/>
              <a:ext cx="155319" cy="669936"/>
            </a:xfrm>
            <a:custGeom>
              <a:avLst/>
              <a:gdLst>
                <a:gd name="T0" fmla="*/ 53 w 53"/>
                <a:gd name="T1" fmla="*/ 0 h 248"/>
                <a:gd name="T2" fmla="*/ 1 w 53"/>
                <a:gd name="T3" fmla="*/ 0 h 248"/>
                <a:gd name="T4" fmla="*/ 1 w 53"/>
                <a:gd name="T5" fmla="*/ 180 h 248"/>
                <a:gd name="T6" fmla="*/ 53 w 53"/>
                <a:gd name="T7" fmla="*/ 248 h 248"/>
                <a:gd name="T8" fmla="*/ 53 w 53"/>
                <a:gd name="T9" fmla="*/ 0 h 248"/>
              </a:gdLst>
              <a:ahLst/>
              <a:cxnLst>
                <a:cxn ang="0">
                  <a:pos x="T0" y="T1"/>
                </a:cxn>
                <a:cxn ang="0">
                  <a:pos x="T2" y="T3"/>
                </a:cxn>
                <a:cxn ang="0">
                  <a:pos x="T4" y="T5"/>
                </a:cxn>
                <a:cxn ang="0">
                  <a:pos x="T6" y="T7"/>
                </a:cxn>
                <a:cxn ang="0">
                  <a:pos x="T8" y="T9"/>
                </a:cxn>
              </a:cxnLst>
              <a:rect l="0" t="0" r="r" b="b"/>
              <a:pathLst>
                <a:path w="52" h="248">
                  <a:moveTo>
                    <a:pt x="53" y="0"/>
                  </a:moveTo>
                  <a:cubicBezTo>
                    <a:pt x="1" y="0"/>
                    <a:pt x="1" y="0"/>
                    <a:pt x="1" y="0"/>
                  </a:cubicBezTo>
                  <a:cubicBezTo>
                    <a:pt x="1" y="180"/>
                    <a:pt x="1" y="180"/>
                    <a:pt x="1" y="180"/>
                  </a:cubicBezTo>
                  <a:cubicBezTo>
                    <a:pt x="1" y="180"/>
                    <a:pt x="0" y="217"/>
                    <a:pt x="53" y="248"/>
                  </a:cubicBezTo>
                  <a:lnTo>
                    <a:pt x="53" y="0"/>
                  </a:lnTo>
                  <a:close/>
                </a:path>
              </a:pathLst>
            </a:custGeom>
            <a:solidFill>
              <a:srgbClr val="00C092"/>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00" name="Freeform 6"/>
            <p:cNvSpPr/>
            <p:nvPr/>
          </p:nvSpPr>
          <p:spPr bwMode="auto">
            <a:xfrm>
              <a:off x="7606240" y="1539136"/>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0000">
                <a:alpha val="15000"/>
              </a:srgbClr>
            </a:solidFill>
            <a:ln>
              <a:noFill/>
            </a:ln>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01" name="Freeform 6"/>
            <p:cNvSpPr/>
            <p:nvPr/>
          </p:nvSpPr>
          <p:spPr bwMode="auto">
            <a:xfrm>
              <a:off x="7576085" y="1492083"/>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9D77"/>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02" name="Rectangle 101"/>
            <p:cNvSpPr/>
            <p:nvPr/>
          </p:nvSpPr>
          <p:spPr>
            <a:xfrm rot="18900000">
              <a:off x="7826925" y="1487892"/>
              <a:ext cx="755987" cy="768672"/>
            </a:xfrm>
            <a:prstGeom prst="rect">
              <a:avLst/>
            </a:prstGeom>
          </p:spPr>
          <p:txBody>
            <a:bodyPr wrap="none">
              <a:spAutoFit/>
            </a:bodyPr>
            <a:lstStyle>
              <a:defPPr>
                <a:defRPr lang="en-US"/>
              </a:defPPr>
            </a:lstStyle>
            <a:p>
              <a:pPr defTabSz="608853">
                <a:defRPr/>
              </a:pPr>
              <a:r>
                <a:rPr lang="en-US" sz="4395" b="1">
                  <a:solidFill>
                    <a:srgbClr val="FFFFFF"/>
                  </a:solidFill>
                  <a:latin typeface="+mj-lt"/>
                  <a:cs typeface="Calibri"/>
                </a:rPr>
                <a:t>04</a:t>
              </a:r>
              <a:endParaRPr lang="en-US" sz="2797" b="1">
                <a:solidFill>
                  <a:srgbClr val="FFFFFF"/>
                </a:solidFill>
                <a:latin typeface="+mj-lt"/>
                <a:cs typeface="Calibri"/>
              </a:endParaRPr>
            </a:p>
          </p:txBody>
        </p:sp>
      </p:grpSp>
      <p:sp>
        <p:nvSpPr>
          <p:cNvPr id="123" name="Rounded Rectangle 122"/>
          <p:cNvSpPr/>
          <p:nvPr/>
        </p:nvSpPr>
        <p:spPr>
          <a:xfrm>
            <a:off x="9792185" y="1059371"/>
            <a:ext cx="1794599" cy="3442191"/>
          </a:xfrm>
          <a:prstGeom prst="roundRect">
            <a:avLst>
              <a:gd name="adj" fmla="val 3710"/>
            </a:avLst>
          </a:prstGeom>
          <a:solidFill>
            <a:srgbClr val="F7F7F7"/>
          </a:solidFill>
          <a:ln w="9525">
            <a:gradFill>
              <a:gsLst>
                <a:gs pos="0">
                  <a:srgbClr val="70AD47"/>
                </a:gs>
                <a:gs pos="100000">
                  <a:srgbClr val="1BA1F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Calibri"/>
                <a:ea typeface="Arial"/>
                <a:cs typeface="Arial"/>
                <a:sym typeface="Wingdings"/>
              </a:defRPr>
            </a:lvl9pPr>
          </a:lstStyle>
          <a:p>
            <a:pPr algn="ctr"/>
            <a:endParaRPr lang="en-US">
              <a:latin typeface="+mj-lt"/>
            </a:endParaRPr>
          </a:p>
        </p:txBody>
      </p:sp>
      <p:grpSp>
        <p:nvGrpSpPr>
          <p:cNvPr id="11" name="Group 10"/>
          <p:cNvGrpSpPr/>
          <p:nvPr/>
        </p:nvGrpSpPr>
        <p:grpSpPr>
          <a:xfrm>
            <a:off x="9629578" y="916531"/>
            <a:ext cx="1156817" cy="1648212"/>
            <a:chOff x="9556097" y="1234028"/>
            <a:chExt cx="1156817" cy="1772438"/>
          </a:xfrm>
        </p:grpSpPr>
        <p:sp>
          <p:nvSpPr>
            <p:cNvPr id="124" name="Freeform 5"/>
            <p:cNvSpPr/>
            <p:nvPr/>
          </p:nvSpPr>
          <p:spPr bwMode="auto">
            <a:xfrm>
              <a:off x="9563485" y="2336530"/>
              <a:ext cx="155319" cy="669936"/>
            </a:xfrm>
            <a:custGeom>
              <a:avLst/>
              <a:gdLst>
                <a:gd name="T0" fmla="*/ 53 w 53"/>
                <a:gd name="T1" fmla="*/ 0 h 248"/>
                <a:gd name="T2" fmla="*/ 1 w 53"/>
                <a:gd name="T3" fmla="*/ 0 h 248"/>
                <a:gd name="T4" fmla="*/ 1 w 53"/>
                <a:gd name="T5" fmla="*/ 180 h 248"/>
                <a:gd name="T6" fmla="*/ 53 w 53"/>
                <a:gd name="T7" fmla="*/ 248 h 248"/>
                <a:gd name="T8" fmla="*/ 53 w 53"/>
                <a:gd name="T9" fmla="*/ 0 h 248"/>
              </a:gdLst>
              <a:ahLst/>
              <a:cxnLst>
                <a:cxn ang="0">
                  <a:pos x="T0" y="T1"/>
                </a:cxn>
                <a:cxn ang="0">
                  <a:pos x="T2" y="T3"/>
                </a:cxn>
                <a:cxn ang="0">
                  <a:pos x="T4" y="T5"/>
                </a:cxn>
                <a:cxn ang="0">
                  <a:pos x="T6" y="T7"/>
                </a:cxn>
                <a:cxn ang="0">
                  <a:pos x="T8" y="T9"/>
                </a:cxn>
              </a:cxnLst>
              <a:rect l="0" t="0" r="r" b="b"/>
              <a:pathLst>
                <a:path w="52" h="248">
                  <a:moveTo>
                    <a:pt x="53" y="0"/>
                  </a:moveTo>
                  <a:cubicBezTo>
                    <a:pt x="1" y="0"/>
                    <a:pt x="1" y="0"/>
                    <a:pt x="1" y="0"/>
                  </a:cubicBezTo>
                  <a:cubicBezTo>
                    <a:pt x="1" y="180"/>
                    <a:pt x="1" y="180"/>
                    <a:pt x="1" y="180"/>
                  </a:cubicBezTo>
                  <a:cubicBezTo>
                    <a:pt x="1" y="180"/>
                    <a:pt x="0" y="217"/>
                    <a:pt x="53" y="248"/>
                  </a:cubicBezTo>
                  <a:lnTo>
                    <a:pt x="53" y="0"/>
                  </a:lnTo>
                  <a:close/>
                </a:path>
              </a:pathLst>
            </a:custGeom>
            <a:solidFill>
              <a:srgbClr val="00CC66"/>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25" name="Freeform 6"/>
            <p:cNvSpPr/>
            <p:nvPr/>
          </p:nvSpPr>
          <p:spPr bwMode="auto">
            <a:xfrm>
              <a:off x="9586242" y="1285273"/>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0000">
                <a:alpha val="15000"/>
              </a:srgbClr>
            </a:solidFill>
            <a:ln>
              <a:noFill/>
            </a:ln>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26" name="Freeform 6"/>
            <p:cNvSpPr/>
            <p:nvPr/>
          </p:nvSpPr>
          <p:spPr bwMode="auto">
            <a:xfrm>
              <a:off x="9556097" y="1238219"/>
              <a:ext cx="1126672" cy="1701045"/>
            </a:xfrm>
            <a:custGeom>
              <a:avLst/>
              <a:gdLst>
                <a:gd name="T0" fmla="*/ 2 w 384"/>
                <a:gd name="T1" fmla="*/ 223 h 629"/>
                <a:gd name="T2" fmla="*/ 34 w 384"/>
                <a:gd name="T3" fmla="*/ 167 h 629"/>
                <a:gd name="T4" fmla="*/ 140 w 384"/>
                <a:gd name="T5" fmla="*/ 60 h 629"/>
                <a:gd name="T6" fmla="*/ 112 w 384"/>
                <a:gd name="T7" fmla="*/ 32 h 629"/>
                <a:gd name="T8" fmla="*/ 123 w 384"/>
                <a:gd name="T9" fmla="*/ 2 h 629"/>
                <a:gd name="T10" fmla="*/ 352 w 384"/>
                <a:gd name="T11" fmla="*/ 1 h 629"/>
                <a:gd name="T12" fmla="*/ 383 w 384"/>
                <a:gd name="T13" fmla="*/ 31 h 629"/>
                <a:gd name="T14" fmla="*/ 382 w 384"/>
                <a:gd name="T15" fmla="*/ 260 h 629"/>
                <a:gd name="T16" fmla="*/ 351 w 384"/>
                <a:gd name="T17" fmla="*/ 271 h 629"/>
                <a:gd name="T18" fmla="*/ 324 w 384"/>
                <a:gd name="T19" fmla="*/ 245 h 629"/>
                <a:gd name="T20" fmla="*/ 42 w 384"/>
                <a:gd name="T21" fmla="*/ 528 h 629"/>
                <a:gd name="T22" fmla="*/ 25 w 384"/>
                <a:gd name="T23" fmla="*/ 629 h 629"/>
                <a:gd name="T24" fmla="*/ 2 w 384"/>
                <a:gd name="T25" fmla="*/ 581 h 629"/>
                <a:gd name="T26" fmla="*/ 2 w 384"/>
                <a:gd name="T27" fmla="*/ 22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629">
                  <a:moveTo>
                    <a:pt x="2" y="223"/>
                  </a:moveTo>
                  <a:cubicBezTo>
                    <a:pt x="2" y="204"/>
                    <a:pt x="17" y="183"/>
                    <a:pt x="34" y="167"/>
                  </a:cubicBezTo>
                  <a:cubicBezTo>
                    <a:pt x="140" y="60"/>
                    <a:pt x="140" y="60"/>
                    <a:pt x="140" y="60"/>
                  </a:cubicBezTo>
                  <a:cubicBezTo>
                    <a:pt x="112" y="32"/>
                    <a:pt x="112" y="32"/>
                    <a:pt x="112" y="32"/>
                  </a:cubicBezTo>
                  <a:cubicBezTo>
                    <a:pt x="102" y="22"/>
                    <a:pt x="107" y="3"/>
                    <a:pt x="123" y="2"/>
                  </a:cubicBezTo>
                  <a:cubicBezTo>
                    <a:pt x="352" y="1"/>
                    <a:pt x="352" y="1"/>
                    <a:pt x="352" y="1"/>
                  </a:cubicBezTo>
                  <a:cubicBezTo>
                    <a:pt x="370" y="0"/>
                    <a:pt x="384" y="13"/>
                    <a:pt x="383" y="31"/>
                  </a:cubicBezTo>
                  <a:cubicBezTo>
                    <a:pt x="382" y="260"/>
                    <a:pt x="382" y="260"/>
                    <a:pt x="382" y="260"/>
                  </a:cubicBezTo>
                  <a:cubicBezTo>
                    <a:pt x="380" y="277"/>
                    <a:pt x="362" y="282"/>
                    <a:pt x="351" y="271"/>
                  </a:cubicBezTo>
                  <a:cubicBezTo>
                    <a:pt x="324" y="245"/>
                    <a:pt x="324" y="245"/>
                    <a:pt x="324" y="245"/>
                  </a:cubicBezTo>
                  <a:cubicBezTo>
                    <a:pt x="324" y="245"/>
                    <a:pt x="72" y="497"/>
                    <a:pt x="42" y="528"/>
                  </a:cubicBezTo>
                  <a:cubicBezTo>
                    <a:pt x="8" y="561"/>
                    <a:pt x="0" y="604"/>
                    <a:pt x="25" y="629"/>
                  </a:cubicBezTo>
                  <a:cubicBezTo>
                    <a:pt x="25" y="629"/>
                    <a:pt x="6" y="619"/>
                    <a:pt x="2" y="581"/>
                  </a:cubicBezTo>
                  <a:cubicBezTo>
                    <a:pt x="0" y="564"/>
                    <a:pt x="2" y="223"/>
                    <a:pt x="2" y="223"/>
                  </a:cubicBezTo>
                  <a:close/>
                </a:path>
              </a:pathLst>
            </a:custGeom>
            <a:solidFill>
              <a:srgbClr val="00AE57"/>
            </a:solidFill>
            <a:ln>
              <a:noFill/>
            </a:ln>
            <a:extLst/>
          </p:spPr>
          <p:txBody>
            <a:bodyPr vert="horz" wrap="square" lIns="91327" tIns="45664" rIns="91327" bIns="45664" numCol="1" anchor="t" anchorCtr="0" compatLnSpc="1">
              <a:prstTxWarp prst="textNoShape">
                <a:avLst/>
              </a:prstTxWarp>
            </a:bodyPr>
            <a:lstStyle>
              <a:defPPr>
                <a:defRPr lang="en-US"/>
              </a:defPPr>
            </a:lstStyle>
            <a:p>
              <a:pPr defTabSz="608853">
                <a:defRPr/>
              </a:pPr>
              <a:endParaRPr lang="en-US" sz="1798">
                <a:solidFill>
                  <a:prstClr val="black"/>
                </a:solidFill>
                <a:latin typeface="+mj-lt"/>
                <a:cs typeface="Helvetica" panose="020B0604020202020204" pitchFamily="34" charset="0"/>
              </a:endParaRPr>
            </a:p>
          </p:txBody>
        </p:sp>
        <p:sp>
          <p:nvSpPr>
            <p:cNvPr id="127" name="Rectangle 126"/>
            <p:cNvSpPr/>
            <p:nvPr/>
          </p:nvSpPr>
          <p:spPr>
            <a:xfrm rot="18900000">
              <a:off x="9806937" y="1234028"/>
              <a:ext cx="755987" cy="768672"/>
            </a:xfrm>
            <a:prstGeom prst="rect">
              <a:avLst/>
            </a:prstGeom>
          </p:spPr>
          <p:txBody>
            <a:bodyPr wrap="none">
              <a:spAutoFit/>
            </a:bodyPr>
            <a:lstStyle>
              <a:defPPr>
                <a:defRPr lang="en-US"/>
              </a:defPPr>
            </a:lstStyle>
            <a:p>
              <a:pPr defTabSz="608853">
                <a:defRPr/>
              </a:pPr>
              <a:r>
                <a:rPr lang="en-US" sz="4395" b="1">
                  <a:solidFill>
                    <a:srgbClr val="FFFFFF"/>
                  </a:solidFill>
                  <a:latin typeface="+mj-lt"/>
                  <a:cs typeface="Calibri"/>
                </a:rPr>
                <a:t>05</a:t>
              </a:r>
              <a:endParaRPr lang="en-US" sz="2797" b="1">
                <a:solidFill>
                  <a:srgbClr val="FFFFFF"/>
                </a:solidFill>
                <a:latin typeface="+mj-lt"/>
                <a:cs typeface="Calibri"/>
              </a:endParaRPr>
            </a:p>
          </p:txBody>
        </p:sp>
      </p:grpSp>
      <p:sp>
        <p:nvSpPr>
          <p:cNvPr id="128" name="Rectangle 127"/>
          <p:cNvSpPr/>
          <p:nvPr/>
        </p:nvSpPr>
        <p:spPr>
          <a:xfrm>
            <a:off x="1859463" y="3922404"/>
            <a:ext cx="1789533" cy="486549"/>
          </a:xfrm>
          <a:prstGeom prst="rect">
            <a:avLst/>
          </a:prstGeom>
        </p:spPr>
        <p:txBody>
          <a:bodyPr wrap="square">
            <a:spAutoFit/>
          </a:bodyPr>
          <a:lstStyle>
            <a:defPPr>
              <a:defRPr lang="en-US"/>
            </a:defPPr>
          </a:lstStyle>
          <a:p>
            <a:pPr algn="ctr">
              <a:spcBef>
                <a:spcPts val="599"/>
              </a:spcBef>
              <a:defRPr/>
            </a:pPr>
            <a:r>
              <a:rPr lang="en-US" sz="1400">
                <a:solidFill>
                  <a:schemeClr val="tx1">
                    <a:lumMod val="75000"/>
                    <a:lumOff val="25000"/>
                  </a:schemeClr>
                </a:solidFill>
                <a:latin typeface="+mj-lt"/>
              </a:rPr>
              <a:t>Minimal or no automation</a:t>
            </a:r>
          </a:p>
        </p:txBody>
      </p:sp>
      <p:sp>
        <p:nvSpPr>
          <p:cNvPr id="129" name="Rectangle 128"/>
          <p:cNvSpPr/>
          <p:nvPr/>
        </p:nvSpPr>
        <p:spPr>
          <a:xfrm>
            <a:off x="1862805" y="3052992"/>
            <a:ext cx="1791247" cy="626790"/>
          </a:xfrm>
          <a:prstGeom prst="rect">
            <a:avLst/>
          </a:prstGeom>
        </p:spPr>
        <p:txBody>
          <a:bodyPr wrap="square">
            <a:spAutoFit/>
          </a:bodyPr>
          <a:lstStyle>
            <a:defPPr>
              <a:defRPr lang="en-US"/>
            </a:defPPr>
          </a:lstStyle>
          <a:p>
            <a:pPr algn="ctr">
              <a:lnSpc>
                <a:spcPct val="70000"/>
              </a:lnSpc>
              <a:spcBef>
                <a:spcPts val="599"/>
              </a:spcBef>
              <a:defRPr/>
            </a:pPr>
            <a:r>
              <a:rPr lang="en-US" b="1" smtClean="0">
                <a:solidFill>
                  <a:srgbClr val="00589D"/>
                </a:solidFill>
                <a:latin typeface="+mj-lt"/>
              </a:rPr>
              <a:t>Monitoring Tools, No Automation Tools</a:t>
            </a:r>
            <a:endParaRPr lang="en-US" b="1">
              <a:solidFill>
                <a:srgbClr val="00589D"/>
              </a:solidFill>
              <a:latin typeface="+mj-lt"/>
            </a:endParaRPr>
          </a:p>
        </p:txBody>
      </p:sp>
      <p:sp>
        <p:nvSpPr>
          <p:cNvPr id="130" name="Rectangle 129"/>
          <p:cNvSpPr/>
          <p:nvPr/>
        </p:nvSpPr>
        <p:spPr>
          <a:xfrm>
            <a:off x="3842047" y="2951414"/>
            <a:ext cx="1791247" cy="459359"/>
          </a:xfrm>
          <a:prstGeom prst="rect">
            <a:avLst/>
          </a:prstGeom>
        </p:spPr>
        <p:txBody>
          <a:bodyPr wrap="square">
            <a:spAutoFit/>
          </a:bodyPr>
          <a:lstStyle>
            <a:defPPr>
              <a:defRPr lang="en-US"/>
            </a:defPPr>
          </a:lstStyle>
          <a:p>
            <a:pPr algn="ctr">
              <a:lnSpc>
                <a:spcPct val="70000"/>
              </a:lnSpc>
              <a:spcBef>
                <a:spcPts val="599"/>
              </a:spcBef>
              <a:defRPr/>
            </a:pPr>
            <a:r>
              <a:rPr lang="en-US" b="1">
                <a:solidFill>
                  <a:srgbClr val="006F96"/>
                </a:solidFill>
                <a:latin typeface="+mj-lt"/>
              </a:rPr>
              <a:t>Ad-Hoc / Siloed Automation</a:t>
            </a:r>
          </a:p>
        </p:txBody>
      </p:sp>
      <p:sp>
        <p:nvSpPr>
          <p:cNvPr id="131" name="Rectangle 130"/>
          <p:cNvSpPr/>
          <p:nvPr/>
        </p:nvSpPr>
        <p:spPr>
          <a:xfrm>
            <a:off x="5821136" y="2686381"/>
            <a:ext cx="1791247" cy="459359"/>
          </a:xfrm>
          <a:prstGeom prst="rect">
            <a:avLst/>
          </a:prstGeom>
        </p:spPr>
        <p:txBody>
          <a:bodyPr wrap="square">
            <a:spAutoFit/>
          </a:bodyPr>
          <a:lstStyle>
            <a:defPPr>
              <a:defRPr lang="en-US"/>
            </a:defPPr>
          </a:lstStyle>
          <a:p>
            <a:pPr algn="ctr">
              <a:lnSpc>
                <a:spcPct val="70000"/>
              </a:lnSpc>
              <a:spcBef>
                <a:spcPts val="599"/>
              </a:spcBef>
              <a:defRPr/>
            </a:pPr>
            <a:r>
              <a:rPr lang="en-US" b="1">
                <a:solidFill>
                  <a:srgbClr val="009084"/>
                </a:solidFill>
                <a:latin typeface="+mj-lt"/>
              </a:rPr>
              <a:t>Central Automation</a:t>
            </a:r>
          </a:p>
        </p:txBody>
      </p:sp>
      <p:sp>
        <p:nvSpPr>
          <p:cNvPr id="132" name="Rectangle 131"/>
          <p:cNvSpPr/>
          <p:nvPr/>
        </p:nvSpPr>
        <p:spPr>
          <a:xfrm>
            <a:off x="7800301" y="2448378"/>
            <a:ext cx="1791247" cy="459359"/>
          </a:xfrm>
          <a:prstGeom prst="rect">
            <a:avLst/>
          </a:prstGeom>
        </p:spPr>
        <p:txBody>
          <a:bodyPr wrap="square">
            <a:spAutoFit/>
          </a:bodyPr>
          <a:lstStyle>
            <a:defPPr>
              <a:defRPr lang="en-US"/>
            </a:defPPr>
          </a:lstStyle>
          <a:p>
            <a:pPr algn="ctr">
              <a:lnSpc>
                <a:spcPct val="70000"/>
              </a:lnSpc>
              <a:spcBef>
                <a:spcPts val="599"/>
              </a:spcBef>
              <a:defRPr/>
            </a:pPr>
            <a:r>
              <a:rPr lang="en-US" b="1">
                <a:solidFill>
                  <a:srgbClr val="009D77"/>
                </a:solidFill>
                <a:latin typeface="+mj-lt"/>
              </a:rPr>
              <a:t>Collaborative Automation</a:t>
            </a:r>
          </a:p>
        </p:txBody>
      </p:sp>
      <p:sp>
        <p:nvSpPr>
          <p:cNvPr id="133" name="Rectangle 132"/>
          <p:cNvSpPr/>
          <p:nvPr/>
        </p:nvSpPr>
        <p:spPr>
          <a:xfrm>
            <a:off x="9703285" y="2208318"/>
            <a:ext cx="1794599" cy="459359"/>
          </a:xfrm>
          <a:prstGeom prst="rect">
            <a:avLst/>
          </a:prstGeom>
        </p:spPr>
        <p:txBody>
          <a:bodyPr wrap="square">
            <a:spAutoFit/>
          </a:bodyPr>
          <a:lstStyle>
            <a:defPPr>
              <a:defRPr lang="en-US"/>
            </a:defPPr>
          </a:lstStyle>
          <a:p>
            <a:pPr algn="ctr">
              <a:lnSpc>
                <a:spcPct val="70000"/>
              </a:lnSpc>
              <a:spcBef>
                <a:spcPts val="599"/>
              </a:spcBef>
              <a:defRPr/>
            </a:pPr>
            <a:r>
              <a:rPr lang="en-US" b="1">
                <a:solidFill>
                  <a:srgbClr val="00AE57"/>
                </a:solidFill>
                <a:latin typeface="+mj-lt"/>
              </a:rPr>
              <a:t>Converged Automation</a:t>
            </a:r>
          </a:p>
        </p:txBody>
      </p:sp>
      <p:cxnSp>
        <p:nvCxnSpPr>
          <p:cNvPr id="134" name="Straight Connector 133"/>
          <p:cNvCxnSpPr/>
          <p:nvPr/>
        </p:nvCxnSpPr>
        <p:spPr>
          <a:xfrm>
            <a:off x="4355071" y="3481778"/>
            <a:ext cx="763384" cy="0"/>
          </a:xfrm>
          <a:prstGeom prst="line">
            <a:avLst/>
          </a:prstGeom>
          <a:ln w="19050">
            <a:solidFill>
              <a:srgbClr val="42B1AD"/>
            </a:solidFill>
          </a:ln>
        </p:spPr>
        <p:style>
          <a:lnRef idx="1">
            <a:schemeClr val="dk1"/>
          </a:lnRef>
          <a:fillRef idx="0">
            <a:schemeClr val="dk1"/>
          </a:fillRef>
          <a:effectRef idx="0">
            <a:schemeClr val="dk1"/>
          </a:effectRef>
          <a:fontRef idx="minor">
            <a:schemeClr val="tx1"/>
          </a:fontRef>
        </p:style>
      </p:cxnSp>
      <p:cxnSp>
        <p:nvCxnSpPr>
          <p:cNvPr id="135" name="Straight Connector 134"/>
          <p:cNvCxnSpPr/>
          <p:nvPr/>
        </p:nvCxnSpPr>
        <p:spPr>
          <a:xfrm>
            <a:off x="6335070" y="3223643"/>
            <a:ext cx="763384" cy="0"/>
          </a:xfrm>
          <a:prstGeom prst="line">
            <a:avLst/>
          </a:prstGeom>
          <a:ln w="19050">
            <a:solidFill>
              <a:srgbClr val="51AD7D"/>
            </a:solidFill>
          </a:ln>
        </p:spPr>
        <p:style>
          <a:lnRef idx="1">
            <a:schemeClr val="dk1"/>
          </a:lnRef>
          <a:fillRef idx="0">
            <a:schemeClr val="dk1"/>
          </a:fillRef>
          <a:effectRef idx="0">
            <a:schemeClr val="dk1"/>
          </a:effectRef>
          <a:fontRef idx="minor">
            <a:schemeClr val="tx1"/>
          </a:fontRef>
        </p:style>
      </p:cxnSp>
      <p:cxnSp>
        <p:nvCxnSpPr>
          <p:cNvPr id="136" name="Straight Connector 135"/>
          <p:cNvCxnSpPr/>
          <p:nvPr/>
        </p:nvCxnSpPr>
        <p:spPr>
          <a:xfrm>
            <a:off x="10218893" y="2756729"/>
            <a:ext cx="763384" cy="0"/>
          </a:xfrm>
          <a:prstGeom prst="line">
            <a:avLst/>
          </a:prstGeom>
          <a:ln w="19050">
            <a:solidFill>
              <a:srgbClr val="64B64F"/>
            </a:solidFill>
          </a:ln>
        </p:spPr>
        <p:style>
          <a:lnRef idx="1">
            <a:schemeClr val="dk1"/>
          </a:lnRef>
          <a:fillRef idx="0">
            <a:schemeClr val="dk1"/>
          </a:fillRef>
          <a:effectRef idx="0">
            <a:schemeClr val="dk1"/>
          </a:effectRef>
          <a:fontRef idx="minor">
            <a:schemeClr val="tx1"/>
          </a:fontRef>
        </p:style>
      </p:cxnSp>
      <p:sp>
        <p:nvSpPr>
          <p:cNvPr id="137" name="Rectangle 136"/>
          <p:cNvSpPr/>
          <p:nvPr/>
        </p:nvSpPr>
        <p:spPr>
          <a:xfrm>
            <a:off x="9721248" y="2765797"/>
            <a:ext cx="1778000" cy="1549969"/>
          </a:xfrm>
          <a:prstGeom prst="rect">
            <a:avLst/>
          </a:prstGeom>
        </p:spPr>
        <p:txBody>
          <a:bodyPr wrap="square">
            <a:spAutoFit/>
          </a:bodyPr>
          <a:lstStyle>
            <a:defPPr>
              <a:defRPr lang="en-US"/>
            </a:defPPr>
          </a:lstStyle>
          <a:p>
            <a:pPr algn="ctr">
              <a:spcBef>
                <a:spcPts val="599"/>
              </a:spcBef>
              <a:defRPr/>
            </a:pPr>
            <a:r>
              <a:rPr lang="en-US" sz="1400">
                <a:solidFill>
                  <a:schemeClr val="tx1">
                    <a:lumMod val="75000"/>
                    <a:lumOff val="25000"/>
                  </a:schemeClr>
                </a:solidFill>
                <a:latin typeface="+mj-lt"/>
              </a:rPr>
              <a:t>Automation measured as business KPI’s, Machine Learning, Predictive analytics and self remediation</a:t>
            </a:r>
          </a:p>
          <a:p>
            <a:pPr algn="ctr" defTabSz="608853">
              <a:spcBef>
                <a:spcPts val="599"/>
              </a:spcBef>
              <a:defRPr/>
            </a:pPr>
            <a:endParaRPr lang="en-US" sz="1332">
              <a:solidFill>
                <a:prstClr val="black"/>
              </a:solidFill>
              <a:latin typeface="+mj-lt"/>
              <a:cs typeface="Helvetica" panose="020B0604020202020204" pitchFamily="34" charset="0"/>
            </a:endParaRPr>
          </a:p>
        </p:txBody>
      </p:sp>
      <p:sp>
        <p:nvSpPr>
          <p:cNvPr id="138" name="Rectangle 137"/>
          <p:cNvSpPr/>
          <p:nvPr/>
        </p:nvSpPr>
        <p:spPr>
          <a:xfrm>
            <a:off x="3842558" y="3503649"/>
            <a:ext cx="1792111" cy="887236"/>
          </a:xfrm>
          <a:prstGeom prst="rect">
            <a:avLst/>
          </a:prstGeom>
        </p:spPr>
        <p:txBody>
          <a:bodyPr wrap="square">
            <a:spAutoFit/>
          </a:bodyPr>
          <a:lstStyle>
            <a:defPPr>
              <a:defRPr lang="en-US"/>
            </a:defPPr>
          </a:lstStyle>
          <a:p>
            <a:pPr algn="ctr">
              <a:spcBef>
                <a:spcPts val="599"/>
              </a:spcBef>
              <a:defRPr/>
            </a:pPr>
            <a:r>
              <a:rPr lang="en-US" sz="1400">
                <a:solidFill>
                  <a:schemeClr val="tx1">
                    <a:lumMod val="75000"/>
                    <a:lumOff val="25000"/>
                  </a:schemeClr>
                </a:solidFill>
                <a:latin typeface="+mj-lt"/>
              </a:rPr>
              <a:t>Automation in </a:t>
            </a:r>
            <a:r>
              <a:rPr lang="en-US" sz="1400" smtClean="0">
                <a:solidFill>
                  <a:schemeClr val="tx1">
                    <a:lumMod val="75000"/>
                    <a:lumOff val="25000"/>
                  </a:schemeClr>
                </a:solidFill>
                <a:latin typeface="+mj-lt"/>
              </a:rPr>
              <a:t>silos (</a:t>
            </a:r>
            <a:r>
              <a:rPr lang="en-US" sz="1400">
                <a:solidFill>
                  <a:schemeClr val="tx1">
                    <a:lumMod val="75000"/>
                    <a:lumOff val="25000"/>
                  </a:schemeClr>
                </a:solidFill>
                <a:latin typeface="+mj-lt"/>
              </a:rPr>
              <a:t>script based, different approach for each </a:t>
            </a:r>
            <a:r>
              <a:rPr lang="en-US" sz="1400" smtClean="0">
                <a:solidFill>
                  <a:schemeClr val="tx1">
                    <a:lumMod val="75000"/>
                    <a:lumOff val="25000"/>
                  </a:schemeClr>
                </a:solidFill>
                <a:latin typeface="+mj-lt"/>
              </a:rPr>
              <a:t>tower)</a:t>
            </a:r>
            <a:endParaRPr lang="en-US" sz="1400">
              <a:solidFill>
                <a:schemeClr val="tx1">
                  <a:lumMod val="75000"/>
                  <a:lumOff val="25000"/>
                </a:schemeClr>
              </a:solidFill>
              <a:latin typeface="+mj-lt"/>
            </a:endParaRPr>
          </a:p>
        </p:txBody>
      </p:sp>
      <p:sp>
        <p:nvSpPr>
          <p:cNvPr id="139" name="Rectangle 138"/>
          <p:cNvSpPr/>
          <p:nvPr/>
        </p:nvSpPr>
        <p:spPr>
          <a:xfrm>
            <a:off x="5819497" y="3248435"/>
            <a:ext cx="1789533" cy="958787"/>
          </a:xfrm>
          <a:prstGeom prst="rect">
            <a:avLst/>
          </a:prstGeom>
        </p:spPr>
        <p:txBody>
          <a:bodyPr wrap="square">
            <a:spAutoFit/>
          </a:bodyPr>
          <a:lstStyle>
            <a:defPPr>
              <a:defRPr lang="en-US"/>
            </a:defPPr>
          </a:lstStyle>
          <a:p>
            <a:pPr algn="ctr">
              <a:spcBef>
                <a:spcPts val="599"/>
              </a:spcBef>
              <a:defRPr/>
            </a:pPr>
            <a:r>
              <a:rPr lang="en-US" sz="1400" smtClean="0">
                <a:solidFill>
                  <a:schemeClr val="tx1">
                    <a:lumMod val="75000"/>
                    <a:lumOff val="25000"/>
                  </a:schemeClr>
                </a:solidFill>
                <a:latin typeface="+mj-lt"/>
              </a:rPr>
              <a:t>Workflow Automation</a:t>
            </a:r>
          </a:p>
          <a:p>
            <a:pPr algn="ctr">
              <a:spcBef>
                <a:spcPts val="599"/>
              </a:spcBef>
              <a:defRPr/>
            </a:pPr>
            <a:r>
              <a:rPr lang="en-US" sz="1400" smtClean="0">
                <a:solidFill>
                  <a:schemeClr val="tx1">
                    <a:lumMod val="75000"/>
                    <a:lumOff val="25000"/>
                  </a:schemeClr>
                </a:solidFill>
                <a:latin typeface="+mj-lt"/>
              </a:rPr>
              <a:t> (Robotic process automation and Run book automation)  </a:t>
            </a:r>
            <a:endParaRPr lang="en-US" sz="1400">
              <a:solidFill>
                <a:schemeClr val="tx1">
                  <a:lumMod val="75000"/>
                  <a:lumOff val="25000"/>
                </a:schemeClr>
              </a:solidFill>
              <a:latin typeface="+mj-lt"/>
            </a:endParaRPr>
          </a:p>
        </p:txBody>
      </p:sp>
      <p:sp>
        <p:nvSpPr>
          <p:cNvPr id="140" name="Rectangle 139"/>
          <p:cNvSpPr/>
          <p:nvPr/>
        </p:nvSpPr>
        <p:spPr>
          <a:xfrm>
            <a:off x="7807781" y="3016950"/>
            <a:ext cx="1792112" cy="486549"/>
          </a:xfrm>
          <a:prstGeom prst="rect">
            <a:avLst/>
          </a:prstGeom>
        </p:spPr>
        <p:txBody>
          <a:bodyPr wrap="square">
            <a:spAutoFit/>
          </a:bodyPr>
          <a:lstStyle>
            <a:defPPr>
              <a:defRPr lang="en-US"/>
            </a:defPPr>
          </a:lstStyle>
          <a:p>
            <a:pPr algn="ctr">
              <a:spcBef>
                <a:spcPts val="599"/>
              </a:spcBef>
              <a:defRPr/>
            </a:pPr>
            <a:r>
              <a:rPr lang="en-US" sz="1400" smtClean="0">
                <a:solidFill>
                  <a:schemeClr val="tx1">
                    <a:lumMod val="75000"/>
                    <a:lumOff val="25000"/>
                  </a:schemeClr>
                </a:solidFill>
                <a:latin typeface="+mj-lt"/>
              </a:rPr>
              <a:t>Orchestration</a:t>
            </a:r>
            <a:r>
              <a:rPr lang="en-US" sz="1400">
                <a:solidFill>
                  <a:schemeClr val="tx1">
                    <a:lumMod val="75000"/>
                    <a:lumOff val="25000"/>
                  </a:schemeClr>
                </a:solidFill>
                <a:latin typeface="+mj-lt"/>
              </a:rPr>
              <a:t>, NLP, Conversational AI</a:t>
            </a:r>
          </a:p>
        </p:txBody>
      </p:sp>
      <p:cxnSp>
        <p:nvCxnSpPr>
          <p:cNvPr id="142" name="Straight Connector 141"/>
          <p:cNvCxnSpPr/>
          <p:nvPr/>
        </p:nvCxnSpPr>
        <p:spPr>
          <a:xfrm>
            <a:off x="8303376" y="2994650"/>
            <a:ext cx="763384" cy="0"/>
          </a:xfrm>
          <a:prstGeom prst="line">
            <a:avLst/>
          </a:prstGeom>
          <a:ln w="19050">
            <a:solidFill>
              <a:srgbClr val="5FA849"/>
            </a:solidFill>
          </a:ln>
        </p:spPr>
        <p:style>
          <a:lnRef idx="1">
            <a:schemeClr val="dk1"/>
          </a:lnRef>
          <a:fillRef idx="0">
            <a:schemeClr val="dk1"/>
          </a:fillRef>
          <a:effectRef idx="0">
            <a:schemeClr val="dk1"/>
          </a:effectRef>
          <a:fontRef idx="minor">
            <a:schemeClr val="tx1"/>
          </a:fontRef>
        </p:style>
      </p:cxnSp>
      <p:sp>
        <p:nvSpPr>
          <p:cNvPr id="143" name="Pentagon 142"/>
          <p:cNvSpPr/>
          <p:nvPr/>
        </p:nvSpPr>
        <p:spPr bwMode="auto">
          <a:xfrm>
            <a:off x="519786" y="4037823"/>
            <a:ext cx="1230461" cy="528656"/>
          </a:xfrm>
          <a:prstGeom prst="homePlate">
            <a:avLst/>
          </a:prstGeom>
          <a:gradFill rotWithShape="1">
            <a:gsLst>
              <a:gs pos="0">
                <a:srgbClr val="07AB61"/>
              </a:gs>
              <a:gs pos="100000">
                <a:srgbClr val="00368E"/>
              </a:gs>
            </a:gsLst>
            <a:lin ang="0" scaled="1"/>
          </a:gradFill>
          <a:ln w="9525" cap="flat" cmpd="sng" algn="ctr">
            <a:noFill/>
            <a:prstDash val="solid"/>
          </a:ln>
          <a:effectLst/>
        </p:spPr>
        <p:txBody>
          <a:bodyPr rtlCol="0" anchor="ctr"/>
          <a:lstStyle>
            <a:defPPr>
              <a:defRPr lang="en-US"/>
            </a:defPPr>
          </a:lstStyle>
          <a:p>
            <a:pPr algn="ctr"/>
            <a:r>
              <a:rPr lang="en-US" sz="1400" b="1">
                <a:solidFill>
                  <a:schemeClr val="bg1"/>
                </a:solidFill>
                <a:latin typeface="+mj-lt"/>
              </a:rPr>
              <a:t>Automation</a:t>
            </a:r>
          </a:p>
        </p:txBody>
      </p:sp>
      <p:sp>
        <p:nvSpPr>
          <p:cNvPr id="144" name="Pentagon 143"/>
          <p:cNvSpPr/>
          <p:nvPr/>
        </p:nvSpPr>
        <p:spPr bwMode="auto">
          <a:xfrm>
            <a:off x="551459" y="4805279"/>
            <a:ext cx="1230461" cy="500155"/>
          </a:xfrm>
          <a:prstGeom prst="homePlate">
            <a:avLst/>
          </a:prstGeom>
          <a:solidFill>
            <a:srgbClr val="51576F"/>
          </a:solidFill>
          <a:ln w="9525" cap="flat" cmpd="sng" algn="ctr">
            <a:noFill/>
            <a:prstDash val="solid"/>
          </a:ln>
          <a:effectLst/>
        </p:spPr>
        <p:txBody>
          <a:bodyPr rtlCol="0" anchor="ctr"/>
          <a:lstStyle>
            <a:defPPr>
              <a:defRPr lang="en-US"/>
            </a:defPPr>
          </a:lstStyle>
          <a:p>
            <a:pPr algn="ctr"/>
            <a:r>
              <a:rPr lang="en-US" sz="1400" b="1" dirty="0" smtClean="0">
                <a:solidFill>
                  <a:prstClr val="white"/>
                </a:solidFill>
                <a:latin typeface="+mj-lt"/>
              </a:rPr>
              <a:t>Potential Use Case</a:t>
            </a:r>
            <a:endParaRPr lang="en-US" sz="1200" b="1" dirty="0">
              <a:solidFill>
                <a:prstClr val="white"/>
              </a:solidFill>
              <a:latin typeface="+mj-lt"/>
            </a:endParaRPr>
          </a:p>
        </p:txBody>
      </p:sp>
      <p:cxnSp>
        <p:nvCxnSpPr>
          <p:cNvPr id="146" name="Straight Connector 145"/>
          <p:cNvCxnSpPr/>
          <p:nvPr/>
        </p:nvCxnSpPr>
        <p:spPr>
          <a:xfrm>
            <a:off x="2373381" y="3901807"/>
            <a:ext cx="763384" cy="0"/>
          </a:xfrm>
          <a:prstGeom prst="line">
            <a:avLst/>
          </a:prstGeom>
          <a:ln w="19050">
            <a:solidFill>
              <a:srgbClr val="37B4DA"/>
            </a:solidFill>
          </a:ln>
        </p:spPr>
        <p:style>
          <a:lnRef idx="1">
            <a:schemeClr val="dk1"/>
          </a:lnRef>
          <a:fillRef idx="0">
            <a:schemeClr val="dk1"/>
          </a:fillRef>
          <a:effectRef idx="0">
            <a:schemeClr val="dk1"/>
          </a:effectRef>
          <a:fontRef idx="minor">
            <a:schemeClr val="tx1"/>
          </a:fontRef>
        </p:style>
      </p:cxnSp>
      <p:grpSp>
        <p:nvGrpSpPr>
          <p:cNvPr id="155" name="Group 154"/>
          <p:cNvGrpSpPr/>
          <p:nvPr/>
        </p:nvGrpSpPr>
        <p:grpSpPr>
          <a:xfrm>
            <a:off x="4654651" y="1159089"/>
            <a:ext cx="330908" cy="459276"/>
            <a:chOff x="9578975" y="1387475"/>
            <a:chExt cx="425451" cy="635000"/>
          </a:xfrm>
          <a:solidFill>
            <a:schemeClr val="accent1">
              <a:lumMod val="50000"/>
            </a:schemeClr>
          </a:solidFill>
        </p:grpSpPr>
        <p:sp>
          <p:nvSpPr>
            <p:cNvPr id="156" name="Freeform 23"/>
            <p:cNvSpPr>
              <a:spLocks noEditPoints="1"/>
            </p:cNvSpPr>
            <p:nvPr/>
          </p:nvSpPr>
          <p:spPr bwMode="auto">
            <a:xfrm>
              <a:off x="9578975" y="1387475"/>
              <a:ext cx="425451" cy="635000"/>
            </a:xfrm>
            <a:custGeom>
              <a:avLst/>
              <a:gdLst>
                <a:gd name="T0" fmla="*/ 2 w 957"/>
                <a:gd name="T1" fmla="*/ 504 h 1427"/>
                <a:gd name="T2" fmla="*/ 401 w 957"/>
                <a:gd name="T3" fmla="*/ 40 h 1427"/>
                <a:gd name="T4" fmla="*/ 938 w 957"/>
                <a:gd name="T5" fmla="*/ 418 h 1427"/>
                <a:gd name="T6" fmla="*/ 908 w 957"/>
                <a:gd name="T7" fmla="*/ 685 h 1427"/>
                <a:gd name="T8" fmla="*/ 713 w 957"/>
                <a:gd name="T9" fmla="*/ 1078 h 1427"/>
                <a:gd name="T10" fmla="*/ 538 w 957"/>
                <a:gd name="T11" fmla="*/ 1364 h 1427"/>
                <a:gd name="T12" fmla="*/ 406 w 957"/>
                <a:gd name="T13" fmla="*/ 1362 h 1427"/>
                <a:gd name="T14" fmla="*/ 174 w 957"/>
                <a:gd name="T15" fmla="*/ 971 h 1427"/>
                <a:gd name="T16" fmla="*/ 29 w 957"/>
                <a:gd name="T17" fmla="*/ 653 h 1427"/>
                <a:gd name="T18" fmla="*/ 2 w 957"/>
                <a:gd name="T19" fmla="*/ 504 h 1427"/>
                <a:gd name="T20" fmla="*/ 87 w 957"/>
                <a:gd name="T21" fmla="*/ 501 h 1427"/>
                <a:gd name="T22" fmla="*/ 136 w 957"/>
                <a:gd name="T23" fmla="*/ 697 h 1427"/>
                <a:gd name="T24" fmla="*/ 400 w 957"/>
                <a:gd name="T25" fmla="*/ 1191 h 1427"/>
                <a:gd name="T26" fmla="*/ 445 w 957"/>
                <a:gd name="T27" fmla="*/ 1261 h 1427"/>
                <a:gd name="T28" fmla="*/ 503 w 957"/>
                <a:gd name="T29" fmla="*/ 1261 h 1427"/>
                <a:gd name="T30" fmla="*/ 519 w 957"/>
                <a:gd name="T31" fmla="*/ 1238 h 1427"/>
                <a:gd name="T32" fmla="*/ 672 w 957"/>
                <a:gd name="T33" fmla="*/ 979 h 1427"/>
                <a:gd name="T34" fmla="*/ 840 w 957"/>
                <a:gd name="T35" fmla="*/ 618 h 1427"/>
                <a:gd name="T36" fmla="*/ 852 w 957"/>
                <a:gd name="T37" fmla="*/ 427 h 1427"/>
                <a:gd name="T38" fmla="*/ 413 w 957"/>
                <a:gd name="T39" fmla="*/ 125 h 1427"/>
                <a:gd name="T40" fmla="*/ 87 w 957"/>
                <a:gd name="T41" fmla="*/ 501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7" h="1427">
                  <a:moveTo>
                    <a:pt x="2" y="504"/>
                  </a:moveTo>
                  <a:cubicBezTo>
                    <a:pt x="5" y="271"/>
                    <a:pt x="170" y="76"/>
                    <a:pt x="401" y="40"/>
                  </a:cubicBezTo>
                  <a:cubicBezTo>
                    <a:pt x="657" y="0"/>
                    <a:pt x="888" y="170"/>
                    <a:pt x="938" y="418"/>
                  </a:cubicBezTo>
                  <a:cubicBezTo>
                    <a:pt x="957" y="511"/>
                    <a:pt x="941" y="599"/>
                    <a:pt x="908" y="685"/>
                  </a:cubicBezTo>
                  <a:cubicBezTo>
                    <a:pt x="856" y="823"/>
                    <a:pt x="787" y="952"/>
                    <a:pt x="713" y="1078"/>
                  </a:cubicBezTo>
                  <a:cubicBezTo>
                    <a:pt x="656" y="1174"/>
                    <a:pt x="598" y="1269"/>
                    <a:pt x="538" y="1364"/>
                  </a:cubicBezTo>
                  <a:cubicBezTo>
                    <a:pt x="498" y="1427"/>
                    <a:pt x="446" y="1427"/>
                    <a:pt x="406" y="1362"/>
                  </a:cubicBezTo>
                  <a:cubicBezTo>
                    <a:pt x="328" y="1233"/>
                    <a:pt x="250" y="1103"/>
                    <a:pt x="174" y="971"/>
                  </a:cubicBezTo>
                  <a:cubicBezTo>
                    <a:pt x="116" y="870"/>
                    <a:pt x="65" y="764"/>
                    <a:pt x="29" y="653"/>
                  </a:cubicBezTo>
                  <a:cubicBezTo>
                    <a:pt x="13" y="605"/>
                    <a:pt x="0" y="556"/>
                    <a:pt x="2" y="504"/>
                  </a:cubicBezTo>
                  <a:close/>
                  <a:moveTo>
                    <a:pt x="87" y="501"/>
                  </a:moveTo>
                  <a:cubicBezTo>
                    <a:pt x="87" y="551"/>
                    <a:pt x="105" y="621"/>
                    <a:pt x="136" y="697"/>
                  </a:cubicBezTo>
                  <a:cubicBezTo>
                    <a:pt x="208" y="870"/>
                    <a:pt x="302" y="1032"/>
                    <a:pt x="400" y="1191"/>
                  </a:cubicBezTo>
                  <a:cubicBezTo>
                    <a:pt x="414" y="1215"/>
                    <a:pt x="429" y="1239"/>
                    <a:pt x="445" y="1261"/>
                  </a:cubicBezTo>
                  <a:cubicBezTo>
                    <a:pt x="464" y="1287"/>
                    <a:pt x="483" y="1287"/>
                    <a:pt x="503" y="1261"/>
                  </a:cubicBezTo>
                  <a:cubicBezTo>
                    <a:pt x="509" y="1254"/>
                    <a:pt x="514" y="1246"/>
                    <a:pt x="519" y="1238"/>
                  </a:cubicBezTo>
                  <a:cubicBezTo>
                    <a:pt x="570" y="1152"/>
                    <a:pt x="622" y="1066"/>
                    <a:pt x="672" y="979"/>
                  </a:cubicBezTo>
                  <a:cubicBezTo>
                    <a:pt x="737" y="863"/>
                    <a:pt x="799" y="745"/>
                    <a:pt x="840" y="618"/>
                  </a:cubicBezTo>
                  <a:cubicBezTo>
                    <a:pt x="860" y="555"/>
                    <a:pt x="866" y="492"/>
                    <a:pt x="852" y="427"/>
                  </a:cubicBezTo>
                  <a:cubicBezTo>
                    <a:pt x="811" y="234"/>
                    <a:pt x="625" y="92"/>
                    <a:pt x="413" y="125"/>
                  </a:cubicBezTo>
                  <a:cubicBezTo>
                    <a:pt x="231" y="153"/>
                    <a:pt x="87" y="317"/>
                    <a:pt x="87" y="501"/>
                  </a:cubicBezTo>
                  <a:close/>
                </a:path>
              </a:pathLst>
            </a:custGeom>
            <a:grpFill/>
            <a:ln>
              <a:noFill/>
            </a:ln>
            <a:extLst>
              <a:ext uri="{91240B29-F687-4f45-9708-019B960494DF}">
                <a14:hiddenLine xmlns="" xmlns:a14="http://schemas.microsoft.com/office/drawing/2010/main" xmlns:p15="http://schemas.microsoft.com/office/powerpoint/2012/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endParaRPr lang="en-US">
                <a:latin typeface="+mj-lt"/>
              </a:endParaRPr>
            </a:p>
          </p:txBody>
        </p:sp>
        <p:sp>
          <p:nvSpPr>
            <p:cNvPr id="157" name="Freeform 24"/>
            <p:cNvSpPr>
              <a:spLocks noEditPoints="1"/>
            </p:cNvSpPr>
            <p:nvPr/>
          </p:nvSpPr>
          <p:spPr bwMode="auto">
            <a:xfrm>
              <a:off x="9712325" y="1536700"/>
              <a:ext cx="153988" cy="153988"/>
            </a:xfrm>
            <a:custGeom>
              <a:avLst/>
              <a:gdLst>
                <a:gd name="T0" fmla="*/ 173 w 344"/>
                <a:gd name="T1" fmla="*/ 344 h 345"/>
                <a:gd name="T2" fmla="*/ 0 w 344"/>
                <a:gd name="T3" fmla="*/ 175 h 345"/>
                <a:gd name="T4" fmla="*/ 171 w 344"/>
                <a:gd name="T5" fmla="*/ 1 h 345"/>
                <a:gd name="T6" fmla="*/ 344 w 344"/>
                <a:gd name="T7" fmla="*/ 174 h 345"/>
                <a:gd name="T8" fmla="*/ 173 w 344"/>
                <a:gd name="T9" fmla="*/ 344 h 345"/>
                <a:gd name="T10" fmla="*/ 43 w 344"/>
                <a:gd name="T11" fmla="*/ 172 h 345"/>
                <a:gd name="T12" fmla="*/ 172 w 344"/>
                <a:gd name="T13" fmla="*/ 302 h 345"/>
                <a:gd name="T14" fmla="*/ 300 w 344"/>
                <a:gd name="T15" fmla="*/ 174 h 345"/>
                <a:gd name="T16" fmla="*/ 172 w 344"/>
                <a:gd name="T17" fmla="*/ 44 h 345"/>
                <a:gd name="T18" fmla="*/ 43 w 344"/>
                <a:gd name="T19" fmla="*/ 1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5">
                  <a:moveTo>
                    <a:pt x="173" y="344"/>
                  </a:moveTo>
                  <a:cubicBezTo>
                    <a:pt x="78" y="345"/>
                    <a:pt x="1" y="269"/>
                    <a:pt x="0" y="175"/>
                  </a:cubicBezTo>
                  <a:cubicBezTo>
                    <a:pt x="0" y="79"/>
                    <a:pt x="76" y="2"/>
                    <a:pt x="171" y="1"/>
                  </a:cubicBezTo>
                  <a:cubicBezTo>
                    <a:pt x="266" y="0"/>
                    <a:pt x="344" y="78"/>
                    <a:pt x="344" y="174"/>
                  </a:cubicBezTo>
                  <a:cubicBezTo>
                    <a:pt x="344" y="267"/>
                    <a:pt x="267" y="344"/>
                    <a:pt x="173" y="344"/>
                  </a:cubicBezTo>
                  <a:close/>
                  <a:moveTo>
                    <a:pt x="43" y="172"/>
                  </a:moveTo>
                  <a:cubicBezTo>
                    <a:pt x="44" y="245"/>
                    <a:pt x="99" y="301"/>
                    <a:pt x="172" y="302"/>
                  </a:cubicBezTo>
                  <a:cubicBezTo>
                    <a:pt x="243" y="302"/>
                    <a:pt x="301" y="244"/>
                    <a:pt x="300" y="174"/>
                  </a:cubicBezTo>
                  <a:cubicBezTo>
                    <a:pt x="300" y="102"/>
                    <a:pt x="243" y="44"/>
                    <a:pt x="172" y="44"/>
                  </a:cubicBezTo>
                  <a:cubicBezTo>
                    <a:pt x="101" y="44"/>
                    <a:pt x="43" y="101"/>
                    <a:pt x="43" y="172"/>
                  </a:cubicBezTo>
                  <a:close/>
                </a:path>
              </a:pathLst>
            </a:custGeom>
            <a:solidFill>
              <a:srgbClr val="1F4E79"/>
            </a:solidFill>
            <a:ln>
              <a:noFill/>
            </a:ln>
            <a:extLst>
              <a:ext uri="{91240B29-F687-4f45-9708-019B960494DF}">
                <a14:hiddenLine xmlns="" xmlns:a14="http://schemas.microsoft.com/office/drawing/2010/main" xmlns:p15="http://schemas.microsoft.com/office/powerpoint/2012/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endParaRPr lang="en-US">
                <a:latin typeface="+mj-lt"/>
              </a:endParaRPr>
            </a:p>
          </p:txBody>
        </p:sp>
      </p:grpSp>
      <p:sp>
        <p:nvSpPr>
          <p:cNvPr id="158" name="Rectangular Callout 157"/>
          <p:cNvSpPr/>
          <p:nvPr/>
        </p:nvSpPr>
        <p:spPr bwMode="auto">
          <a:xfrm>
            <a:off x="4165955" y="891464"/>
            <a:ext cx="1184825" cy="217780"/>
          </a:xfrm>
          <a:prstGeom prst="wedgeRectCallout">
            <a:avLst>
              <a:gd name="adj1" fmla="val 19016"/>
              <a:gd name="adj2" fmla="val 17872"/>
            </a:avLst>
          </a:prstGeom>
          <a:solidFill>
            <a:srgbClr val="92D050"/>
          </a:solidFill>
          <a:ln w="9525" cap="flat" cmpd="sng" algn="ctr">
            <a:noFill/>
            <a:prstDash val="solid"/>
            <a:round/>
            <a:headEnd type="none" w="med" len="med"/>
            <a:tailEnd type="none" w="med" len="med"/>
          </a:ln>
          <a:effectLst/>
        </p:spPr>
        <p:txBody>
          <a:bodyPr vert="horz" wrap="square" lIns="76106" tIns="38053" rIns="76106" bIns="38053" numCol="1" rtlCol="0" anchor="ctr" anchorCtr="0" compatLnSpc="1">
            <a:prstTxWarp prst="textNoShape">
              <a:avLst/>
            </a:prstTxWarp>
          </a:bodyPr>
          <a:lstStyle>
            <a:defPPr>
              <a:defRPr lang="en-US"/>
            </a:defPPr>
          </a:lstStyle>
          <a:p>
            <a:pPr algn="ctr" defTabSz="761048" eaLnBrk="0" fontAlgn="base" hangingPunct="0">
              <a:spcBef>
                <a:spcPct val="0"/>
              </a:spcBef>
              <a:spcAft>
                <a:spcPct val="0"/>
              </a:spcAft>
              <a:defRPr/>
            </a:pPr>
            <a:r>
              <a:rPr lang="en-IN" sz="1332" b="1" dirty="0">
                <a:solidFill>
                  <a:prstClr val="black"/>
                </a:solidFill>
                <a:latin typeface="+mj-lt"/>
                <a:ea typeface="ＭＳ Ｐゴシック" charset="-128"/>
                <a:cs typeface="Calibri"/>
              </a:rPr>
              <a:t>We are here</a:t>
            </a:r>
            <a:endParaRPr lang="en-US" sz="1332" b="1" dirty="0">
              <a:solidFill>
                <a:prstClr val="black"/>
              </a:solidFill>
              <a:latin typeface="+mj-lt"/>
              <a:ea typeface="ＭＳ Ｐゴシック" charset="-128"/>
              <a:cs typeface="Calibri"/>
            </a:endParaRPr>
          </a:p>
        </p:txBody>
      </p:sp>
      <p:sp>
        <p:nvSpPr>
          <p:cNvPr id="7" name="Rectangle 6"/>
          <p:cNvSpPr/>
          <p:nvPr/>
        </p:nvSpPr>
        <p:spPr>
          <a:xfrm>
            <a:off x="387350" y="4615951"/>
            <a:ext cx="11199434" cy="156128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735071" y="4631568"/>
            <a:ext cx="2030616"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t>Incident Triaging</a:t>
            </a:r>
          </a:p>
          <a:p>
            <a:pPr marL="171450" indent="-171450">
              <a:buFont typeface="Arial" panose="020B0604020202020204" pitchFamily="34" charset="0"/>
              <a:buChar char="•"/>
            </a:pPr>
            <a:r>
              <a:rPr lang="en-US" sz="1400" dirty="0" smtClean="0"/>
              <a:t>Reporting Automation</a:t>
            </a:r>
          </a:p>
          <a:p>
            <a:pPr marL="171450" indent="-171450">
              <a:buFont typeface="Arial" panose="020B0604020202020204" pitchFamily="34" charset="0"/>
              <a:buChar char="•"/>
            </a:pPr>
            <a:r>
              <a:rPr lang="en-US" sz="1400" dirty="0" smtClean="0"/>
              <a:t>IT Workflow Automations</a:t>
            </a:r>
            <a:endParaRPr lang="en-US" sz="1400" dirty="0"/>
          </a:p>
        </p:txBody>
      </p:sp>
      <p:sp>
        <p:nvSpPr>
          <p:cNvPr id="12" name="Right Arrow 11"/>
          <p:cNvSpPr/>
          <p:nvPr/>
        </p:nvSpPr>
        <p:spPr>
          <a:xfrm>
            <a:off x="5819462" y="5053152"/>
            <a:ext cx="5409370" cy="22900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7072145" y="4776586"/>
            <a:ext cx="3712940" cy="307777"/>
          </a:xfrm>
          <a:prstGeom prst="rect">
            <a:avLst/>
          </a:prstGeom>
          <a:noFill/>
        </p:spPr>
        <p:txBody>
          <a:bodyPr wrap="none" rtlCol="0">
            <a:spAutoFit/>
          </a:bodyPr>
          <a:lstStyle/>
          <a:p>
            <a:r>
              <a:rPr lang="en-US" sz="1400" b="1" dirty="0" smtClean="0"/>
              <a:t>Identify incremental Automation Opportunities</a:t>
            </a:r>
            <a:endParaRPr lang="en-US" sz="1400" b="1" dirty="0"/>
          </a:p>
        </p:txBody>
      </p:sp>
      <p:sp>
        <p:nvSpPr>
          <p:cNvPr id="83" name="Pentagon 82"/>
          <p:cNvSpPr/>
          <p:nvPr/>
        </p:nvSpPr>
        <p:spPr bwMode="auto">
          <a:xfrm>
            <a:off x="575222" y="5627126"/>
            <a:ext cx="1230461" cy="500155"/>
          </a:xfrm>
          <a:prstGeom prst="homePlate">
            <a:avLst/>
          </a:prstGeom>
          <a:solidFill>
            <a:srgbClr val="51576F"/>
          </a:solidFill>
          <a:ln w="9525" cap="flat" cmpd="sng" algn="ctr">
            <a:noFill/>
            <a:prstDash val="solid"/>
          </a:ln>
          <a:effectLst/>
        </p:spPr>
        <p:txBody>
          <a:bodyPr rtlCol="0" anchor="ctr"/>
          <a:lstStyle>
            <a:defPPr>
              <a:defRPr lang="en-US"/>
            </a:defPPr>
          </a:lstStyle>
          <a:p>
            <a:pPr algn="ctr"/>
            <a:r>
              <a:rPr lang="en-US" sz="1400" b="1" dirty="0" smtClean="0">
                <a:solidFill>
                  <a:prstClr val="white"/>
                </a:solidFill>
                <a:latin typeface="+mj-lt"/>
              </a:rPr>
              <a:t>Benefits</a:t>
            </a:r>
            <a:endParaRPr lang="en-US" sz="1200" b="1" dirty="0">
              <a:solidFill>
                <a:prstClr val="white"/>
              </a:solidFill>
              <a:latin typeface="+mj-lt"/>
            </a:endParaRPr>
          </a:p>
        </p:txBody>
      </p:sp>
      <p:sp>
        <p:nvSpPr>
          <p:cNvPr id="14" name="TextBox 13"/>
          <p:cNvSpPr txBox="1"/>
          <p:nvPr/>
        </p:nvSpPr>
        <p:spPr>
          <a:xfrm>
            <a:off x="387350" y="1171041"/>
            <a:ext cx="184731" cy="369332"/>
          </a:xfrm>
          <a:prstGeom prst="rect">
            <a:avLst/>
          </a:prstGeom>
          <a:noFill/>
        </p:spPr>
        <p:txBody>
          <a:bodyPr wrap="none" rtlCol="0">
            <a:spAutoFit/>
          </a:bodyPr>
          <a:lstStyle/>
          <a:p>
            <a:endParaRPr lang="en-US" dirty="0"/>
          </a:p>
        </p:txBody>
      </p:sp>
      <p:sp>
        <p:nvSpPr>
          <p:cNvPr id="85" name="TextBox 84"/>
          <p:cNvSpPr txBox="1"/>
          <p:nvPr/>
        </p:nvSpPr>
        <p:spPr>
          <a:xfrm>
            <a:off x="3730128" y="5614502"/>
            <a:ext cx="1958704"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t>2X-3X Effort And Cycle Time Reduction</a:t>
            </a:r>
            <a:endParaRPr lang="en-US" sz="1400" dirty="0"/>
          </a:p>
        </p:txBody>
      </p:sp>
      <p:sp>
        <p:nvSpPr>
          <p:cNvPr id="86" name="Oval 85">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3</a:t>
            </a:r>
          </a:p>
        </p:txBody>
      </p:sp>
    </p:spTree>
    <p:extLst>
      <p:ext uri="{BB962C8B-B14F-4D97-AF65-F5344CB8AC3E}">
        <p14:creationId xmlns:p14="http://schemas.microsoft.com/office/powerpoint/2010/main" val="1500595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0DBBC3-69F5-584E-9634-0731918DCB5E}"/>
              </a:ext>
            </a:extLst>
          </p:cNvPr>
          <p:cNvSpPr>
            <a:spLocks noGrp="1"/>
          </p:cNvSpPr>
          <p:nvPr>
            <p:ph type="title"/>
          </p:nvPr>
        </p:nvSpPr>
        <p:spPr/>
        <p:txBody>
          <a:bodyPr>
            <a:normAutofit/>
          </a:bodyPr>
          <a:lstStyle/>
          <a:p>
            <a:r>
              <a:rPr lang="en-US" b="0" dirty="0" smtClean="0"/>
              <a:t>The Cognizant Team</a:t>
            </a:r>
            <a:endParaRPr lang="en-US" b="0" dirty="0"/>
          </a:p>
        </p:txBody>
      </p:sp>
      <p:sp>
        <p:nvSpPr>
          <p:cNvPr id="3" name="Slide Number Placeholder 2">
            <a:extLst>
              <a:ext uri="{FF2B5EF4-FFF2-40B4-BE49-F238E27FC236}">
                <a16:creationId xmlns:a16="http://schemas.microsoft.com/office/drawing/2014/main" id="{2257B3A7-36BF-4F0B-90BE-9534ADFC84E2}"/>
              </a:ext>
            </a:extLst>
          </p:cNvPr>
          <p:cNvSpPr>
            <a:spLocks noGrp="1"/>
          </p:cNvSpPr>
          <p:nvPr>
            <p:ph type="sldNum" sz="quarter" idx="4294967295"/>
          </p:nvPr>
        </p:nvSpPr>
        <p:spPr>
          <a:xfrm>
            <a:off x="9448800" y="5842000"/>
            <a:ext cx="2743200" cy="365125"/>
          </a:xfrm>
        </p:spPr>
        <p:txBody>
          <a:bodyPr/>
          <a:lstStyle/>
          <a:p>
            <a:pPr defTabSz="609570"/>
            <a:fld id="{2EFEF571-C9B4-4D92-A7F7-315B894862A8}" type="slidenum">
              <a:rPr lang="en-US">
                <a:solidFill>
                  <a:srgbClr val="00B140"/>
                </a:solidFill>
                <a:latin typeface="Arial" panose="020B0604020202020204" pitchFamily="34" charset="0"/>
                <a:cs typeface="Arial" panose="020B0604020202020204" pitchFamily="34" charset="0"/>
              </a:rPr>
              <a:pPr defTabSz="609570"/>
              <a:t>2</a:t>
            </a:fld>
            <a:endParaRPr lang="en-US" dirty="0">
              <a:solidFill>
                <a:srgbClr val="00B140"/>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380D8C1A-3911-3E44-BB8F-EAB80B7DC504}"/>
              </a:ext>
            </a:extLst>
          </p:cNvPr>
          <p:cNvPicPr>
            <a:picLocks noChangeAspect="1"/>
          </p:cNvPicPr>
          <p:nvPr/>
        </p:nvPicPr>
        <p:blipFill>
          <a:blip r:embed="rId3"/>
          <a:stretch>
            <a:fillRect/>
          </a:stretch>
        </p:blipFill>
        <p:spPr>
          <a:xfrm>
            <a:off x="5272937" y="1286743"/>
            <a:ext cx="414587" cy="414587"/>
          </a:xfrm>
          <a:prstGeom prst="rect">
            <a:avLst/>
          </a:prstGeom>
        </p:spPr>
      </p:pic>
      <p:sp>
        <p:nvSpPr>
          <p:cNvPr id="4" name="TextBox 3"/>
          <p:cNvSpPr txBox="1"/>
          <p:nvPr/>
        </p:nvSpPr>
        <p:spPr>
          <a:xfrm>
            <a:off x="5037679" y="4581684"/>
            <a:ext cx="1602490" cy="954107"/>
          </a:xfrm>
          <a:prstGeom prst="rect">
            <a:avLst/>
          </a:prstGeom>
          <a:noFill/>
        </p:spPr>
        <p:txBody>
          <a:bodyPr wrap="none" rtlCol="0">
            <a:spAutoFit/>
          </a:bodyPr>
          <a:lstStyle/>
          <a:p>
            <a:r>
              <a:rPr lang="en-US" sz="1400" b="1" dirty="0" smtClean="0"/>
              <a:t>Tore Wick</a:t>
            </a:r>
          </a:p>
          <a:p>
            <a:r>
              <a:rPr lang="en-US" sz="1400" dirty="0" err="1" smtClean="0"/>
              <a:t>Assc</a:t>
            </a:r>
            <a:r>
              <a:rPr lang="en-US" sz="1400" dirty="0" smtClean="0"/>
              <a:t>. Director</a:t>
            </a:r>
          </a:p>
          <a:p>
            <a:r>
              <a:rPr lang="en-US" sz="1400" dirty="0" smtClean="0"/>
              <a:t>Global Sales</a:t>
            </a:r>
          </a:p>
          <a:p>
            <a:r>
              <a:rPr lang="en-US" sz="1400" dirty="0" smtClean="0"/>
              <a:t>Travel &amp; Hospitality</a:t>
            </a:r>
            <a:endParaRPr lang="en-US" sz="1400" dirty="0"/>
          </a:p>
        </p:txBody>
      </p:sp>
      <p:sp>
        <p:nvSpPr>
          <p:cNvPr id="11" name="TextBox 10"/>
          <p:cNvSpPr txBox="1"/>
          <p:nvPr/>
        </p:nvSpPr>
        <p:spPr>
          <a:xfrm>
            <a:off x="446680" y="2134198"/>
            <a:ext cx="1602490" cy="1169551"/>
          </a:xfrm>
          <a:prstGeom prst="rect">
            <a:avLst/>
          </a:prstGeom>
          <a:noFill/>
        </p:spPr>
        <p:txBody>
          <a:bodyPr wrap="none" rtlCol="0">
            <a:spAutoFit/>
          </a:bodyPr>
          <a:lstStyle/>
          <a:p>
            <a:r>
              <a:rPr lang="en-US" sz="1400" b="1" dirty="0" smtClean="0"/>
              <a:t>Joseph</a:t>
            </a:r>
          </a:p>
          <a:p>
            <a:r>
              <a:rPr lang="en-US" sz="1400" b="1" dirty="0" smtClean="0"/>
              <a:t>Lambert</a:t>
            </a:r>
          </a:p>
          <a:p>
            <a:r>
              <a:rPr lang="en-US" sz="1400" b="1" dirty="0" smtClean="0"/>
              <a:t>Rajadurai</a:t>
            </a:r>
          </a:p>
          <a:p>
            <a:r>
              <a:rPr lang="en-US" sz="1400" dirty="0"/>
              <a:t>Vice President</a:t>
            </a:r>
            <a:r>
              <a:rPr lang="en-US" sz="1400" dirty="0" smtClean="0"/>
              <a:t>,</a:t>
            </a:r>
          </a:p>
          <a:p>
            <a:r>
              <a:rPr lang="en-US" sz="1400" dirty="0" smtClean="0"/>
              <a:t>Travel </a:t>
            </a:r>
            <a:r>
              <a:rPr lang="en-US" sz="1400" dirty="0"/>
              <a:t>&amp; Hospitality</a:t>
            </a:r>
          </a:p>
        </p:txBody>
      </p:sp>
      <p:sp>
        <p:nvSpPr>
          <p:cNvPr id="12" name="TextBox 11"/>
          <p:cNvSpPr txBox="1"/>
          <p:nvPr/>
        </p:nvSpPr>
        <p:spPr>
          <a:xfrm>
            <a:off x="2722606" y="2152377"/>
            <a:ext cx="1602490" cy="954107"/>
          </a:xfrm>
          <a:prstGeom prst="rect">
            <a:avLst/>
          </a:prstGeom>
          <a:noFill/>
        </p:spPr>
        <p:txBody>
          <a:bodyPr wrap="none" rtlCol="0">
            <a:spAutoFit/>
          </a:bodyPr>
          <a:lstStyle/>
          <a:p>
            <a:r>
              <a:rPr lang="en-US" sz="1400" b="1" dirty="0"/>
              <a:t>Micah </a:t>
            </a:r>
            <a:r>
              <a:rPr lang="en-US" sz="1400" b="1" dirty="0" smtClean="0"/>
              <a:t>Friedman</a:t>
            </a:r>
          </a:p>
          <a:p>
            <a:r>
              <a:rPr lang="en-US" sz="1400" dirty="0" smtClean="0"/>
              <a:t>Sr. Director</a:t>
            </a:r>
          </a:p>
          <a:p>
            <a:r>
              <a:rPr lang="en-US" sz="1400" dirty="0" smtClean="0"/>
              <a:t>Consulting</a:t>
            </a:r>
            <a:br>
              <a:rPr lang="en-US" sz="1400" dirty="0" smtClean="0"/>
            </a:br>
            <a:r>
              <a:rPr lang="en-US" sz="1400" dirty="0" smtClean="0"/>
              <a:t>Travel &amp; Hospitality</a:t>
            </a:r>
            <a:endParaRPr lang="en-US" sz="1400" dirty="0"/>
          </a:p>
        </p:txBody>
      </p:sp>
      <p:sp>
        <p:nvSpPr>
          <p:cNvPr id="13" name="TextBox 12"/>
          <p:cNvSpPr txBox="1"/>
          <p:nvPr/>
        </p:nvSpPr>
        <p:spPr>
          <a:xfrm>
            <a:off x="7414113" y="4569413"/>
            <a:ext cx="1615507" cy="954107"/>
          </a:xfrm>
          <a:prstGeom prst="rect">
            <a:avLst/>
          </a:prstGeom>
          <a:noFill/>
        </p:spPr>
        <p:txBody>
          <a:bodyPr wrap="none" rtlCol="0">
            <a:spAutoFit/>
          </a:bodyPr>
          <a:lstStyle/>
          <a:p>
            <a:r>
              <a:rPr lang="en-US" sz="1400" b="1" dirty="0" smtClean="0"/>
              <a:t>Krishna</a:t>
            </a:r>
          </a:p>
          <a:p>
            <a:r>
              <a:rPr lang="en-US" sz="1400" b="1" dirty="0" smtClean="0"/>
              <a:t>Indukumar</a:t>
            </a:r>
          </a:p>
          <a:p>
            <a:r>
              <a:rPr lang="pt-BR" sz="1400" dirty="0"/>
              <a:t>Sr. Director- Biz </a:t>
            </a:r>
            <a:r>
              <a:rPr lang="pt-BR" sz="1400" dirty="0" smtClean="0"/>
              <a:t>Dev</a:t>
            </a:r>
          </a:p>
          <a:p>
            <a:r>
              <a:rPr lang="pt-BR" sz="1400" dirty="0" smtClean="0"/>
              <a:t>Travel &amp; Hositality</a:t>
            </a:r>
          </a:p>
        </p:txBody>
      </p:sp>
      <p:sp>
        <p:nvSpPr>
          <p:cNvPr id="14" name="TextBox 13"/>
          <p:cNvSpPr txBox="1"/>
          <p:nvPr/>
        </p:nvSpPr>
        <p:spPr>
          <a:xfrm>
            <a:off x="5037679" y="2134197"/>
            <a:ext cx="1659429" cy="1169551"/>
          </a:xfrm>
          <a:prstGeom prst="rect">
            <a:avLst/>
          </a:prstGeom>
          <a:noFill/>
        </p:spPr>
        <p:txBody>
          <a:bodyPr wrap="none" rtlCol="0">
            <a:spAutoFit/>
          </a:bodyPr>
          <a:lstStyle/>
          <a:p>
            <a:r>
              <a:rPr lang="en-US" sz="1400" b="1" dirty="0" smtClean="0"/>
              <a:t>Venugopal  R</a:t>
            </a:r>
          </a:p>
          <a:p>
            <a:r>
              <a:rPr lang="en-US" sz="1400" dirty="0"/>
              <a:t>Practice </a:t>
            </a:r>
            <a:r>
              <a:rPr lang="en-US" sz="1400" dirty="0" smtClean="0"/>
              <a:t>Area</a:t>
            </a:r>
          </a:p>
          <a:p>
            <a:r>
              <a:rPr lang="en-US" sz="1400" dirty="0" smtClean="0"/>
              <a:t>Business </a:t>
            </a:r>
            <a:r>
              <a:rPr lang="en-US" sz="1400" dirty="0"/>
              <a:t>Partner</a:t>
            </a:r>
            <a:r>
              <a:rPr lang="en-US" sz="1400" dirty="0" smtClean="0"/>
              <a:t>,</a:t>
            </a:r>
          </a:p>
          <a:p>
            <a:r>
              <a:rPr lang="en-US" sz="1400" dirty="0" smtClean="0"/>
              <a:t>Quality </a:t>
            </a:r>
            <a:r>
              <a:rPr lang="en-US" sz="1400" dirty="0"/>
              <a:t>Engineering </a:t>
            </a:r>
            <a:endParaRPr lang="en-US" sz="1400" dirty="0" smtClean="0"/>
          </a:p>
          <a:p>
            <a:r>
              <a:rPr lang="en-US" sz="1400" dirty="0" smtClean="0"/>
              <a:t>&amp; Assurance</a:t>
            </a:r>
            <a:endParaRPr lang="en-US" sz="1400" dirty="0"/>
          </a:p>
        </p:txBody>
      </p:sp>
      <p:sp>
        <p:nvSpPr>
          <p:cNvPr id="15" name="TextBox 14"/>
          <p:cNvSpPr txBox="1"/>
          <p:nvPr/>
        </p:nvSpPr>
        <p:spPr>
          <a:xfrm>
            <a:off x="7414113" y="2134197"/>
            <a:ext cx="1897122" cy="1169551"/>
          </a:xfrm>
          <a:prstGeom prst="rect">
            <a:avLst/>
          </a:prstGeom>
          <a:noFill/>
        </p:spPr>
        <p:txBody>
          <a:bodyPr wrap="none" rtlCol="0">
            <a:spAutoFit/>
          </a:bodyPr>
          <a:lstStyle/>
          <a:p>
            <a:r>
              <a:rPr lang="en-US" sz="1400" b="1" dirty="0" smtClean="0"/>
              <a:t>Karthikeyan</a:t>
            </a:r>
          </a:p>
          <a:p>
            <a:r>
              <a:rPr lang="en-US" sz="1400" b="1" dirty="0" smtClean="0"/>
              <a:t>Ramamurthy</a:t>
            </a:r>
          </a:p>
          <a:p>
            <a:r>
              <a:rPr lang="en-US" sz="1400" dirty="0" smtClean="0"/>
              <a:t>Practice Area</a:t>
            </a:r>
          </a:p>
          <a:p>
            <a:r>
              <a:rPr lang="en-US" sz="1400" dirty="0" smtClean="0"/>
              <a:t>Business Partner</a:t>
            </a:r>
          </a:p>
          <a:p>
            <a:r>
              <a:rPr lang="en-US" sz="1400" dirty="0" smtClean="0"/>
              <a:t>AVM-Solution </a:t>
            </a:r>
            <a:r>
              <a:rPr lang="en-US" sz="1400" dirty="0"/>
              <a:t>Architect</a:t>
            </a:r>
          </a:p>
        </p:txBody>
      </p:sp>
      <p:sp>
        <p:nvSpPr>
          <p:cNvPr id="18" name="TextBox 17"/>
          <p:cNvSpPr txBox="1"/>
          <p:nvPr/>
        </p:nvSpPr>
        <p:spPr>
          <a:xfrm>
            <a:off x="446397" y="4612616"/>
            <a:ext cx="1642566" cy="954107"/>
          </a:xfrm>
          <a:prstGeom prst="rect">
            <a:avLst/>
          </a:prstGeom>
          <a:noFill/>
        </p:spPr>
        <p:txBody>
          <a:bodyPr wrap="none" rtlCol="0">
            <a:spAutoFit/>
          </a:bodyPr>
          <a:lstStyle/>
          <a:p>
            <a:r>
              <a:rPr lang="en-US" sz="1400" b="1" dirty="0" err="1"/>
              <a:t>Sankara</a:t>
            </a:r>
            <a:r>
              <a:rPr lang="en-US" sz="1400" b="1" dirty="0"/>
              <a:t> </a:t>
            </a:r>
            <a:r>
              <a:rPr lang="en-US" sz="1400" b="1" dirty="0" smtClean="0"/>
              <a:t>Naveen</a:t>
            </a:r>
          </a:p>
          <a:p>
            <a:r>
              <a:rPr lang="en-US" sz="1400" b="1" dirty="0" err="1" smtClean="0"/>
              <a:t>Porumamilla</a:t>
            </a:r>
            <a:endParaRPr lang="en-US" sz="1400" b="1" dirty="0"/>
          </a:p>
          <a:p>
            <a:r>
              <a:rPr lang="en-US" sz="1400" dirty="0"/>
              <a:t>Client </a:t>
            </a:r>
            <a:r>
              <a:rPr lang="en-US" sz="1400" dirty="0" smtClean="0"/>
              <a:t>Partner</a:t>
            </a:r>
          </a:p>
          <a:p>
            <a:r>
              <a:rPr lang="en-US" sz="1400" dirty="0" smtClean="0"/>
              <a:t>Travel </a:t>
            </a:r>
            <a:r>
              <a:rPr lang="en-US" sz="1400" dirty="0"/>
              <a:t>&amp; Hospitality </a:t>
            </a:r>
          </a:p>
        </p:txBody>
      </p:sp>
      <p:sp>
        <p:nvSpPr>
          <p:cNvPr id="19" name="TextBox 18"/>
          <p:cNvSpPr txBox="1"/>
          <p:nvPr/>
        </p:nvSpPr>
        <p:spPr>
          <a:xfrm>
            <a:off x="9907475" y="2134197"/>
            <a:ext cx="1609800" cy="1169551"/>
          </a:xfrm>
          <a:prstGeom prst="rect">
            <a:avLst/>
          </a:prstGeom>
          <a:noFill/>
        </p:spPr>
        <p:txBody>
          <a:bodyPr wrap="none" rtlCol="0">
            <a:spAutoFit/>
          </a:bodyPr>
          <a:lstStyle/>
          <a:p>
            <a:r>
              <a:rPr lang="en-US" sz="1400" b="1" dirty="0" smtClean="0"/>
              <a:t>Sanjay</a:t>
            </a:r>
          </a:p>
          <a:p>
            <a:r>
              <a:rPr lang="en-US" sz="1400" b="1" dirty="0" smtClean="0"/>
              <a:t>Sarma</a:t>
            </a:r>
          </a:p>
          <a:p>
            <a:r>
              <a:rPr lang="en-US" sz="1400" dirty="0"/>
              <a:t>Sanjay Sarma</a:t>
            </a:r>
          </a:p>
          <a:p>
            <a:r>
              <a:rPr lang="en-US" sz="1400" dirty="0"/>
              <a:t>Regional Head – </a:t>
            </a:r>
            <a:r>
              <a:rPr lang="en-US" sz="1400" dirty="0" smtClean="0"/>
              <a:t>NE</a:t>
            </a:r>
          </a:p>
          <a:p>
            <a:r>
              <a:rPr lang="en-US" sz="1400" dirty="0" smtClean="0"/>
              <a:t>Travel </a:t>
            </a:r>
            <a:r>
              <a:rPr lang="en-US" sz="1400" dirty="0"/>
              <a:t>&amp; </a:t>
            </a:r>
            <a:r>
              <a:rPr lang="en-US" sz="1400" dirty="0" smtClean="0"/>
              <a:t>Hospitality</a:t>
            </a:r>
            <a:endParaRPr lang="en-US" sz="1400" dirty="0"/>
          </a:p>
        </p:txBody>
      </p:sp>
      <p:sp>
        <p:nvSpPr>
          <p:cNvPr id="23" name="TextBox 22"/>
          <p:cNvSpPr txBox="1"/>
          <p:nvPr/>
        </p:nvSpPr>
        <p:spPr>
          <a:xfrm>
            <a:off x="2731067" y="4612615"/>
            <a:ext cx="1244251" cy="954107"/>
          </a:xfrm>
          <a:prstGeom prst="rect">
            <a:avLst/>
          </a:prstGeom>
          <a:noFill/>
        </p:spPr>
        <p:txBody>
          <a:bodyPr wrap="none" rtlCol="0">
            <a:spAutoFit/>
          </a:bodyPr>
          <a:lstStyle/>
          <a:p>
            <a:r>
              <a:rPr lang="en-US" sz="1400" b="1" dirty="0" smtClean="0"/>
              <a:t>Venkata</a:t>
            </a:r>
          </a:p>
          <a:p>
            <a:r>
              <a:rPr lang="en-US" sz="1400" b="1" dirty="0" smtClean="0"/>
              <a:t>Chintam</a:t>
            </a:r>
          </a:p>
          <a:p>
            <a:r>
              <a:rPr lang="en-US" sz="1400" dirty="0"/>
              <a:t>Client </a:t>
            </a:r>
            <a:r>
              <a:rPr lang="en-US" sz="1400" dirty="0" smtClean="0"/>
              <a:t>Account</a:t>
            </a:r>
          </a:p>
          <a:p>
            <a:r>
              <a:rPr lang="en-US" sz="1400" dirty="0" smtClean="0"/>
              <a:t>Director</a:t>
            </a:r>
            <a:r>
              <a:rPr lang="en-US" sz="1400" dirty="0"/>
              <a:t>, </a:t>
            </a:r>
            <a:r>
              <a:rPr lang="en-US" sz="1400" dirty="0" smtClean="0"/>
              <a:t>AVM</a:t>
            </a:r>
            <a:endParaRPr lang="en-US" sz="1400" dirty="0"/>
          </a:p>
        </p:txBody>
      </p:sp>
      <p:sp>
        <p:nvSpPr>
          <p:cNvPr id="25" name="TextBox 24"/>
          <p:cNvSpPr txBox="1"/>
          <p:nvPr/>
        </p:nvSpPr>
        <p:spPr>
          <a:xfrm>
            <a:off x="9907475" y="4551511"/>
            <a:ext cx="1602490" cy="1169551"/>
          </a:xfrm>
          <a:prstGeom prst="rect">
            <a:avLst/>
          </a:prstGeom>
          <a:noFill/>
        </p:spPr>
        <p:txBody>
          <a:bodyPr wrap="none" rtlCol="0">
            <a:spAutoFit/>
          </a:bodyPr>
          <a:lstStyle/>
          <a:p>
            <a:r>
              <a:rPr lang="en-US" sz="1400" b="1" dirty="0" smtClean="0"/>
              <a:t>Arvind</a:t>
            </a:r>
          </a:p>
          <a:p>
            <a:r>
              <a:rPr lang="en-US" sz="1400" b="1" dirty="0" smtClean="0"/>
              <a:t>Tripathi</a:t>
            </a:r>
          </a:p>
          <a:p>
            <a:r>
              <a:rPr lang="en-US" sz="1400" dirty="0"/>
              <a:t>Assoc. </a:t>
            </a:r>
            <a:r>
              <a:rPr lang="en-US" sz="1400" dirty="0" smtClean="0"/>
              <a:t>Director</a:t>
            </a:r>
          </a:p>
          <a:p>
            <a:r>
              <a:rPr lang="en-US" sz="1400" dirty="0" smtClean="0"/>
              <a:t>Projects</a:t>
            </a:r>
            <a:r>
              <a:rPr lang="en-US" sz="1400" dirty="0"/>
              <a:t>, </a:t>
            </a:r>
            <a:r>
              <a:rPr lang="en-US" sz="1400" dirty="0" smtClean="0"/>
              <a:t>AVM</a:t>
            </a:r>
          </a:p>
          <a:p>
            <a:r>
              <a:rPr lang="en-US" sz="1400" dirty="0" smtClean="0"/>
              <a:t>Travel &amp; Hospitality</a:t>
            </a:r>
            <a:endParaRPr lang="en-US" sz="1400" dirty="0"/>
          </a:p>
        </p:txBody>
      </p:sp>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67888" y="3553077"/>
            <a:ext cx="998433" cy="998433"/>
          </a:xfrm>
          <a:prstGeom prst="rect">
            <a:avLst/>
          </a:prstGeom>
        </p:spPr>
      </p:pic>
      <p:pic>
        <p:nvPicPr>
          <p:cNvPr id="7" name="Picture 6"/>
          <p:cNvPicPr>
            <a:picLocks noChangeAspect="1"/>
          </p:cNvPicPr>
          <p:nvPr/>
        </p:nvPicPr>
        <p:blipFill>
          <a:blip r:embed="rId5"/>
          <a:stretch>
            <a:fillRect/>
          </a:stretch>
        </p:blipFill>
        <p:spPr>
          <a:xfrm>
            <a:off x="2893812" y="1116681"/>
            <a:ext cx="1010821" cy="1010821"/>
          </a:xfrm>
          <a:prstGeom prst="rect">
            <a:avLst/>
          </a:prstGeom>
        </p:spPr>
      </p:pic>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8984" y="1116681"/>
            <a:ext cx="999031" cy="999031"/>
          </a:xfrm>
          <a:prstGeom prst="rect">
            <a:avLst/>
          </a:prstGeom>
        </p:spPr>
      </p:pic>
      <p:pic>
        <p:nvPicPr>
          <p:cNvPr id="9" name="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86149" y="1116681"/>
            <a:ext cx="996249" cy="996249"/>
          </a:xfrm>
          <a:prstGeom prst="rect">
            <a:avLst/>
          </a:prstGeom>
        </p:spPr>
      </p:pic>
      <p:pic>
        <p:nvPicPr>
          <p:cNvPr id="10" name="Picture 9"/>
          <p:cNvPicPr>
            <a:picLocks noChangeAspect="1"/>
          </p:cNvPicPr>
          <p:nvPr/>
        </p:nvPicPr>
        <p:blipFill>
          <a:blip r:embed="rId8"/>
          <a:stretch>
            <a:fillRect/>
          </a:stretch>
        </p:blipFill>
        <p:spPr>
          <a:xfrm>
            <a:off x="7588157" y="1116681"/>
            <a:ext cx="957232" cy="998878"/>
          </a:xfrm>
          <a:prstGeom prst="rect">
            <a:avLst/>
          </a:prstGeom>
        </p:spPr>
      </p:pic>
      <p:pic>
        <p:nvPicPr>
          <p:cNvPr id="26" name="Picture 25"/>
          <p:cNvPicPr>
            <a:picLocks noChangeAspect="1"/>
          </p:cNvPicPr>
          <p:nvPr/>
        </p:nvPicPr>
        <p:blipFill>
          <a:blip r:embed="rId9"/>
          <a:stretch>
            <a:fillRect/>
          </a:stretch>
        </p:blipFill>
        <p:spPr>
          <a:xfrm>
            <a:off x="7560660" y="3553077"/>
            <a:ext cx="984729" cy="998433"/>
          </a:xfrm>
          <a:prstGeom prst="rect">
            <a:avLst/>
          </a:prstGeom>
        </p:spPr>
      </p:pic>
      <p:pic>
        <p:nvPicPr>
          <p:cNvPr id="28" name="Picture 2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8984" y="3552479"/>
            <a:ext cx="999031" cy="999031"/>
          </a:xfrm>
          <a:prstGeom prst="rect">
            <a:avLst/>
          </a:prstGeom>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002121" y="1103032"/>
            <a:ext cx="992929" cy="996249"/>
          </a:xfrm>
          <a:prstGeom prst="rect">
            <a:avLst/>
          </a:prstGeom>
        </p:spPr>
      </p:pic>
      <p:pic>
        <p:nvPicPr>
          <p:cNvPr id="30" name="Picture 2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963" y="3552479"/>
            <a:ext cx="999031" cy="999031"/>
          </a:xfrm>
          <a:prstGeom prst="rect">
            <a:avLst/>
          </a:prstGeom>
        </p:spPr>
      </p:pic>
      <p:pic>
        <p:nvPicPr>
          <p:cNvPr id="33" name="Picture 3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175120" y="3552479"/>
            <a:ext cx="975956" cy="1053388"/>
          </a:xfrm>
          <a:prstGeom prst="rect">
            <a:avLst/>
          </a:prstGeom>
        </p:spPr>
      </p:pic>
      <p:sp>
        <p:nvSpPr>
          <p:cNvPr id="31" name="Diagonal Stripe 30"/>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Changes needed as per comments</a:t>
            </a:r>
          </a:p>
        </p:txBody>
      </p:sp>
    </p:spTree>
    <p:extLst>
      <p:ext uri="{BB962C8B-B14F-4D97-AF65-F5344CB8AC3E}">
        <p14:creationId xmlns:p14="http://schemas.microsoft.com/office/powerpoint/2010/main" val="37945576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 As per the following roadmap … </a:t>
            </a:r>
          </a:p>
        </p:txBody>
      </p:sp>
      <p:graphicFrame>
        <p:nvGraphicFramePr>
          <p:cNvPr id="3" name="Group 120"/>
          <p:cNvGraphicFramePr>
            <a:graphicFrameLocks/>
          </p:cNvGraphicFramePr>
          <p:nvPr>
            <p:custDataLst>
              <p:tags r:id="rId1"/>
            </p:custDataLst>
            <p:extLst/>
          </p:nvPr>
        </p:nvGraphicFramePr>
        <p:xfrm>
          <a:off x="1476354" y="985753"/>
          <a:ext cx="10528081" cy="5099804"/>
        </p:xfrm>
        <a:graphic>
          <a:graphicData uri="http://schemas.openxmlformats.org/drawingml/2006/table">
            <a:tbl>
              <a:tblPr/>
              <a:tblGrid>
                <a:gridCol w="440412">
                  <a:extLst>
                    <a:ext uri="{9D8B030D-6E8A-4147-A177-3AD203B41FA5}">
                      <a16:colId xmlns:a16="http://schemas.microsoft.com/office/drawing/2014/main" val="20000"/>
                    </a:ext>
                  </a:extLst>
                </a:gridCol>
                <a:gridCol w="404336">
                  <a:extLst>
                    <a:ext uri="{9D8B030D-6E8A-4147-A177-3AD203B41FA5}">
                      <a16:colId xmlns:a16="http://schemas.microsoft.com/office/drawing/2014/main" val="20001"/>
                    </a:ext>
                  </a:extLst>
                </a:gridCol>
                <a:gridCol w="487277">
                  <a:extLst>
                    <a:ext uri="{9D8B030D-6E8A-4147-A177-3AD203B41FA5}">
                      <a16:colId xmlns:a16="http://schemas.microsoft.com/office/drawing/2014/main" val="20002"/>
                    </a:ext>
                  </a:extLst>
                </a:gridCol>
                <a:gridCol w="425072">
                  <a:extLst>
                    <a:ext uri="{9D8B030D-6E8A-4147-A177-3AD203B41FA5}">
                      <a16:colId xmlns:a16="http://schemas.microsoft.com/office/drawing/2014/main" val="20003"/>
                    </a:ext>
                  </a:extLst>
                </a:gridCol>
                <a:gridCol w="435439">
                  <a:extLst>
                    <a:ext uri="{9D8B030D-6E8A-4147-A177-3AD203B41FA5}">
                      <a16:colId xmlns:a16="http://schemas.microsoft.com/office/drawing/2014/main" val="20004"/>
                    </a:ext>
                  </a:extLst>
                </a:gridCol>
                <a:gridCol w="447621">
                  <a:extLst>
                    <a:ext uri="{9D8B030D-6E8A-4147-A177-3AD203B41FA5}">
                      <a16:colId xmlns:a16="http://schemas.microsoft.com/office/drawing/2014/main" val="20005"/>
                    </a:ext>
                  </a:extLst>
                </a:gridCol>
                <a:gridCol w="475093">
                  <a:extLst>
                    <a:ext uri="{9D8B030D-6E8A-4147-A177-3AD203B41FA5}">
                      <a16:colId xmlns:a16="http://schemas.microsoft.com/office/drawing/2014/main" val="20006"/>
                    </a:ext>
                  </a:extLst>
                </a:gridCol>
                <a:gridCol w="414703">
                  <a:extLst>
                    <a:ext uri="{9D8B030D-6E8A-4147-A177-3AD203B41FA5}">
                      <a16:colId xmlns:a16="http://schemas.microsoft.com/office/drawing/2014/main" val="20007"/>
                    </a:ext>
                  </a:extLst>
                </a:gridCol>
                <a:gridCol w="425072">
                  <a:extLst>
                    <a:ext uri="{9D8B030D-6E8A-4147-A177-3AD203B41FA5}">
                      <a16:colId xmlns:a16="http://schemas.microsoft.com/office/drawing/2014/main" val="20008"/>
                    </a:ext>
                  </a:extLst>
                </a:gridCol>
                <a:gridCol w="497644">
                  <a:extLst>
                    <a:ext uri="{9D8B030D-6E8A-4147-A177-3AD203B41FA5}">
                      <a16:colId xmlns:a16="http://schemas.microsoft.com/office/drawing/2014/main" val="20009"/>
                    </a:ext>
                  </a:extLst>
                </a:gridCol>
                <a:gridCol w="456175">
                  <a:extLst>
                    <a:ext uri="{9D8B030D-6E8A-4147-A177-3AD203B41FA5}">
                      <a16:colId xmlns:a16="http://schemas.microsoft.com/office/drawing/2014/main" val="20010"/>
                    </a:ext>
                  </a:extLst>
                </a:gridCol>
                <a:gridCol w="516312">
                  <a:extLst>
                    <a:ext uri="{9D8B030D-6E8A-4147-A177-3AD203B41FA5}">
                      <a16:colId xmlns:a16="http://schemas.microsoft.com/office/drawing/2014/main" val="20011"/>
                    </a:ext>
                  </a:extLst>
                </a:gridCol>
                <a:gridCol w="557000">
                  <a:extLst>
                    <a:ext uri="{9D8B030D-6E8A-4147-A177-3AD203B41FA5}">
                      <a16:colId xmlns:a16="http://schemas.microsoft.com/office/drawing/2014/main" val="20012"/>
                    </a:ext>
                  </a:extLst>
                </a:gridCol>
                <a:gridCol w="557000">
                  <a:extLst>
                    <a:ext uri="{9D8B030D-6E8A-4147-A177-3AD203B41FA5}">
                      <a16:colId xmlns:a16="http://schemas.microsoft.com/office/drawing/2014/main" val="20013"/>
                    </a:ext>
                  </a:extLst>
                </a:gridCol>
                <a:gridCol w="557000">
                  <a:extLst>
                    <a:ext uri="{9D8B030D-6E8A-4147-A177-3AD203B41FA5}">
                      <a16:colId xmlns:a16="http://schemas.microsoft.com/office/drawing/2014/main" val="20014"/>
                    </a:ext>
                  </a:extLst>
                </a:gridCol>
                <a:gridCol w="557000">
                  <a:extLst>
                    <a:ext uri="{9D8B030D-6E8A-4147-A177-3AD203B41FA5}">
                      <a16:colId xmlns:a16="http://schemas.microsoft.com/office/drawing/2014/main" val="20015"/>
                    </a:ext>
                  </a:extLst>
                </a:gridCol>
                <a:gridCol w="557000">
                  <a:extLst>
                    <a:ext uri="{9D8B030D-6E8A-4147-A177-3AD203B41FA5}">
                      <a16:colId xmlns:a16="http://schemas.microsoft.com/office/drawing/2014/main" val="20016"/>
                    </a:ext>
                  </a:extLst>
                </a:gridCol>
                <a:gridCol w="557000">
                  <a:extLst>
                    <a:ext uri="{9D8B030D-6E8A-4147-A177-3AD203B41FA5}">
                      <a16:colId xmlns:a16="http://schemas.microsoft.com/office/drawing/2014/main" val="20017"/>
                    </a:ext>
                  </a:extLst>
                </a:gridCol>
                <a:gridCol w="439860">
                  <a:extLst>
                    <a:ext uri="{9D8B030D-6E8A-4147-A177-3AD203B41FA5}">
                      <a16:colId xmlns:a16="http://schemas.microsoft.com/office/drawing/2014/main" val="20018"/>
                    </a:ext>
                  </a:extLst>
                </a:gridCol>
                <a:gridCol w="439860">
                  <a:extLst>
                    <a:ext uri="{9D8B030D-6E8A-4147-A177-3AD203B41FA5}">
                      <a16:colId xmlns:a16="http://schemas.microsoft.com/office/drawing/2014/main" val="20019"/>
                    </a:ext>
                  </a:extLst>
                </a:gridCol>
                <a:gridCol w="439860">
                  <a:extLst>
                    <a:ext uri="{9D8B030D-6E8A-4147-A177-3AD203B41FA5}">
                      <a16:colId xmlns:a16="http://schemas.microsoft.com/office/drawing/2014/main" val="20020"/>
                    </a:ext>
                  </a:extLst>
                </a:gridCol>
                <a:gridCol w="441345">
                  <a:extLst>
                    <a:ext uri="{9D8B030D-6E8A-4147-A177-3AD203B41FA5}">
                      <a16:colId xmlns:a16="http://schemas.microsoft.com/office/drawing/2014/main" val="20021"/>
                    </a:ext>
                  </a:extLst>
                </a:gridCol>
              </a:tblGrid>
              <a:tr h="319423">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gridSpan="3">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hMerge="1">
                  <a:txBody>
                    <a:bodyPr/>
                    <a:lstStyle/>
                    <a:p>
                      <a:endParaRPr lang="en-US"/>
                    </a:p>
                  </a:txBody>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gridSpan="2">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Calibri" pitchFamily="34" charset="0"/>
                        <a:ea typeface="ＭＳ Ｐゴシック"/>
                        <a:cs typeface="ＭＳ Ｐゴシック"/>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0"/>
                  </a:ext>
                </a:extLst>
              </a:tr>
              <a:tr h="4780381">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kern="1200"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bg1">
                            <a:lumMod val="95000"/>
                          </a:schemeClr>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chemeClr val="tx2"/>
                          </a:solidFill>
                          <a:effectLst/>
                          <a:latin typeface="Calibri" pitchFamily="34" charset="0"/>
                          <a:ea typeface="ＭＳ Ｐゴシック"/>
                          <a:cs typeface="ＭＳ Ｐゴシック"/>
                        </a:rPr>
                        <a:t> </a:t>
                      </a: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lumMod val="95000"/>
                      </a:sysClr>
                    </a:solidFill>
                  </a:tcPr>
                </a:tc>
                <a:tc gridSpan="4">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1" marR="34291" marT="34291" marB="34291"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ysClr val="window" lastClr="FFFFFF"/>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0" marR="34290" marT="34291" marB="34291" horzOverflow="overflow">
                    <a:lnL w="12700" cap="flat" cmpd="sng" algn="ctr">
                      <a:solidFill>
                        <a:schemeClr val="bg1">
                          <a:lumMod val="65000"/>
                        </a:schemeClr>
                      </a:solidFill>
                      <a:prstDash val="dot"/>
                      <a:round/>
                      <a:headEnd type="none" w="med" len="med"/>
                      <a:tailEnd type="none" w="med" len="med"/>
                    </a:lnL>
                    <a:lnR w="12700" cap="flat" cmpd="sng" algn="ctr">
                      <a:solidFill>
                        <a:schemeClr val="bg1">
                          <a:lumMod val="65000"/>
                        </a:schemeClr>
                      </a:solidFill>
                      <a:prstDash val="dot"/>
                      <a:round/>
                      <a:headEnd type="none" w="med" len="med"/>
                      <a:tailEnd type="none" w="med" len="med"/>
                    </a:lnR>
                    <a:lnT w="12700" cap="flat" cmpd="sng" algn="ctr">
                      <a:solidFill>
                        <a:schemeClr val="bg1">
                          <a:lumMod val="65000"/>
                        </a:schemeClr>
                      </a:solidFill>
                      <a:prstDash val="dot"/>
                      <a:round/>
                      <a:headEnd type="none" w="med" len="med"/>
                      <a:tailEnd type="none" w="med" len="med"/>
                    </a:lnT>
                    <a:lnB w="12700" cap="flat" cmpd="sng" algn="ctr">
                      <a:solidFill>
                        <a:schemeClr val="bg1">
                          <a:lumMod val="65000"/>
                        </a:schemeClr>
                      </a:solidFill>
                      <a:prstDash val="dot"/>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0" marR="34290" marT="34291" marB="34291" horzOverflow="overflow">
                    <a:lnL w="12700" cap="flat" cmpd="sng" algn="ctr">
                      <a:solidFill>
                        <a:schemeClr val="bg1">
                          <a:lumMod val="65000"/>
                        </a:schemeClr>
                      </a:solidFill>
                      <a:prstDash val="dot"/>
                      <a:round/>
                      <a:headEnd type="none" w="med" len="med"/>
                      <a:tailEnd type="none" w="med" len="med"/>
                    </a:lnL>
                    <a:lnR w="12700" cap="flat" cmpd="sng" algn="ctr">
                      <a:solidFill>
                        <a:schemeClr val="bg1">
                          <a:lumMod val="65000"/>
                        </a:schemeClr>
                      </a:solidFill>
                      <a:prstDash val="dot"/>
                      <a:round/>
                      <a:headEnd type="none" w="med" len="med"/>
                      <a:tailEnd type="none" w="med" len="med"/>
                    </a:lnR>
                    <a:lnT w="12700" cap="flat" cmpd="sng" algn="ctr">
                      <a:solidFill>
                        <a:schemeClr val="bg1">
                          <a:lumMod val="65000"/>
                        </a:schemeClr>
                      </a:solidFill>
                      <a:prstDash val="dot"/>
                      <a:round/>
                      <a:headEnd type="none" w="med" len="med"/>
                      <a:tailEnd type="none" w="med" len="med"/>
                    </a:lnT>
                    <a:lnB w="12700" cap="flat" cmpd="sng" algn="ctr">
                      <a:solidFill>
                        <a:schemeClr val="bg1">
                          <a:lumMod val="65000"/>
                        </a:schemeClr>
                      </a:solidFill>
                      <a:prstDash val="dot"/>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2"/>
                        </a:solidFill>
                        <a:effectLst/>
                        <a:latin typeface="Calibri" pitchFamily="34" charset="0"/>
                        <a:ea typeface="ＭＳ Ｐゴシック"/>
                        <a:cs typeface="ＭＳ Ｐゴシック"/>
                      </a:endParaRPr>
                    </a:p>
                  </a:txBody>
                  <a:tcPr marL="34290" marR="34290" marT="34291" marB="34291" horzOverflow="overflow">
                    <a:lnL w="12700" cap="flat" cmpd="sng" algn="ctr">
                      <a:solidFill>
                        <a:schemeClr val="bg1">
                          <a:lumMod val="65000"/>
                        </a:schemeClr>
                      </a:solidFill>
                      <a:prstDash val="dot"/>
                      <a:round/>
                      <a:headEnd type="none" w="med" len="med"/>
                      <a:tailEnd type="none" w="med" len="med"/>
                    </a:lnL>
                    <a:lnR w="12700" cap="flat" cmpd="sng" algn="ctr">
                      <a:solidFill>
                        <a:schemeClr val="bg1">
                          <a:lumMod val="65000"/>
                        </a:schemeClr>
                      </a:solidFill>
                      <a:prstDash val="dot"/>
                      <a:round/>
                      <a:headEnd type="none" w="med" len="med"/>
                      <a:tailEnd type="none" w="med" len="med"/>
                    </a:lnR>
                    <a:lnT w="12700" cap="flat" cmpd="sng" algn="ctr">
                      <a:solidFill>
                        <a:schemeClr val="bg1">
                          <a:lumMod val="65000"/>
                        </a:schemeClr>
                      </a:solidFill>
                      <a:prstDash val="dot"/>
                      <a:round/>
                      <a:headEnd type="none" w="med" len="med"/>
                      <a:tailEnd type="none" w="med" len="med"/>
                    </a:lnT>
                    <a:lnB w="12700" cap="flat" cmpd="sng" algn="ctr">
                      <a:solidFill>
                        <a:schemeClr val="bg1">
                          <a:lumMod val="65000"/>
                        </a:schemeClr>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cxnSp>
        <p:nvCxnSpPr>
          <p:cNvPr id="4" name="Straight Connector 3"/>
          <p:cNvCxnSpPr/>
          <p:nvPr/>
        </p:nvCxnSpPr>
        <p:spPr>
          <a:xfrm flipV="1">
            <a:off x="5456034" y="3543014"/>
            <a:ext cx="2468628" cy="1692972"/>
          </a:xfrm>
          <a:prstGeom prst="line">
            <a:avLst/>
          </a:prstGeom>
          <a:noFill/>
          <a:ln w="76200" cap="flat" cmpd="sng" algn="ctr">
            <a:solidFill>
              <a:schemeClr val="accent1"/>
            </a:solidFill>
            <a:prstDash val="solid"/>
            <a:headEnd type="none" w="med" len="med"/>
            <a:tailEnd type="none" w="med" len="med"/>
          </a:ln>
          <a:effectLst/>
        </p:spPr>
      </p:cxnSp>
      <p:sp>
        <p:nvSpPr>
          <p:cNvPr id="5" name="Line 76"/>
          <p:cNvSpPr>
            <a:spLocks noChangeShapeType="1"/>
          </p:cNvSpPr>
          <p:nvPr>
            <p:custDataLst>
              <p:tags r:id="rId2"/>
            </p:custDataLst>
          </p:nvPr>
        </p:nvSpPr>
        <p:spPr bwMode="auto">
          <a:xfrm>
            <a:off x="1501177" y="2367612"/>
            <a:ext cx="1554480" cy="0"/>
          </a:xfrm>
          <a:prstGeom prst="line">
            <a:avLst/>
          </a:prstGeom>
          <a:noFill/>
          <a:ln w="76200">
            <a:solidFill>
              <a:srgbClr val="7030A0"/>
            </a:solidFill>
            <a:round/>
            <a:headEnd/>
            <a:tailEnd/>
          </a:ln>
        </p:spPr>
        <p:txBody>
          <a:bodyPr lIns="157153" tIns="78576" rIns="157153" bIns="78576"/>
          <a:lstStyle/>
          <a:p>
            <a:pPr defTabSz="897384"/>
            <a:endParaRPr lang="en-US" sz="400" kern="0" dirty="0">
              <a:solidFill>
                <a:prstClr val="black"/>
              </a:solidFill>
              <a:ea typeface="Segoe UI" panose="020B0502040204020203" pitchFamily="34" charset="0"/>
              <a:cs typeface="Calibri" panose="020F0502020204030204" pitchFamily="34" charset="0"/>
            </a:endParaRPr>
          </a:p>
        </p:txBody>
      </p:sp>
      <p:sp>
        <p:nvSpPr>
          <p:cNvPr id="6" name="Rectangle 5"/>
          <p:cNvSpPr/>
          <p:nvPr/>
        </p:nvSpPr>
        <p:spPr>
          <a:xfrm>
            <a:off x="16316" y="2032158"/>
            <a:ext cx="1397257" cy="625353"/>
          </a:xfrm>
          <a:prstGeom prst="rect">
            <a:avLst/>
          </a:prstGeom>
          <a:solidFill>
            <a:srgbClr val="7030A0"/>
          </a:solidFill>
          <a:ln w="25400" cap="flat" cmpd="sng" algn="ctr">
            <a:solidFill>
              <a:srgbClr val="FFFFFF"/>
            </a:solidFill>
            <a:prstDash val="solid"/>
          </a:ln>
          <a:effectLst/>
        </p:spPr>
        <p:txBody>
          <a:bodyPr rtlCol="0" anchor="ctr"/>
          <a:lstStyle/>
          <a:p>
            <a:pPr algn="ctr" defTabSz="609570">
              <a:defRPr/>
            </a:pPr>
            <a:r>
              <a:rPr lang="en-US" sz="1067" b="1" kern="0" dirty="0">
                <a:solidFill>
                  <a:prstClr val="white"/>
                </a:solidFill>
                <a:cs typeface="Calibri" panose="020F0502020204030204" pitchFamily="34" charset="0"/>
              </a:rPr>
              <a:t>LAND SAFE</a:t>
            </a:r>
          </a:p>
          <a:p>
            <a:pPr algn="ctr" defTabSz="609570">
              <a:defRPr/>
            </a:pPr>
            <a:r>
              <a:rPr lang="en-US" sz="1067" b="1" kern="0" dirty="0">
                <a:solidFill>
                  <a:prstClr val="white"/>
                </a:solidFill>
                <a:cs typeface="Calibri" panose="020F0502020204030204" pitchFamily="34" charset="0"/>
              </a:rPr>
              <a:t>Transition</a:t>
            </a:r>
          </a:p>
        </p:txBody>
      </p:sp>
      <p:graphicFrame>
        <p:nvGraphicFramePr>
          <p:cNvPr id="7" name="Group 120"/>
          <p:cNvGraphicFramePr>
            <a:graphicFrameLocks/>
          </p:cNvGraphicFramePr>
          <p:nvPr>
            <p:custDataLst>
              <p:tags r:id="rId3"/>
            </p:custDataLst>
            <p:extLst/>
          </p:nvPr>
        </p:nvGraphicFramePr>
        <p:xfrm>
          <a:off x="233365" y="929197"/>
          <a:ext cx="11771073" cy="347155"/>
        </p:xfrm>
        <a:graphic>
          <a:graphicData uri="http://schemas.openxmlformats.org/drawingml/2006/table">
            <a:tbl>
              <a:tblPr/>
              <a:tblGrid>
                <a:gridCol w="1192525">
                  <a:extLst>
                    <a:ext uri="{9D8B030D-6E8A-4147-A177-3AD203B41FA5}">
                      <a16:colId xmlns:a16="http://schemas.microsoft.com/office/drawing/2014/main" val="20000"/>
                    </a:ext>
                  </a:extLst>
                </a:gridCol>
                <a:gridCol w="2670622">
                  <a:extLst>
                    <a:ext uri="{9D8B030D-6E8A-4147-A177-3AD203B41FA5}">
                      <a16:colId xmlns:a16="http://schemas.microsoft.com/office/drawing/2014/main" val="20001"/>
                    </a:ext>
                  </a:extLst>
                </a:gridCol>
                <a:gridCol w="2788494">
                  <a:extLst>
                    <a:ext uri="{9D8B030D-6E8A-4147-A177-3AD203B41FA5}">
                      <a16:colId xmlns:a16="http://schemas.microsoft.com/office/drawing/2014/main" val="20002"/>
                    </a:ext>
                  </a:extLst>
                </a:gridCol>
                <a:gridCol w="3365572">
                  <a:extLst>
                    <a:ext uri="{9D8B030D-6E8A-4147-A177-3AD203B41FA5}">
                      <a16:colId xmlns:a16="http://schemas.microsoft.com/office/drawing/2014/main" val="20003"/>
                    </a:ext>
                  </a:extLst>
                </a:gridCol>
                <a:gridCol w="1753860">
                  <a:extLst>
                    <a:ext uri="{9D8B030D-6E8A-4147-A177-3AD203B41FA5}">
                      <a16:colId xmlns:a16="http://schemas.microsoft.com/office/drawing/2014/main" val="20004"/>
                    </a:ext>
                  </a:extLst>
                </a:gridCol>
              </a:tblGrid>
              <a:tr h="347155">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Pre Transition</a:t>
                      </a: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rgbClr val="10CF9B">
                        <a:lumMod val="75000"/>
                      </a:srgbClr>
                    </a:solidFill>
                  </a:tcPr>
                </a:tc>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a:cs typeface="Arial" panose="020B0604020202020204" pitchFamily="34" charset="0"/>
                        </a:rPr>
                        <a:t>0-2 Mont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endParaRP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rgbClr val="DBEFF9">
                        <a:lumMod val="75000"/>
                      </a:srgb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3</a:t>
                      </a: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a:cs typeface="Arial" panose="020B0604020202020204" pitchFamily="34" charset="0"/>
                        </a:rPr>
                        <a:t> </a:t>
                      </a:r>
                      <a:r>
                        <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 12 Months</a:t>
                      </a: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rgbClr val="DBEFF9">
                        <a:lumMod val="50000"/>
                      </a:srgbClr>
                    </a:solidFill>
                  </a:tcPr>
                </a:tc>
                <a:tc>
                  <a:txBody>
                    <a:bodyPr/>
                    <a:lstStyle>
                      <a:lvl1pPr marL="0" algn="l" defTabSz="1184488" rtl="0" eaLnBrk="1" latinLnBrk="0" hangingPunct="1">
                        <a:defRPr sz="2400" kern="1200">
                          <a:solidFill>
                            <a:schemeClr val="tx1"/>
                          </a:solidFill>
                          <a:latin typeface="Arial"/>
                        </a:defRPr>
                      </a:lvl1pPr>
                      <a:lvl2pPr marL="592243" algn="l" defTabSz="1184488" rtl="0" eaLnBrk="1" latinLnBrk="0" hangingPunct="1">
                        <a:defRPr sz="2400" kern="1200">
                          <a:solidFill>
                            <a:schemeClr val="tx1"/>
                          </a:solidFill>
                          <a:latin typeface="Arial"/>
                        </a:defRPr>
                      </a:lvl2pPr>
                      <a:lvl3pPr marL="1184488" algn="l" defTabSz="1184488" rtl="0" eaLnBrk="1" latinLnBrk="0" hangingPunct="1">
                        <a:defRPr sz="2400" kern="1200">
                          <a:solidFill>
                            <a:schemeClr val="tx1"/>
                          </a:solidFill>
                          <a:latin typeface="Arial"/>
                        </a:defRPr>
                      </a:lvl3pPr>
                      <a:lvl4pPr marL="1776730" algn="l" defTabSz="1184488" rtl="0" eaLnBrk="1" latinLnBrk="0" hangingPunct="1">
                        <a:defRPr sz="2400" kern="1200">
                          <a:solidFill>
                            <a:schemeClr val="tx1"/>
                          </a:solidFill>
                          <a:latin typeface="Arial"/>
                        </a:defRPr>
                      </a:lvl4pPr>
                      <a:lvl5pPr marL="2368973" algn="l" defTabSz="1184488" rtl="0" eaLnBrk="1" latinLnBrk="0" hangingPunct="1">
                        <a:defRPr sz="2400" kern="1200">
                          <a:solidFill>
                            <a:schemeClr val="tx1"/>
                          </a:solidFill>
                          <a:latin typeface="Arial"/>
                        </a:defRPr>
                      </a:lvl5pPr>
                      <a:lvl6pPr marL="2961217" algn="l" defTabSz="1184488" rtl="0" eaLnBrk="1" latinLnBrk="0" hangingPunct="1">
                        <a:defRPr sz="2400" kern="1200">
                          <a:solidFill>
                            <a:schemeClr val="tx1"/>
                          </a:solidFill>
                          <a:latin typeface="Arial"/>
                        </a:defRPr>
                      </a:lvl6pPr>
                      <a:lvl7pPr marL="3553463" algn="l" defTabSz="1184488" rtl="0" eaLnBrk="1" latinLnBrk="0" hangingPunct="1">
                        <a:defRPr sz="2400" kern="1200">
                          <a:solidFill>
                            <a:schemeClr val="tx1"/>
                          </a:solidFill>
                          <a:latin typeface="Arial"/>
                        </a:defRPr>
                      </a:lvl7pPr>
                      <a:lvl8pPr marL="4145705" algn="l" defTabSz="1184488" rtl="0" eaLnBrk="1" latinLnBrk="0" hangingPunct="1">
                        <a:defRPr sz="2400" kern="1200">
                          <a:solidFill>
                            <a:schemeClr val="tx1"/>
                          </a:solidFill>
                          <a:latin typeface="Arial"/>
                        </a:defRPr>
                      </a:lvl8pPr>
                      <a:lvl9pPr marL="4737950" algn="l" defTabSz="1184488"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a:cs typeface="Arial" panose="020B0604020202020204" pitchFamily="34" charset="0"/>
                        </a:rPr>
                        <a:t>13 </a:t>
                      </a:r>
                      <a:r>
                        <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 24 Months</a:t>
                      </a: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rgbClr val="DBEFF9">
                        <a:lumMod val="25000"/>
                      </a:srgbClr>
                    </a:solidFill>
                  </a:tcPr>
                </a:tc>
                <a:tc>
                  <a:txBody>
                    <a:bodyPr/>
                    <a:lstStyle>
                      <a:lvl1pPr marL="0" algn="l" defTabSz="457200" rtl="0" eaLnBrk="1" latinLnBrk="0" hangingPunct="1">
                        <a:defRPr sz="1800" kern="1200">
                          <a:solidFill>
                            <a:schemeClr val="tx1"/>
                          </a:solidFill>
                          <a:latin typeface="Arial" panose="020B0604020202020204"/>
                        </a:defRPr>
                      </a:lvl1pPr>
                      <a:lvl2pPr marL="457200" algn="l" defTabSz="457200" rtl="0" eaLnBrk="1" latinLnBrk="0" hangingPunct="1">
                        <a:defRPr sz="1800" kern="1200">
                          <a:solidFill>
                            <a:schemeClr val="tx1"/>
                          </a:solidFill>
                          <a:latin typeface="Arial" panose="020B0604020202020204"/>
                        </a:defRPr>
                      </a:lvl2pPr>
                      <a:lvl3pPr marL="914400" algn="l" defTabSz="457200" rtl="0" eaLnBrk="1" latinLnBrk="0" hangingPunct="1">
                        <a:defRPr sz="1800" kern="1200">
                          <a:solidFill>
                            <a:schemeClr val="tx1"/>
                          </a:solidFill>
                          <a:latin typeface="Arial" panose="020B0604020202020204"/>
                        </a:defRPr>
                      </a:lvl3pPr>
                      <a:lvl4pPr marL="1371600" algn="l" defTabSz="457200" rtl="0" eaLnBrk="1" latinLnBrk="0" hangingPunct="1">
                        <a:defRPr sz="1800" kern="1200">
                          <a:solidFill>
                            <a:schemeClr val="tx1"/>
                          </a:solidFill>
                          <a:latin typeface="Arial" panose="020B0604020202020204"/>
                        </a:defRPr>
                      </a:lvl4pPr>
                      <a:lvl5pPr marL="1828800" algn="l" defTabSz="457200" rtl="0" eaLnBrk="1" latinLnBrk="0" hangingPunct="1">
                        <a:defRPr sz="1800" kern="1200">
                          <a:solidFill>
                            <a:schemeClr val="tx1"/>
                          </a:solidFill>
                          <a:latin typeface="Arial" panose="020B0604020202020204"/>
                        </a:defRPr>
                      </a:lvl5pPr>
                      <a:lvl6pPr marL="2286000" algn="l" defTabSz="457200" rtl="0" eaLnBrk="1" latinLnBrk="0" hangingPunct="1">
                        <a:defRPr sz="1800" kern="1200">
                          <a:solidFill>
                            <a:schemeClr val="tx1"/>
                          </a:solidFill>
                          <a:latin typeface="Arial" panose="020B0604020202020204"/>
                        </a:defRPr>
                      </a:lvl6pPr>
                      <a:lvl7pPr marL="2743200" algn="l" defTabSz="457200" rtl="0" eaLnBrk="1" latinLnBrk="0" hangingPunct="1">
                        <a:defRPr sz="1800" kern="1200">
                          <a:solidFill>
                            <a:schemeClr val="tx1"/>
                          </a:solidFill>
                          <a:latin typeface="Arial" panose="020B0604020202020204"/>
                        </a:defRPr>
                      </a:lvl7pPr>
                      <a:lvl8pPr marL="3200400" algn="l" defTabSz="457200" rtl="0" eaLnBrk="1" latinLnBrk="0" hangingPunct="1">
                        <a:defRPr sz="1800" kern="1200">
                          <a:solidFill>
                            <a:schemeClr val="tx1"/>
                          </a:solidFill>
                          <a:latin typeface="Arial" panose="020B0604020202020204"/>
                        </a:defRPr>
                      </a:lvl8pPr>
                      <a:lvl9pPr marL="3657600" algn="l" defTabSz="4572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24 + Months</a:t>
                      </a:r>
                    </a:p>
                  </a:txBody>
                  <a:tcPr marL="34291" marR="34291" marT="34291" marB="34291" anchor="ctr" horzOverflow="overflow">
                    <a:lnL w="3175" cap="flat" cmpd="sng" algn="ctr">
                      <a:solidFill>
                        <a:sysClr val="window" lastClr="FFFFFF">
                          <a:lumMod val="75000"/>
                        </a:sysClr>
                      </a:solidFill>
                      <a:prstDash val="lgDash"/>
                      <a:round/>
                      <a:headEnd type="none" w="med" len="med"/>
                      <a:tailEnd type="none" w="med" len="med"/>
                    </a:lnL>
                    <a:lnR w="3175" cap="flat" cmpd="sng" algn="ctr">
                      <a:solidFill>
                        <a:sysClr val="window" lastClr="FFFFFF">
                          <a:lumMod val="75000"/>
                        </a:sysClr>
                      </a:solidFill>
                      <a:prstDash val="lgDash"/>
                      <a:round/>
                      <a:headEnd type="none" w="med" len="med"/>
                      <a:tailEnd type="none" w="med" len="med"/>
                    </a:lnR>
                    <a:lnT w="3175" cap="flat" cmpd="sng" algn="ctr">
                      <a:solidFill>
                        <a:sysClr val="window" lastClr="FFFFFF">
                          <a:lumMod val="75000"/>
                        </a:sysClr>
                      </a:solidFill>
                      <a:prstDash val="lgDash"/>
                      <a:round/>
                      <a:headEnd type="none" w="med" len="med"/>
                      <a:tailEnd type="none" w="med" len="med"/>
                    </a:lnT>
                    <a:lnB w="3175" cap="flat" cmpd="sng" algn="ctr">
                      <a:solidFill>
                        <a:sysClr val="window" lastClr="FFFFFF">
                          <a:lumMod val="75000"/>
                        </a:sysClr>
                      </a:solidFill>
                      <a:prstDash val="lgDash"/>
                      <a:round/>
                      <a:headEnd type="none" w="med" len="med"/>
                      <a:tailEnd type="none" w="med" len="med"/>
                    </a:lnB>
                    <a:lnTlToBr>
                      <a:noFill/>
                    </a:lnTlToBr>
                    <a:lnBlToTr>
                      <a:noFill/>
                    </a:lnBlToTr>
                    <a:solidFill>
                      <a:srgbClr val="DBEFF9">
                        <a:lumMod val="10000"/>
                      </a:srgbClr>
                    </a:solidFill>
                  </a:tcPr>
                </a:tc>
                <a:extLst>
                  <a:ext uri="{0D108BD9-81ED-4DB2-BD59-A6C34878D82A}">
                    <a16:rowId xmlns:a16="http://schemas.microsoft.com/office/drawing/2014/main" val="10000"/>
                  </a:ext>
                </a:extLst>
              </a:tr>
            </a:tbl>
          </a:graphicData>
        </a:graphic>
      </p:graphicFrame>
      <p:sp>
        <p:nvSpPr>
          <p:cNvPr id="8" name="Oval 7"/>
          <p:cNvSpPr>
            <a:spLocks noChangeArrowheads="1"/>
          </p:cNvSpPr>
          <p:nvPr>
            <p:custDataLst>
              <p:tags r:id="rId4"/>
            </p:custDataLst>
          </p:nvPr>
        </p:nvSpPr>
        <p:spPr bwMode="auto">
          <a:xfrm>
            <a:off x="2692062" y="2273465"/>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9" name="Oval 78"/>
          <p:cNvSpPr>
            <a:spLocks noChangeArrowheads="1"/>
          </p:cNvSpPr>
          <p:nvPr>
            <p:custDataLst>
              <p:tags r:id="rId5"/>
            </p:custDataLst>
          </p:nvPr>
        </p:nvSpPr>
        <p:spPr bwMode="auto">
          <a:xfrm>
            <a:off x="2393980" y="2290067"/>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10" name="Rectangle 9"/>
          <p:cNvSpPr/>
          <p:nvPr/>
        </p:nvSpPr>
        <p:spPr>
          <a:xfrm>
            <a:off x="1852485" y="4949046"/>
            <a:ext cx="1712700" cy="546007"/>
          </a:xfrm>
          <a:prstGeom prst="rect">
            <a:avLst/>
          </a:prstGeom>
          <a:solidFill>
            <a:schemeClr val="accent1"/>
          </a:solidFill>
          <a:ln w="25400" cap="flat" cmpd="sng" algn="ctr">
            <a:solidFill>
              <a:srgbClr val="FFFFFF"/>
            </a:solidFill>
            <a:prstDash val="solid"/>
          </a:ln>
          <a:effectLst/>
        </p:spPr>
        <p:txBody>
          <a:bodyPr rtlCol="0" anchor="ctr"/>
          <a:lstStyle/>
          <a:p>
            <a:pPr algn="ctr" defTabSz="609570">
              <a:defRPr/>
            </a:pPr>
            <a:r>
              <a:rPr lang="en-US" sz="1067" b="1" kern="0" dirty="0">
                <a:solidFill>
                  <a:prstClr val="white"/>
                </a:solidFill>
                <a:cs typeface="Calibri" panose="020F0502020204030204" pitchFamily="34" charset="0"/>
              </a:rPr>
              <a:t>RUN DIFFERENT</a:t>
            </a:r>
          </a:p>
          <a:p>
            <a:pPr algn="ctr" defTabSz="609570">
              <a:defRPr/>
            </a:pPr>
            <a:r>
              <a:rPr lang="en-US" sz="1067" b="1" kern="0" dirty="0">
                <a:solidFill>
                  <a:prstClr val="white"/>
                </a:solidFill>
                <a:cs typeface="Calibri" panose="020F0502020204030204" pitchFamily="34" charset="0"/>
              </a:rPr>
              <a:t>Evolve</a:t>
            </a:r>
          </a:p>
        </p:txBody>
      </p:sp>
      <p:cxnSp>
        <p:nvCxnSpPr>
          <p:cNvPr id="11" name="Straight Arrow Connector 10"/>
          <p:cNvCxnSpPr/>
          <p:nvPr/>
        </p:nvCxnSpPr>
        <p:spPr>
          <a:xfrm flipV="1">
            <a:off x="3511885" y="5224525"/>
            <a:ext cx="1983715" cy="0"/>
          </a:xfrm>
          <a:prstGeom prst="straightConnector1">
            <a:avLst/>
          </a:prstGeom>
          <a:noFill/>
          <a:ln w="76200" cap="flat" cmpd="sng" algn="ctr">
            <a:solidFill>
              <a:schemeClr val="accent1"/>
            </a:solidFill>
            <a:prstDash val="solid"/>
            <a:headEnd type="none" w="med" len="med"/>
            <a:tailEnd type="none" w="med" len="med"/>
          </a:ln>
          <a:effectLst/>
        </p:spPr>
      </p:cxnSp>
      <p:sp>
        <p:nvSpPr>
          <p:cNvPr id="12" name="Oval 11"/>
          <p:cNvSpPr>
            <a:spLocks noChangeArrowheads="1"/>
          </p:cNvSpPr>
          <p:nvPr>
            <p:custDataLst>
              <p:tags r:id="rId6"/>
            </p:custDataLst>
          </p:nvPr>
        </p:nvSpPr>
        <p:spPr bwMode="auto">
          <a:xfrm>
            <a:off x="2955795" y="2290067"/>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cxnSp>
        <p:nvCxnSpPr>
          <p:cNvPr id="13" name="Straight Connector 12"/>
          <p:cNvCxnSpPr/>
          <p:nvPr/>
        </p:nvCxnSpPr>
        <p:spPr>
          <a:xfrm>
            <a:off x="3034946" y="2348480"/>
            <a:ext cx="1004172" cy="1204769"/>
          </a:xfrm>
          <a:prstGeom prst="line">
            <a:avLst/>
          </a:prstGeom>
          <a:noFill/>
          <a:ln w="76200">
            <a:solidFill>
              <a:srgbClr val="7030A0"/>
            </a:solidFill>
            <a:round/>
            <a:headEnd/>
            <a:tailEnd/>
          </a:ln>
        </p:spPr>
      </p:cxnSp>
      <p:cxnSp>
        <p:nvCxnSpPr>
          <p:cNvPr id="14" name="Straight Arrow Connector 13"/>
          <p:cNvCxnSpPr/>
          <p:nvPr/>
        </p:nvCxnSpPr>
        <p:spPr>
          <a:xfrm flipV="1">
            <a:off x="1413572" y="3543013"/>
            <a:ext cx="10516979" cy="0"/>
          </a:xfrm>
          <a:prstGeom prst="straightConnector1">
            <a:avLst/>
          </a:prstGeom>
          <a:noFill/>
          <a:ln w="76200" cap="flat" cmpd="sng" algn="ctr">
            <a:solidFill>
              <a:sysClr val="window" lastClr="FFFFFF">
                <a:lumMod val="75000"/>
              </a:sysClr>
            </a:solidFill>
            <a:prstDash val="solid"/>
            <a:headEnd type="none" w="sm" len="sm"/>
            <a:tailEnd type="triangle" w="sm" len="sm"/>
          </a:ln>
          <a:effectLst/>
        </p:spPr>
      </p:cxnSp>
      <p:sp>
        <p:nvSpPr>
          <p:cNvPr id="15" name="Oval 14"/>
          <p:cNvSpPr>
            <a:spLocks noChangeArrowheads="1"/>
          </p:cNvSpPr>
          <p:nvPr>
            <p:custDataLst>
              <p:tags r:id="rId7"/>
            </p:custDataLst>
          </p:nvPr>
        </p:nvSpPr>
        <p:spPr bwMode="auto">
          <a:xfrm>
            <a:off x="3241450" y="2635581"/>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16" name="Oval 15"/>
          <p:cNvSpPr>
            <a:spLocks noChangeArrowheads="1"/>
          </p:cNvSpPr>
          <p:nvPr>
            <p:custDataLst>
              <p:tags r:id="rId8"/>
            </p:custDataLst>
          </p:nvPr>
        </p:nvSpPr>
        <p:spPr bwMode="auto">
          <a:xfrm>
            <a:off x="3658597" y="3114464"/>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17" name="TextBox 16"/>
          <p:cNvSpPr txBox="1"/>
          <p:nvPr/>
        </p:nvSpPr>
        <p:spPr>
          <a:xfrm>
            <a:off x="1265424" y="1496747"/>
            <a:ext cx="1006640" cy="492635"/>
          </a:xfrm>
          <a:prstGeom prst="rect">
            <a:avLst/>
          </a:prstGeom>
        </p:spPr>
        <p:txBody>
          <a:bodyPr wrap="square" lIns="0" tIns="0" rIns="0" bIns="0" rtlCol="0">
            <a:spAutoFit/>
          </a:bodyPr>
          <a:lstStyle/>
          <a:p>
            <a:pPr algn="ctr"/>
            <a:r>
              <a:rPr lang="en-US" sz="1067" dirty="0">
                <a:solidFill>
                  <a:schemeClr val="tx2"/>
                </a:solidFill>
              </a:rPr>
              <a:t>Transition Governance Setup</a:t>
            </a:r>
            <a:endParaRPr lang="en-US" sz="1867" dirty="0">
              <a:solidFill>
                <a:schemeClr val="tx2"/>
              </a:solidFill>
            </a:endParaRPr>
          </a:p>
        </p:txBody>
      </p:sp>
      <p:cxnSp>
        <p:nvCxnSpPr>
          <p:cNvPr id="19" name="Elbow Connector 18"/>
          <p:cNvCxnSpPr>
            <a:stCxn id="9" idx="0"/>
            <a:endCxn id="17" idx="2"/>
          </p:cNvCxnSpPr>
          <p:nvPr/>
        </p:nvCxnSpPr>
        <p:spPr>
          <a:xfrm rot="16200000" flipV="1">
            <a:off x="1976740" y="1781387"/>
            <a:ext cx="300685" cy="716676"/>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271443" y="1631538"/>
            <a:ext cx="900888" cy="164212"/>
          </a:xfrm>
          <a:prstGeom prst="rect">
            <a:avLst/>
          </a:prstGeom>
        </p:spPr>
        <p:txBody>
          <a:bodyPr wrap="none" lIns="0" tIns="0" rIns="0" bIns="0" rtlCol="0">
            <a:spAutoFit/>
          </a:bodyPr>
          <a:lstStyle/>
          <a:p>
            <a:pPr algn="l"/>
            <a:r>
              <a:rPr lang="en-US" sz="1067" dirty="0">
                <a:solidFill>
                  <a:schemeClr val="tx2"/>
                </a:solidFill>
              </a:rPr>
              <a:t>AS-IS Process KT</a:t>
            </a:r>
            <a:endParaRPr lang="en-US" sz="1867" dirty="0">
              <a:solidFill>
                <a:schemeClr val="tx2"/>
              </a:solidFill>
            </a:endParaRPr>
          </a:p>
        </p:txBody>
      </p:sp>
      <p:cxnSp>
        <p:nvCxnSpPr>
          <p:cNvPr id="21" name="Elbow Connector 20"/>
          <p:cNvCxnSpPr>
            <a:stCxn id="8" idx="0"/>
            <a:endCxn id="20" idx="2"/>
          </p:cNvCxnSpPr>
          <p:nvPr/>
        </p:nvCxnSpPr>
        <p:spPr>
          <a:xfrm rot="16200000" flipV="1">
            <a:off x="2513838" y="2003800"/>
            <a:ext cx="477715" cy="61615"/>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109145" y="1619331"/>
            <a:ext cx="1375403" cy="164212"/>
          </a:xfrm>
          <a:prstGeom prst="rect">
            <a:avLst/>
          </a:prstGeom>
        </p:spPr>
        <p:txBody>
          <a:bodyPr wrap="square" lIns="0" tIns="0" rIns="0" bIns="0" rtlCol="0">
            <a:spAutoFit/>
          </a:bodyPr>
          <a:lstStyle/>
          <a:p>
            <a:pPr algn="ctr"/>
            <a:r>
              <a:rPr lang="en-US" sz="1067" dirty="0">
                <a:solidFill>
                  <a:schemeClr val="tx2"/>
                </a:solidFill>
              </a:rPr>
              <a:t>Tools Mapping</a:t>
            </a:r>
            <a:endParaRPr lang="en-US" sz="1867" dirty="0">
              <a:solidFill>
                <a:schemeClr val="tx2"/>
              </a:solidFill>
            </a:endParaRPr>
          </a:p>
        </p:txBody>
      </p:sp>
      <p:cxnSp>
        <p:nvCxnSpPr>
          <p:cNvPr id="23" name="Elbow Connector 22"/>
          <p:cNvCxnSpPr>
            <a:stCxn id="12" idx="0"/>
            <a:endCxn id="22" idx="2"/>
          </p:cNvCxnSpPr>
          <p:nvPr/>
        </p:nvCxnSpPr>
        <p:spPr>
          <a:xfrm rot="5400000" flipH="1" flipV="1">
            <a:off x="3168779" y="1661999"/>
            <a:ext cx="506524" cy="749612"/>
          </a:xfrm>
          <a:prstGeom prst="bentConnector3">
            <a:avLst>
              <a:gd name="adj1" fmla="val 50000"/>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97899" y="2129605"/>
            <a:ext cx="1141123" cy="328423"/>
          </a:xfrm>
          <a:prstGeom prst="rect">
            <a:avLst/>
          </a:prstGeom>
        </p:spPr>
        <p:txBody>
          <a:bodyPr wrap="square" lIns="0" tIns="0" rIns="0" bIns="0" rtlCol="0">
            <a:spAutoFit/>
          </a:bodyPr>
          <a:lstStyle/>
          <a:p>
            <a:pPr algn="ctr"/>
            <a:r>
              <a:rPr lang="en-US" sz="1067" dirty="0">
                <a:solidFill>
                  <a:schemeClr val="tx2"/>
                </a:solidFill>
              </a:rPr>
              <a:t>Finalize SLA’s and KPI’s</a:t>
            </a:r>
            <a:endParaRPr lang="en-US" sz="1867" dirty="0">
              <a:solidFill>
                <a:schemeClr val="tx2"/>
              </a:solidFill>
            </a:endParaRPr>
          </a:p>
        </p:txBody>
      </p:sp>
      <p:cxnSp>
        <p:nvCxnSpPr>
          <p:cNvPr id="25" name="Elbow Connector 24"/>
          <p:cNvCxnSpPr>
            <a:stCxn id="15" idx="6"/>
            <a:endCxn id="24" idx="1"/>
          </p:cNvCxnSpPr>
          <p:nvPr/>
        </p:nvCxnSpPr>
        <p:spPr>
          <a:xfrm flipV="1">
            <a:off x="3424330" y="2293817"/>
            <a:ext cx="173569" cy="433204"/>
          </a:xfrm>
          <a:prstGeom prst="bentConnector3">
            <a:avLst>
              <a:gd name="adj1" fmla="val 2439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17024" y="3262650"/>
            <a:ext cx="1477739" cy="546007"/>
          </a:xfrm>
          <a:prstGeom prst="rect">
            <a:avLst/>
          </a:prstGeom>
          <a:solidFill>
            <a:sysClr val="window" lastClr="FFFFFF">
              <a:lumMod val="50000"/>
            </a:sysClr>
          </a:solidFill>
          <a:ln w="25400" cap="flat" cmpd="sng" algn="ctr">
            <a:solidFill>
              <a:srgbClr val="FFFFFF"/>
            </a:solidFill>
            <a:prstDash val="solid"/>
          </a:ln>
          <a:effectLst/>
        </p:spPr>
        <p:txBody>
          <a:bodyPr rtlCol="0" anchor="ctr"/>
          <a:lstStyle/>
          <a:p>
            <a:pPr algn="ctr" defTabSz="609570">
              <a:defRPr/>
            </a:pPr>
            <a:r>
              <a:rPr lang="en-US" sz="1067" b="1" kern="0" dirty="0">
                <a:solidFill>
                  <a:prstClr val="white"/>
                </a:solidFill>
                <a:cs typeface="Calibri" panose="020F0502020204030204" pitchFamily="34" charset="0"/>
              </a:rPr>
              <a:t>RUN BETTER</a:t>
            </a:r>
          </a:p>
          <a:p>
            <a:pPr algn="ctr" defTabSz="609570">
              <a:defRPr/>
            </a:pPr>
            <a:r>
              <a:rPr lang="en-US" sz="1067" b="1" kern="0" dirty="0">
                <a:solidFill>
                  <a:prstClr val="white"/>
                </a:solidFill>
                <a:cs typeface="Calibri" panose="020F0502020204030204" pitchFamily="34" charset="0"/>
              </a:rPr>
              <a:t>Institute &amp; Improve</a:t>
            </a:r>
          </a:p>
        </p:txBody>
      </p:sp>
      <p:sp>
        <p:nvSpPr>
          <p:cNvPr id="27" name="Oval 78"/>
          <p:cNvSpPr>
            <a:spLocks noChangeArrowheads="1"/>
          </p:cNvSpPr>
          <p:nvPr>
            <p:custDataLst>
              <p:tags r:id="rId9"/>
            </p:custDataLst>
          </p:nvPr>
        </p:nvSpPr>
        <p:spPr bwMode="auto">
          <a:xfrm>
            <a:off x="4258479" y="3433903"/>
            <a:ext cx="182880" cy="182880"/>
          </a:xfrm>
          <a:prstGeom prst="ellipse">
            <a:avLst/>
          </a:prstGeom>
          <a:solidFill>
            <a:schemeClr val="bg1">
              <a:lumMod val="75000"/>
            </a:schemeClr>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28" name="Oval 78"/>
          <p:cNvSpPr>
            <a:spLocks noChangeArrowheads="1"/>
          </p:cNvSpPr>
          <p:nvPr>
            <p:custDataLst>
              <p:tags r:id="rId10"/>
            </p:custDataLst>
          </p:nvPr>
        </p:nvSpPr>
        <p:spPr bwMode="auto">
          <a:xfrm>
            <a:off x="5391105" y="3461809"/>
            <a:ext cx="182880" cy="182880"/>
          </a:xfrm>
          <a:prstGeom prst="ellipse">
            <a:avLst/>
          </a:prstGeom>
          <a:solidFill>
            <a:schemeClr val="bg1">
              <a:lumMod val="75000"/>
            </a:schemeClr>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29" name="Oval 78"/>
          <p:cNvSpPr>
            <a:spLocks noChangeArrowheads="1"/>
          </p:cNvSpPr>
          <p:nvPr>
            <p:custDataLst>
              <p:tags r:id="rId11"/>
            </p:custDataLst>
          </p:nvPr>
        </p:nvSpPr>
        <p:spPr bwMode="auto">
          <a:xfrm>
            <a:off x="5873046" y="3461809"/>
            <a:ext cx="182880" cy="182880"/>
          </a:xfrm>
          <a:prstGeom prst="ellipse">
            <a:avLst/>
          </a:prstGeom>
          <a:solidFill>
            <a:schemeClr val="bg1">
              <a:lumMod val="75000"/>
            </a:schemeClr>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30" name="TextBox 29"/>
          <p:cNvSpPr txBox="1"/>
          <p:nvPr/>
        </p:nvSpPr>
        <p:spPr>
          <a:xfrm>
            <a:off x="4186314" y="3047589"/>
            <a:ext cx="963080" cy="164212"/>
          </a:xfrm>
          <a:prstGeom prst="rect">
            <a:avLst/>
          </a:prstGeom>
        </p:spPr>
        <p:txBody>
          <a:bodyPr wrap="square" lIns="0" tIns="0" rIns="0" bIns="0" rtlCol="0">
            <a:spAutoFit/>
          </a:bodyPr>
          <a:lstStyle/>
          <a:p>
            <a:pPr algn="ctr"/>
            <a:r>
              <a:rPr lang="en-US" sz="1067" dirty="0" smtClean="0">
                <a:solidFill>
                  <a:schemeClr val="tx2"/>
                </a:solidFill>
              </a:rPr>
              <a:t>SMO Setup</a:t>
            </a:r>
            <a:endParaRPr lang="en-US" sz="1067" dirty="0">
              <a:solidFill>
                <a:schemeClr val="tx2"/>
              </a:solidFill>
            </a:endParaRPr>
          </a:p>
        </p:txBody>
      </p:sp>
      <p:cxnSp>
        <p:nvCxnSpPr>
          <p:cNvPr id="31" name="Elbow Connector 30"/>
          <p:cNvCxnSpPr>
            <a:stCxn id="27" idx="0"/>
            <a:endCxn id="30" idx="2"/>
          </p:cNvCxnSpPr>
          <p:nvPr/>
        </p:nvCxnSpPr>
        <p:spPr>
          <a:xfrm rot="5400000" flipH="1" flipV="1">
            <a:off x="4397835" y="3163885"/>
            <a:ext cx="222102" cy="317935"/>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479930" y="3959078"/>
            <a:ext cx="1341048" cy="328423"/>
          </a:xfrm>
          <a:prstGeom prst="rect">
            <a:avLst/>
          </a:prstGeom>
        </p:spPr>
        <p:txBody>
          <a:bodyPr wrap="square" lIns="0" tIns="0" rIns="0" bIns="0" rtlCol="0">
            <a:spAutoFit/>
          </a:bodyPr>
          <a:lstStyle/>
          <a:p>
            <a:pPr algn="ctr"/>
            <a:r>
              <a:rPr lang="en-US" sz="1067" dirty="0">
                <a:solidFill>
                  <a:schemeClr val="tx2"/>
                </a:solidFill>
              </a:rPr>
              <a:t>Mature Service Catalog and CMDB</a:t>
            </a:r>
          </a:p>
        </p:txBody>
      </p:sp>
      <p:cxnSp>
        <p:nvCxnSpPr>
          <p:cNvPr id="33" name="Elbow Connector 32"/>
          <p:cNvCxnSpPr>
            <a:stCxn id="28" idx="4"/>
            <a:endCxn id="32" idx="0"/>
          </p:cNvCxnSpPr>
          <p:nvPr/>
        </p:nvCxnSpPr>
        <p:spPr>
          <a:xfrm rot="16200000" flipH="1">
            <a:off x="5659305" y="3467928"/>
            <a:ext cx="314389" cy="667909"/>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150454" y="2504888"/>
            <a:ext cx="1663840" cy="328423"/>
          </a:xfrm>
          <a:prstGeom prst="rect">
            <a:avLst/>
          </a:prstGeom>
        </p:spPr>
        <p:txBody>
          <a:bodyPr wrap="square" lIns="0" tIns="0" rIns="0" bIns="0" rtlCol="0">
            <a:spAutoFit/>
          </a:bodyPr>
          <a:lstStyle>
            <a:defPPr>
              <a:defRPr lang="en-US"/>
            </a:defPPr>
            <a:lvl1pPr>
              <a:defRPr sz="900">
                <a:solidFill>
                  <a:schemeClr val="tx2"/>
                </a:solidFill>
              </a:defRPr>
            </a:lvl1pPr>
          </a:lstStyle>
          <a:p>
            <a:pPr algn="ctr"/>
            <a:r>
              <a:rPr lang="en-US" sz="1067" dirty="0"/>
              <a:t>Improve KEDB and Incident Playbook</a:t>
            </a:r>
          </a:p>
        </p:txBody>
      </p:sp>
      <p:cxnSp>
        <p:nvCxnSpPr>
          <p:cNvPr id="35" name="Elbow Connector 34"/>
          <p:cNvCxnSpPr>
            <a:stCxn id="29" idx="0"/>
            <a:endCxn id="34" idx="2"/>
          </p:cNvCxnSpPr>
          <p:nvPr/>
        </p:nvCxnSpPr>
        <p:spPr>
          <a:xfrm rot="5400000" flipH="1" flipV="1">
            <a:off x="6159181" y="2638616"/>
            <a:ext cx="628498" cy="1017888"/>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854209" y="2686381"/>
            <a:ext cx="1362016" cy="328423"/>
          </a:xfrm>
          <a:prstGeom prst="rect">
            <a:avLst/>
          </a:prstGeom>
        </p:spPr>
        <p:txBody>
          <a:bodyPr wrap="square" lIns="0" tIns="0" rIns="0" bIns="0" rtlCol="0">
            <a:spAutoFit/>
          </a:bodyPr>
          <a:lstStyle/>
          <a:p>
            <a:pPr algn="ctr"/>
            <a:r>
              <a:rPr lang="en-US" sz="1067" dirty="0" smtClean="0">
                <a:solidFill>
                  <a:schemeClr val="tx2"/>
                </a:solidFill>
              </a:rPr>
              <a:t>Institutionalize ITSM Processes</a:t>
            </a:r>
            <a:endParaRPr lang="en-US" sz="1067" dirty="0">
              <a:solidFill>
                <a:schemeClr val="tx2"/>
              </a:solidFill>
            </a:endParaRPr>
          </a:p>
        </p:txBody>
      </p:sp>
      <p:sp>
        <p:nvSpPr>
          <p:cNvPr id="37" name="Oval 78"/>
          <p:cNvSpPr>
            <a:spLocks noChangeArrowheads="1"/>
          </p:cNvSpPr>
          <p:nvPr>
            <p:custDataLst>
              <p:tags r:id="rId12"/>
            </p:custDataLst>
          </p:nvPr>
        </p:nvSpPr>
        <p:spPr bwMode="auto">
          <a:xfrm>
            <a:off x="4879517" y="5144545"/>
            <a:ext cx="182880" cy="182880"/>
          </a:xfrm>
          <a:prstGeom prst="ellipse">
            <a:avLst/>
          </a:prstGeom>
          <a:solidFill>
            <a:srgbClr val="0085CA"/>
          </a:solidFill>
          <a:ln w="76200" cap="flat" cmpd="sng" algn="ctr">
            <a:noFill/>
            <a:prstDash val="solid"/>
            <a:headEnd type="none" w="med" len="med"/>
            <a:tailEnd type="none" w="med" len="med"/>
          </a:ln>
          <a:effectLst/>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38" name="Oval 78"/>
          <p:cNvSpPr>
            <a:spLocks noChangeArrowheads="1"/>
          </p:cNvSpPr>
          <p:nvPr>
            <p:custDataLst>
              <p:tags r:id="rId13"/>
            </p:custDataLst>
          </p:nvPr>
        </p:nvSpPr>
        <p:spPr bwMode="auto">
          <a:xfrm>
            <a:off x="6344563" y="4444965"/>
            <a:ext cx="182880" cy="182880"/>
          </a:xfrm>
          <a:prstGeom prst="ellipse">
            <a:avLst/>
          </a:prstGeom>
          <a:solidFill>
            <a:srgbClr val="0085CA"/>
          </a:solidFill>
          <a:ln w="3175" cap="flat" cmpd="sng" algn="ctr">
            <a:solidFill>
              <a:schemeClr val="bg1"/>
            </a:solidFill>
            <a:prstDash val="solid"/>
            <a:headEnd type="none" w="med" len="med"/>
            <a:tailEnd type="none" w="med" len="med"/>
          </a:ln>
          <a:effectLst/>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39" name="Oval 78"/>
          <p:cNvSpPr>
            <a:spLocks noChangeArrowheads="1"/>
          </p:cNvSpPr>
          <p:nvPr>
            <p:custDataLst>
              <p:tags r:id="rId14"/>
            </p:custDataLst>
          </p:nvPr>
        </p:nvSpPr>
        <p:spPr bwMode="auto">
          <a:xfrm>
            <a:off x="5648080" y="4934076"/>
            <a:ext cx="182880" cy="182880"/>
          </a:xfrm>
          <a:prstGeom prst="ellipse">
            <a:avLst/>
          </a:prstGeom>
          <a:solidFill>
            <a:srgbClr val="0085CA"/>
          </a:solidFill>
          <a:ln w="3175" cap="flat" cmpd="sng" algn="ctr">
            <a:solidFill>
              <a:schemeClr val="bg1"/>
            </a:solidFill>
            <a:prstDash val="solid"/>
            <a:headEnd type="none" w="med" len="med"/>
            <a:tailEnd type="none" w="med" len="med"/>
          </a:ln>
          <a:effectLst/>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40" name="TextBox 39"/>
          <p:cNvSpPr txBox="1"/>
          <p:nvPr/>
        </p:nvSpPr>
        <p:spPr>
          <a:xfrm>
            <a:off x="3305434" y="5544065"/>
            <a:ext cx="1809823" cy="328423"/>
          </a:xfrm>
          <a:prstGeom prst="rect">
            <a:avLst/>
          </a:prstGeom>
        </p:spPr>
        <p:txBody>
          <a:bodyPr wrap="square" lIns="0" tIns="0" rIns="0" bIns="0" rtlCol="0">
            <a:spAutoFit/>
          </a:bodyPr>
          <a:lstStyle/>
          <a:p>
            <a:pPr algn="ctr"/>
            <a:r>
              <a:rPr lang="en-US" sz="1067" dirty="0">
                <a:solidFill>
                  <a:schemeClr val="tx2"/>
                </a:solidFill>
              </a:rPr>
              <a:t>Leverage </a:t>
            </a:r>
            <a:r>
              <a:rPr lang="en-US" sz="1067" dirty="0" err="1" smtClean="0">
                <a:solidFill>
                  <a:schemeClr val="tx2"/>
                </a:solidFill>
              </a:rPr>
              <a:t>AppLens</a:t>
            </a:r>
            <a:r>
              <a:rPr lang="en-US" sz="1067" baseline="30000" dirty="0" err="1" smtClean="0">
                <a:solidFill>
                  <a:schemeClr val="tx2"/>
                </a:solidFill>
              </a:rPr>
              <a:t>TM</a:t>
            </a:r>
            <a:r>
              <a:rPr lang="en-US" sz="1067" dirty="0" smtClean="0">
                <a:solidFill>
                  <a:schemeClr val="tx2"/>
                </a:solidFill>
              </a:rPr>
              <a:t> for Proactive Problem </a:t>
            </a:r>
            <a:r>
              <a:rPr lang="en-US" sz="1067" dirty="0">
                <a:solidFill>
                  <a:schemeClr val="tx2"/>
                </a:solidFill>
              </a:rPr>
              <a:t>Mgmt. </a:t>
            </a:r>
          </a:p>
        </p:txBody>
      </p:sp>
      <p:cxnSp>
        <p:nvCxnSpPr>
          <p:cNvPr id="41" name="Elbow Connector 40"/>
          <p:cNvCxnSpPr>
            <a:stCxn id="37" idx="4"/>
          </p:cNvCxnSpPr>
          <p:nvPr/>
        </p:nvCxnSpPr>
        <p:spPr>
          <a:xfrm rot="5400000">
            <a:off x="4701788" y="5274896"/>
            <a:ext cx="216640" cy="321699"/>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696768" y="4677950"/>
            <a:ext cx="1341048" cy="328423"/>
          </a:xfrm>
          <a:prstGeom prst="rect">
            <a:avLst/>
          </a:prstGeom>
        </p:spPr>
        <p:txBody>
          <a:bodyPr wrap="square" lIns="0" tIns="0" rIns="0" bIns="0" rtlCol="0">
            <a:spAutoFit/>
          </a:bodyPr>
          <a:lstStyle/>
          <a:p>
            <a:pPr algn="ctr"/>
            <a:r>
              <a:rPr lang="en-US" sz="1067" dirty="0">
                <a:solidFill>
                  <a:schemeClr val="tx2"/>
                </a:solidFill>
              </a:rPr>
              <a:t>Setup Innovation Framework</a:t>
            </a:r>
          </a:p>
        </p:txBody>
      </p:sp>
      <p:cxnSp>
        <p:nvCxnSpPr>
          <p:cNvPr id="43" name="Elbow Connector 42"/>
          <p:cNvCxnSpPr>
            <a:endCxn id="42" idx="0"/>
          </p:cNvCxnSpPr>
          <p:nvPr/>
        </p:nvCxnSpPr>
        <p:spPr>
          <a:xfrm>
            <a:off x="6527444" y="4540269"/>
            <a:ext cx="839849" cy="137680"/>
          </a:xfrm>
          <a:prstGeom prst="bentConnector2">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820278" y="5222049"/>
            <a:ext cx="1682945" cy="328423"/>
          </a:xfrm>
          <a:prstGeom prst="rect">
            <a:avLst/>
          </a:prstGeom>
        </p:spPr>
        <p:txBody>
          <a:bodyPr wrap="square" lIns="0" tIns="0" rIns="0" bIns="0" rtlCol="0">
            <a:spAutoFit/>
          </a:bodyPr>
          <a:lstStyle/>
          <a:p>
            <a:pPr algn="ctr"/>
            <a:r>
              <a:rPr lang="en-US" sz="1067" dirty="0">
                <a:solidFill>
                  <a:schemeClr val="tx2"/>
                </a:solidFill>
              </a:rPr>
              <a:t>Undertake Automation Opportunities</a:t>
            </a:r>
          </a:p>
        </p:txBody>
      </p:sp>
      <p:cxnSp>
        <p:nvCxnSpPr>
          <p:cNvPr id="45" name="Elbow Connector 44"/>
          <p:cNvCxnSpPr>
            <a:stCxn id="39" idx="6"/>
            <a:endCxn id="44" idx="0"/>
          </p:cNvCxnSpPr>
          <p:nvPr/>
        </p:nvCxnSpPr>
        <p:spPr>
          <a:xfrm>
            <a:off x="5830961" y="5025517"/>
            <a:ext cx="830791" cy="196532"/>
          </a:xfrm>
          <a:prstGeom prst="bentConnector2">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Oval 78"/>
          <p:cNvSpPr>
            <a:spLocks noChangeArrowheads="1"/>
          </p:cNvSpPr>
          <p:nvPr>
            <p:custDataLst>
              <p:tags r:id="rId15"/>
            </p:custDataLst>
          </p:nvPr>
        </p:nvSpPr>
        <p:spPr bwMode="auto">
          <a:xfrm>
            <a:off x="9059584" y="3461844"/>
            <a:ext cx="182880" cy="182880"/>
          </a:xfrm>
          <a:prstGeom prst="ellipse">
            <a:avLst/>
          </a:prstGeom>
          <a:solidFill>
            <a:srgbClr val="0085CA"/>
          </a:solidFill>
          <a:ln w="3175" cap="flat" cmpd="sng" algn="ctr">
            <a:solidFill>
              <a:schemeClr val="bg1"/>
            </a:solidFill>
            <a:prstDash val="solid"/>
            <a:headEnd type="none" w="med" len="med"/>
            <a:tailEnd type="none" w="med" len="med"/>
          </a:ln>
          <a:effectLst/>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47" name="TextBox 46"/>
          <p:cNvSpPr txBox="1"/>
          <p:nvPr/>
        </p:nvSpPr>
        <p:spPr>
          <a:xfrm>
            <a:off x="8035306" y="3998768"/>
            <a:ext cx="1682945" cy="328423"/>
          </a:xfrm>
          <a:prstGeom prst="rect">
            <a:avLst/>
          </a:prstGeom>
        </p:spPr>
        <p:txBody>
          <a:bodyPr wrap="square" lIns="0" tIns="0" rIns="0" bIns="0" rtlCol="0">
            <a:spAutoFit/>
          </a:bodyPr>
          <a:lstStyle/>
          <a:p>
            <a:pPr algn="ctr"/>
            <a:r>
              <a:rPr lang="en-US" sz="1067" dirty="0">
                <a:solidFill>
                  <a:schemeClr val="tx2"/>
                </a:solidFill>
              </a:rPr>
              <a:t>Service Management Transformation</a:t>
            </a:r>
          </a:p>
        </p:txBody>
      </p:sp>
      <p:sp>
        <p:nvSpPr>
          <p:cNvPr id="48" name="Oval 78"/>
          <p:cNvSpPr>
            <a:spLocks noChangeArrowheads="1"/>
          </p:cNvSpPr>
          <p:nvPr>
            <p:custDataLst>
              <p:tags r:id="rId16"/>
            </p:custDataLst>
          </p:nvPr>
        </p:nvSpPr>
        <p:spPr bwMode="auto">
          <a:xfrm>
            <a:off x="7099408" y="3434708"/>
            <a:ext cx="182880" cy="182880"/>
          </a:xfrm>
          <a:prstGeom prst="ellipse">
            <a:avLst/>
          </a:prstGeom>
          <a:solidFill>
            <a:schemeClr val="bg1">
              <a:lumMod val="75000"/>
            </a:schemeClr>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49" name="TextBox 48"/>
          <p:cNvSpPr txBox="1"/>
          <p:nvPr/>
        </p:nvSpPr>
        <p:spPr>
          <a:xfrm>
            <a:off x="6947368" y="2984792"/>
            <a:ext cx="1663840" cy="164212"/>
          </a:xfrm>
          <a:prstGeom prst="rect">
            <a:avLst/>
          </a:prstGeom>
        </p:spPr>
        <p:txBody>
          <a:bodyPr wrap="square" lIns="0" tIns="0" rIns="0" bIns="0" rtlCol="0">
            <a:spAutoFit/>
          </a:bodyPr>
          <a:lstStyle>
            <a:defPPr>
              <a:defRPr lang="en-US"/>
            </a:defPPr>
            <a:lvl1pPr>
              <a:defRPr sz="900">
                <a:solidFill>
                  <a:schemeClr val="tx2"/>
                </a:solidFill>
              </a:defRPr>
            </a:lvl1pPr>
          </a:lstStyle>
          <a:p>
            <a:pPr algn="ctr"/>
            <a:r>
              <a:rPr lang="en-US" sz="1067" dirty="0"/>
              <a:t>Ongoing CSI Initiatives</a:t>
            </a:r>
          </a:p>
        </p:txBody>
      </p:sp>
      <p:cxnSp>
        <p:nvCxnSpPr>
          <p:cNvPr id="50" name="Elbow Connector 49"/>
          <p:cNvCxnSpPr>
            <a:stCxn id="48" idx="0"/>
            <a:endCxn id="49" idx="2"/>
          </p:cNvCxnSpPr>
          <p:nvPr/>
        </p:nvCxnSpPr>
        <p:spPr>
          <a:xfrm rot="5400000" flipH="1" flipV="1">
            <a:off x="7342216" y="2997636"/>
            <a:ext cx="285704" cy="588440"/>
          </a:xfrm>
          <a:prstGeom prst="bentConnector3">
            <a:avLst>
              <a:gd name="adj1" fmla="val 50000"/>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46" idx="4"/>
            <a:endCxn id="47" idx="0"/>
          </p:cNvCxnSpPr>
          <p:nvPr/>
        </p:nvCxnSpPr>
        <p:spPr>
          <a:xfrm rot="5400000">
            <a:off x="8836880" y="3684623"/>
            <a:ext cx="354043" cy="274245"/>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58" idx="0"/>
            <a:endCxn id="36" idx="2"/>
          </p:cNvCxnSpPr>
          <p:nvPr/>
        </p:nvCxnSpPr>
        <p:spPr>
          <a:xfrm rot="5400000" flipH="1" flipV="1">
            <a:off x="5044514" y="2944006"/>
            <a:ext cx="419904" cy="561501"/>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3" name="Oval 78"/>
          <p:cNvSpPr>
            <a:spLocks noChangeArrowheads="1"/>
          </p:cNvSpPr>
          <p:nvPr>
            <p:custDataLst>
              <p:tags r:id="rId17"/>
            </p:custDataLst>
          </p:nvPr>
        </p:nvSpPr>
        <p:spPr bwMode="auto">
          <a:xfrm>
            <a:off x="8164728" y="3436273"/>
            <a:ext cx="182880" cy="182880"/>
          </a:xfrm>
          <a:prstGeom prst="ellipse">
            <a:avLst/>
          </a:prstGeom>
          <a:solidFill>
            <a:schemeClr val="bg1">
              <a:lumMod val="75000"/>
            </a:schemeClr>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54" name="TextBox 53"/>
          <p:cNvSpPr txBox="1"/>
          <p:nvPr/>
        </p:nvSpPr>
        <p:spPr>
          <a:xfrm>
            <a:off x="9088088" y="3051085"/>
            <a:ext cx="1291200" cy="328423"/>
          </a:xfrm>
          <a:prstGeom prst="rect">
            <a:avLst/>
          </a:prstGeom>
        </p:spPr>
        <p:txBody>
          <a:bodyPr wrap="square" lIns="0" tIns="0" rIns="0" bIns="0" rtlCol="0">
            <a:spAutoFit/>
          </a:bodyPr>
          <a:lstStyle>
            <a:defPPr>
              <a:defRPr lang="en-US"/>
            </a:defPPr>
            <a:lvl1pPr>
              <a:defRPr sz="900">
                <a:solidFill>
                  <a:schemeClr val="tx2"/>
                </a:solidFill>
              </a:defRPr>
            </a:lvl1pPr>
          </a:lstStyle>
          <a:p>
            <a:pPr algn="ctr"/>
            <a:r>
              <a:rPr lang="en-US" sz="1067" dirty="0"/>
              <a:t>Improve service catalog maturity</a:t>
            </a:r>
          </a:p>
        </p:txBody>
      </p:sp>
      <p:cxnSp>
        <p:nvCxnSpPr>
          <p:cNvPr id="55" name="Elbow Connector 54"/>
          <p:cNvCxnSpPr>
            <a:stCxn id="53" idx="0"/>
          </p:cNvCxnSpPr>
          <p:nvPr/>
        </p:nvCxnSpPr>
        <p:spPr>
          <a:xfrm rot="5400000" flipH="1" flipV="1">
            <a:off x="8668520" y="2837725"/>
            <a:ext cx="186197" cy="1010900"/>
          </a:xfrm>
          <a:prstGeom prst="bentConnector2">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629838" y="2545669"/>
            <a:ext cx="963080" cy="328423"/>
          </a:xfrm>
          <a:prstGeom prst="rect">
            <a:avLst/>
          </a:prstGeom>
        </p:spPr>
        <p:txBody>
          <a:bodyPr wrap="square" lIns="0" tIns="0" rIns="0" bIns="0" rtlCol="0">
            <a:spAutoFit/>
          </a:bodyPr>
          <a:lstStyle/>
          <a:p>
            <a:pPr algn="ctr"/>
            <a:r>
              <a:rPr lang="en-US" sz="1067" dirty="0">
                <a:solidFill>
                  <a:schemeClr val="tx2"/>
                </a:solidFill>
              </a:rPr>
              <a:t>Transition Completion</a:t>
            </a:r>
          </a:p>
        </p:txBody>
      </p:sp>
      <p:cxnSp>
        <p:nvCxnSpPr>
          <p:cNvPr id="57" name="Elbow Connector 56"/>
          <p:cNvCxnSpPr>
            <a:stCxn id="16" idx="6"/>
            <a:endCxn id="56" idx="2"/>
          </p:cNvCxnSpPr>
          <p:nvPr/>
        </p:nvCxnSpPr>
        <p:spPr>
          <a:xfrm flipV="1">
            <a:off x="3841477" y="2874092"/>
            <a:ext cx="269901" cy="331812"/>
          </a:xfrm>
          <a:prstGeom prst="bentConnector2">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Oval 78"/>
          <p:cNvSpPr>
            <a:spLocks noChangeArrowheads="1"/>
          </p:cNvSpPr>
          <p:nvPr>
            <p:custDataLst>
              <p:tags r:id="rId18"/>
            </p:custDataLst>
          </p:nvPr>
        </p:nvSpPr>
        <p:spPr bwMode="auto">
          <a:xfrm>
            <a:off x="4882276" y="3434708"/>
            <a:ext cx="182880" cy="182880"/>
          </a:xfrm>
          <a:prstGeom prst="ellipse">
            <a:avLst/>
          </a:prstGeom>
          <a:solidFill>
            <a:srgbClr val="0070C0"/>
          </a:solidFill>
          <a:ln w="3175">
            <a:solidFill>
              <a:schemeClr val="tx2"/>
            </a:solid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59" name="TextBox 58"/>
          <p:cNvSpPr txBox="1"/>
          <p:nvPr/>
        </p:nvSpPr>
        <p:spPr>
          <a:xfrm>
            <a:off x="4402249" y="4218431"/>
            <a:ext cx="1341048" cy="492635"/>
          </a:xfrm>
          <a:prstGeom prst="rect">
            <a:avLst/>
          </a:prstGeom>
        </p:spPr>
        <p:txBody>
          <a:bodyPr wrap="square" lIns="0" tIns="0" rIns="0" bIns="0" rtlCol="0">
            <a:spAutoFit/>
          </a:bodyPr>
          <a:lstStyle/>
          <a:p>
            <a:pPr algn="ctr"/>
            <a:r>
              <a:rPr lang="en-US" sz="1067" dirty="0" smtClean="0">
                <a:solidFill>
                  <a:schemeClr val="tx2"/>
                </a:solidFill>
              </a:rPr>
              <a:t>Zero Maintenance driven by Debt Management</a:t>
            </a:r>
            <a:endParaRPr lang="en-US" sz="1067" dirty="0">
              <a:solidFill>
                <a:schemeClr val="tx2"/>
              </a:solidFill>
            </a:endParaRPr>
          </a:p>
        </p:txBody>
      </p:sp>
      <p:cxnSp>
        <p:nvCxnSpPr>
          <p:cNvPr id="61" name="Elbow Connector 60"/>
          <p:cNvCxnSpPr>
            <a:stCxn id="58" idx="4"/>
            <a:endCxn id="59" idx="0"/>
          </p:cNvCxnSpPr>
          <p:nvPr/>
        </p:nvCxnSpPr>
        <p:spPr>
          <a:xfrm rot="16200000" flipH="1">
            <a:off x="4722823" y="3868480"/>
            <a:ext cx="600843" cy="99057"/>
          </a:xfrm>
          <a:prstGeom prst="bentConnector3">
            <a:avLst>
              <a:gd name="adj1" fmla="val 50000"/>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686921" y="3922917"/>
            <a:ext cx="963080" cy="164212"/>
          </a:xfrm>
          <a:prstGeom prst="rect">
            <a:avLst/>
          </a:prstGeom>
        </p:spPr>
        <p:txBody>
          <a:bodyPr wrap="square" lIns="0" tIns="0" rIns="0" bIns="0" rtlCol="0">
            <a:spAutoFit/>
          </a:bodyPr>
          <a:lstStyle/>
          <a:p>
            <a:pPr algn="ctr"/>
            <a:r>
              <a:rPr lang="en-US" sz="1067" dirty="0" smtClean="0">
                <a:solidFill>
                  <a:schemeClr val="tx2"/>
                </a:solidFill>
              </a:rPr>
              <a:t>Define OLA’s</a:t>
            </a:r>
            <a:endParaRPr lang="en-US" sz="1067" dirty="0">
              <a:solidFill>
                <a:schemeClr val="tx2"/>
              </a:solidFill>
            </a:endParaRPr>
          </a:p>
        </p:txBody>
      </p:sp>
      <p:cxnSp>
        <p:nvCxnSpPr>
          <p:cNvPr id="69" name="Elbow Connector 68"/>
          <p:cNvCxnSpPr>
            <a:stCxn id="27" idx="4"/>
            <a:endCxn id="67" idx="0"/>
          </p:cNvCxnSpPr>
          <p:nvPr/>
        </p:nvCxnSpPr>
        <p:spPr>
          <a:xfrm rot="5400000">
            <a:off x="4106123" y="3679121"/>
            <a:ext cx="306134" cy="181458"/>
          </a:xfrm>
          <a:prstGeom prst="bentConnector3">
            <a:avLst>
              <a:gd name="adj1" fmla="val 50000"/>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Oval 78"/>
          <p:cNvSpPr>
            <a:spLocks noChangeArrowheads="1"/>
          </p:cNvSpPr>
          <p:nvPr>
            <p:custDataLst>
              <p:tags r:id="rId19"/>
            </p:custDataLst>
          </p:nvPr>
        </p:nvSpPr>
        <p:spPr bwMode="auto">
          <a:xfrm>
            <a:off x="7070039" y="3994495"/>
            <a:ext cx="182880" cy="182880"/>
          </a:xfrm>
          <a:prstGeom prst="ellipse">
            <a:avLst/>
          </a:prstGeom>
          <a:solidFill>
            <a:srgbClr val="0085CA"/>
          </a:solidFill>
          <a:ln w="3175" cap="flat" cmpd="sng" algn="ctr">
            <a:solidFill>
              <a:schemeClr val="bg1"/>
            </a:solidFill>
            <a:prstDash val="solid"/>
            <a:headEnd type="none" w="med" len="med"/>
            <a:tailEnd type="none" w="med" len="med"/>
          </a:ln>
          <a:effectLst/>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63" name="TextBox 62"/>
          <p:cNvSpPr txBox="1"/>
          <p:nvPr/>
        </p:nvSpPr>
        <p:spPr>
          <a:xfrm>
            <a:off x="7422244" y="4227480"/>
            <a:ext cx="1015369" cy="328423"/>
          </a:xfrm>
          <a:prstGeom prst="rect">
            <a:avLst/>
          </a:prstGeom>
        </p:spPr>
        <p:txBody>
          <a:bodyPr wrap="square" lIns="0" tIns="0" rIns="0" bIns="0" rtlCol="0">
            <a:spAutoFit/>
          </a:bodyPr>
          <a:lstStyle/>
          <a:p>
            <a:pPr algn="ctr"/>
            <a:r>
              <a:rPr lang="en-US" sz="1067" dirty="0" smtClean="0">
                <a:solidFill>
                  <a:schemeClr val="tx2"/>
                </a:solidFill>
              </a:rPr>
              <a:t>Discuss with MI for PID 3.0</a:t>
            </a:r>
            <a:endParaRPr lang="en-US" sz="1067" dirty="0">
              <a:solidFill>
                <a:schemeClr val="tx2"/>
              </a:solidFill>
            </a:endParaRPr>
          </a:p>
        </p:txBody>
      </p:sp>
      <p:cxnSp>
        <p:nvCxnSpPr>
          <p:cNvPr id="64" name="Elbow Connector 63"/>
          <p:cNvCxnSpPr>
            <a:endCxn id="63" idx="0"/>
          </p:cNvCxnSpPr>
          <p:nvPr/>
        </p:nvCxnSpPr>
        <p:spPr>
          <a:xfrm>
            <a:off x="7252920" y="4089799"/>
            <a:ext cx="677009" cy="137681"/>
          </a:xfrm>
          <a:prstGeom prst="bentConnector2">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5" name="Oval 78"/>
          <p:cNvSpPr>
            <a:spLocks noChangeArrowheads="1"/>
          </p:cNvSpPr>
          <p:nvPr>
            <p:custDataLst>
              <p:tags r:id="rId20"/>
            </p:custDataLst>
          </p:nvPr>
        </p:nvSpPr>
        <p:spPr bwMode="auto">
          <a:xfrm>
            <a:off x="1895718" y="2281325"/>
            <a:ext cx="182880" cy="182880"/>
          </a:xfrm>
          <a:prstGeom prst="ellipse">
            <a:avLst/>
          </a:prstGeom>
          <a:solidFill>
            <a:srgbClr val="7030A0"/>
          </a:solidFill>
          <a:ln w="12700">
            <a:noFill/>
            <a:round/>
            <a:headEnd/>
            <a:tailEnd/>
          </a:ln>
        </p:spPr>
        <p:txBody>
          <a:bodyPr wrap="none" lIns="119968" tIns="59983" rIns="119968" bIns="59983" anchor="ctr"/>
          <a:lstStyle/>
          <a:p>
            <a:pPr algn="ctr" defTabSz="1534434"/>
            <a:endParaRPr lang="en-US" sz="400" kern="0" dirty="0">
              <a:solidFill>
                <a:prstClr val="black"/>
              </a:solidFill>
              <a:cs typeface="Calibri" panose="020F0502020204030204" pitchFamily="34" charset="0"/>
            </a:endParaRPr>
          </a:p>
        </p:txBody>
      </p:sp>
      <p:sp>
        <p:nvSpPr>
          <p:cNvPr id="96" name="TextBox 95"/>
          <p:cNvSpPr txBox="1"/>
          <p:nvPr/>
        </p:nvSpPr>
        <p:spPr>
          <a:xfrm>
            <a:off x="1501177" y="2689877"/>
            <a:ext cx="1235195" cy="330247"/>
          </a:xfrm>
          <a:prstGeom prst="rect">
            <a:avLst/>
          </a:prstGeom>
        </p:spPr>
        <p:txBody>
          <a:bodyPr wrap="square" lIns="0" tIns="0" rIns="0" bIns="0" rtlCol="0">
            <a:spAutoFit/>
          </a:bodyPr>
          <a:lstStyle/>
          <a:p>
            <a:pPr algn="ctr"/>
            <a:r>
              <a:rPr lang="en-US" sz="1067" dirty="0" smtClean="0">
                <a:solidFill>
                  <a:schemeClr val="tx2"/>
                </a:solidFill>
              </a:rPr>
              <a:t>Pre-Planning and Due Diligence (4 weeks)</a:t>
            </a:r>
            <a:endParaRPr lang="en-US" sz="1867" dirty="0">
              <a:solidFill>
                <a:schemeClr val="tx2"/>
              </a:solidFill>
            </a:endParaRPr>
          </a:p>
        </p:txBody>
      </p:sp>
      <p:cxnSp>
        <p:nvCxnSpPr>
          <p:cNvPr id="98" name="Elbow Connector 97"/>
          <p:cNvCxnSpPr>
            <a:stCxn id="95" idx="4"/>
            <a:endCxn id="96" idx="0"/>
          </p:cNvCxnSpPr>
          <p:nvPr/>
        </p:nvCxnSpPr>
        <p:spPr>
          <a:xfrm rot="16200000" flipH="1">
            <a:off x="1940130" y="2511232"/>
            <a:ext cx="225672" cy="131617"/>
          </a:xfrm>
          <a:prstGeom prst="bentConnector3">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7364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B0B28AF7-1F47-6F45-AA47-FA299735B1FB}"/>
              </a:ext>
            </a:extLst>
          </p:cNvPr>
          <p:cNvSpPr/>
          <p:nvPr/>
        </p:nvSpPr>
        <p:spPr>
          <a:xfrm>
            <a:off x="5595117" y="3804275"/>
            <a:ext cx="4660513" cy="2123985"/>
          </a:xfrm>
          <a:prstGeom prst="rect">
            <a:avLst/>
          </a:prstGeom>
          <a:solidFill>
            <a:srgbClr val="FFFFFF"/>
          </a:solidFill>
          <a:ln w="9525" cap="flat" cmpd="sng" algn="ctr">
            <a:solidFill>
              <a:srgbClr val="FFFFFF">
                <a:lumMod val="65000"/>
              </a:srgbClr>
            </a:solidFill>
            <a:prstDash val="solid"/>
          </a:ln>
          <a:effectLst/>
        </p:spPr>
        <p:txBody>
          <a:bodyPr rtlCol="0" anchor="ctr"/>
          <a:lstStyle/>
          <a:p>
            <a:pPr algn="ctr" defTabSz="1213808">
              <a:defRPr/>
            </a:pPr>
            <a:endParaRPr lang="en-US" sz="1185" kern="0" dirty="0">
              <a:solidFill>
                <a:srgbClr val="000000"/>
              </a:solidFill>
              <a:latin typeface="Calibri" panose="020F0502020204030204" pitchFamily="34" charset="0"/>
              <a:cs typeface="Calibri" panose="020F0502020204030204" pitchFamily="34" charset="0"/>
            </a:endParaRPr>
          </a:p>
        </p:txBody>
      </p:sp>
      <p:sp>
        <p:nvSpPr>
          <p:cNvPr id="4" name="Title 3"/>
          <p:cNvSpPr>
            <a:spLocks noGrp="1"/>
          </p:cNvSpPr>
          <p:nvPr>
            <p:ph type="title"/>
          </p:nvPr>
        </p:nvSpPr>
        <p:spPr/>
        <p:txBody>
          <a:bodyPr/>
          <a:lstStyle/>
          <a:p>
            <a:r>
              <a:rPr lang="en-US" dirty="0" smtClean="0"/>
              <a:t>Summary &amp; Cognizant Differentiators </a:t>
            </a:r>
            <a:endParaRPr lang="en-US" dirty="0"/>
          </a:p>
        </p:txBody>
      </p:sp>
      <p:sp>
        <p:nvSpPr>
          <p:cNvPr id="11" name="Rectangle 10">
            <a:extLst>
              <a:ext uri="{FF2B5EF4-FFF2-40B4-BE49-F238E27FC236}">
                <a16:creationId xmlns:a16="http://schemas.microsoft.com/office/drawing/2014/main" id="{B0B28AF7-1F47-6F45-AA47-FA299735B1FB}"/>
              </a:ext>
            </a:extLst>
          </p:cNvPr>
          <p:cNvSpPr/>
          <p:nvPr/>
        </p:nvSpPr>
        <p:spPr>
          <a:xfrm>
            <a:off x="5611287" y="1273934"/>
            <a:ext cx="4660513" cy="1886815"/>
          </a:xfrm>
          <a:prstGeom prst="rect">
            <a:avLst/>
          </a:prstGeom>
          <a:solidFill>
            <a:srgbClr val="FFFFFF"/>
          </a:solidFill>
          <a:ln w="9525" cap="flat" cmpd="sng" algn="ctr">
            <a:solidFill>
              <a:srgbClr val="FFFFFF">
                <a:lumMod val="65000"/>
              </a:srgbClr>
            </a:solidFill>
            <a:prstDash val="solid"/>
          </a:ln>
          <a:effectLst/>
        </p:spPr>
        <p:txBody>
          <a:bodyPr rtlCol="0" anchor="ctr"/>
          <a:lstStyle/>
          <a:p>
            <a:pPr algn="ctr" defTabSz="1213808">
              <a:defRPr/>
            </a:pPr>
            <a:endParaRPr lang="en-US" sz="1185" kern="0" dirty="0">
              <a:solidFill>
                <a:srgbClr val="000000"/>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5AB4A99A-6CCC-2348-8D84-63913E621847}"/>
              </a:ext>
            </a:extLst>
          </p:cNvPr>
          <p:cNvSpPr/>
          <p:nvPr/>
        </p:nvSpPr>
        <p:spPr>
          <a:xfrm>
            <a:off x="1998560" y="1227328"/>
            <a:ext cx="3369547" cy="1932804"/>
          </a:xfrm>
          <a:prstGeom prst="rect">
            <a:avLst/>
          </a:prstGeom>
          <a:solidFill>
            <a:srgbClr val="FFFFFF"/>
          </a:solidFill>
          <a:ln w="12700" cap="flat" cmpd="sng" algn="ctr">
            <a:solidFill>
              <a:srgbClr val="FFFFFF">
                <a:lumMod val="65000"/>
              </a:srgbClr>
            </a:solidFill>
            <a:prstDash val="solid"/>
          </a:ln>
          <a:effectLst/>
        </p:spPr>
        <p:txBody>
          <a:bodyPr rtlCol="0" anchor="ctr"/>
          <a:lstStyle/>
          <a:p>
            <a:pPr algn="ctr" defTabSz="1213808">
              <a:defRPr/>
            </a:pPr>
            <a:endParaRPr lang="en-US" sz="1185" kern="0" dirty="0">
              <a:solidFill>
                <a:srgbClr val="000000"/>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75932D39-FFCF-8C40-8EA2-3C8CD2D06FA3}"/>
              </a:ext>
            </a:extLst>
          </p:cNvPr>
          <p:cNvCxnSpPr/>
          <p:nvPr/>
        </p:nvCxnSpPr>
        <p:spPr>
          <a:xfrm flipH="1">
            <a:off x="6105467" y="1455950"/>
            <a:ext cx="5563" cy="0"/>
          </a:xfrm>
          <a:prstGeom prst="line">
            <a:avLst/>
          </a:prstGeom>
          <a:noFill/>
          <a:ln w="3175" cap="flat" cmpd="sng" algn="ctr">
            <a:solidFill>
              <a:sysClr val="window" lastClr="FFFFFF">
                <a:lumMod val="75000"/>
              </a:sysClr>
            </a:solidFill>
            <a:prstDash val="dash"/>
          </a:ln>
          <a:effectLst/>
        </p:spPr>
      </p:cxnSp>
      <p:sp>
        <p:nvSpPr>
          <p:cNvPr id="16" name="Rectangle 15">
            <a:extLst>
              <a:ext uri="{FF2B5EF4-FFF2-40B4-BE49-F238E27FC236}">
                <a16:creationId xmlns:a16="http://schemas.microsoft.com/office/drawing/2014/main" id="{1ABB2742-7F93-B446-B164-450795009169}"/>
              </a:ext>
            </a:extLst>
          </p:cNvPr>
          <p:cNvSpPr/>
          <p:nvPr/>
        </p:nvSpPr>
        <p:spPr>
          <a:xfrm>
            <a:off x="3470384" y="1117036"/>
            <a:ext cx="1744337" cy="2027570"/>
          </a:xfrm>
          <a:prstGeom prst="rect">
            <a:avLst/>
          </a:prstGeom>
          <a:noFill/>
          <a:ln w="9525" cap="flat" cmpd="sng" algn="ctr">
            <a:noFill/>
            <a:prstDash val="solid"/>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120415" tIns="60207" rIns="120415" bIns="60207" numCol="1" spcCol="0" rtlCol="0" fromWordArt="0" anchor="ctr" anchorCtr="0" forceAA="0" compatLnSpc="1">
            <a:prstTxWarp prst="textNoShape">
              <a:avLst/>
            </a:prstTxWarp>
            <a:noAutofit/>
          </a:bodyPr>
          <a:lstStyle/>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SLA Adherence</a:t>
            </a:r>
          </a:p>
          <a:p>
            <a:pPr defTabSz="602057">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602057">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Productivity Improvement in 5 Years</a:t>
            </a:r>
          </a:p>
          <a:p>
            <a:pPr defTabSz="602057">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602057">
              <a:defRPr/>
            </a:pP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MTTR Improvement</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9DFB475A-57A8-CF4D-BA53-8040EAACA60A}"/>
              </a:ext>
            </a:extLst>
          </p:cNvPr>
          <p:cNvSpPr txBox="1"/>
          <p:nvPr/>
        </p:nvSpPr>
        <p:spPr>
          <a:xfrm>
            <a:off x="5692266" y="2370662"/>
            <a:ext cx="2281655" cy="528800"/>
          </a:xfrm>
          <a:prstGeom prst="rect">
            <a:avLst/>
          </a:prstGeom>
          <a:noFill/>
        </p:spPr>
        <p:txBody>
          <a:bodyPr wrap="square" lIns="96973" tIns="48483" rIns="96973" bIns="48483">
            <a:spAutoFit/>
          </a:bodyPr>
          <a:lstStyle/>
          <a:p>
            <a:pPr algn="ctr" defTabSz="484764">
              <a:defRPr/>
            </a:pPr>
            <a:r>
              <a:rPr lang="en-US" sz="1400" b="1" dirty="0" smtClean="0">
                <a:solidFill>
                  <a:srgbClr val="000000">
                    <a:lumMod val="65000"/>
                    <a:lumOff val="35000"/>
                  </a:srgbClr>
                </a:solidFill>
                <a:latin typeface="Calibri" panose="020F0502020204030204" pitchFamily="34" charset="0"/>
                <a:ea typeface="MS PGothic" pitchFamily="34" charset="-128"/>
                <a:cs typeface="Calibri" panose="020F0502020204030204" pitchFamily="34" charset="0"/>
              </a:rPr>
              <a:t>8 (4 + 4) Week</a:t>
            </a:r>
            <a:endParaRPr lang="en-US" sz="1400" b="1" dirty="0">
              <a:solidFill>
                <a:srgbClr val="000000">
                  <a:lumMod val="65000"/>
                  <a:lumOff val="35000"/>
                </a:srgbClr>
              </a:solidFill>
              <a:latin typeface="Calibri" panose="020F0502020204030204" pitchFamily="34" charset="0"/>
              <a:ea typeface="MS PGothic" pitchFamily="34" charset="-128"/>
              <a:cs typeface="Calibri" panose="020F0502020204030204" pitchFamily="34" charset="0"/>
            </a:endParaRPr>
          </a:p>
          <a:p>
            <a:pPr algn="ctr" defTabSz="484764">
              <a:defRPr/>
            </a:pPr>
            <a:r>
              <a:rPr lang="en-US" sz="1400" b="1" dirty="0">
                <a:solidFill>
                  <a:srgbClr val="000000">
                    <a:lumMod val="65000"/>
                    <a:lumOff val="35000"/>
                  </a:srgbClr>
                </a:solidFill>
                <a:latin typeface="Calibri" panose="020F0502020204030204" pitchFamily="34" charset="0"/>
                <a:ea typeface="MS PGothic" pitchFamily="34" charset="-128"/>
                <a:cs typeface="Calibri" panose="020F0502020204030204" pitchFamily="34" charset="0"/>
              </a:rPr>
              <a:t> Risk Mitigated Transition</a:t>
            </a:r>
          </a:p>
        </p:txBody>
      </p:sp>
      <p:sp>
        <p:nvSpPr>
          <p:cNvPr id="19" name="Rectangle 18">
            <a:extLst>
              <a:ext uri="{FF2B5EF4-FFF2-40B4-BE49-F238E27FC236}">
                <a16:creationId xmlns:a16="http://schemas.microsoft.com/office/drawing/2014/main" id="{148BC41B-2CA7-D747-9F93-BE15A3D732AE}"/>
              </a:ext>
            </a:extLst>
          </p:cNvPr>
          <p:cNvSpPr/>
          <p:nvPr/>
        </p:nvSpPr>
        <p:spPr>
          <a:xfrm>
            <a:off x="7940808" y="1724309"/>
            <a:ext cx="2318881" cy="1028304"/>
          </a:xfrm>
          <a:prstGeom prst="rect">
            <a:avLst/>
          </a:prstGeom>
          <a:noFill/>
          <a:ln w="9525" cap="flat" cmpd="sng" algn="ctr">
            <a:noFill/>
            <a:prstDash val="solid"/>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120415" tIns="0" rIns="120415" bIns="60207" numCol="1" spcCol="0" rtlCol="0" fromWordArt="0" anchor="ctr" anchorCtr="0" forceAA="0" compatLnSpc="1">
            <a:prstTxWarp prst="textNoShape">
              <a:avLst/>
            </a:prstTxWarp>
            <a:spAutoFit/>
          </a:bodyPr>
          <a:lstStyle/>
          <a:p>
            <a:pPr defTabSz="484764">
              <a:defRPr/>
            </a:pPr>
            <a:r>
              <a:rPr lang="en-US" sz="1600" b="1" dirty="0" smtClean="0">
                <a:solidFill>
                  <a:srgbClr val="000000">
                    <a:lumMod val="65000"/>
                    <a:lumOff val="35000"/>
                  </a:srgbClr>
                </a:solidFill>
                <a:latin typeface="Calibri" panose="020F0502020204030204" pitchFamily="34" charset="0"/>
                <a:ea typeface="MS PGothic" pitchFamily="34" charset="-128"/>
                <a:cs typeface="Calibri" panose="020F0502020204030204" pitchFamily="34" charset="0"/>
              </a:rPr>
              <a:t>ZERO Cost Transition</a:t>
            </a:r>
          </a:p>
          <a:p>
            <a:pPr defTabSz="602057">
              <a:defRPr/>
            </a:pPr>
            <a:endParaRPr lang="en-US" sz="1087" kern="0" dirty="0">
              <a:solidFill>
                <a:srgbClr val="000000">
                  <a:lumMod val="65000"/>
                  <a:lumOff val="35000"/>
                </a:srgbClr>
              </a:solidFill>
              <a:latin typeface="Calibri" panose="020F0502020204030204" pitchFamily="34" charset="0"/>
              <a:cs typeface="Calibri" panose="020F0502020204030204" pitchFamily="34" charset="0"/>
            </a:endParaRPr>
          </a:p>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Risk </a:t>
            </a:r>
            <a:r>
              <a:rPr lang="en-US" sz="1200" kern="0" dirty="0">
                <a:solidFill>
                  <a:srgbClr val="000000">
                    <a:lumMod val="65000"/>
                    <a:lumOff val="35000"/>
                  </a:srgbClr>
                </a:solidFill>
                <a:latin typeface="Calibri" panose="020F0502020204030204" pitchFamily="34" charset="0"/>
                <a:cs typeface="Calibri" panose="020F0502020204030204" pitchFamily="34" charset="0"/>
              </a:rPr>
              <a:t>Mitigated </a:t>
            </a: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approach with 4 weeks pre-planning &amp; DD followed by 4 weeks KT</a:t>
            </a:r>
          </a:p>
        </p:txBody>
      </p:sp>
      <p:cxnSp>
        <p:nvCxnSpPr>
          <p:cNvPr id="20" name="Straight Connector 19">
            <a:extLst>
              <a:ext uri="{FF2B5EF4-FFF2-40B4-BE49-F238E27FC236}">
                <a16:creationId xmlns:a16="http://schemas.microsoft.com/office/drawing/2014/main" id="{617F80D2-F87B-0740-85F5-9DE9A818208E}"/>
              </a:ext>
            </a:extLst>
          </p:cNvPr>
          <p:cNvCxnSpPr/>
          <p:nvPr/>
        </p:nvCxnSpPr>
        <p:spPr>
          <a:xfrm>
            <a:off x="7941542" y="1325930"/>
            <a:ext cx="0" cy="1791028"/>
          </a:xfrm>
          <a:prstGeom prst="line">
            <a:avLst/>
          </a:prstGeom>
          <a:noFill/>
          <a:ln w="9525" cap="flat" cmpd="sng" algn="ctr">
            <a:solidFill>
              <a:sysClr val="window" lastClr="FFFFFF">
                <a:lumMod val="75000"/>
              </a:sysClr>
            </a:solidFill>
            <a:prstDash val="sysDash"/>
          </a:ln>
          <a:effectLst/>
        </p:spPr>
      </p:cxnSp>
      <p:sp>
        <p:nvSpPr>
          <p:cNvPr id="21" name="Rectangle 20">
            <a:extLst>
              <a:ext uri="{FF2B5EF4-FFF2-40B4-BE49-F238E27FC236}">
                <a16:creationId xmlns:a16="http://schemas.microsoft.com/office/drawing/2014/main" id="{391084B2-94C7-3E4F-A8EC-E8A1126B83C2}"/>
              </a:ext>
            </a:extLst>
          </p:cNvPr>
          <p:cNvSpPr/>
          <p:nvPr/>
        </p:nvSpPr>
        <p:spPr>
          <a:xfrm>
            <a:off x="5595117" y="3363232"/>
            <a:ext cx="4664571" cy="450174"/>
          </a:xfrm>
          <a:prstGeom prst="rect">
            <a:avLst/>
          </a:prstGeom>
          <a:gradFill flip="none" rotWithShape="1">
            <a:gsLst>
              <a:gs pos="0">
                <a:srgbClr val="0033A0"/>
              </a:gs>
              <a:gs pos="100000">
                <a:srgbClr val="00B13F"/>
              </a:gs>
            </a:gsLst>
            <a:lin ang="0" scaled="1"/>
            <a:tileRect/>
          </a:gradFill>
          <a:ln>
            <a:gradFill flip="none" rotWithShape="1">
              <a:gsLst>
                <a:gs pos="0">
                  <a:srgbClr val="003EA0"/>
                </a:gs>
                <a:gs pos="100000">
                  <a:srgbClr val="00B14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400" b="1" dirty="0" smtClean="0">
                <a:solidFill>
                  <a:srgbClr val="FFFFFF"/>
                </a:solidFill>
                <a:latin typeface="Calibri" panose="020F0502020204030204" pitchFamily="34" charset="0"/>
                <a:cs typeface="Calibri" panose="020F0502020204030204" pitchFamily="34" charset="0"/>
              </a:rPr>
              <a:t>RUN DIFFERENT</a:t>
            </a:r>
            <a:endParaRPr lang="en-US" sz="1400" b="1" dirty="0">
              <a:solidFill>
                <a:srgbClr val="FFFFFF"/>
              </a:solidFill>
              <a:latin typeface="Calibri" panose="020F0502020204030204" pitchFamily="34" charset="0"/>
              <a:cs typeface="Calibri" panose="020F0502020204030204" pitchFamily="34" charset="0"/>
            </a:endParaRPr>
          </a:p>
        </p:txBody>
      </p:sp>
      <p:grpSp>
        <p:nvGrpSpPr>
          <p:cNvPr id="33" name="Group 4">
            <a:extLst>
              <a:ext uri="{FF2B5EF4-FFF2-40B4-BE49-F238E27FC236}">
                <a16:creationId xmlns:a16="http://schemas.microsoft.com/office/drawing/2014/main" id="{47E798CD-5AFF-9C47-85C5-3E53BD322CBC}"/>
              </a:ext>
            </a:extLst>
          </p:cNvPr>
          <p:cNvGrpSpPr>
            <a:grpSpLocks noChangeAspect="1"/>
          </p:cNvGrpSpPr>
          <p:nvPr/>
        </p:nvGrpSpPr>
        <p:grpSpPr bwMode="auto">
          <a:xfrm>
            <a:off x="2186913" y="1835215"/>
            <a:ext cx="478989" cy="697322"/>
            <a:chOff x="95" y="353"/>
            <a:chExt cx="442" cy="629"/>
          </a:xfrm>
          <a:solidFill>
            <a:srgbClr val="0033A0"/>
          </a:solidFill>
        </p:grpSpPr>
        <p:sp>
          <p:nvSpPr>
            <p:cNvPr id="94" name="Freeform 5">
              <a:extLst>
                <a:ext uri="{FF2B5EF4-FFF2-40B4-BE49-F238E27FC236}">
                  <a16:creationId xmlns:a16="http://schemas.microsoft.com/office/drawing/2014/main" id="{58804286-5A0F-8F4F-90EC-55B63557BC6F}"/>
                </a:ext>
              </a:extLst>
            </p:cNvPr>
            <p:cNvSpPr>
              <a:spLocks noEditPoints="1"/>
            </p:cNvSpPr>
            <p:nvPr/>
          </p:nvSpPr>
          <p:spPr bwMode="auto">
            <a:xfrm>
              <a:off x="95" y="353"/>
              <a:ext cx="360" cy="629"/>
            </a:xfrm>
            <a:custGeom>
              <a:avLst/>
              <a:gdLst>
                <a:gd name="T0" fmla="*/ 41 w 150"/>
                <a:gd name="T1" fmla="*/ 46 h 263"/>
                <a:gd name="T2" fmla="*/ 48 w 150"/>
                <a:gd name="T3" fmla="*/ 61 h 263"/>
                <a:gd name="T4" fmla="*/ 54 w 150"/>
                <a:gd name="T5" fmla="*/ 54 h 263"/>
                <a:gd name="T6" fmla="*/ 47 w 150"/>
                <a:gd name="T7" fmla="*/ 47 h 263"/>
                <a:gd name="T8" fmla="*/ 44 w 150"/>
                <a:gd name="T9" fmla="*/ 42 h 263"/>
                <a:gd name="T10" fmla="*/ 42 w 150"/>
                <a:gd name="T11" fmla="*/ 33 h 263"/>
                <a:gd name="T12" fmla="*/ 40 w 150"/>
                <a:gd name="T13" fmla="*/ 21 h 263"/>
                <a:gd name="T14" fmla="*/ 40 w 150"/>
                <a:gd name="T15" fmla="*/ 19 h 263"/>
                <a:gd name="T16" fmla="*/ 44 w 150"/>
                <a:gd name="T17" fmla="*/ 5 h 263"/>
                <a:gd name="T18" fmla="*/ 45 w 150"/>
                <a:gd name="T19" fmla="*/ 1 h 263"/>
                <a:gd name="T20" fmla="*/ 58 w 150"/>
                <a:gd name="T21" fmla="*/ 0 h 263"/>
                <a:gd name="T22" fmla="*/ 59 w 150"/>
                <a:gd name="T23" fmla="*/ 0 h 263"/>
                <a:gd name="T24" fmla="*/ 73 w 150"/>
                <a:gd name="T25" fmla="*/ 14 h 263"/>
                <a:gd name="T26" fmla="*/ 74 w 150"/>
                <a:gd name="T27" fmla="*/ 23 h 263"/>
                <a:gd name="T28" fmla="*/ 71 w 150"/>
                <a:gd name="T29" fmla="*/ 32 h 263"/>
                <a:gd name="T30" fmla="*/ 68 w 150"/>
                <a:gd name="T31" fmla="*/ 40 h 263"/>
                <a:gd name="T32" fmla="*/ 65 w 150"/>
                <a:gd name="T33" fmla="*/ 48 h 263"/>
                <a:gd name="T34" fmla="*/ 59 w 150"/>
                <a:gd name="T35" fmla="*/ 53 h 263"/>
                <a:gd name="T36" fmla="*/ 64 w 150"/>
                <a:gd name="T37" fmla="*/ 61 h 263"/>
                <a:gd name="T38" fmla="*/ 71 w 150"/>
                <a:gd name="T39" fmla="*/ 46 h 263"/>
                <a:gd name="T40" fmla="*/ 97 w 150"/>
                <a:gd name="T41" fmla="*/ 69 h 263"/>
                <a:gd name="T42" fmla="*/ 109 w 150"/>
                <a:gd name="T43" fmla="*/ 90 h 263"/>
                <a:gd name="T44" fmla="*/ 113 w 150"/>
                <a:gd name="T45" fmla="*/ 93 h 263"/>
                <a:gd name="T46" fmla="*/ 144 w 150"/>
                <a:gd name="T47" fmla="*/ 96 h 263"/>
                <a:gd name="T48" fmla="*/ 150 w 150"/>
                <a:gd name="T49" fmla="*/ 101 h 263"/>
                <a:gd name="T50" fmla="*/ 144 w 150"/>
                <a:gd name="T51" fmla="*/ 106 h 263"/>
                <a:gd name="T52" fmla="*/ 107 w 150"/>
                <a:gd name="T53" fmla="*/ 109 h 263"/>
                <a:gd name="T54" fmla="*/ 96 w 150"/>
                <a:gd name="T55" fmla="*/ 103 h 263"/>
                <a:gd name="T56" fmla="*/ 85 w 150"/>
                <a:gd name="T57" fmla="*/ 89 h 263"/>
                <a:gd name="T58" fmla="*/ 84 w 150"/>
                <a:gd name="T59" fmla="*/ 103 h 263"/>
                <a:gd name="T60" fmla="*/ 81 w 150"/>
                <a:gd name="T61" fmla="*/ 183 h 263"/>
                <a:gd name="T62" fmla="*/ 78 w 150"/>
                <a:gd name="T63" fmla="*/ 258 h 263"/>
                <a:gd name="T64" fmla="*/ 73 w 150"/>
                <a:gd name="T65" fmla="*/ 263 h 263"/>
                <a:gd name="T66" fmla="*/ 66 w 150"/>
                <a:gd name="T67" fmla="*/ 263 h 263"/>
                <a:gd name="T68" fmla="*/ 61 w 150"/>
                <a:gd name="T69" fmla="*/ 258 h 263"/>
                <a:gd name="T70" fmla="*/ 60 w 150"/>
                <a:gd name="T71" fmla="*/ 224 h 263"/>
                <a:gd name="T72" fmla="*/ 58 w 150"/>
                <a:gd name="T73" fmla="*/ 167 h 263"/>
                <a:gd name="T74" fmla="*/ 58 w 150"/>
                <a:gd name="T75" fmla="*/ 165 h 263"/>
                <a:gd name="T76" fmla="*/ 54 w 150"/>
                <a:gd name="T77" fmla="*/ 165 h 263"/>
                <a:gd name="T78" fmla="*/ 53 w 150"/>
                <a:gd name="T79" fmla="*/ 196 h 263"/>
                <a:gd name="T80" fmla="*/ 51 w 150"/>
                <a:gd name="T81" fmla="*/ 258 h 263"/>
                <a:gd name="T82" fmla="*/ 46 w 150"/>
                <a:gd name="T83" fmla="*/ 263 h 263"/>
                <a:gd name="T84" fmla="*/ 40 w 150"/>
                <a:gd name="T85" fmla="*/ 263 h 263"/>
                <a:gd name="T86" fmla="*/ 34 w 150"/>
                <a:gd name="T87" fmla="*/ 257 h 263"/>
                <a:gd name="T88" fmla="*/ 32 w 150"/>
                <a:gd name="T89" fmla="*/ 204 h 263"/>
                <a:gd name="T90" fmla="*/ 30 w 150"/>
                <a:gd name="T91" fmla="*/ 151 h 263"/>
                <a:gd name="T92" fmla="*/ 28 w 150"/>
                <a:gd name="T93" fmla="*/ 146 h 263"/>
                <a:gd name="T94" fmla="*/ 3 w 150"/>
                <a:gd name="T95" fmla="*/ 108 h 263"/>
                <a:gd name="T96" fmla="*/ 2 w 150"/>
                <a:gd name="T97" fmla="*/ 96 h 263"/>
                <a:gd name="T98" fmla="*/ 17 w 150"/>
                <a:gd name="T99" fmla="*/ 66 h 263"/>
                <a:gd name="T100" fmla="*/ 22 w 150"/>
                <a:gd name="T101" fmla="*/ 59 h 263"/>
                <a:gd name="T102" fmla="*/ 41 w 150"/>
                <a:gd name="T103" fmla="*/ 46 h 263"/>
                <a:gd name="T104" fmla="*/ 29 w 150"/>
                <a:gd name="T105" fmla="*/ 121 h 263"/>
                <a:gd name="T106" fmla="*/ 30 w 150"/>
                <a:gd name="T107" fmla="*/ 121 h 263"/>
                <a:gd name="T108" fmla="*/ 28 w 150"/>
                <a:gd name="T109" fmla="*/ 87 h 263"/>
                <a:gd name="T110" fmla="*/ 19 w 150"/>
                <a:gd name="T111" fmla="*/ 100 h 263"/>
                <a:gd name="T112" fmla="*/ 19 w 150"/>
                <a:gd name="T113" fmla="*/ 105 h 263"/>
                <a:gd name="T114" fmla="*/ 29 w 150"/>
                <a:gd name="T115" fmla="*/ 12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63">
                  <a:moveTo>
                    <a:pt x="41" y="46"/>
                  </a:moveTo>
                  <a:cubicBezTo>
                    <a:pt x="44" y="52"/>
                    <a:pt x="46" y="56"/>
                    <a:pt x="48" y="61"/>
                  </a:cubicBezTo>
                  <a:cubicBezTo>
                    <a:pt x="50" y="58"/>
                    <a:pt x="52" y="56"/>
                    <a:pt x="54" y="54"/>
                  </a:cubicBezTo>
                  <a:cubicBezTo>
                    <a:pt x="52" y="52"/>
                    <a:pt x="49" y="49"/>
                    <a:pt x="47" y="47"/>
                  </a:cubicBezTo>
                  <a:cubicBezTo>
                    <a:pt x="46" y="45"/>
                    <a:pt x="45" y="43"/>
                    <a:pt x="44" y="42"/>
                  </a:cubicBezTo>
                  <a:cubicBezTo>
                    <a:pt x="44" y="39"/>
                    <a:pt x="43" y="35"/>
                    <a:pt x="42" y="33"/>
                  </a:cubicBezTo>
                  <a:cubicBezTo>
                    <a:pt x="40" y="29"/>
                    <a:pt x="37" y="25"/>
                    <a:pt x="40" y="21"/>
                  </a:cubicBezTo>
                  <a:cubicBezTo>
                    <a:pt x="41" y="21"/>
                    <a:pt x="40" y="20"/>
                    <a:pt x="40" y="19"/>
                  </a:cubicBezTo>
                  <a:cubicBezTo>
                    <a:pt x="39" y="13"/>
                    <a:pt x="40" y="9"/>
                    <a:pt x="44" y="5"/>
                  </a:cubicBezTo>
                  <a:cubicBezTo>
                    <a:pt x="45" y="4"/>
                    <a:pt x="45" y="2"/>
                    <a:pt x="45" y="1"/>
                  </a:cubicBezTo>
                  <a:cubicBezTo>
                    <a:pt x="49" y="1"/>
                    <a:pt x="54" y="0"/>
                    <a:pt x="58" y="0"/>
                  </a:cubicBezTo>
                  <a:cubicBezTo>
                    <a:pt x="58" y="0"/>
                    <a:pt x="59" y="0"/>
                    <a:pt x="59" y="0"/>
                  </a:cubicBezTo>
                  <a:cubicBezTo>
                    <a:pt x="64" y="0"/>
                    <a:pt x="72" y="9"/>
                    <a:pt x="73" y="14"/>
                  </a:cubicBezTo>
                  <a:cubicBezTo>
                    <a:pt x="73" y="17"/>
                    <a:pt x="72" y="20"/>
                    <a:pt x="74" y="23"/>
                  </a:cubicBezTo>
                  <a:cubicBezTo>
                    <a:pt x="74" y="26"/>
                    <a:pt x="72" y="29"/>
                    <a:pt x="71" y="32"/>
                  </a:cubicBezTo>
                  <a:cubicBezTo>
                    <a:pt x="70" y="35"/>
                    <a:pt x="69" y="37"/>
                    <a:pt x="68" y="40"/>
                  </a:cubicBezTo>
                  <a:cubicBezTo>
                    <a:pt x="68" y="44"/>
                    <a:pt x="67" y="46"/>
                    <a:pt x="65" y="48"/>
                  </a:cubicBezTo>
                  <a:cubicBezTo>
                    <a:pt x="63" y="50"/>
                    <a:pt x="60" y="52"/>
                    <a:pt x="59" y="53"/>
                  </a:cubicBezTo>
                  <a:cubicBezTo>
                    <a:pt x="60" y="56"/>
                    <a:pt x="62" y="58"/>
                    <a:pt x="64" y="61"/>
                  </a:cubicBezTo>
                  <a:cubicBezTo>
                    <a:pt x="66" y="56"/>
                    <a:pt x="69" y="51"/>
                    <a:pt x="71" y="46"/>
                  </a:cubicBezTo>
                  <a:cubicBezTo>
                    <a:pt x="81" y="53"/>
                    <a:pt x="92" y="57"/>
                    <a:pt x="97" y="69"/>
                  </a:cubicBezTo>
                  <a:cubicBezTo>
                    <a:pt x="101" y="76"/>
                    <a:pt x="105" y="83"/>
                    <a:pt x="109" y="90"/>
                  </a:cubicBezTo>
                  <a:cubicBezTo>
                    <a:pt x="109" y="92"/>
                    <a:pt x="111" y="93"/>
                    <a:pt x="113" y="93"/>
                  </a:cubicBezTo>
                  <a:cubicBezTo>
                    <a:pt x="123" y="94"/>
                    <a:pt x="134" y="95"/>
                    <a:pt x="144" y="96"/>
                  </a:cubicBezTo>
                  <a:cubicBezTo>
                    <a:pt x="148" y="96"/>
                    <a:pt x="150" y="98"/>
                    <a:pt x="150" y="101"/>
                  </a:cubicBezTo>
                  <a:cubicBezTo>
                    <a:pt x="150" y="104"/>
                    <a:pt x="148" y="106"/>
                    <a:pt x="144" y="106"/>
                  </a:cubicBezTo>
                  <a:cubicBezTo>
                    <a:pt x="132" y="107"/>
                    <a:pt x="120" y="108"/>
                    <a:pt x="107" y="109"/>
                  </a:cubicBezTo>
                  <a:cubicBezTo>
                    <a:pt x="103" y="109"/>
                    <a:pt x="99" y="107"/>
                    <a:pt x="96" y="103"/>
                  </a:cubicBezTo>
                  <a:cubicBezTo>
                    <a:pt x="93" y="99"/>
                    <a:pt x="89" y="94"/>
                    <a:pt x="85" y="89"/>
                  </a:cubicBezTo>
                  <a:cubicBezTo>
                    <a:pt x="85" y="94"/>
                    <a:pt x="85" y="98"/>
                    <a:pt x="84" y="103"/>
                  </a:cubicBezTo>
                  <a:cubicBezTo>
                    <a:pt x="83" y="130"/>
                    <a:pt x="82" y="156"/>
                    <a:pt x="81" y="183"/>
                  </a:cubicBezTo>
                  <a:cubicBezTo>
                    <a:pt x="80" y="208"/>
                    <a:pt x="79" y="233"/>
                    <a:pt x="78" y="258"/>
                  </a:cubicBezTo>
                  <a:cubicBezTo>
                    <a:pt x="78" y="261"/>
                    <a:pt x="77" y="263"/>
                    <a:pt x="73" y="263"/>
                  </a:cubicBezTo>
                  <a:cubicBezTo>
                    <a:pt x="71" y="262"/>
                    <a:pt x="68" y="262"/>
                    <a:pt x="66" y="263"/>
                  </a:cubicBezTo>
                  <a:cubicBezTo>
                    <a:pt x="62" y="263"/>
                    <a:pt x="61" y="261"/>
                    <a:pt x="61" y="258"/>
                  </a:cubicBezTo>
                  <a:cubicBezTo>
                    <a:pt x="61" y="247"/>
                    <a:pt x="60" y="235"/>
                    <a:pt x="60" y="224"/>
                  </a:cubicBezTo>
                  <a:cubicBezTo>
                    <a:pt x="59" y="205"/>
                    <a:pt x="59" y="186"/>
                    <a:pt x="58" y="167"/>
                  </a:cubicBezTo>
                  <a:cubicBezTo>
                    <a:pt x="58" y="167"/>
                    <a:pt x="58" y="166"/>
                    <a:pt x="58" y="165"/>
                  </a:cubicBezTo>
                  <a:cubicBezTo>
                    <a:pt x="57" y="165"/>
                    <a:pt x="55" y="165"/>
                    <a:pt x="54" y="165"/>
                  </a:cubicBezTo>
                  <a:cubicBezTo>
                    <a:pt x="54" y="176"/>
                    <a:pt x="53" y="186"/>
                    <a:pt x="53" y="196"/>
                  </a:cubicBezTo>
                  <a:cubicBezTo>
                    <a:pt x="52" y="217"/>
                    <a:pt x="52" y="237"/>
                    <a:pt x="51" y="258"/>
                  </a:cubicBezTo>
                  <a:cubicBezTo>
                    <a:pt x="51" y="261"/>
                    <a:pt x="50" y="263"/>
                    <a:pt x="46" y="263"/>
                  </a:cubicBezTo>
                  <a:cubicBezTo>
                    <a:pt x="44" y="262"/>
                    <a:pt x="42" y="263"/>
                    <a:pt x="40" y="263"/>
                  </a:cubicBezTo>
                  <a:cubicBezTo>
                    <a:pt x="35" y="263"/>
                    <a:pt x="34" y="262"/>
                    <a:pt x="34" y="257"/>
                  </a:cubicBezTo>
                  <a:cubicBezTo>
                    <a:pt x="33" y="239"/>
                    <a:pt x="33" y="222"/>
                    <a:pt x="32" y="204"/>
                  </a:cubicBezTo>
                  <a:cubicBezTo>
                    <a:pt x="31" y="186"/>
                    <a:pt x="31" y="169"/>
                    <a:pt x="30" y="151"/>
                  </a:cubicBezTo>
                  <a:cubicBezTo>
                    <a:pt x="30" y="149"/>
                    <a:pt x="29" y="148"/>
                    <a:pt x="28" y="146"/>
                  </a:cubicBezTo>
                  <a:cubicBezTo>
                    <a:pt x="20" y="133"/>
                    <a:pt x="11" y="120"/>
                    <a:pt x="3" y="108"/>
                  </a:cubicBezTo>
                  <a:cubicBezTo>
                    <a:pt x="0" y="104"/>
                    <a:pt x="0" y="100"/>
                    <a:pt x="2" y="96"/>
                  </a:cubicBezTo>
                  <a:cubicBezTo>
                    <a:pt x="7" y="86"/>
                    <a:pt x="12" y="76"/>
                    <a:pt x="17" y="66"/>
                  </a:cubicBezTo>
                  <a:cubicBezTo>
                    <a:pt x="18" y="63"/>
                    <a:pt x="20" y="61"/>
                    <a:pt x="22" y="59"/>
                  </a:cubicBezTo>
                  <a:cubicBezTo>
                    <a:pt x="28" y="55"/>
                    <a:pt x="35" y="51"/>
                    <a:pt x="41" y="46"/>
                  </a:cubicBezTo>
                  <a:close/>
                  <a:moveTo>
                    <a:pt x="29" y="121"/>
                  </a:moveTo>
                  <a:cubicBezTo>
                    <a:pt x="29" y="121"/>
                    <a:pt x="30" y="121"/>
                    <a:pt x="30" y="121"/>
                  </a:cubicBezTo>
                  <a:cubicBezTo>
                    <a:pt x="29" y="110"/>
                    <a:pt x="29" y="99"/>
                    <a:pt x="28" y="87"/>
                  </a:cubicBezTo>
                  <a:cubicBezTo>
                    <a:pt x="25" y="92"/>
                    <a:pt x="22" y="96"/>
                    <a:pt x="19" y="100"/>
                  </a:cubicBezTo>
                  <a:cubicBezTo>
                    <a:pt x="19" y="101"/>
                    <a:pt x="18" y="103"/>
                    <a:pt x="19" y="105"/>
                  </a:cubicBezTo>
                  <a:cubicBezTo>
                    <a:pt x="22" y="110"/>
                    <a:pt x="26" y="116"/>
                    <a:pt x="29"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5" name="Freeform 6">
              <a:extLst>
                <a:ext uri="{FF2B5EF4-FFF2-40B4-BE49-F238E27FC236}">
                  <a16:creationId xmlns:a16="http://schemas.microsoft.com/office/drawing/2014/main" id="{968038A3-C501-CF4D-8A7E-47C5E8D11E4D}"/>
                </a:ext>
              </a:extLst>
            </p:cNvPr>
            <p:cNvSpPr>
              <a:spLocks/>
            </p:cNvSpPr>
            <p:nvPr/>
          </p:nvSpPr>
          <p:spPr bwMode="auto">
            <a:xfrm>
              <a:off x="361" y="396"/>
              <a:ext cx="72" cy="158"/>
            </a:xfrm>
            <a:custGeom>
              <a:avLst/>
              <a:gdLst>
                <a:gd name="T0" fmla="*/ 30 w 30"/>
                <a:gd name="T1" fmla="*/ 66 h 66"/>
                <a:gd name="T2" fmla="*/ 1 w 30"/>
                <a:gd name="T3" fmla="*/ 34 h 66"/>
                <a:gd name="T4" fmla="*/ 30 w 30"/>
                <a:gd name="T5" fmla="*/ 0 h 66"/>
                <a:gd name="T6" fmla="*/ 30 w 30"/>
                <a:gd name="T7" fmla="*/ 16 h 66"/>
                <a:gd name="T8" fmla="*/ 17 w 30"/>
                <a:gd name="T9" fmla="*/ 33 h 66"/>
                <a:gd name="T10" fmla="*/ 27 w 30"/>
                <a:gd name="T11" fmla="*/ 49 h 66"/>
                <a:gd name="T12" fmla="*/ 30 w 30"/>
                <a:gd name="T13" fmla="*/ 53 h 66"/>
                <a:gd name="T14" fmla="*/ 30 w 3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6">
                  <a:moveTo>
                    <a:pt x="30" y="66"/>
                  </a:moveTo>
                  <a:cubicBezTo>
                    <a:pt x="15" y="66"/>
                    <a:pt x="1" y="51"/>
                    <a:pt x="1" y="34"/>
                  </a:cubicBezTo>
                  <a:cubicBezTo>
                    <a:pt x="0" y="17"/>
                    <a:pt x="14" y="2"/>
                    <a:pt x="30" y="0"/>
                  </a:cubicBezTo>
                  <a:cubicBezTo>
                    <a:pt x="30" y="5"/>
                    <a:pt x="30" y="11"/>
                    <a:pt x="30" y="16"/>
                  </a:cubicBezTo>
                  <a:cubicBezTo>
                    <a:pt x="22" y="19"/>
                    <a:pt x="17" y="24"/>
                    <a:pt x="17" y="33"/>
                  </a:cubicBezTo>
                  <a:cubicBezTo>
                    <a:pt x="17" y="41"/>
                    <a:pt x="20" y="46"/>
                    <a:pt x="27" y="49"/>
                  </a:cubicBezTo>
                  <a:cubicBezTo>
                    <a:pt x="29" y="50"/>
                    <a:pt x="30" y="51"/>
                    <a:pt x="30" y="53"/>
                  </a:cubicBezTo>
                  <a:cubicBezTo>
                    <a:pt x="30" y="57"/>
                    <a:pt x="30" y="62"/>
                    <a:pt x="3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6" name="Freeform 7">
              <a:extLst>
                <a:ext uri="{FF2B5EF4-FFF2-40B4-BE49-F238E27FC236}">
                  <a16:creationId xmlns:a16="http://schemas.microsoft.com/office/drawing/2014/main" id="{01CBC932-AEAD-414B-978A-DC73D4480868}"/>
                </a:ext>
              </a:extLst>
            </p:cNvPr>
            <p:cNvSpPr>
              <a:spLocks/>
            </p:cNvSpPr>
            <p:nvPr/>
          </p:nvSpPr>
          <p:spPr bwMode="auto">
            <a:xfrm>
              <a:off x="455" y="451"/>
              <a:ext cx="82" cy="103"/>
            </a:xfrm>
            <a:custGeom>
              <a:avLst/>
              <a:gdLst>
                <a:gd name="T0" fmla="*/ 0 w 34"/>
                <a:gd name="T1" fmla="*/ 43 h 43"/>
                <a:gd name="T2" fmla="*/ 0 w 34"/>
                <a:gd name="T3" fmla="*/ 29 h 43"/>
                <a:gd name="T4" fmla="*/ 2 w 34"/>
                <a:gd name="T5" fmla="*/ 27 h 43"/>
                <a:gd name="T6" fmla="*/ 13 w 34"/>
                <a:gd name="T7" fmla="*/ 9 h 43"/>
                <a:gd name="T8" fmla="*/ 15 w 34"/>
                <a:gd name="T9" fmla="*/ 6 h 43"/>
                <a:gd name="T10" fmla="*/ 27 w 34"/>
                <a:gd name="T11" fmla="*/ 0 h 43"/>
                <a:gd name="T12" fmla="*/ 0 w 34"/>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4" h="43">
                  <a:moveTo>
                    <a:pt x="0" y="43"/>
                  </a:moveTo>
                  <a:cubicBezTo>
                    <a:pt x="0" y="38"/>
                    <a:pt x="0" y="34"/>
                    <a:pt x="0" y="29"/>
                  </a:cubicBezTo>
                  <a:cubicBezTo>
                    <a:pt x="0" y="28"/>
                    <a:pt x="1" y="27"/>
                    <a:pt x="2" y="27"/>
                  </a:cubicBezTo>
                  <a:cubicBezTo>
                    <a:pt x="9" y="23"/>
                    <a:pt x="13" y="18"/>
                    <a:pt x="13" y="9"/>
                  </a:cubicBezTo>
                  <a:cubicBezTo>
                    <a:pt x="13" y="7"/>
                    <a:pt x="13" y="6"/>
                    <a:pt x="15" y="6"/>
                  </a:cubicBezTo>
                  <a:cubicBezTo>
                    <a:pt x="19" y="4"/>
                    <a:pt x="23" y="2"/>
                    <a:pt x="27" y="0"/>
                  </a:cubicBezTo>
                  <a:cubicBezTo>
                    <a:pt x="34" y="18"/>
                    <a:pt x="21" y="41"/>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7" name="Freeform 8">
              <a:extLst>
                <a:ext uri="{FF2B5EF4-FFF2-40B4-BE49-F238E27FC236}">
                  <a16:creationId xmlns:a16="http://schemas.microsoft.com/office/drawing/2014/main" id="{96B2FF61-A415-544C-ADF7-CD52566F2D9D}"/>
                </a:ext>
              </a:extLst>
            </p:cNvPr>
            <p:cNvSpPr>
              <a:spLocks/>
            </p:cNvSpPr>
            <p:nvPr/>
          </p:nvSpPr>
          <p:spPr bwMode="auto">
            <a:xfrm>
              <a:off x="455" y="396"/>
              <a:ext cx="55" cy="53"/>
            </a:xfrm>
            <a:custGeom>
              <a:avLst/>
              <a:gdLst>
                <a:gd name="T0" fmla="*/ 23 w 23"/>
                <a:gd name="T1" fmla="*/ 15 h 22"/>
                <a:gd name="T2" fmla="*/ 11 w 23"/>
                <a:gd name="T3" fmla="*/ 21 h 22"/>
                <a:gd name="T4" fmla="*/ 8 w 23"/>
                <a:gd name="T5" fmla="*/ 21 h 22"/>
                <a:gd name="T6" fmla="*/ 2 w 23"/>
                <a:gd name="T7" fmla="*/ 17 h 22"/>
                <a:gd name="T8" fmla="*/ 0 w 23"/>
                <a:gd name="T9" fmla="*/ 14 h 22"/>
                <a:gd name="T10" fmla="*/ 0 w 23"/>
                <a:gd name="T11" fmla="*/ 1 h 22"/>
                <a:gd name="T12" fmla="*/ 23 w 23"/>
                <a:gd name="T13" fmla="*/ 15 h 22"/>
              </a:gdLst>
              <a:ahLst/>
              <a:cxnLst>
                <a:cxn ang="0">
                  <a:pos x="T0" y="T1"/>
                </a:cxn>
                <a:cxn ang="0">
                  <a:pos x="T2" y="T3"/>
                </a:cxn>
                <a:cxn ang="0">
                  <a:pos x="T4" y="T5"/>
                </a:cxn>
                <a:cxn ang="0">
                  <a:pos x="T6" y="T7"/>
                </a:cxn>
                <a:cxn ang="0">
                  <a:pos x="T8" y="T9"/>
                </a:cxn>
                <a:cxn ang="0">
                  <a:pos x="T10" y="T11"/>
                </a:cxn>
                <a:cxn ang="0">
                  <a:pos x="T12" y="T13"/>
                </a:cxn>
              </a:cxnLst>
              <a:rect l="0" t="0" r="r" b="b"/>
              <a:pathLst>
                <a:path w="23" h="22">
                  <a:moveTo>
                    <a:pt x="23" y="15"/>
                  </a:moveTo>
                  <a:cubicBezTo>
                    <a:pt x="19" y="17"/>
                    <a:pt x="15" y="19"/>
                    <a:pt x="11" y="21"/>
                  </a:cubicBezTo>
                  <a:cubicBezTo>
                    <a:pt x="10" y="22"/>
                    <a:pt x="9" y="21"/>
                    <a:pt x="8" y="21"/>
                  </a:cubicBezTo>
                  <a:cubicBezTo>
                    <a:pt x="6" y="20"/>
                    <a:pt x="4" y="18"/>
                    <a:pt x="2" y="17"/>
                  </a:cubicBezTo>
                  <a:cubicBezTo>
                    <a:pt x="1" y="16"/>
                    <a:pt x="0" y="15"/>
                    <a:pt x="0" y="14"/>
                  </a:cubicBezTo>
                  <a:cubicBezTo>
                    <a:pt x="0" y="10"/>
                    <a:pt x="0" y="5"/>
                    <a:pt x="0" y="1"/>
                  </a:cubicBezTo>
                  <a:cubicBezTo>
                    <a:pt x="7" y="0"/>
                    <a:pt x="18" y="6"/>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grpSp>
      <p:grpSp>
        <p:nvGrpSpPr>
          <p:cNvPr id="34" name="Group 17">
            <a:extLst>
              <a:ext uri="{FF2B5EF4-FFF2-40B4-BE49-F238E27FC236}">
                <a16:creationId xmlns:a16="http://schemas.microsoft.com/office/drawing/2014/main" id="{5A817B1E-44BE-E94E-94BE-E2B7D2037D1C}"/>
              </a:ext>
            </a:extLst>
          </p:cNvPr>
          <p:cNvGrpSpPr>
            <a:grpSpLocks noChangeAspect="1"/>
          </p:cNvGrpSpPr>
          <p:nvPr/>
        </p:nvGrpSpPr>
        <p:grpSpPr bwMode="auto">
          <a:xfrm>
            <a:off x="6303390" y="1706634"/>
            <a:ext cx="1059405" cy="490951"/>
            <a:chOff x="3505" y="705"/>
            <a:chExt cx="490" cy="251"/>
          </a:xfrm>
          <a:solidFill>
            <a:srgbClr val="4FAD4F"/>
          </a:solidFill>
        </p:grpSpPr>
        <p:sp>
          <p:nvSpPr>
            <p:cNvPr id="86" name="Freeform 18">
              <a:extLst>
                <a:ext uri="{FF2B5EF4-FFF2-40B4-BE49-F238E27FC236}">
                  <a16:creationId xmlns:a16="http://schemas.microsoft.com/office/drawing/2014/main" id="{7D13E868-BC7E-274E-A008-52E4B0DBEDF9}"/>
                </a:ext>
              </a:extLst>
            </p:cNvPr>
            <p:cNvSpPr>
              <a:spLocks/>
            </p:cNvSpPr>
            <p:nvPr/>
          </p:nvSpPr>
          <p:spPr bwMode="auto">
            <a:xfrm>
              <a:off x="3505" y="750"/>
              <a:ext cx="94" cy="206"/>
            </a:xfrm>
            <a:custGeom>
              <a:avLst/>
              <a:gdLst>
                <a:gd name="T0" fmla="*/ 23 w 101"/>
                <a:gd name="T1" fmla="*/ 120 h 220"/>
                <a:gd name="T2" fmla="*/ 23 w 101"/>
                <a:gd name="T3" fmla="*/ 40 h 220"/>
                <a:gd name="T4" fmla="*/ 23 w 101"/>
                <a:gd name="T5" fmla="*/ 34 h 220"/>
                <a:gd name="T6" fmla="*/ 21 w 101"/>
                <a:gd name="T7" fmla="*/ 31 h 220"/>
                <a:gd name="T8" fmla="*/ 19 w 101"/>
                <a:gd name="T9" fmla="*/ 34 h 220"/>
                <a:gd name="T10" fmla="*/ 19 w 101"/>
                <a:gd name="T11" fmla="*/ 57 h 220"/>
                <a:gd name="T12" fmla="*/ 18 w 101"/>
                <a:gd name="T13" fmla="*/ 93 h 220"/>
                <a:gd name="T14" fmla="*/ 10 w 101"/>
                <a:gd name="T15" fmla="*/ 105 h 220"/>
                <a:gd name="T16" fmla="*/ 1 w 101"/>
                <a:gd name="T17" fmla="*/ 93 h 220"/>
                <a:gd name="T18" fmla="*/ 1 w 101"/>
                <a:gd name="T19" fmla="*/ 27 h 220"/>
                <a:gd name="T20" fmla="*/ 28 w 101"/>
                <a:gd name="T21" fmla="*/ 0 h 220"/>
                <a:gd name="T22" fmla="*/ 72 w 101"/>
                <a:gd name="T23" fmla="*/ 0 h 220"/>
                <a:gd name="T24" fmla="*/ 100 w 101"/>
                <a:gd name="T25" fmla="*/ 27 h 220"/>
                <a:gd name="T26" fmla="*/ 101 w 101"/>
                <a:gd name="T27" fmla="*/ 94 h 220"/>
                <a:gd name="T28" fmla="*/ 92 w 101"/>
                <a:gd name="T29" fmla="*/ 105 h 220"/>
                <a:gd name="T30" fmla="*/ 83 w 101"/>
                <a:gd name="T31" fmla="*/ 94 h 220"/>
                <a:gd name="T32" fmla="*/ 82 w 101"/>
                <a:gd name="T33" fmla="*/ 37 h 220"/>
                <a:gd name="T34" fmla="*/ 80 w 101"/>
                <a:gd name="T35" fmla="*/ 31 h 220"/>
                <a:gd name="T36" fmla="*/ 78 w 101"/>
                <a:gd name="T37" fmla="*/ 37 h 220"/>
                <a:gd name="T38" fmla="*/ 78 w 101"/>
                <a:gd name="T39" fmla="*/ 198 h 220"/>
                <a:gd name="T40" fmla="*/ 78 w 101"/>
                <a:gd name="T41" fmla="*/ 209 h 220"/>
                <a:gd name="T42" fmla="*/ 65 w 101"/>
                <a:gd name="T43" fmla="*/ 219 h 220"/>
                <a:gd name="T44" fmla="*/ 54 w 101"/>
                <a:gd name="T45" fmla="*/ 209 h 220"/>
                <a:gd name="T46" fmla="*/ 53 w 101"/>
                <a:gd name="T47" fmla="*/ 201 h 220"/>
                <a:gd name="T48" fmla="*/ 53 w 101"/>
                <a:gd name="T49" fmla="*/ 114 h 220"/>
                <a:gd name="T50" fmla="*/ 52 w 101"/>
                <a:gd name="T51" fmla="*/ 108 h 220"/>
                <a:gd name="T52" fmla="*/ 51 w 101"/>
                <a:gd name="T53" fmla="*/ 106 h 220"/>
                <a:gd name="T54" fmla="*/ 49 w 101"/>
                <a:gd name="T55" fmla="*/ 108 h 220"/>
                <a:gd name="T56" fmla="*/ 48 w 101"/>
                <a:gd name="T57" fmla="*/ 114 h 220"/>
                <a:gd name="T58" fmla="*/ 48 w 101"/>
                <a:gd name="T59" fmla="*/ 203 h 220"/>
                <a:gd name="T60" fmla="*/ 37 w 101"/>
                <a:gd name="T61" fmla="*/ 219 h 220"/>
                <a:gd name="T62" fmla="*/ 23 w 101"/>
                <a:gd name="T63" fmla="*/ 205 h 220"/>
                <a:gd name="T64" fmla="*/ 23 w 101"/>
                <a:gd name="T65" fmla="*/ 125 h 220"/>
                <a:gd name="T66" fmla="*/ 23 w 101"/>
                <a:gd name="T67"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220">
                  <a:moveTo>
                    <a:pt x="23" y="120"/>
                  </a:moveTo>
                  <a:cubicBezTo>
                    <a:pt x="23" y="93"/>
                    <a:pt x="23" y="67"/>
                    <a:pt x="23" y="40"/>
                  </a:cubicBezTo>
                  <a:cubicBezTo>
                    <a:pt x="23" y="38"/>
                    <a:pt x="23" y="36"/>
                    <a:pt x="23" y="34"/>
                  </a:cubicBezTo>
                  <a:cubicBezTo>
                    <a:pt x="23" y="33"/>
                    <a:pt x="23" y="31"/>
                    <a:pt x="21" y="31"/>
                  </a:cubicBezTo>
                  <a:cubicBezTo>
                    <a:pt x="19" y="31"/>
                    <a:pt x="19" y="33"/>
                    <a:pt x="19" y="34"/>
                  </a:cubicBezTo>
                  <a:cubicBezTo>
                    <a:pt x="19" y="42"/>
                    <a:pt x="19" y="49"/>
                    <a:pt x="19" y="57"/>
                  </a:cubicBezTo>
                  <a:cubicBezTo>
                    <a:pt x="19" y="69"/>
                    <a:pt x="19" y="81"/>
                    <a:pt x="18" y="93"/>
                  </a:cubicBezTo>
                  <a:cubicBezTo>
                    <a:pt x="18" y="99"/>
                    <a:pt x="17" y="105"/>
                    <a:pt x="10" y="105"/>
                  </a:cubicBezTo>
                  <a:cubicBezTo>
                    <a:pt x="2" y="105"/>
                    <a:pt x="1" y="99"/>
                    <a:pt x="1" y="93"/>
                  </a:cubicBezTo>
                  <a:cubicBezTo>
                    <a:pt x="1" y="71"/>
                    <a:pt x="0" y="49"/>
                    <a:pt x="1" y="27"/>
                  </a:cubicBezTo>
                  <a:cubicBezTo>
                    <a:pt x="1" y="10"/>
                    <a:pt x="11" y="0"/>
                    <a:pt x="28" y="0"/>
                  </a:cubicBezTo>
                  <a:cubicBezTo>
                    <a:pt x="43" y="0"/>
                    <a:pt x="57" y="0"/>
                    <a:pt x="72" y="0"/>
                  </a:cubicBezTo>
                  <a:cubicBezTo>
                    <a:pt x="90" y="0"/>
                    <a:pt x="100" y="9"/>
                    <a:pt x="100" y="27"/>
                  </a:cubicBezTo>
                  <a:cubicBezTo>
                    <a:pt x="101" y="49"/>
                    <a:pt x="100" y="72"/>
                    <a:pt x="101" y="94"/>
                  </a:cubicBezTo>
                  <a:cubicBezTo>
                    <a:pt x="101" y="100"/>
                    <a:pt x="98" y="105"/>
                    <a:pt x="92" y="105"/>
                  </a:cubicBezTo>
                  <a:cubicBezTo>
                    <a:pt x="85" y="105"/>
                    <a:pt x="83" y="100"/>
                    <a:pt x="83" y="94"/>
                  </a:cubicBezTo>
                  <a:cubicBezTo>
                    <a:pt x="83" y="75"/>
                    <a:pt x="83" y="56"/>
                    <a:pt x="82" y="37"/>
                  </a:cubicBezTo>
                  <a:cubicBezTo>
                    <a:pt x="82" y="35"/>
                    <a:pt x="84" y="31"/>
                    <a:pt x="80" y="31"/>
                  </a:cubicBezTo>
                  <a:cubicBezTo>
                    <a:pt x="77" y="31"/>
                    <a:pt x="78" y="35"/>
                    <a:pt x="78" y="37"/>
                  </a:cubicBezTo>
                  <a:cubicBezTo>
                    <a:pt x="78" y="91"/>
                    <a:pt x="78" y="144"/>
                    <a:pt x="78" y="198"/>
                  </a:cubicBezTo>
                  <a:cubicBezTo>
                    <a:pt x="78" y="201"/>
                    <a:pt x="78" y="205"/>
                    <a:pt x="78" y="209"/>
                  </a:cubicBezTo>
                  <a:cubicBezTo>
                    <a:pt x="76" y="215"/>
                    <a:pt x="72" y="219"/>
                    <a:pt x="65" y="219"/>
                  </a:cubicBezTo>
                  <a:cubicBezTo>
                    <a:pt x="59" y="219"/>
                    <a:pt x="55" y="215"/>
                    <a:pt x="54" y="209"/>
                  </a:cubicBezTo>
                  <a:cubicBezTo>
                    <a:pt x="53" y="206"/>
                    <a:pt x="53" y="203"/>
                    <a:pt x="53" y="201"/>
                  </a:cubicBezTo>
                  <a:cubicBezTo>
                    <a:pt x="53" y="172"/>
                    <a:pt x="53" y="143"/>
                    <a:pt x="53" y="114"/>
                  </a:cubicBezTo>
                  <a:cubicBezTo>
                    <a:pt x="53" y="112"/>
                    <a:pt x="53" y="110"/>
                    <a:pt x="52" y="108"/>
                  </a:cubicBezTo>
                  <a:cubicBezTo>
                    <a:pt x="52" y="107"/>
                    <a:pt x="52" y="106"/>
                    <a:pt x="51" y="106"/>
                  </a:cubicBezTo>
                  <a:cubicBezTo>
                    <a:pt x="49" y="106"/>
                    <a:pt x="49" y="107"/>
                    <a:pt x="49" y="108"/>
                  </a:cubicBezTo>
                  <a:cubicBezTo>
                    <a:pt x="48" y="110"/>
                    <a:pt x="48" y="112"/>
                    <a:pt x="48" y="114"/>
                  </a:cubicBezTo>
                  <a:cubicBezTo>
                    <a:pt x="48" y="144"/>
                    <a:pt x="48" y="173"/>
                    <a:pt x="48" y="203"/>
                  </a:cubicBezTo>
                  <a:cubicBezTo>
                    <a:pt x="48" y="213"/>
                    <a:pt x="44" y="218"/>
                    <a:pt x="37" y="219"/>
                  </a:cubicBezTo>
                  <a:cubicBezTo>
                    <a:pt x="29" y="220"/>
                    <a:pt x="23" y="214"/>
                    <a:pt x="23" y="205"/>
                  </a:cubicBezTo>
                  <a:cubicBezTo>
                    <a:pt x="23" y="178"/>
                    <a:pt x="23" y="152"/>
                    <a:pt x="23" y="125"/>
                  </a:cubicBezTo>
                  <a:cubicBezTo>
                    <a:pt x="23" y="123"/>
                    <a:pt x="23" y="122"/>
                    <a:pt x="23" y="120"/>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87" name="Freeform 19">
              <a:extLst>
                <a:ext uri="{FF2B5EF4-FFF2-40B4-BE49-F238E27FC236}">
                  <a16:creationId xmlns:a16="http://schemas.microsoft.com/office/drawing/2014/main" id="{4F5FA478-CB21-2D44-A185-1C3F9EB46010}"/>
                </a:ext>
              </a:extLst>
            </p:cNvPr>
            <p:cNvSpPr>
              <a:spLocks/>
            </p:cNvSpPr>
            <p:nvPr/>
          </p:nvSpPr>
          <p:spPr bwMode="auto">
            <a:xfrm>
              <a:off x="3637" y="750"/>
              <a:ext cx="94" cy="206"/>
            </a:xfrm>
            <a:custGeom>
              <a:avLst/>
              <a:gdLst>
                <a:gd name="T0" fmla="*/ 23 w 101"/>
                <a:gd name="T1" fmla="*/ 121 h 220"/>
                <a:gd name="T2" fmla="*/ 23 w 101"/>
                <a:gd name="T3" fmla="*/ 41 h 220"/>
                <a:gd name="T4" fmla="*/ 23 w 101"/>
                <a:gd name="T5" fmla="*/ 36 h 220"/>
                <a:gd name="T6" fmla="*/ 21 w 101"/>
                <a:gd name="T7" fmla="*/ 31 h 220"/>
                <a:gd name="T8" fmla="*/ 18 w 101"/>
                <a:gd name="T9" fmla="*/ 36 h 220"/>
                <a:gd name="T10" fmla="*/ 18 w 101"/>
                <a:gd name="T11" fmla="*/ 91 h 220"/>
                <a:gd name="T12" fmla="*/ 18 w 101"/>
                <a:gd name="T13" fmla="*/ 97 h 220"/>
                <a:gd name="T14" fmla="*/ 9 w 101"/>
                <a:gd name="T15" fmla="*/ 105 h 220"/>
                <a:gd name="T16" fmla="*/ 1 w 101"/>
                <a:gd name="T17" fmla="*/ 97 h 220"/>
                <a:gd name="T18" fmla="*/ 0 w 101"/>
                <a:gd name="T19" fmla="*/ 92 h 220"/>
                <a:gd name="T20" fmla="*/ 0 w 101"/>
                <a:gd name="T21" fmla="*/ 29 h 220"/>
                <a:gd name="T22" fmla="*/ 30 w 101"/>
                <a:gd name="T23" fmla="*/ 0 h 220"/>
                <a:gd name="T24" fmla="*/ 71 w 101"/>
                <a:gd name="T25" fmla="*/ 0 h 220"/>
                <a:gd name="T26" fmla="*/ 100 w 101"/>
                <a:gd name="T27" fmla="*/ 28 h 220"/>
                <a:gd name="T28" fmla="*/ 100 w 101"/>
                <a:gd name="T29" fmla="*/ 93 h 220"/>
                <a:gd name="T30" fmla="*/ 91 w 101"/>
                <a:gd name="T31" fmla="*/ 105 h 220"/>
                <a:gd name="T32" fmla="*/ 83 w 101"/>
                <a:gd name="T33" fmla="*/ 94 h 220"/>
                <a:gd name="T34" fmla="*/ 82 w 101"/>
                <a:gd name="T35" fmla="*/ 50 h 220"/>
                <a:gd name="T36" fmla="*/ 82 w 101"/>
                <a:gd name="T37" fmla="*/ 37 h 220"/>
                <a:gd name="T38" fmla="*/ 80 w 101"/>
                <a:gd name="T39" fmla="*/ 31 h 220"/>
                <a:gd name="T40" fmla="*/ 78 w 101"/>
                <a:gd name="T41" fmla="*/ 37 h 220"/>
                <a:gd name="T42" fmla="*/ 78 w 101"/>
                <a:gd name="T43" fmla="*/ 199 h 220"/>
                <a:gd name="T44" fmla="*/ 78 w 101"/>
                <a:gd name="T45" fmla="*/ 208 h 220"/>
                <a:gd name="T46" fmla="*/ 64 w 101"/>
                <a:gd name="T47" fmla="*/ 219 h 220"/>
                <a:gd name="T48" fmla="*/ 53 w 101"/>
                <a:gd name="T49" fmla="*/ 206 h 220"/>
                <a:gd name="T50" fmla="*/ 53 w 101"/>
                <a:gd name="T51" fmla="*/ 151 h 220"/>
                <a:gd name="T52" fmla="*/ 53 w 101"/>
                <a:gd name="T53" fmla="*/ 112 h 220"/>
                <a:gd name="T54" fmla="*/ 51 w 101"/>
                <a:gd name="T55" fmla="*/ 105 h 220"/>
                <a:gd name="T56" fmla="*/ 48 w 101"/>
                <a:gd name="T57" fmla="*/ 112 h 220"/>
                <a:gd name="T58" fmla="*/ 48 w 101"/>
                <a:gd name="T59" fmla="*/ 199 h 220"/>
                <a:gd name="T60" fmla="*/ 48 w 101"/>
                <a:gd name="T61" fmla="*/ 205 h 220"/>
                <a:gd name="T62" fmla="*/ 35 w 101"/>
                <a:gd name="T63" fmla="*/ 219 h 220"/>
                <a:gd name="T64" fmla="*/ 23 w 101"/>
                <a:gd name="T65" fmla="*/ 205 h 220"/>
                <a:gd name="T66" fmla="*/ 23 w 101"/>
                <a:gd name="T67" fmla="*/ 12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220">
                  <a:moveTo>
                    <a:pt x="23" y="121"/>
                  </a:moveTo>
                  <a:cubicBezTo>
                    <a:pt x="23" y="94"/>
                    <a:pt x="23" y="68"/>
                    <a:pt x="23" y="41"/>
                  </a:cubicBezTo>
                  <a:cubicBezTo>
                    <a:pt x="23" y="39"/>
                    <a:pt x="23" y="38"/>
                    <a:pt x="23" y="36"/>
                  </a:cubicBezTo>
                  <a:cubicBezTo>
                    <a:pt x="23" y="34"/>
                    <a:pt x="24" y="31"/>
                    <a:pt x="21" y="31"/>
                  </a:cubicBezTo>
                  <a:cubicBezTo>
                    <a:pt x="17" y="31"/>
                    <a:pt x="18" y="34"/>
                    <a:pt x="18" y="36"/>
                  </a:cubicBezTo>
                  <a:cubicBezTo>
                    <a:pt x="18" y="54"/>
                    <a:pt x="18" y="73"/>
                    <a:pt x="18" y="91"/>
                  </a:cubicBezTo>
                  <a:cubicBezTo>
                    <a:pt x="18" y="93"/>
                    <a:pt x="18" y="95"/>
                    <a:pt x="18" y="97"/>
                  </a:cubicBezTo>
                  <a:cubicBezTo>
                    <a:pt x="17" y="102"/>
                    <a:pt x="14" y="105"/>
                    <a:pt x="9" y="105"/>
                  </a:cubicBezTo>
                  <a:cubicBezTo>
                    <a:pt x="4" y="105"/>
                    <a:pt x="1" y="102"/>
                    <a:pt x="1" y="97"/>
                  </a:cubicBezTo>
                  <a:cubicBezTo>
                    <a:pt x="0" y="95"/>
                    <a:pt x="0" y="94"/>
                    <a:pt x="0" y="92"/>
                  </a:cubicBezTo>
                  <a:cubicBezTo>
                    <a:pt x="0" y="71"/>
                    <a:pt x="0" y="50"/>
                    <a:pt x="0" y="29"/>
                  </a:cubicBezTo>
                  <a:cubicBezTo>
                    <a:pt x="1" y="9"/>
                    <a:pt x="10" y="0"/>
                    <a:pt x="30" y="0"/>
                  </a:cubicBezTo>
                  <a:cubicBezTo>
                    <a:pt x="44" y="0"/>
                    <a:pt x="57" y="0"/>
                    <a:pt x="71" y="0"/>
                  </a:cubicBezTo>
                  <a:cubicBezTo>
                    <a:pt x="90" y="0"/>
                    <a:pt x="100" y="9"/>
                    <a:pt x="100" y="28"/>
                  </a:cubicBezTo>
                  <a:cubicBezTo>
                    <a:pt x="101" y="50"/>
                    <a:pt x="100" y="72"/>
                    <a:pt x="100" y="93"/>
                  </a:cubicBezTo>
                  <a:cubicBezTo>
                    <a:pt x="100" y="100"/>
                    <a:pt x="98" y="105"/>
                    <a:pt x="91" y="105"/>
                  </a:cubicBezTo>
                  <a:cubicBezTo>
                    <a:pt x="84" y="105"/>
                    <a:pt x="83" y="99"/>
                    <a:pt x="83" y="94"/>
                  </a:cubicBezTo>
                  <a:cubicBezTo>
                    <a:pt x="82" y="79"/>
                    <a:pt x="82" y="65"/>
                    <a:pt x="82" y="50"/>
                  </a:cubicBezTo>
                  <a:cubicBezTo>
                    <a:pt x="82" y="46"/>
                    <a:pt x="83" y="41"/>
                    <a:pt x="82" y="37"/>
                  </a:cubicBezTo>
                  <a:cubicBezTo>
                    <a:pt x="82" y="35"/>
                    <a:pt x="84" y="31"/>
                    <a:pt x="80" y="31"/>
                  </a:cubicBezTo>
                  <a:cubicBezTo>
                    <a:pt x="77" y="31"/>
                    <a:pt x="78" y="35"/>
                    <a:pt x="78" y="37"/>
                  </a:cubicBezTo>
                  <a:cubicBezTo>
                    <a:pt x="78" y="91"/>
                    <a:pt x="78" y="145"/>
                    <a:pt x="78" y="199"/>
                  </a:cubicBezTo>
                  <a:cubicBezTo>
                    <a:pt x="78" y="202"/>
                    <a:pt x="78" y="205"/>
                    <a:pt x="78" y="208"/>
                  </a:cubicBezTo>
                  <a:cubicBezTo>
                    <a:pt x="76" y="215"/>
                    <a:pt x="71" y="220"/>
                    <a:pt x="64" y="219"/>
                  </a:cubicBezTo>
                  <a:cubicBezTo>
                    <a:pt x="57" y="218"/>
                    <a:pt x="53" y="214"/>
                    <a:pt x="53" y="206"/>
                  </a:cubicBezTo>
                  <a:cubicBezTo>
                    <a:pt x="53" y="188"/>
                    <a:pt x="53" y="170"/>
                    <a:pt x="53" y="151"/>
                  </a:cubicBezTo>
                  <a:cubicBezTo>
                    <a:pt x="53" y="138"/>
                    <a:pt x="53" y="125"/>
                    <a:pt x="53" y="112"/>
                  </a:cubicBezTo>
                  <a:cubicBezTo>
                    <a:pt x="53" y="109"/>
                    <a:pt x="54" y="105"/>
                    <a:pt x="51" y="105"/>
                  </a:cubicBezTo>
                  <a:cubicBezTo>
                    <a:pt x="46" y="105"/>
                    <a:pt x="48" y="109"/>
                    <a:pt x="48" y="112"/>
                  </a:cubicBezTo>
                  <a:cubicBezTo>
                    <a:pt x="48" y="141"/>
                    <a:pt x="48" y="170"/>
                    <a:pt x="48" y="199"/>
                  </a:cubicBezTo>
                  <a:cubicBezTo>
                    <a:pt x="48" y="201"/>
                    <a:pt x="48" y="203"/>
                    <a:pt x="48" y="205"/>
                  </a:cubicBezTo>
                  <a:cubicBezTo>
                    <a:pt x="48" y="213"/>
                    <a:pt x="43" y="219"/>
                    <a:pt x="35" y="219"/>
                  </a:cubicBezTo>
                  <a:cubicBezTo>
                    <a:pt x="28" y="219"/>
                    <a:pt x="23" y="213"/>
                    <a:pt x="23" y="205"/>
                  </a:cubicBezTo>
                  <a:cubicBezTo>
                    <a:pt x="23" y="177"/>
                    <a:pt x="23" y="149"/>
                    <a:pt x="23" y="121"/>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88" name="Freeform 20">
              <a:extLst>
                <a:ext uri="{FF2B5EF4-FFF2-40B4-BE49-F238E27FC236}">
                  <a16:creationId xmlns:a16="http://schemas.microsoft.com/office/drawing/2014/main" id="{A9979101-0F72-AF49-A111-06D0B48D5798}"/>
                </a:ext>
              </a:extLst>
            </p:cNvPr>
            <p:cNvSpPr>
              <a:spLocks/>
            </p:cNvSpPr>
            <p:nvPr/>
          </p:nvSpPr>
          <p:spPr bwMode="auto">
            <a:xfrm>
              <a:off x="3900" y="750"/>
              <a:ext cx="95" cy="205"/>
            </a:xfrm>
            <a:custGeom>
              <a:avLst/>
              <a:gdLst>
                <a:gd name="T0" fmla="*/ 79 w 102"/>
                <a:gd name="T1" fmla="*/ 120 h 219"/>
                <a:gd name="T2" fmla="*/ 79 w 102"/>
                <a:gd name="T3" fmla="*/ 199 h 219"/>
                <a:gd name="T4" fmla="*/ 79 w 102"/>
                <a:gd name="T5" fmla="*/ 206 h 219"/>
                <a:gd name="T6" fmla="*/ 66 w 102"/>
                <a:gd name="T7" fmla="*/ 219 h 219"/>
                <a:gd name="T8" fmla="*/ 54 w 102"/>
                <a:gd name="T9" fmla="*/ 206 h 219"/>
                <a:gd name="T10" fmla="*/ 54 w 102"/>
                <a:gd name="T11" fmla="*/ 188 h 219"/>
                <a:gd name="T12" fmla="*/ 54 w 102"/>
                <a:gd name="T13" fmla="*/ 114 h 219"/>
                <a:gd name="T14" fmla="*/ 52 w 102"/>
                <a:gd name="T15" fmla="*/ 105 h 219"/>
                <a:gd name="T16" fmla="*/ 49 w 102"/>
                <a:gd name="T17" fmla="*/ 115 h 219"/>
                <a:gd name="T18" fmla="*/ 49 w 102"/>
                <a:gd name="T19" fmla="*/ 201 h 219"/>
                <a:gd name="T20" fmla="*/ 37 w 102"/>
                <a:gd name="T21" fmla="*/ 219 h 219"/>
                <a:gd name="T22" fmla="*/ 24 w 102"/>
                <a:gd name="T23" fmla="*/ 201 h 219"/>
                <a:gd name="T24" fmla="*/ 24 w 102"/>
                <a:gd name="T25" fmla="*/ 40 h 219"/>
                <a:gd name="T26" fmla="*/ 22 w 102"/>
                <a:gd name="T27" fmla="*/ 31 h 219"/>
                <a:gd name="T28" fmla="*/ 19 w 102"/>
                <a:gd name="T29" fmla="*/ 40 h 219"/>
                <a:gd name="T30" fmla="*/ 19 w 102"/>
                <a:gd name="T31" fmla="*/ 92 h 219"/>
                <a:gd name="T32" fmla="*/ 10 w 102"/>
                <a:gd name="T33" fmla="*/ 105 h 219"/>
                <a:gd name="T34" fmla="*/ 0 w 102"/>
                <a:gd name="T35" fmla="*/ 93 h 219"/>
                <a:gd name="T36" fmla="*/ 0 w 102"/>
                <a:gd name="T37" fmla="*/ 27 h 219"/>
                <a:gd name="T38" fmla="*/ 28 w 102"/>
                <a:gd name="T39" fmla="*/ 0 h 219"/>
                <a:gd name="T40" fmla="*/ 74 w 102"/>
                <a:gd name="T41" fmla="*/ 0 h 219"/>
                <a:gd name="T42" fmla="*/ 101 w 102"/>
                <a:gd name="T43" fmla="*/ 25 h 219"/>
                <a:gd name="T44" fmla="*/ 101 w 102"/>
                <a:gd name="T45" fmla="*/ 96 h 219"/>
                <a:gd name="T46" fmla="*/ 93 w 102"/>
                <a:gd name="T47" fmla="*/ 105 h 219"/>
                <a:gd name="T48" fmla="*/ 84 w 102"/>
                <a:gd name="T49" fmla="*/ 95 h 219"/>
                <a:gd name="T50" fmla="*/ 84 w 102"/>
                <a:gd name="T51" fmla="*/ 39 h 219"/>
                <a:gd name="T52" fmla="*/ 84 w 102"/>
                <a:gd name="T53" fmla="*/ 33 h 219"/>
                <a:gd name="T54" fmla="*/ 82 w 102"/>
                <a:gd name="T55" fmla="*/ 30 h 219"/>
                <a:gd name="T56" fmla="*/ 79 w 102"/>
                <a:gd name="T57" fmla="*/ 33 h 219"/>
                <a:gd name="T58" fmla="*/ 79 w 102"/>
                <a:gd name="T59" fmla="*/ 39 h 219"/>
                <a:gd name="T60" fmla="*/ 79 w 102"/>
                <a:gd name="T61" fmla="*/ 12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2" h="219">
                  <a:moveTo>
                    <a:pt x="79" y="120"/>
                  </a:moveTo>
                  <a:cubicBezTo>
                    <a:pt x="79" y="146"/>
                    <a:pt x="79" y="173"/>
                    <a:pt x="79" y="199"/>
                  </a:cubicBezTo>
                  <a:cubicBezTo>
                    <a:pt x="79" y="201"/>
                    <a:pt x="79" y="204"/>
                    <a:pt x="79" y="206"/>
                  </a:cubicBezTo>
                  <a:cubicBezTo>
                    <a:pt x="78" y="214"/>
                    <a:pt x="73" y="219"/>
                    <a:pt x="66" y="219"/>
                  </a:cubicBezTo>
                  <a:cubicBezTo>
                    <a:pt x="60" y="219"/>
                    <a:pt x="55" y="214"/>
                    <a:pt x="54" y="206"/>
                  </a:cubicBezTo>
                  <a:cubicBezTo>
                    <a:pt x="54" y="200"/>
                    <a:pt x="54" y="194"/>
                    <a:pt x="54" y="188"/>
                  </a:cubicBezTo>
                  <a:cubicBezTo>
                    <a:pt x="54" y="163"/>
                    <a:pt x="54" y="139"/>
                    <a:pt x="54" y="114"/>
                  </a:cubicBezTo>
                  <a:cubicBezTo>
                    <a:pt x="54" y="111"/>
                    <a:pt x="56" y="105"/>
                    <a:pt x="52" y="105"/>
                  </a:cubicBezTo>
                  <a:cubicBezTo>
                    <a:pt x="47" y="105"/>
                    <a:pt x="49" y="111"/>
                    <a:pt x="49" y="115"/>
                  </a:cubicBezTo>
                  <a:cubicBezTo>
                    <a:pt x="49" y="143"/>
                    <a:pt x="49" y="172"/>
                    <a:pt x="49" y="201"/>
                  </a:cubicBezTo>
                  <a:cubicBezTo>
                    <a:pt x="49" y="213"/>
                    <a:pt x="45" y="219"/>
                    <a:pt x="37" y="219"/>
                  </a:cubicBezTo>
                  <a:cubicBezTo>
                    <a:pt x="29" y="219"/>
                    <a:pt x="24" y="213"/>
                    <a:pt x="24" y="201"/>
                  </a:cubicBezTo>
                  <a:cubicBezTo>
                    <a:pt x="24" y="147"/>
                    <a:pt x="24" y="93"/>
                    <a:pt x="24" y="40"/>
                  </a:cubicBezTo>
                  <a:cubicBezTo>
                    <a:pt x="24" y="37"/>
                    <a:pt x="26" y="31"/>
                    <a:pt x="22" y="31"/>
                  </a:cubicBezTo>
                  <a:cubicBezTo>
                    <a:pt x="17" y="31"/>
                    <a:pt x="20" y="37"/>
                    <a:pt x="19" y="40"/>
                  </a:cubicBezTo>
                  <a:cubicBezTo>
                    <a:pt x="19" y="57"/>
                    <a:pt x="19" y="75"/>
                    <a:pt x="19" y="92"/>
                  </a:cubicBezTo>
                  <a:cubicBezTo>
                    <a:pt x="19" y="99"/>
                    <a:pt x="18" y="105"/>
                    <a:pt x="10" y="105"/>
                  </a:cubicBezTo>
                  <a:cubicBezTo>
                    <a:pt x="3" y="105"/>
                    <a:pt x="0" y="101"/>
                    <a:pt x="0" y="93"/>
                  </a:cubicBezTo>
                  <a:cubicBezTo>
                    <a:pt x="0" y="71"/>
                    <a:pt x="0" y="49"/>
                    <a:pt x="0" y="27"/>
                  </a:cubicBezTo>
                  <a:cubicBezTo>
                    <a:pt x="1" y="10"/>
                    <a:pt x="11" y="0"/>
                    <a:pt x="28" y="0"/>
                  </a:cubicBezTo>
                  <a:cubicBezTo>
                    <a:pt x="44" y="0"/>
                    <a:pt x="59" y="0"/>
                    <a:pt x="74" y="0"/>
                  </a:cubicBezTo>
                  <a:cubicBezTo>
                    <a:pt x="90" y="0"/>
                    <a:pt x="101" y="9"/>
                    <a:pt x="101" y="25"/>
                  </a:cubicBezTo>
                  <a:cubicBezTo>
                    <a:pt x="102" y="48"/>
                    <a:pt x="101" y="72"/>
                    <a:pt x="101" y="96"/>
                  </a:cubicBezTo>
                  <a:cubicBezTo>
                    <a:pt x="101" y="101"/>
                    <a:pt x="98" y="105"/>
                    <a:pt x="93" y="105"/>
                  </a:cubicBezTo>
                  <a:cubicBezTo>
                    <a:pt x="87" y="105"/>
                    <a:pt x="84" y="101"/>
                    <a:pt x="84" y="95"/>
                  </a:cubicBezTo>
                  <a:cubicBezTo>
                    <a:pt x="84" y="77"/>
                    <a:pt x="84" y="58"/>
                    <a:pt x="84" y="39"/>
                  </a:cubicBezTo>
                  <a:cubicBezTo>
                    <a:pt x="84" y="37"/>
                    <a:pt x="84" y="35"/>
                    <a:pt x="84" y="33"/>
                  </a:cubicBezTo>
                  <a:cubicBezTo>
                    <a:pt x="84" y="32"/>
                    <a:pt x="83" y="31"/>
                    <a:pt x="82" y="30"/>
                  </a:cubicBezTo>
                  <a:cubicBezTo>
                    <a:pt x="80" y="30"/>
                    <a:pt x="79" y="32"/>
                    <a:pt x="79" y="33"/>
                  </a:cubicBezTo>
                  <a:cubicBezTo>
                    <a:pt x="79" y="35"/>
                    <a:pt x="79" y="37"/>
                    <a:pt x="79" y="39"/>
                  </a:cubicBezTo>
                  <a:cubicBezTo>
                    <a:pt x="79" y="66"/>
                    <a:pt x="79" y="93"/>
                    <a:pt x="79" y="120"/>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89" name="Freeform 21">
              <a:extLst>
                <a:ext uri="{FF2B5EF4-FFF2-40B4-BE49-F238E27FC236}">
                  <a16:creationId xmlns:a16="http://schemas.microsoft.com/office/drawing/2014/main" id="{5A36038B-348F-E347-8BCF-C496621A7D3E}"/>
                </a:ext>
              </a:extLst>
            </p:cNvPr>
            <p:cNvSpPr>
              <a:spLocks/>
            </p:cNvSpPr>
            <p:nvPr/>
          </p:nvSpPr>
          <p:spPr bwMode="auto">
            <a:xfrm>
              <a:off x="3767" y="750"/>
              <a:ext cx="94" cy="205"/>
            </a:xfrm>
            <a:custGeom>
              <a:avLst/>
              <a:gdLst>
                <a:gd name="T0" fmla="*/ 24 w 101"/>
                <a:gd name="T1" fmla="*/ 121 h 219"/>
                <a:gd name="T2" fmla="*/ 24 w 101"/>
                <a:gd name="T3" fmla="*/ 37 h 219"/>
                <a:gd name="T4" fmla="*/ 21 w 101"/>
                <a:gd name="T5" fmla="*/ 31 h 219"/>
                <a:gd name="T6" fmla="*/ 19 w 101"/>
                <a:gd name="T7" fmla="*/ 37 h 219"/>
                <a:gd name="T8" fmla="*/ 19 w 101"/>
                <a:gd name="T9" fmla="*/ 93 h 219"/>
                <a:gd name="T10" fmla="*/ 11 w 101"/>
                <a:gd name="T11" fmla="*/ 105 h 219"/>
                <a:gd name="T12" fmla="*/ 1 w 101"/>
                <a:gd name="T13" fmla="*/ 94 h 219"/>
                <a:gd name="T14" fmla="*/ 2 w 101"/>
                <a:gd name="T15" fmla="*/ 22 h 219"/>
                <a:gd name="T16" fmla="*/ 27 w 101"/>
                <a:gd name="T17" fmla="*/ 0 h 219"/>
                <a:gd name="T18" fmla="*/ 74 w 101"/>
                <a:gd name="T19" fmla="*/ 0 h 219"/>
                <a:gd name="T20" fmla="*/ 101 w 101"/>
                <a:gd name="T21" fmla="*/ 25 h 219"/>
                <a:gd name="T22" fmla="*/ 101 w 101"/>
                <a:gd name="T23" fmla="*/ 94 h 219"/>
                <a:gd name="T24" fmla="*/ 92 w 101"/>
                <a:gd name="T25" fmla="*/ 105 h 219"/>
                <a:gd name="T26" fmla="*/ 84 w 101"/>
                <a:gd name="T27" fmla="*/ 94 h 219"/>
                <a:gd name="T28" fmla="*/ 84 w 101"/>
                <a:gd name="T29" fmla="*/ 40 h 219"/>
                <a:gd name="T30" fmla="*/ 84 w 101"/>
                <a:gd name="T31" fmla="*/ 34 h 219"/>
                <a:gd name="T32" fmla="*/ 81 w 101"/>
                <a:gd name="T33" fmla="*/ 31 h 219"/>
                <a:gd name="T34" fmla="*/ 79 w 101"/>
                <a:gd name="T35" fmla="*/ 34 h 219"/>
                <a:gd name="T36" fmla="*/ 79 w 101"/>
                <a:gd name="T37" fmla="*/ 41 h 219"/>
                <a:gd name="T38" fmla="*/ 79 w 101"/>
                <a:gd name="T39" fmla="*/ 199 h 219"/>
                <a:gd name="T40" fmla="*/ 79 w 101"/>
                <a:gd name="T41" fmla="*/ 207 h 219"/>
                <a:gd name="T42" fmla="*/ 66 w 101"/>
                <a:gd name="T43" fmla="*/ 219 h 219"/>
                <a:gd name="T44" fmla="*/ 54 w 101"/>
                <a:gd name="T45" fmla="*/ 205 h 219"/>
                <a:gd name="T46" fmla="*/ 54 w 101"/>
                <a:gd name="T47" fmla="*/ 116 h 219"/>
                <a:gd name="T48" fmla="*/ 54 w 101"/>
                <a:gd name="T49" fmla="*/ 110 h 219"/>
                <a:gd name="T50" fmla="*/ 51 w 101"/>
                <a:gd name="T51" fmla="*/ 105 h 219"/>
                <a:gd name="T52" fmla="*/ 49 w 101"/>
                <a:gd name="T53" fmla="*/ 110 h 219"/>
                <a:gd name="T54" fmla="*/ 49 w 101"/>
                <a:gd name="T55" fmla="*/ 175 h 219"/>
                <a:gd name="T56" fmla="*/ 49 w 101"/>
                <a:gd name="T57" fmla="*/ 204 h 219"/>
                <a:gd name="T58" fmla="*/ 36 w 101"/>
                <a:gd name="T59" fmla="*/ 219 h 219"/>
                <a:gd name="T60" fmla="*/ 24 w 101"/>
                <a:gd name="T61" fmla="*/ 204 h 219"/>
                <a:gd name="T62" fmla="*/ 24 w 101"/>
                <a:gd name="T63" fmla="*/ 12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 h="219">
                  <a:moveTo>
                    <a:pt x="24" y="121"/>
                  </a:moveTo>
                  <a:cubicBezTo>
                    <a:pt x="24" y="93"/>
                    <a:pt x="24" y="65"/>
                    <a:pt x="24" y="37"/>
                  </a:cubicBezTo>
                  <a:cubicBezTo>
                    <a:pt x="24" y="35"/>
                    <a:pt x="26" y="31"/>
                    <a:pt x="21" y="31"/>
                  </a:cubicBezTo>
                  <a:cubicBezTo>
                    <a:pt x="17" y="31"/>
                    <a:pt x="19" y="35"/>
                    <a:pt x="19" y="37"/>
                  </a:cubicBezTo>
                  <a:cubicBezTo>
                    <a:pt x="19" y="56"/>
                    <a:pt x="19" y="75"/>
                    <a:pt x="19" y="93"/>
                  </a:cubicBezTo>
                  <a:cubicBezTo>
                    <a:pt x="19" y="99"/>
                    <a:pt x="17" y="104"/>
                    <a:pt x="11" y="105"/>
                  </a:cubicBezTo>
                  <a:cubicBezTo>
                    <a:pt x="4" y="105"/>
                    <a:pt x="1" y="100"/>
                    <a:pt x="1" y="94"/>
                  </a:cubicBezTo>
                  <a:cubicBezTo>
                    <a:pt x="1" y="70"/>
                    <a:pt x="0" y="46"/>
                    <a:pt x="2" y="22"/>
                  </a:cubicBezTo>
                  <a:cubicBezTo>
                    <a:pt x="4" y="8"/>
                    <a:pt x="13" y="0"/>
                    <a:pt x="27" y="0"/>
                  </a:cubicBezTo>
                  <a:cubicBezTo>
                    <a:pt x="43" y="0"/>
                    <a:pt x="58" y="0"/>
                    <a:pt x="74" y="0"/>
                  </a:cubicBezTo>
                  <a:cubicBezTo>
                    <a:pt x="90" y="0"/>
                    <a:pt x="100" y="9"/>
                    <a:pt x="101" y="25"/>
                  </a:cubicBezTo>
                  <a:cubicBezTo>
                    <a:pt x="101" y="48"/>
                    <a:pt x="101" y="71"/>
                    <a:pt x="101" y="94"/>
                  </a:cubicBezTo>
                  <a:cubicBezTo>
                    <a:pt x="101" y="100"/>
                    <a:pt x="99" y="105"/>
                    <a:pt x="92" y="105"/>
                  </a:cubicBezTo>
                  <a:cubicBezTo>
                    <a:pt x="85" y="105"/>
                    <a:pt x="84" y="99"/>
                    <a:pt x="84" y="94"/>
                  </a:cubicBezTo>
                  <a:cubicBezTo>
                    <a:pt x="84" y="76"/>
                    <a:pt x="84" y="58"/>
                    <a:pt x="84" y="40"/>
                  </a:cubicBezTo>
                  <a:cubicBezTo>
                    <a:pt x="84" y="38"/>
                    <a:pt x="84" y="36"/>
                    <a:pt x="84" y="34"/>
                  </a:cubicBezTo>
                  <a:cubicBezTo>
                    <a:pt x="84" y="33"/>
                    <a:pt x="84" y="31"/>
                    <a:pt x="81" y="31"/>
                  </a:cubicBezTo>
                  <a:cubicBezTo>
                    <a:pt x="79" y="30"/>
                    <a:pt x="79" y="32"/>
                    <a:pt x="79" y="34"/>
                  </a:cubicBezTo>
                  <a:cubicBezTo>
                    <a:pt x="79" y="36"/>
                    <a:pt x="79" y="38"/>
                    <a:pt x="79" y="41"/>
                  </a:cubicBezTo>
                  <a:cubicBezTo>
                    <a:pt x="79" y="94"/>
                    <a:pt x="79" y="146"/>
                    <a:pt x="79" y="199"/>
                  </a:cubicBezTo>
                  <a:cubicBezTo>
                    <a:pt x="79" y="202"/>
                    <a:pt x="79" y="204"/>
                    <a:pt x="79" y="207"/>
                  </a:cubicBezTo>
                  <a:cubicBezTo>
                    <a:pt x="78" y="214"/>
                    <a:pt x="72" y="219"/>
                    <a:pt x="66" y="219"/>
                  </a:cubicBezTo>
                  <a:cubicBezTo>
                    <a:pt x="59" y="219"/>
                    <a:pt x="54" y="214"/>
                    <a:pt x="54" y="205"/>
                  </a:cubicBezTo>
                  <a:cubicBezTo>
                    <a:pt x="54" y="176"/>
                    <a:pt x="54" y="146"/>
                    <a:pt x="54" y="116"/>
                  </a:cubicBezTo>
                  <a:cubicBezTo>
                    <a:pt x="54" y="114"/>
                    <a:pt x="54" y="112"/>
                    <a:pt x="54" y="110"/>
                  </a:cubicBezTo>
                  <a:cubicBezTo>
                    <a:pt x="54" y="108"/>
                    <a:pt x="55" y="104"/>
                    <a:pt x="51" y="105"/>
                  </a:cubicBezTo>
                  <a:cubicBezTo>
                    <a:pt x="48" y="105"/>
                    <a:pt x="49" y="108"/>
                    <a:pt x="49" y="110"/>
                  </a:cubicBezTo>
                  <a:cubicBezTo>
                    <a:pt x="49" y="132"/>
                    <a:pt x="49" y="154"/>
                    <a:pt x="49" y="175"/>
                  </a:cubicBezTo>
                  <a:cubicBezTo>
                    <a:pt x="49" y="185"/>
                    <a:pt x="49" y="194"/>
                    <a:pt x="49" y="204"/>
                  </a:cubicBezTo>
                  <a:cubicBezTo>
                    <a:pt x="49" y="213"/>
                    <a:pt x="44" y="219"/>
                    <a:pt x="36" y="219"/>
                  </a:cubicBezTo>
                  <a:cubicBezTo>
                    <a:pt x="28" y="219"/>
                    <a:pt x="24" y="213"/>
                    <a:pt x="24" y="204"/>
                  </a:cubicBezTo>
                  <a:cubicBezTo>
                    <a:pt x="24" y="176"/>
                    <a:pt x="24" y="149"/>
                    <a:pt x="24" y="121"/>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0" name="Freeform 22">
              <a:extLst>
                <a:ext uri="{FF2B5EF4-FFF2-40B4-BE49-F238E27FC236}">
                  <a16:creationId xmlns:a16="http://schemas.microsoft.com/office/drawing/2014/main" id="{C361DBC1-37A7-924B-9DE3-B52D12E9F471}"/>
                </a:ext>
              </a:extLst>
            </p:cNvPr>
            <p:cNvSpPr>
              <a:spLocks/>
            </p:cNvSpPr>
            <p:nvPr/>
          </p:nvSpPr>
          <p:spPr bwMode="auto">
            <a:xfrm>
              <a:off x="3793" y="705"/>
              <a:ext cx="41" cy="41"/>
            </a:xfrm>
            <a:custGeom>
              <a:avLst/>
              <a:gdLst>
                <a:gd name="T0" fmla="*/ 22 w 44"/>
                <a:gd name="T1" fmla="*/ 0 h 44"/>
                <a:gd name="T2" fmla="*/ 44 w 44"/>
                <a:gd name="T3" fmla="*/ 21 h 44"/>
                <a:gd name="T4" fmla="*/ 22 w 44"/>
                <a:gd name="T5" fmla="*/ 43 h 44"/>
                <a:gd name="T6" fmla="*/ 0 w 44"/>
                <a:gd name="T7" fmla="*/ 21 h 44"/>
                <a:gd name="T8" fmla="*/ 22 w 44"/>
                <a:gd name="T9" fmla="*/ 0 h 44"/>
              </a:gdLst>
              <a:ahLst/>
              <a:cxnLst>
                <a:cxn ang="0">
                  <a:pos x="T0" y="T1"/>
                </a:cxn>
                <a:cxn ang="0">
                  <a:pos x="T2" y="T3"/>
                </a:cxn>
                <a:cxn ang="0">
                  <a:pos x="T4" y="T5"/>
                </a:cxn>
                <a:cxn ang="0">
                  <a:pos x="T6" y="T7"/>
                </a:cxn>
                <a:cxn ang="0">
                  <a:pos x="T8" y="T9"/>
                </a:cxn>
              </a:cxnLst>
              <a:rect l="0" t="0" r="r" b="b"/>
              <a:pathLst>
                <a:path w="44" h="44">
                  <a:moveTo>
                    <a:pt x="22" y="0"/>
                  </a:moveTo>
                  <a:cubicBezTo>
                    <a:pt x="34" y="0"/>
                    <a:pt x="44" y="9"/>
                    <a:pt x="44" y="21"/>
                  </a:cubicBezTo>
                  <a:cubicBezTo>
                    <a:pt x="44" y="33"/>
                    <a:pt x="34" y="43"/>
                    <a:pt x="22" y="43"/>
                  </a:cubicBezTo>
                  <a:cubicBezTo>
                    <a:pt x="9" y="44"/>
                    <a:pt x="0" y="33"/>
                    <a:pt x="0" y="21"/>
                  </a:cubicBezTo>
                  <a:cubicBezTo>
                    <a:pt x="0" y="9"/>
                    <a:pt x="10" y="0"/>
                    <a:pt x="22" y="0"/>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1" name="Freeform 23">
              <a:extLst>
                <a:ext uri="{FF2B5EF4-FFF2-40B4-BE49-F238E27FC236}">
                  <a16:creationId xmlns:a16="http://schemas.microsoft.com/office/drawing/2014/main" id="{4D8C9EA6-D524-A145-AC35-81BC078F61B5}"/>
                </a:ext>
              </a:extLst>
            </p:cNvPr>
            <p:cNvSpPr>
              <a:spLocks/>
            </p:cNvSpPr>
            <p:nvPr/>
          </p:nvSpPr>
          <p:spPr bwMode="auto">
            <a:xfrm>
              <a:off x="3662" y="705"/>
              <a:ext cx="41" cy="41"/>
            </a:xfrm>
            <a:custGeom>
              <a:avLst/>
              <a:gdLst>
                <a:gd name="T0" fmla="*/ 22 w 44"/>
                <a:gd name="T1" fmla="*/ 0 h 44"/>
                <a:gd name="T2" fmla="*/ 44 w 44"/>
                <a:gd name="T3" fmla="*/ 21 h 44"/>
                <a:gd name="T4" fmla="*/ 22 w 44"/>
                <a:gd name="T5" fmla="*/ 43 h 44"/>
                <a:gd name="T6" fmla="*/ 0 w 44"/>
                <a:gd name="T7" fmla="*/ 22 h 44"/>
                <a:gd name="T8" fmla="*/ 22 w 44"/>
                <a:gd name="T9" fmla="*/ 0 h 44"/>
              </a:gdLst>
              <a:ahLst/>
              <a:cxnLst>
                <a:cxn ang="0">
                  <a:pos x="T0" y="T1"/>
                </a:cxn>
                <a:cxn ang="0">
                  <a:pos x="T2" y="T3"/>
                </a:cxn>
                <a:cxn ang="0">
                  <a:pos x="T4" y="T5"/>
                </a:cxn>
                <a:cxn ang="0">
                  <a:pos x="T6" y="T7"/>
                </a:cxn>
                <a:cxn ang="0">
                  <a:pos x="T8" y="T9"/>
                </a:cxn>
              </a:cxnLst>
              <a:rect l="0" t="0" r="r" b="b"/>
              <a:pathLst>
                <a:path w="44" h="44">
                  <a:moveTo>
                    <a:pt x="22" y="0"/>
                  </a:moveTo>
                  <a:cubicBezTo>
                    <a:pt x="34" y="0"/>
                    <a:pt x="44" y="9"/>
                    <a:pt x="44" y="21"/>
                  </a:cubicBezTo>
                  <a:cubicBezTo>
                    <a:pt x="44" y="34"/>
                    <a:pt x="34" y="44"/>
                    <a:pt x="22" y="43"/>
                  </a:cubicBezTo>
                  <a:cubicBezTo>
                    <a:pt x="10" y="43"/>
                    <a:pt x="0" y="34"/>
                    <a:pt x="0" y="22"/>
                  </a:cubicBezTo>
                  <a:cubicBezTo>
                    <a:pt x="0" y="10"/>
                    <a:pt x="10" y="0"/>
                    <a:pt x="22" y="0"/>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2" name="Freeform 24">
              <a:extLst>
                <a:ext uri="{FF2B5EF4-FFF2-40B4-BE49-F238E27FC236}">
                  <a16:creationId xmlns:a16="http://schemas.microsoft.com/office/drawing/2014/main" id="{D2CD75E6-46D6-7B41-9877-29809672761B}"/>
                </a:ext>
              </a:extLst>
            </p:cNvPr>
            <p:cNvSpPr>
              <a:spLocks/>
            </p:cNvSpPr>
            <p:nvPr/>
          </p:nvSpPr>
          <p:spPr bwMode="auto">
            <a:xfrm>
              <a:off x="3927" y="705"/>
              <a:ext cx="40" cy="41"/>
            </a:xfrm>
            <a:custGeom>
              <a:avLst/>
              <a:gdLst>
                <a:gd name="T0" fmla="*/ 0 w 43"/>
                <a:gd name="T1" fmla="*/ 22 h 44"/>
                <a:gd name="T2" fmla="*/ 21 w 43"/>
                <a:gd name="T3" fmla="*/ 0 h 44"/>
                <a:gd name="T4" fmla="*/ 43 w 43"/>
                <a:gd name="T5" fmla="*/ 21 h 44"/>
                <a:gd name="T6" fmla="*/ 21 w 43"/>
                <a:gd name="T7" fmla="*/ 43 h 44"/>
                <a:gd name="T8" fmla="*/ 0 w 43"/>
                <a:gd name="T9" fmla="*/ 22 h 44"/>
              </a:gdLst>
              <a:ahLst/>
              <a:cxnLst>
                <a:cxn ang="0">
                  <a:pos x="T0" y="T1"/>
                </a:cxn>
                <a:cxn ang="0">
                  <a:pos x="T2" y="T3"/>
                </a:cxn>
                <a:cxn ang="0">
                  <a:pos x="T4" y="T5"/>
                </a:cxn>
                <a:cxn ang="0">
                  <a:pos x="T6" y="T7"/>
                </a:cxn>
                <a:cxn ang="0">
                  <a:pos x="T8" y="T9"/>
                </a:cxn>
              </a:cxnLst>
              <a:rect l="0" t="0" r="r" b="b"/>
              <a:pathLst>
                <a:path w="43" h="44">
                  <a:moveTo>
                    <a:pt x="0" y="22"/>
                  </a:moveTo>
                  <a:cubicBezTo>
                    <a:pt x="0" y="9"/>
                    <a:pt x="9" y="0"/>
                    <a:pt x="21" y="0"/>
                  </a:cubicBezTo>
                  <a:cubicBezTo>
                    <a:pt x="34" y="0"/>
                    <a:pt x="43" y="9"/>
                    <a:pt x="43" y="21"/>
                  </a:cubicBezTo>
                  <a:cubicBezTo>
                    <a:pt x="43" y="34"/>
                    <a:pt x="34" y="44"/>
                    <a:pt x="21" y="43"/>
                  </a:cubicBezTo>
                  <a:cubicBezTo>
                    <a:pt x="9" y="43"/>
                    <a:pt x="0" y="34"/>
                    <a:pt x="0" y="22"/>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93" name="Freeform 25">
              <a:extLst>
                <a:ext uri="{FF2B5EF4-FFF2-40B4-BE49-F238E27FC236}">
                  <a16:creationId xmlns:a16="http://schemas.microsoft.com/office/drawing/2014/main" id="{8F383FEA-982F-7846-AE16-ED919785CB43}"/>
                </a:ext>
              </a:extLst>
            </p:cNvPr>
            <p:cNvSpPr>
              <a:spLocks/>
            </p:cNvSpPr>
            <p:nvPr/>
          </p:nvSpPr>
          <p:spPr bwMode="auto">
            <a:xfrm>
              <a:off x="3530" y="705"/>
              <a:ext cx="41" cy="40"/>
            </a:xfrm>
            <a:custGeom>
              <a:avLst/>
              <a:gdLst>
                <a:gd name="T0" fmla="*/ 44 w 44"/>
                <a:gd name="T1" fmla="*/ 22 h 43"/>
                <a:gd name="T2" fmla="*/ 22 w 44"/>
                <a:gd name="T3" fmla="*/ 43 h 43"/>
                <a:gd name="T4" fmla="*/ 0 w 44"/>
                <a:gd name="T5" fmla="*/ 21 h 43"/>
                <a:gd name="T6" fmla="*/ 23 w 44"/>
                <a:gd name="T7" fmla="*/ 0 h 43"/>
                <a:gd name="T8" fmla="*/ 44 w 44"/>
                <a:gd name="T9" fmla="*/ 22 h 43"/>
              </a:gdLst>
              <a:ahLst/>
              <a:cxnLst>
                <a:cxn ang="0">
                  <a:pos x="T0" y="T1"/>
                </a:cxn>
                <a:cxn ang="0">
                  <a:pos x="T2" y="T3"/>
                </a:cxn>
                <a:cxn ang="0">
                  <a:pos x="T4" y="T5"/>
                </a:cxn>
                <a:cxn ang="0">
                  <a:pos x="T6" y="T7"/>
                </a:cxn>
                <a:cxn ang="0">
                  <a:pos x="T8" y="T9"/>
                </a:cxn>
              </a:cxnLst>
              <a:rect l="0" t="0" r="r" b="b"/>
              <a:pathLst>
                <a:path w="44" h="43">
                  <a:moveTo>
                    <a:pt x="44" y="22"/>
                  </a:moveTo>
                  <a:cubicBezTo>
                    <a:pt x="44" y="34"/>
                    <a:pt x="35" y="43"/>
                    <a:pt x="22" y="43"/>
                  </a:cubicBezTo>
                  <a:cubicBezTo>
                    <a:pt x="10" y="43"/>
                    <a:pt x="0" y="34"/>
                    <a:pt x="0" y="21"/>
                  </a:cubicBezTo>
                  <a:cubicBezTo>
                    <a:pt x="0" y="9"/>
                    <a:pt x="10" y="0"/>
                    <a:pt x="23" y="0"/>
                  </a:cubicBezTo>
                  <a:cubicBezTo>
                    <a:pt x="35" y="0"/>
                    <a:pt x="44" y="9"/>
                    <a:pt x="44" y="22"/>
                  </a:cubicBezTo>
                  <a:close/>
                </a:path>
              </a:pathLst>
            </a:custGeom>
            <a:solidFill>
              <a:srgbClr val="003E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grpSp>
      <p:sp>
        <p:nvSpPr>
          <p:cNvPr id="53" name="Rectangle 52">
            <a:extLst>
              <a:ext uri="{FF2B5EF4-FFF2-40B4-BE49-F238E27FC236}">
                <a16:creationId xmlns:a16="http://schemas.microsoft.com/office/drawing/2014/main" id="{08E32120-F99F-054A-9569-B0238DA9E94C}"/>
              </a:ext>
            </a:extLst>
          </p:cNvPr>
          <p:cNvSpPr/>
          <p:nvPr/>
        </p:nvSpPr>
        <p:spPr>
          <a:xfrm>
            <a:off x="1998560" y="833019"/>
            <a:ext cx="3369547" cy="450174"/>
          </a:xfrm>
          <a:prstGeom prst="rect">
            <a:avLst/>
          </a:prstGeom>
          <a:gradFill flip="none" rotWithShape="1">
            <a:gsLst>
              <a:gs pos="0">
                <a:srgbClr val="0033A0"/>
              </a:gs>
              <a:gs pos="100000">
                <a:srgbClr val="00B13F"/>
              </a:gs>
            </a:gsLst>
            <a:lin ang="0" scaled="1"/>
            <a:tileRect/>
          </a:gradFill>
          <a:ln>
            <a:gradFill flip="none" rotWithShape="1">
              <a:gsLst>
                <a:gs pos="0">
                  <a:srgbClr val="003EA0"/>
                </a:gs>
                <a:gs pos="100000">
                  <a:srgbClr val="00B14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400" b="1" dirty="0" smtClean="0">
                <a:solidFill>
                  <a:srgbClr val="FFFFFF"/>
                </a:solidFill>
                <a:latin typeface="Calibri" panose="020F0502020204030204" pitchFamily="34" charset="0"/>
                <a:cs typeface="Calibri" panose="020F0502020204030204" pitchFamily="34" charset="0"/>
              </a:rPr>
              <a:t>OUR COMMITMENTS TO YOU</a:t>
            </a:r>
            <a:endParaRPr lang="en-US" sz="1400" b="1" dirty="0">
              <a:solidFill>
                <a:srgbClr val="FFFFFF"/>
              </a:solidFill>
              <a:latin typeface="Calibri" panose="020F0502020204030204" pitchFamily="34" charset="0"/>
              <a:cs typeface="Calibri" panose="020F0502020204030204" pitchFamily="34" charset="0"/>
            </a:endParaRPr>
          </a:p>
        </p:txBody>
      </p:sp>
      <p:grpSp>
        <p:nvGrpSpPr>
          <p:cNvPr id="15" name="Group 14"/>
          <p:cNvGrpSpPr/>
          <p:nvPr/>
        </p:nvGrpSpPr>
        <p:grpSpPr>
          <a:xfrm>
            <a:off x="1989540" y="3361295"/>
            <a:ext cx="3424271" cy="2566965"/>
            <a:chOff x="3644906" y="702608"/>
            <a:chExt cx="3424271" cy="1991057"/>
          </a:xfrm>
        </p:grpSpPr>
        <p:sp>
          <p:nvSpPr>
            <p:cNvPr id="12" name="Rectangle 11">
              <a:extLst>
                <a:ext uri="{FF2B5EF4-FFF2-40B4-BE49-F238E27FC236}">
                  <a16:creationId xmlns:a16="http://schemas.microsoft.com/office/drawing/2014/main" id="{D89B7002-DF43-1547-9422-85474D232887}"/>
                </a:ext>
              </a:extLst>
            </p:cNvPr>
            <p:cNvSpPr/>
            <p:nvPr/>
          </p:nvSpPr>
          <p:spPr>
            <a:xfrm>
              <a:off x="3644907" y="1011726"/>
              <a:ext cx="3388947" cy="1681939"/>
            </a:xfrm>
            <a:prstGeom prst="rect">
              <a:avLst/>
            </a:prstGeom>
            <a:solidFill>
              <a:srgbClr val="FFFFFF"/>
            </a:solidFill>
            <a:ln w="9525" cap="flat" cmpd="sng" algn="ctr">
              <a:solidFill>
                <a:srgbClr val="FFFFFF">
                  <a:lumMod val="65000"/>
                </a:srgbClr>
              </a:solidFill>
              <a:prstDash val="solid"/>
            </a:ln>
            <a:effectLst/>
          </p:spPr>
          <p:txBody>
            <a:bodyPr rtlCol="0" anchor="ctr"/>
            <a:lstStyle/>
            <a:p>
              <a:pPr algn="ctr" defTabSz="1213808">
                <a:defRPr/>
              </a:pPr>
              <a:endParaRPr lang="en-US" sz="1185" kern="0" dirty="0">
                <a:solidFill>
                  <a:srgbClr val="000000"/>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156DFF45-2668-1C40-A097-2B230FDD73FE}"/>
                </a:ext>
              </a:extLst>
            </p:cNvPr>
            <p:cNvSpPr/>
            <p:nvPr/>
          </p:nvSpPr>
          <p:spPr>
            <a:xfrm>
              <a:off x="4561589" y="1225120"/>
              <a:ext cx="2507588" cy="1315165"/>
            </a:xfrm>
            <a:prstGeom prst="rect">
              <a:avLst/>
            </a:prstGeom>
            <a:noFill/>
            <a:ln w="9525" cap="flat" cmpd="sng" algn="ctr">
              <a:noFill/>
              <a:prstDash val="solid"/>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120415" tIns="60207" rIns="120415" bIns="60207" numCol="1" spcCol="0" rtlCol="0" fromWordArt="0" anchor="ctr" anchorCtr="0" forceAA="0" compatLnSpc="1">
              <a:prstTxWarp prst="textNoShape">
                <a:avLst/>
              </a:prstTxWarp>
              <a:noAutofit/>
            </a:bodyPr>
            <a:lstStyle/>
            <a:p>
              <a:pPr defTabSz="484764">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Zero Maintenance Framework for Operational efficiencies</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Process standardization with SMO</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endParaRPr lang="en-US" sz="1200" kern="0" dirty="0" smtClean="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Institute </a:t>
              </a:r>
              <a:r>
                <a:rPr lang="en-US" sz="1200" kern="0" dirty="0">
                  <a:solidFill>
                    <a:srgbClr val="000000">
                      <a:lumMod val="65000"/>
                      <a:lumOff val="35000"/>
                    </a:srgbClr>
                  </a:solidFill>
                  <a:latin typeface="Calibri" panose="020F0502020204030204" pitchFamily="34" charset="0"/>
                  <a:cs typeface="Calibri" panose="020F0502020204030204" pitchFamily="34" charset="0"/>
                </a:rPr>
                <a:t>rigor across towers </a:t>
              </a: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and transform with AI / ML based Problem Management</a:t>
              </a:r>
            </a:p>
            <a:p>
              <a:pPr defTabSz="484764">
                <a:defRPr/>
              </a:pP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a:p>
              <a:pPr defTabSz="484764">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Seamless coordination governed </a:t>
              </a:r>
            </a:p>
            <a:p>
              <a:pPr defTabSz="484764">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through DIAL</a:t>
              </a:r>
            </a:p>
            <a:p>
              <a:pPr defTabSz="484764">
                <a:defRPr/>
              </a:pP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grpSp>
          <p:nvGrpSpPr>
            <p:cNvPr id="52" name="Group 51">
              <a:extLst>
                <a:ext uri="{FF2B5EF4-FFF2-40B4-BE49-F238E27FC236}">
                  <a16:creationId xmlns:a16="http://schemas.microsoft.com/office/drawing/2014/main" id="{E5C2F36B-0D21-0946-A8F8-95CA0EFFAE4D}"/>
                </a:ext>
              </a:extLst>
            </p:cNvPr>
            <p:cNvGrpSpPr/>
            <p:nvPr/>
          </p:nvGrpSpPr>
          <p:grpSpPr>
            <a:xfrm>
              <a:off x="3798958" y="1656347"/>
              <a:ext cx="537431" cy="493584"/>
              <a:chOff x="7414456" y="4493930"/>
              <a:chExt cx="733434" cy="673597"/>
            </a:xfrm>
            <a:solidFill>
              <a:srgbClr val="0033A0"/>
            </a:solidFill>
          </p:grpSpPr>
          <p:sp>
            <p:nvSpPr>
              <p:cNvPr id="56" name="Freeform 28">
                <a:extLst>
                  <a:ext uri="{FF2B5EF4-FFF2-40B4-BE49-F238E27FC236}">
                    <a16:creationId xmlns:a16="http://schemas.microsoft.com/office/drawing/2014/main" id="{F3562634-A7C5-2744-99E2-71B3B404F3C3}"/>
                  </a:ext>
                </a:extLst>
              </p:cNvPr>
              <p:cNvSpPr>
                <a:spLocks noEditPoints="1"/>
              </p:cNvSpPr>
              <p:nvPr/>
            </p:nvSpPr>
            <p:spPr bwMode="auto">
              <a:xfrm>
                <a:off x="7414456" y="4848185"/>
                <a:ext cx="664604" cy="319342"/>
              </a:xfrm>
              <a:custGeom>
                <a:avLst/>
                <a:gdLst>
                  <a:gd name="T0" fmla="*/ 614 w 844"/>
                  <a:gd name="T1" fmla="*/ 215 h 405"/>
                  <a:gd name="T2" fmla="*/ 676 w 844"/>
                  <a:gd name="T3" fmla="*/ 174 h 405"/>
                  <a:gd name="T4" fmla="*/ 727 w 844"/>
                  <a:gd name="T5" fmla="*/ 134 h 405"/>
                  <a:gd name="T6" fmla="*/ 808 w 844"/>
                  <a:gd name="T7" fmla="*/ 131 h 405"/>
                  <a:gd name="T8" fmla="*/ 839 w 844"/>
                  <a:gd name="T9" fmla="*/ 204 h 405"/>
                  <a:gd name="T10" fmla="*/ 812 w 844"/>
                  <a:gd name="T11" fmla="*/ 247 h 405"/>
                  <a:gd name="T12" fmla="*/ 654 w 844"/>
                  <a:gd name="T13" fmla="*/ 348 h 405"/>
                  <a:gd name="T14" fmla="*/ 513 w 844"/>
                  <a:gd name="T15" fmla="*/ 396 h 405"/>
                  <a:gd name="T16" fmla="*/ 388 w 844"/>
                  <a:gd name="T17" fmla="*/ 379 h 405"/>
                  <a:gd name="T18" fmla="*/ 240 w 844"/>
                  <a:gd name="T19" fmla="*/ 314 h 405"/>
                  <a:gd name="T20" fmla="*/ 210 w 844"/>
                  <a:gd name="T21" fmla="*/ 303 h 405"/>
                  <a:gd name="T22" fmla="*/ 210 w 844"/>
                  <a:gd name="T23" fmla="*/ 326 h 405"/>
                  <a:gd name="T24" fmla="*/ 186 w 844"/>
                  <a:gd name="T25" fmla="*/ 349 h 405"/>
                  <a:gd name="T26" fmla="*/ 23 w 844"/>
                  <a:gd name="T27" fmla="*/ 349 h 405"/>
                  <a:gd name="T28" fmla="*/ 0 w 844"/>
                  <a:gd name="T29" fmla="*/ 326 h 405"/>
                  <a:gd name="T30" fmla="*/ 0 w 844"/>
                  <a:gd name="T31" fmla="*/ 23 h 405"/>
                  <a:gd name="T32" fmla="*/ 23 w 844"/>
                  <a:gd name="T33" fmla="*/ 0 h 405"/>
                  <a:gd name="T34" fmla="*/ 185 w 844"/>
                  <a:gd name="T35" fmla="*/ 0 h 405"/>
                  <a:gd name="T36" fmla="*/ 210 w 844"/>
                  <a:gd name="T37" fmla="*/ 25 h 405"/>
                  <a:gd name="T38" fmla="*/ 210 w 844"/>
                  <a:gd name="T39" fmla="*/ 68 h 405"/>
                  <a:gd name="T40" fmla="*/ 283 w 844"/>
                  <a:gd name="T41" fmla="*/ 77 h 405"/>
                  <a:gd name="T42" fmla="*/ 410 w 844"/>
                  <a:gd name="T43" fmla="*/ 130 h 405"/>
                  <a:gd name="T44" fmla="*/ 469 w 844"/>
                  <a:gd name="T45" fmla="*/ 145 h 405"/>
                  <a:gd name="T46" fmla="*/ 567 w 844"/>
                  <a:gd name="T47" fmla="*/ 155 h 405"/>
                  <a:gd name="T48" fmla="*/ 614 w 844"/>
                  <a:gd name="T49" fmla="*/ 215 h 405"/>
                  <a:gd name="T50" fmla="*/ 580 w 844"/>
                  <a:gd name="T51" fmla="*/ 210 h 405"/>
                  <a:gd name="T52" fmla="*/ 568 w 844"/>
                  <a:gd name="T53" fmla="*/ 195 h 405"/>
                  <a:gd name="T54" fmla="*/ 537 w 844"/>
                  <a:gd name="T55" fmla="*/ 184 h 405"/>
                  <a:gd name="T56" fmla="*/ 472 w 844"/>
                  <a:gd name="T57" fmla="*/ 180 h 405"/>
                  <a:gd name="T58" fmla="*/ 385 w 844"/>
                  <a:gd name="T59" fmla="*/ 156 h 405"/>
                  <a:gd name="T60" fmla="*/ 282 w 844"/>
                  <a:gd name="T61" fmla="*/ 112 h 405"/>
                  <a:gd name="T62" fmla="*/ 210 w 844"/>
                  <a:gd name="T63" fmla="*/ 103 h 405"/>
                  <a:gd name="T64" fmla="*/ 210 w 844"/>
                  <a:gd name="T65" fmla="*/ 253 h 405"/>
                  <a:gd name="T66" fmla="*/ 224 w 844"/>
                  <a:gd name="T67" fmla="*/ 271 h 405"/>
                  <a:gd name="T68" fmla="*/ 252 w 844"/>
                  <a:gd name="T69" fmla="*/ 281 h 405"/>
                  <a:gd name="T70" fmla="*/ 392 w 844"/>
                  <a:gd name="T71" fmla="*/ 343 h 405"/>
                  <a:gd name="T72" fmla="*/ 572 w 844"/>
                  <a:gd name="T73" fmla="*/ 345 h 405"/>
                  <a:gd name="T74" fmla="*/ 709 w 844"/>
                  <a:gd name="T75" fmla="*/ 280 h 405"/>
                  <a:gd name="T76" fmla="*/ 792 w 844"/>
                  <a:gd name="T77" fmla="*/ 219 h 405"/>
                  <a:gd name="T78" fmla="*/ 797 w 844"/>
                  <a:gd name="T79" fmla="*/ 167 h 405"/>
                  <a:gd name="T80" fmla="*/ 746 w 844"/>
                  <a:gd name="T81" fmla="*/ 164 h 405"/>
                  <a:gd name="T82" fmla="*/ 700 w 844"/>
                  <a:gd name="T83" fmla="*/ 200 h 405"/>
                  <a:gd name="T84" fmla="*/ 571 w 844"/>
                  <a:gd name="T85" fmla="*/ 246 h 405"/>
                  <a:gd name="T86" fmla="*/ 363 w 844"/>
                  <a:gd name="T87" fmla="*/ 244 h 405"/>
                  <a:gd name="T88" fmla="*/ 347 w 844"/>
                  <a:gd name="T89" fmla="*/ 243 h 405"/>
                  <a:gd name="T90" fmla="*/ 333 w 844"/>
                  <a:gd name="T91" fmla="*/ 226 h 405"/>
                  <a:gd name="T92" fmla="*/ 348 w 844"/>
                  <a:gd name="T93" fmla="*/ 210 h 405"/>
                  <a:gd name="T94" fmla="*/ 363 w 844"/>
                  <a:gd name="T95" fmla="*/ 210 h 405"/>
                  <a:gd name="T96" fmla="*/ 559 w 844"/>
                  <a:gd name="T97" fmla="*/ 210 h 405"/>
                  <a:gd name="T98" fmla="*/ 580 w 844"/>
                  <a:gd name="T99" fmla="*/ 210 h 405"/>
                  <a:gd name="T100" fmla="*/ 173 w 844"/>
                  <a:gd name="T101" fmla="*/ 314 h 405"/>
                  <a:gd name="T102" fmla="*/ 173 w 844"/>
                  <a:gd name="T103" fmla="*/ 35 h 405"/>
                  <a:gd name="T104" fmla="*/ 36 w 844"/>
                  <a:gd name="T105" fmla="*/ 35 h 405"/>
                  <a:gd name="T106" fmla="*/ 36 w 844"/>
                  <a:gd name="T107" fmla="*/ 314 h 405"/>
                  <a:gd name="T108" fmla="*/ 173 w 844"/>
                  <a:gd name="T109" fmla="*/ 31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4" h="405">
                    <a:moveTo>
                      <a:pt x="614" y="215"/>
                    </a:moveTo>
                    <a:cubicBezTo>
                      <a:pt x="637" y="200"/>
                      <a:pt x="657" y="188"/>
                      <a:pt x="676" y="174"/>
                    </a:cubicBezTo>
                    <a:cubicBezTo>
                      <a:pt x="693" y="161"/>
                      <a:pt x="710" y="147"/>
                      <a:pt x="727" y="134"/>
                    </a:cubicBezTo>
                    <a:cubicBezTo>
                      <a:pt x="753" y="115"/>
                      <a:pt x="781" y="115"/>
                      <a:pt x="808" y="131"/>
                    </a:cubicBezTo>
                    <a:cubicBezTo>
                      <a:pt x="835" y="147"/>
                      <a:pt x="844" y="175"/>
                      <a:pt x="839" y="204"/>
                    </a:cubicBezTo>
                    <a:cubicBezTo>
                      <a:pt x="836" y="219"/>
                      <a:pt x="824" y="235"/>
                      <a:pt x="812" y="247"/>
                    </a:cubicBezTo>
                    <a:cubicBezTo>
                      <a:pt x="767" y="292"/>
                      <a:pt x="711" y="322"/>
                      <a:pt x="654" y="348"/>
                    </a:cubicBezTo>
                    <a:cubicBezTo>
                      <a:pt x="609" y="369"/>
                      <a:pt x="562" y="387"/>
                      <a:pt x="513" y="396"/>
                    </a:cubicBezTo>
                    <a:cubicBezTo>
                      <a:pt x="469" y="405"/>
                      <a:pt x="428" y="395"/>
                      <a:pt x="388" y="379"/>
                    </a:cubicBezTo>
                    <a:cubicBezTo>
                      <a:pt x="339" y="359"/>
                      <a:pt x="290" y="336"/>
                      <a:pt x="240" y="314"/>
                    </a:cubicBezTo>
                    <a:cubicBezTo>
                      <a:pt x="231" y="310"/>
                      <a:pt x="221" y="307"/>
                      <a:pt x="210" y="303"/>
                    </a:cubicBezTo>
                    <a:cubicBezTo>
                      <a:pt x="210" y="312"/>
                      <a:pt x="210" y="319"/>
                      <a:pt x="210" y="326"/>
                    </a:cubicBezTo>
                    <a:cubicBezTo>
                      <a:pt x="209" y="343"/>
                      <a:pt x="204" y="349"/>
                      <a:pt x="186" y="349"/>
                    </a:cubicBezTo>
                    <a:cubicBezTo>
                      <a:pt x="132" y="350"/>
                      <a:pt x="77" y="350"/>
                      <a:pt x="23" y="349"/>
                    </a:cubicBezTo>
                    <a:cubicBezTo>
                      <a:pt x="5" y="349"/>
                      <a:pt x="0" y="344"/>
                      <a:pt x="0" y="326"/>
                    </a:cubicBezTo>
                    <a:cubicBezTo>
                      <a:pt x="0" y="225"/>
                      <a:pt x="0" y="124"/>
                      <a:pt x="0" y="23"/>
                    </a:cubicBezTo>
                    <a:cubicBezTo>
                      <a:pt x="0" y="5"/>
                      <a:pt x="5" y="0"/>
                      <a:pt x="23" y="0"/>
                    </a:cubicBezTo>
                    <a:cubicBezTo>
                      <a:pt x="77" y="0"/>
                      <a:pt x="131" y="0"/>
                      <a:pt x="185" y="0"/>
                    </a:cubicBezTo>
                    <a:cubicBezTo>
                      <a:pt x="204" y="0"/>
                      <a:pt x="210" y="5"/>
                      <a:pt x="210" y="25"/>
                    </a:cubicBezTo>
                    <a:cubicBezTo>
                      <a:pt x="210" y="39"/>
                      <a:pt x="210" y="53"/>
                      <a:pt x="210" y="68"/>
                    </a:cubicBezTo>
                    <a:cubicBezTo>
                      <a:pt x="235" y="71"/>
                      <a:pt x="259" y="73"/>
                      <a:pt x="283" y="77"/>
                    </a:cubicBezTo>
                    <a:cubicBezTo>
                      <a:pt x="329" y="84"/>
                      <a:pt x="371" y="104"/>
                      <a:pt x="410" y="130"/>
                    </a:cubicBezTo>
                    <a:cubicBezTo>
                      <a:pt x="428" y="143"/>
                      <a:pt x="447" y="147"/>
                      <a:pt x="469" y="145"/>
                    </a:cubicBezTo>
                    <a:cubicBezTo>
                      <a:pt x="502" y="143"/>
                      <a:pt x="535" y="144"/>
                      <a:pt x="567" y="155"/>
                    </a:cubicBezTo>
                    <a:cubicBezTo>
                      <a:pt x="592" y="164"/>
                      <a:pt x="609" y="180"/>
                      <a:pt x="614" y="215"/>
                    </a:cubicBezTo>
                    <a:close/>
                    <a:moveTo>
                      <a:pt x="580" y="210"/>
                    </a:moveTo>
                    <a:cubicBezTo>
                      <a:pt x="574" y="203"/>
                      <a:pt x="572" y="197"/>
                      <a:pt x="568" y="195"/>
                    </a:cubicBezTo>
                    <a:cubicBezTo>
                      <a:pt x="558" y="190"/>
                      <a:pt x="548" y="185"/>
                      <a:pt x="537" y="184"/>
                    </a:cubicBezTo>
                    <a:cubicBezTo>
                      <a:pt x="516" y="181"/>
                      <a:pt x="494" y="179"/>
                      <a:pt x="472" y="180"/>
                    </a:cubicBezTo>
                    <a:cubicBezTo>
                      <a:pt x="439" y="183"/>
                      <a:pt x="411" y="174"/>
                      <a:pt x="385" y="156"/>
                    </a:cubicBezTo>
                    <a:cubicBezTo>
                      <a:pt x="354" y="134"/>
                      <a:pt x="320" y="119"/>
                      <a:pt x="282" y="112"/>
                    </a:cubicBezTo>
                    <a:cubicBezTo>
                      <a:pt x="259" y="108"/>
                      <a:pt x="235" y="106"/>
                      <a:pt x="210" y="103"/>
                    </a:cubicBezTo>
                    <a:cubicBezTo>
                      <a:pt x="210" y="156"/>
                      <a:pt x="210" y="204"/>
                      <a:pt x="210" y="253"/>
                    </a:cubicBezTo>
                    <a:cubicBezTo>
                      <a:pt x="209" y="264"/>
                      <a:pt x="212" y="269"/>
                      <a:pt x="224" y="271"/>
                    </a:cubicBezTo>
                    <a:cubicBezTo>
                      <a:pt x="234" y="273"/>
                      <a:pt x="243" y="277"/>
                      <a:pt x="252" y="281"/>
                    </a:cubicBezTo>
                    <a:cubicBezTo>
                      <a:pt x="299" y="302"/>
                      <a:pt x="345" y="323"/>
                      <a:pt x="392" y="343"/>
                    </a:cubicBezTo>
                    <a:cubicBezTo>
                      <a:pt x="451" y="369"/>
                      <a:pt x="512" y="372"/>
                      <a:pt x="572" y="345"/>
                    </a:cubicBezTo>
                    <a:cubicBezTo>
                      <a:pt x="618" y="325"/>
                      <a:pt x="665" y="304"/>
                      <a:pt x="709" y="280"/>
                    </a:cubicBezTo>
                    <a:cubicBezTo>
                      <a:pt x="739" y="263"/>
                      <a:pt x="766" y="241"/>
                      <a:pt x="792" y="219"/>
                    </a:cubicBezTo>
                    <a:cubicBezTo>
                      <a:pt x="809" y="206"/>
                      <a:pt x="809" y="182"/>
                      <a:pt x="797" y="167"/>
                    </a:cubicBezTo>
                    <a:cubicBezTo>
                      <a:pt x="785" y="153"/>
                      <a:pt x="763" y="151"/>
                      <a:pt x="746" y="164"/>
                    </a:cubicBezTo>
                    <a:cubicBezTo>
                      <a:pt x="730" y="175"/>
                      <a:pt x="714" y="187"/>
                      <a:pt x="700" y="200"/>
                    </a:cubicBezTo>
                    <a:cubicBezTo>
                      <a:pt x="663" y="231"/>
                      <a:pt x="623" y="249"/>
                      <a:pt x="571" y="246"/>
                    </a:cubicBezTo>
                    <a:cubicBezTo>
                      <a:pt x="502" y="241"/>
                      <a:pt x="433" y="244"/>
                      <a:pt x="363" y="244"/>
                    </a:cubicBezTo>
                    <a:cubicBezTo>
                      <a:pt x="358" y="244"/>
                      <a:pt x="352" y="244"/>
                      <a:pt x="347" y="243"/>
                    </a:cubicBezTo>
                    <a:cubicBezTo>
                      <a:pt x="337" y="242"/>
                      <a:pt x="331" y="235"/>
                      <a:pt x="333" y="226"/>
                    </a:cubicBezTo>
                    <a:cubicBezTo>
                      <a:pt x="335" y="220"/>
                      <a:pt x="342" y="214"/>
                      <a:pt x="348" y="210"/>
                    </a:cubicBezTo>
                    <a:cubicBezTo>
                      <a:pt x="352" y="208"/>
                      <a:pt x="358" y="210"/>
                      <a:pt x="363" y="210"/>
                    </a:cubicBezTo>
                    <a:cubicBezTo>
                      <a:pt x="428" y="210"/>
                      <a:pt x="494" y="210"/>
                      <a:pt x="559" y="210"/>
                    </a:cubicBezTo>
                    <a:cubicBezTo>
                      <a:pt x="565" y="210"/>
                      <a:pt x="570" y="210"/>
                      <a:pt x="580" y="210"/>
                    </a:cubicBezTo>
                    <a:close/>
                    <a:moveTo>
                      <a:pt x="173" y="314"/>
                    </a:moveTo>
                    <a:cubicBezTo>
                      <a:pt x="173" y="220"/>
                      <a:pt x="173" y="128"/>
                      <a:pt x="173" y="35"/>
                    </a:cubicBezTo>
                    <a:cubicBezTo>
                      <a:pt x="127" y="35"/>
                      <a:pt x="81" y="35"/>
                      <a:pt x="36" y="35"/>
                    </a:cubicBezTo>
                    <a:cubicBezTo>
                      <a:pt x="36" y="129"/>
                      <a:pt x="36" y="221"/>
                      <a:pt x="36" y="314"/>
                    </a:cubicBezTo>
                    <a:cubicBezTo>
                      <a:pt x="82" y="314"/>
                      <a:pt x="127" y="314"/>
                      <a:pt x="173" y="3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1213808">
                  <a:defRPr/>
                </a:pPr>
                <a:endParaRPr lang="en-US" sz="1975" kern="0">
                  <a:solidFill>
                    <a:srgbClr val="000000"/>
                  </a:solidFill>
                  <a:latin typeface="Calibri" panose="020F0502020204030204" pitchFamily="34" charset="0"/>
                  <a:cs typeface="Calibri" panose="020F0502020204030204" pitchFamily="34" charset="0"/>
                </a:endParaRPr>
              </a:p>
            </p:txBody>
          </p:sp>
          <p:sp>
            <p:nvSpPr>
              <p:cNvPr id="57" name="Freeform 48">
                <a:extLst>
                  <a:ext uri="{FF2B5EF4-FFF2-40B4-BE49-F238E27FC236}">
                    <a16:creationId xmlns:a16="http://schemas.microsoft.com/office/drawing/2014/main" id="{0306C286-3D82-084A-B91B-283541A18940}"/>
                  </a:ext>
                </a:extLst>
              </p:cNvPr>
              <p:cNvSpPr>
                <a:spLocks noEditPoints="1"/>
              </p:cNvSpPr>
              <p:nvPr/>
            </p:nvSpPr>
            <p:spPr bwMode="auto">
              <a:xfrm rot="16200000">
                <a:off x="7664567" y="4652437"/>
                <a:ext cx="278197" cy="270846"/>
              </a:xfrm>
              <a:custGeom>
                <a:avLst/>
                <a:gdLst>
                  <a:gd name="T0" fmla="*/ 438 w 484"/>
                  <a:gd name="T1" fmla="*/ 96 h 471"/>
                  <a:gd name="T2" fmla="*/ 419 w 484"/>
                  <a:gd name="T3" fmla="*/ 124 h 471"/>
                  <a:gd name="T4" fmla="*/ 448 w 484"/>
                  <a:gd name="T5" fmla="*/ 194 h 471"/>
                  <a:gd name="T6" fmla="*/ 479 w 484"/>
                  <a:gd name="T7" fmla="*/ 208 h 471"/>
                  <a:gd name="T8" fmla="*/ 480 w 484"/>
                  <a:gd name="T9" fmla="*/ 265 h 471"/>
                  <a:gd name="T10" fmla="*/ 460 w 484"/>
                  <a:gd name="T11" fmla="*/ 276 h 471"/>
                  <a:gd name="T12" fmla="*/ 411 w 484"/>
                  <a:gd name="T13" fmla="*/ 322 h 471"/>
                  <a:gd name="T14" fmla="*/ 420 w 484"/>
                  <a:gd name="T15" fmla="*/ 354 h 471"/>
                  <a:gd name="T16" fmla="*/ 415 w 484"/>
                  <a:gd name="T17" fmla="*/ 398 h 471"/>
                  <a:gd name="T18" fmla="*/ 404 w 484"/>
                  <a:gd name="T19" fmla="*/ 408 h 471"/>
                  <a:gd name="T20" fmla="*/ 363 w 484"/>
                  <a:gd name="T21" fmla="*/ 412 h 471"/>
                  <a:gd name="T22" fmla="*/ 298 w 484"/>
                  <a:gd name="T23" fmla="*/ 411 h 471"/>
                  <a:gd name="T24" fmla="*/ 287 w 484"/>
                  <a:gd name="T25" fmla="*/ 435 h 471"/>
                  <a:gd name="T26" fmla="*/ 274 w 484"/>
                  <a:gd name="T27" fmla="*/ 467 h 471"/>
                  <a:gd name="T28" fmla="*/ 215 w 484"/>
                  <a:gd name="T29" fmla="*/ 466 h 471"/>
                  <a:gd name="T30" fmla="*/ 205 w 484"/>
                  <a:gd name="T31" fmla="*/ 445 h 471"/>
                  <a:gd name="T32" fmla="*/ 157 w 484"/>
                  <a:gd name="T33" fmla="*/ 396 h 471"/>
                  <a:gd name="T34" fmla="*/ 129 w 484"/>
                  <a:gd name="T35" fmla="*/ 409 h 471"/>
                  <a:gd name="T36" fmla="*/ 83 w 484"/>
                  <a:gd name="T37" fmla="*/ 405 h 471"/>
                  <a:gd name="T38" fmla="*/ 70 w 484"/>
                  <a:gd name="T39" fmla="*/ 392 h 471"/>
                  <a:gd name="T40" fmla="*/ 68 w 484"/>
                  <a:gd name="T41" fmla="*/ 357 h 471"/>
                  <a:gd name="T42" fmla="*/ 71 w 484"/>
                  <a:gd name="T43" fmla="*/ 288 h 471"/>
                  <a:gd name="T44" fmla="*/ 54 w 484"/>
                  <a:gd name="T45" fmla="*/ 276 h 471"/>
                  <a:gd name="T46" fmla="*/ 32 w 484"/>
                  <a:gd name="T47" fmla="*/ 272 h 471"/>
                  <a:gd name="T48" fmla="*/ 23 w 484"/>
                  <a:gd name="T49" fmla="*/ 271 h 471"/>
                  <a:gd name="T50" fmla="*/ 11 w 484"/>
                  <a:gd name="T51" fmla="*/ 213 h 471"/>
                  <a:gd name="T52" fmla="*/ 29 w 484"/>
                  <a:gd name="T53" fmla="*/ 194 h 471"/>
                  <a:gd name="T54" fmla="*/ 39 w 484"/>
                  <a:gd name="T55" fmla="*/ 193 h 471"/>
                  <a:gd name="T56" fmla="*/ 85 w 484"/>
                  <a:gd name="T57" fmla="*/ 144 h 471"/>
                  <a:gd name="T58" fmla="*/ 75 w 484"/>
                  <a:gd name="T59" fmla="*/ 118 h 471"/>
                  <a:gd name="T60" fmla="*/ 79 w 484"/>
                  <a:gd name="T61" fmla="*/ 70 h 471"/>
                  <a:gd name="T62" fmla="*/ 87 w 484"/>
                  <a:gd name="T63" fmla="*/ 62 h 471"/>
                  <a:gd name="T64" fmla="*/ 130 w 484"/>
                  <a:gd name="T65" fmla="*/ 58 h 471"/>
                  <a:gd name="T66" fmla="*/ 198 w 484"/>
                  <a:gd name="T67" fmla="*/ 57 h 471"/>
                  <a:gd name="T68" fmla="*/ 208 w 484"/>
                  <a:gd name="T69" fmla="*/ 34 h 471"/>
                  <a:gd name="T70" fmla="*/ 248 w 484"/>
                  <a:gd name="T71" fmla="*/ 0 h 471"/>
                  <a:gd name="T72" fmla="*/ 261 w 484"/>
                  <a:gd name="T73" fmla="*/ 0 h 471"/>
                  <a:gd name="T74" fmla="*/ 290 w 484"/>
                  <a:gd name="T75" fmla="*/ 26 h 471"/>
                  <a:gd name="T76" fmla="*/ 340 w 484"/>
                  <a:gd name="T77" fmla="*/ 74 h 471"/>
                  <a:gd name="T78" fmla="*/ 363 w 484"/>
                  <a:gd name="T79" fmla="*/ 64 h 471"/>
                  <a:gd name="T80" fmla="*/ 417 w 484"/>
                  <a:gd name="T81" fmla="*/ 70 h 471"/>
                  <a:gd name="T82" fmla="*/ 438 w 484"/>
                  <a:gd name="T83" fmla="*/ 96 h 471"/>
                  <a:gd name="T84" fmla="*/ 246 w 484"/>
                  <a:gd name="T85" fmla="*/ 137 h 471"/>
                  <a:gd name="T86" fmla="*/ 150 w 484"/>
                  <a:gd name="T87" fmla="*/ 233 h 471"/>
                  <a:gd name="T88" fmla="*/ 249 w 484"/>
                  <a:gd name="T89" fmla="*/ 332 h 471"/>
                  <a:gd name="T90" fmla="*/ 344 w 484"/>
                  <a:gd name="T91" fmla="*/ 233 h 471"/>
                  <a:gd name="T92" fmla="*/ 246 w 484"/>
                  <a:gd name="T93" fmla="*/ 13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4" h="471">
                    <a:moveTo>
                      <a:pt x="438" y="96"/>
                    </a:moveTo>
                    <a:cubicBezTo>
                      <a:pt x="431" y="107"/>
                      <a:pt x="425" y="115"/>
                      <a:pt x="419" y="124"/>
                    </a:cubicBezTo>
                    <a:cubicBezTo>
                      <a:pt x="402" y="149"/>
                      <a:pt x="418" y="188"/>
                      <a:pt x="448" y="194"/>
                    </a:cubicBezTo>
                    <a:cubicBezTo>
                      <a:pt x="459" y="197"/>
                      <a:pt x="478" y="201"/>
                      <a:pt x="479" y="208"/>
                    </a:cubicBezTo>
                    <a:cubicBezTo>
                      <a:pt x="484" y="226"/>
                      <a:pt x="483" y="246"/>
                      <a:pt x="480" y="265"/>
                    </a:cubicBezTo>
                    <a:cubicBezTo>
                      <a:pt x="480" y="269"/>
                      <a:pt x="467" y="276"/>
                      <a:pt x="460" y="276"/>
                    </a:cubicBezTo>
                    <a:cubicBezTo>
                      <a:pt x="428" y="275"/>
                      <a:pt x="417" y="297"/>
                      <a:pt x="411" y="322"/>
                    </a:cubicBezTo>
                    <a:cubicBezTo>
                      <a:pt x="409" y="331"/>
                      <a:pt x="415" y="344"/>
                      <a:pt x="420" y="354"/>
                    </a:cubicBezTo>
                    <a:cubicBezTo>
                      <a:pt x="434" y="378"/>
                      <a:pt x="435" y="378"/>
                      <a:pt x="415" y="398"/>
                    </a:cubicBezTo>
                    <a:cubicBezTo>
                      <a:pt x="411" y="401"/>
                      <a:pt x="408" y="405"/>
                      <a:pt x="404" y="408"/>
                    </a:cubicBezTo>
                    <a:cubicBezTo>
                      <a:pt x="387" y="426"/>
                      <a:pt x="383" y="426"/>
                      <a:pt x="363" y="412"/>
                    </a:cubicBezTo>
                    <a:cubicBezTo>
                      <a:pt x="338" y="394"/>
                      <a:pt x="322" y="393"/>
                      <a:pt x="298" y="411"/>
                    </a:cubicBezTo>
                    <a:cubicBezTo>
                      <a:pt x="292" y="416"/>
                      <a:pt x="290" y="427"/>
                      <a:pt x="287" y="435"/>
                    </a:cubicBezTo>
                    <a:cubicBezTo>
                      <a:pt x="282" y="446"/>
                      <a:pt x="280" y="466"/>
                      <a:pt x="274" y="467"/>
                    </a:cubicBezTo>
                    <a:cubicBezTo>
                      <a:pt x="255" y="471"/>
                      <a:pt x="235" y="469"/>
                      <a:pt x="215" y="466"/>
                    </a:cubicBezTo>
                    <a:cubicBezTo>
                      <a:pt x="211" y="466"/>
                      <a:pt x="206" y="452"/>
                      <a:pt x="205" y="445"/>
                    </a:cubicBezTo>
                    <a:cubicBezTo>
                      <a:pt x="200" y="415"/>
                      <a:pt x="186" y="399"/>
                      <a:pt x="157" y="396"/>
                    </a:cubicBezTo>
                    <a:cubicBezTo>
                      <a:pt x="148" y="396"/>
                      <a:pt x="137" y="403"/>
                      <a:pt x="129" y="409"/>
                    </a:cubicBezTo>
                    <a:cubicBezTo>
                      <a:pt x="104" y="426"/>
                      <a:pt x="104" y="426"/>
                      <a:pt x="83" y="405"/>
                    </a:cubicBezTo>
                    <a:cubicBezTo>
                      <a:pt x="78" y="400"/>
                      <a:pt x="74" y="396"/>
                      <a:pt x="70" y="392"/>
                    </a:cubicBezTo>
                    <a:cubicBezTo>
                      <a:pt x="56" y="381"/>
                      <a:pt x="55" y="368"/>
                      <a:pt x="68" y="357"/>
                    </a:cubicBezTo>
                    <a:cubicBezTo>
                      <a:pt x="92" y="335"/>
                      <a:pt x="84" y="311"/>
                      <a:pt x="71" y="288"/>
                    </a:cubicBezTo>
                    <a:cubicBezTo>
                      <a:pt x="68" y="283"/>
                      <a:pt x="60" y="279"/>
                      <a:pt x="54" y="276"/>
                    </a:cubicBezTo>
                    <a:cubicBezTo>
                      <a:pt x="47" y="274"/>
                      <a:pt x="40" y="274"/>
                      <a:pt x="32" y="272"/>
                    </a:cubicBezTo>
                    <a:cubicBezTo>
                      <a:pt x="29" y="272"/>
                      <a:pt x="26" y="272"/>
                      <a:pt x="23" y="271"/>
                    </a:cubicBezTo>
                    <a:cubicBezTo>
                      <a:pt x="0" y="256"/>
                      <a:pt x="14" y="232"/>
                      <a:pt x="11" y="213"/>
                    </a:cubicBezTo>
                    <a:cubicBezTo>
                      <a:pt x="10" y="201"/>
                      <a:pt x="18" y="195"/>
                      <a:pt x="29" y="194"/>
                    </a:cubicBezTo>
                    <a:cubicBezTo>
                      <a:pt x="33" y="193"/>
                      <a:pt x="36" y="193"/>
                      <a:pt x="39" y="193"/>
                    </a:cubicBezTo>
                    <a:cubicBezTo>
                      <a:pt x="65" y="188"/>
                      <a:pt x="83" y="170"/>
                      <a:pt x="85" y="144"/>
                    </a:cubicBezTo>
                    <a:cubicBezTo>
                      <a:pt x="86" y="136"/>
                      <a:pt x="80" y="126"/>
                      <a:pt x="75" y="118"/>
                    </a:cubicBezTo>
                    <a:cubicBezTo>
                      <a:pt x="56" y="91"/>
                      <a:pt x="56" y="92"/>
                      <a:pt x="79" y="70"/>
                    </a:cubicBezTo>
                    <a:cubicBezTo>
                      <a:pt x="82" y="68"/>
                      <a:pt x="85" y="65"/>
                      <a:pt x="87" y="62"/>
                    </a:cubicBezTo>
                    <a:cubicBezTo>
                      <a:pt x="106" y="44"/>
                      <a:pt x="109" y="44"/>
                      <a:pt x="130" y="58"/>
                    </a:cubicBezTo>
                    <a:cubicBezTo>
                      <a:pt x="153" y="75"/>
                      <a:pt x="176" y="75"/>
                      <a:pt x="198" y="57"/>
                    </a:cubicBezTo>
                    <a:cubicBezTo>
                      <a:pt x="204" y="52"/>
                      <a:pt x="207" y="42"/>
                      <a:pt x="208" y="34"/>
                    </a:cubicBezTo>
                    <a:cubicBezTo>
                      <a:pt x="214" y="0"/>
                      <a:pt x="214" y="0"/>
                      <a:pt x="248" y="0"/>
                    </a:cubicBezTo>
                    <a:cubicBezTo>
                      <a:pt x="252" y="0"/>
                      <a:pt x="257" y="0"/>
                      <a:pt x="261" y="0"/>
                    </a:cubicBezTo>
                    <a:cubicBezTo>
                      <a:pt x="284" y="0"/>
                      <a:pt x="287" y="3"/>
                      <a:pt x="290" y="26"/>
                    </a:cubicBezTo>
                    <a:cubicBezTo>
                      <a:pt x="294" y="54"/>
                      <a:pt x="312" y="72"/>
                      <a:pt x="340" y="74"/>
                    </a:cubicBezTo>
                    <a:cubicBezTo>
                      <a:pt x="347" y="74"/>
                      <a:pt x="356" y="69"/>
                      <a:pt x="363" y="64"/>
                    </a:cubicBezTo>
                    <a:cubicBezTo>
                      <a:pt x="392" y="44"/>
                      <a:pt x="392" y="43"/>
                      <a:pt x="417" y="70"/>
                    </a:cubicBezTo>
                    <a:cubicBezTo>
                      <a:pt x="424" y="77"/>
                      <a:pt x="431" y="86"/>
                      <a:pt x="438" y="96"/>
                    </a:cubicBezTo>
                    <a:close/>
                    <a:moveTo>
                      <a:pt x="246" y="137"/>
                    </a:moveTo>
                    <a:cubicBezTo>
                      <a:pt x="194" y="138"/>
                      <a:pt x="150" y="181"/>
                      <a:pt x="150" y="233"/>
                    </a:cubicBezTo>
                    <a:cubicBezTo>
                      <a:pt x="149" y="287"/>
                      <a:pt x="195" y="332"/>
                      <a:pt x="249" y="332"/>
                    </a:cubicBezTo>
                    <a:cubicBezTo>
                      <a:pt x="302" y="331"/>
                      <a:pt x="345" y="287"/>
                      <a:pt x="344" y="233"/>
                    </a:cubicBezTo>
                    <a:cubicBezTo>
                      <a:pt x="344" y="180"/>
                      <a:pt x="300" y="137"/>
                      <a:pt x="246"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1213808">
                  <a:defRPr/>
                </a:pPr>
                <a:endParaRPr lang="en-US" sz="1975" kern="0">
                  <a:solidFill>
                    <a:srgbClr val="000000"/>
                  </a:solidFill>
                  <a:latin typeface="Calibri" panose="020F0502020204030204" pitchFamily="34" charset="0"/>
                  <a:cs typeface="Calibri" panose="020F0502020204030204" pitchFamily="34" charset="0"/>
                </a:endParaRPr>
              </a:p>
            </p:txBody>
          </p:sp>
          <p:sp>
            <p:nvSpPr>
              <p:cNvPr id="58" name="Freeform 49">
                <a:extLst>
                  <a:ext uri="{FF2B5EF4-FFF2-40B4-BE49-F238E27FC236}">
                    <a16:creationId xmlns:a16="http://schemas.microsoft.com/office/drawing/2014/main" id="{9AFBECCF-9F6F-7B4C-ABA1-6D01AC65F9BF}"/>
                  </a:ext>
                </a:extLst>
              </p:cNvPr>
              <p:cNvSpPr>
                <a:spLocks noEditPoints="1"/>
              </p:cNvSpPr>
              <p:nvPr/>
            </p:nvSpPr>
            <p:spPr bwMode="auto">
              <a:xfrm rot="16200000">
                <a:off x="7839813" y="4494162"/>
                <a:ext cx="156937" cy="156474"/>
              </a:xfrm>
              <a:custGeom>
                <a:avLst/>
                <a:gdLst>
                  <a:gd name="T0" fmla="*/ 241 w 333"/>
                  <a:gd name="T1" fmla="*/ 308 h 333"/>
                  <a:gd name="T2" fmla="*/ 227 w 333"/>
                  <a:gd name="T3" fmla="*/ 297 h 333"/>
                  <a:gd name="T4" fmla="*/ 174 w 333"/>
                  <a:gd name="T5" fmla="*/ 312 h 333"/>
                  <a:gd name="T6" fmla="*/ 148 w 333"/>
                  <a:gd name="T7" fmla="*/ 330 h 333"/>
                  <a:gd name="T8" fmla="*/ 116 w 333"/>
                  <a:gd name="T9" fmla="*/ 303 h 333"/>
                  <a:gd name="T10" fmla="*/ 67 w 333"/>
                  <a:gd name="T11" fmla="*/ 274 h 333"/>
                  <a:gd name="T12" fmla="*/ 35 w 333"/>
                  <a:gd name="T13" fmla="*/ 264 h 333"/>
                  <a:gd name="T14" fmla="*/ 32 w 333"/>
                  <a:gd name="T15" fmla="*/ 229 h 333"/>
                  <a:gd name="T16" fmla="*/ 17 w 333"/>
                  <a:gd name="T17" fmla="*/ 173 h 333"/>
                  <a:gd name="T18" fmla="*/ 2 w 333"/>
                  <a:gd name="T19" fmla="*/ 149 h 333"/>
                  <a:gd name="T20" fmla="*/ 35 w 333"/>
                  <a:gd name="T21" fmla="*/ 117 h 333"/>
                  <a:gd name="T22" fmla="*/ 61 w 333"/>
                  <a:gd name="T23" fmla="*/ 72 h 333"/>
                  <a:gd name="T24" fmla="*/ 83 w 333"/>
                  <a:gd name="T25" fmla="*/ 26 h 333"/>
                  <a:gd name="T26" fmla="*/ 100 w 333"/>
                  <a:gd name="T27" fmla="*/ 32 h 333"/>
                  <a:gd name="T28" fmla="*/ 160 w 333"/>
                  <a:gd name="T29" fmla="*/ 16 h 333"/>
                  <a:gd name="T30" fmla="*/ 182 w 333"/>
                  <a:gd name="T31" fmla="*/ 2 h 333"/>
                  <a:gd name="T32" fmla="*/ 216 w 333"/>
                  <a:gd name="T33" fmla="*/ 37 h 333"/>
                  <a:gd name="T34" fmla="*/ 258 w 333"/>
                  <a:gd name="T35" fmla="*/ 62 h 333"/>
                  <a:gd name="T36" fmla="*/ 304 w 333"/>
                  <a:gd name="T37" fmla="*/ 82 h 333"/>
                  <a:gd name="T38" fmla="*/ 299 w 333"/>
                  <a:gd name="T39" fmla="*/ 103 h 333"/>
                  <a:gd name="T40" fmla="*/ 314 w 333"/>
                  <a:gd name="T41" fmla="*/ 160 h 333"/>
                  <a:gd name="T42" fmla="*/ 329 w 333"/>
                  <a:gd name="T43" fmla="*/ 181 h 333"/>
                  <a:gd name="T44" fmla="*/ 305 w 333"/>
                  <a:gd name="T45" fmla="*/ 218 h 333"/>
                  <a:gd name="T46" fmla="*/ 274 w 333"/>
                  <a:gd name="T47" fmla="*/ 268 h 333"/>
                  <a:gd name="T48" fmla="*/ 241 w 333"/>
                  <a:gd name="T49" fmla="*/ 308 h 333"/>
                  <a:gd name="T50" fmla="*/ 99 w 333"/>
                  <a:gd name="T51" fmla="*/ 165 h 333"/>
                  <a:gd name="T52" fmla="*/ 166 w 333"/>
                  <a:gd name="T53" fmla="*/ 233 h 333"/>
                  <a:gd name="T54" fmla="*/ 233 w 333"/>
                  <a:gd name="T55" fmla="*/ 165 h 333"/>
                  <a:gd name="T56" fmla="*/ 167 w 333"/>
                  <a:gd name="T57" fmla="*/ 99 h 333"/>
                  <a:gd name="T58" fmla="*/ 99 w 333"/>
                  <a:gd name="T59" fmla="*/ 16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3" h="333">
                    <a:moveTo>
                      <a:pt x="241" y="308"/>
                    </a:moveTo>
                    <a:cubicBezTo>
                      <a:pt x="237" y="305"/>
                      <a:pt x="232" y="302"/>
                      <a:pt x="227" y="297"/>
                    </a:cubicBezTo>
                    <a:cubicBezTo>
                      <a:pt x="207" y="280"/>
                      <a:pt x="180" y="287"/>
                      <a:pt x="174" y="312"/>
                    </a:cubicBezTo>
                    <a:cubicBezTo>
                      <a:pt x="170" y="327"/>
                      <a:pt x="163" y="333"/>
                      <a:pt x="148" y="330"/>
                    </a:cubicBezTo>
                    <a:cubicBezTo>
                      <a:pt x="133" y="326"/>
                      <a:pt x="115" y="329"/>
                      <a:pt x="116" y="303"/>
                    </a:cubicBezTo>
                    <a:cubicBezTo>
                      <a:pt x="118" y="276"/>
                      <a:pt x="92" y="261"/>
                      <a:pt x="67" y="274"/>
                    </a:cubicBezTo>
                    <a:cubicBezTo>
                      <a:pt x="51" y="283"/>
                      <a:pt x="44" y="276"/>
                      <a:pt x="35" y="264"/>
                    </a:cubicBezTo>
                    <a:cubicBezTo>
                      <a:pt x="26" y="252"/>
                      <a:pt x="19" y="243"/>
                      <a:pt x="32" y="229"/>
                    </a:cubicBezTo>
                    <a:cubicBezTo>
                      <a:pt x="54" y="207"/>
                      <a:pt x="46" y="182"/>
                      <a:pt x="17" y="173"/>
                    </a:cubicBezTo>
                    <a:cubicBezTo>
                      <a:pt x="3" y="169"/>
                      <a:pt x="0" y="162"/>
                      <a:pt x="2" y="149"/>
                    </a:cubicBezTo>
                    <a:cubicBezTo>
                      <a:pt x="7" y="119"/>
                      <a:pt x="6" y="119"/>
                      <a:pt x="35" y="117"/>
                    </a:cubicBezTo>
                    <a:cubicBezTo>
                      <a:pt x="54" y="115"/>
                      <a:pt x="69" y="90"/>
                      <a:pt x="61" y="72"/>
                    </a:cubicBezTo>
                    <a:cubicBezTo>
                      <a:pt x="51" y="51"/>
                      <a:pt x="59" y="32"/>
                      <a:pt x="83" y="26"/>
                    </a:cubicBezTo>
                    <a:cubicBezTo>
                      <a:pt x="88" y="24"/>
                      <a:pt x="96" y="28"/>
                      <a:pt x="100" y="32"/>
                    </a:cubicBezTo>
                    <a:cubicBezTo>
                      <a:pt x="126" y="53"/>
                      <a:pt x="150" y="47"/>
                      <a:pt x="160" y="16"/>
                    </a:cubicBezTo>
                    <a:cubicBezTo>
                      <a:pt x="164" y="4"/>
                      <a:pt x="170" y="0"/>
                      <a:pt x="182" y="2"/>
                    </a:cubicBezTo>
                    <a:cubicBezTo>
                      <a:pt x="212" y="6"/>
                      <a:pt x="212" y="6"/>
                      <a:pt x="216" y="37"/>
                    </a:cubicBezTo>
                    <a:cubicBezTo>
                      <a:pt x="218" y="54"/>
                      <a:pt x="241" y="68"/>
                      <a:pt x="258" y="62"/>
                    </a:cubicBezTo>
                    <a:cubicBezTo>
                      <a:pt x="283" y="53"/>
                      <a:pt x="294" y="57"/>
                      <a:pt x="304" y="82"/>
                    </a:cubicBezTo>
                    <a:cubicBezTo>
                      <a:pt x="307" y="87"/>
                      <a:pt x="303" y="98"/>
                      <a:pt x="299" y="103"/>
                    </a:cubicBezTo>
                    <a:cubicBezTo>
                      <a:pt x="279" y="128"/>
                      <a:pt x="284" y="151"/>
                      <a:pt x="314" y="160"/>
                    </a:cubicBezTo>
                    <a:cubicBezTo>
                      <a:pt x="324" y="164"/>
                      <a:pt x="333" y="168"/>
                      <a:pt x="329" y="181"/>
                    </a:cubicBezTo>
                    <a:cubicBezTo>
                      <a:pt x="325" y="195"/>
                      <a:pt x="332" y="217"/>
                      <a:pt x="305" y="218"/>
                    </a:cubicBezTo>
                    <a:cubicBezTo>
                      <a:pt x="273" y="218"/>
                      <a:pt x="261" y="239"/>
                      <a:pt x="274" y="268"/>
                    </a:cubicBezTo>
                    <a:cubicBezTo>
                      <a:pt x="281" y="282"/>
                      <a:pt x="261" y="308"/>
                      <a:pt x="241" y="308"/>
                    </a:cubicBezTo>
                    <a:close/>
                    <a:moveTo>
                      <a:pt x="99" y="165"/>
                    </a:moveTo>
                    <a:cubicBezTo>
                      <a:pt x="99" y="203"/>
                      <a:pt x="129" y="233"/>
                      <a:pt x="166" y="233"/>
                    </a:cubicBezTo>
                    <a:cubicBezTo>
                      <a:pt x="203" y="233"/>
                      <a:pt x="233" y="202"/>
                      <a:pt x="233" y="165"/>
                    </a:cubicBezTo>
                    <a:cubicBezTo>
                      <a:pt x="233" y="129"/>
                      <a:pt x="203" y="99"/>
                      <a:pt x="167" y="99"/>
                    </a:cubicBezTo>
                    <a:cubicBezTo>
                      <a:pt x="129" y="98"/>
                      <a:pt x="99" y="127"/>
                      <a:pt x="99"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1213808">
                  <a:defRPr/>
                </a:pPr>
                <a:endParaRPr lang="en-US" sz="1975" kern="0">
                  <a:solidFill>
                    <a:srgbClr val="000000"/>
                  </a:solidFill>
                  <a:latin typeface="Calibri" panose="020F0502020204030204" pitchFamily="34" charset="0"/>
                  <a:cs typeface="Calibri" panose="020F0502020204030204" pitchFamily="34" charset="0"/>
                </a:endParaRPr>
              </a:p>
            </p:txBody>
          </p:sp>
          <p:sp>
            <p:nvSpPr>
              <p:cNvPr id="59" name="Freeform 48">
                <a:extLst>
                  <a:ext uri="{FF2B5EF4-FFF2-40B4-BE49-F238E27FC236}">
                    <a16:creationId xmlns:a16="http://schemas.microsoft.com/office/drawing/2014/main" id="{D8AA670A-B8EE-BF40-8D4B-51576B27D64B}"/>
                  </a:ext>
                </a:extLst>
              </p:cNvPr>
              <p:cNvSpPr>
                <a:spLocks noEditPoints="1"/>
              </p:cNvSpPr>
              <p:nvPr/>
            </p:nvSpPr>
            <p:spPr bwMode="auto">
              <a:xfrm rot="16200000">
                <a:off x="7936793" y="4635153"/>
                <a:ext cx="213924" cy="208271"/>
              </a:xfrm>
              <a:custGeom>
                <a:avLst/>
                <a:gdLst>
                  <a:gd name="T0" fmla="*/ 438 w 484"/>
                  <a:gd name="T1" fmla="*/ 96 h 471"/>
                  <a:gd name="T2" fmla="*/ 419 w 484"/>
                  <a:gd name="T3" fmla="*/ 124 h 471"/>
                  <a:gd name="T4" fmla="*/ 448 w 484"/>
                  <a:gd name="T5" fmla="*/ 194 h 471"/>
                  <a:gd name="T6" fmla="*/ 479 w 484"/>
                  <a:gd name="T7" fmla="*/ 208 h 471"/>
                  <a:gd name="T8" fmla="*/ 480 w 484"/>
                  <a:gd name="T9" fmla="*/ 265 h 471"/>
                  <a:gd name="T10" fmla="*/ 460 w 484"/>
                  <a:gd name="T11" fmla="*/ 276 h 471"/>
                  <a:gd name="T12" fmla="*/ 411 w 484"/>
                  <a:gd name="T13" fmla="*/ 322 h 471"/>
                  <a:gd name="T14" fmla="*/ 420 w 484"/>
                  <a:gd name="T15" fmla="*/ 354 h 471"/>
                  <a:gd name="T16" fmla="*/ 415 w 484"/>
                  <a:gd name="T17" fmla="*/ 398 h 471"/>
                  <a:gd name="T18" fmla="*/ 404 w 484"/>
                  <a:gd name="T19" fmla="*/ 408 h 471"/>
                  <a:gd name="T20" fmla="*/ 363 w 484"/>
                  <a:gd name="T21" fmla="*/ 412 h 471"/>
                  <a:gd name="T22" fmla="*/ 298 w 484"/>
                  <a:gd name="T23" fmla="*/ 411 h 471"/>
                  <a:gd name="T24" fmla="*/ 287 w 484"/>
                  <a:gd name="T25" fmla="*/ 435 h 471"/>
                  <a:gd name="T26" fmla="*/ 274 w 484"/>
                  <a:gd name="T27" fmla="*/ 467 h 471"/>
                  <a:gd name="T28" fmla="*/ 215 w 484"/>
                  <a:gd name="T29" fmla="*/ 466 h 471"/>
                  <a:gd name="T30" fmla="*/ 205 w 484"/>
                  <a:gd name="T31" fmla="*/ 445 h 471"/>
                  <a:gd name="T32" fmla="*/ 157 w 484"/>
                  <a:gd name="T33" fmla="*/ 396 h 471"/>
                  <a:gd name="T34" fmla="*/ 129 w 484"/>
                  <a:gd name="T35" fmla="*/ 409 h 471"/>
                  <a:gd name="T36" fmla="*/ 83 w 484"/>
                  <a:gd name="T37" fmla="*/ 405 h 471"/>
                  <a:gd name="T38" fmla="*/ 70 w 484"/>
                  <a:gd name="T39" fmla="*/ 392 h 471"/>
                  <a:gd name="T40" fmla="*/ 68 w 484"/>
                  <a:gd name="T41" fmla="*/ 357 h 471"/>
                  <a:gd name="T42" fmla="*/ 71 w 484"/>
                  <a:gd name="T43" fmla="*/ 288 h 471"/>
                  <a:gd name="T44" fmla="*/ 54 w 484"/>
                  <a:gd name="T45" fmla="*/ 276 h 471"/>
                  <a:gd name="T46" fmla="*/ 32 w 484"/>
                  <a:gd name="T47" fmla="*/ 272 h 471"/>
                  <a:gd name="T48" fmla="*/ 23 w 484"/>
                  <a:gd name="T49" fmla="*/ 271 h 471"/>
                  <a:gd name="T50" fmla="*/ 11 w 484"/>
                  <a:gd name="T51" fmla="*/ 213 h 471"/>
                  <a:gd name="T52" fmla="*/ 29 w 484"/>
                  <a:gd name="T53" fmla="*/ 194 h 471"/>
                  <a:gd name="T54" fmla="*/ 39 w 484"/>
                  <a:gd name="T55" fmla="*/ 193 h 471"/>
                  <a:gd name="T56" fmla="*/ 85 w 484"/>
                  <a:gd name="T57" fmla="*/ 144 h 471"/>
                  <a:gd name="T58" fmla="*/ 75 w 484"/>
                  <a:gd name="T59" fmla="*/ 118 h 471"/>
                  <a:gd name="T60" fmla="*/ 79 w 484"/>
                  <a:gd name="T61" fmla="*/ 70 h 471"/>
                  <a:gd name="T62" fmla="*/ 87 w 484"/>
                  <a:gd name="T63" fmla="*/ 62 h 471"/>
                  <a:gd name="T64" fmla="*/ 130 w 484"/>
                  <a:gd name="T65" fmla="*/ 58 h 471"/>
                  <a:gd name="T66" fmla="*/ 198 w 484"/>
                  <a:gd name="T67" fmla="*/ 57 h 471"/>
                  <a:gd name="T68" fmla="*/ 208 w 484"/>
                  <a:gd name="T69" fmla="*/ 34 h 471"/>
                  <a:gd name="T70" fmla="*/ 248 w 484"/>
                  <a:gd name="T71" fmla="*/ 0 h 471"/>
                  <a:gd name="T72" fmla="*/ 261 w 484"/>
                  <a:gd name="T73" fmla="*/ 0 h 471"/>
                  <a:gd name="T74" fmla="*/ 290 w 484"/>
                  <a:gd name="T75" fmla="*/ 26 h 471"/>
                  <a:gd name="T76" fmla="*/ 340 w 484"/>
                  <a:gd name="T77" fmla="*/ 74 h 471"/>
                  <a:gd name="T78" fmla="*/ 363 w 484"/>
                  <a:gd name="T79" fmla="*/ 64 h 471"/>
                  <a:gd name="T80" fmla="*/ 417 w 484"/>
                  <a:gd name="T81" fmla="*/ 70 h 471"/>
                  <a:gd name="T82" fmla="*/ 438 w 484"/>
                  <a:gd name="T83" fmla="*/ 96 h 471"/>
                  <a:gd name="T84" fmla="*/ 246 w 484"/>
                  <a:gd name="T85" fmla="*/ 137 h 471"/>
                  <a:gd name="T86" fmla="*/ 150 w 484"/>
                  <a:gd name="T87" fmla="*/ 233 h 471"/>
                  <a:gd name="T88" fmla="*/ 249 w 484"/>
                  <a:gd name="T89" fmla="*/ 332 h 471"/>
                  <a:gd name="T90" fmla="*/ 344 w 484"/>
                  <a:gd name="T91" fmla="*/ 233 h 471"/>
                  <a:gd name="T92" fmla="*/ 246 w 484"/>
                  <a:gd name="T93" fmla="*/ 13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4" h="471">
                    <a:moveTo>
                      <a:pt x="438" y="96"/>
                    </a:moveTo>
                    <a:cubicBezTo>
                      <a:pt x="431" y="107"/>
                      <a:pt x="425" y="115"/>
                      <a:pt x="419" y="124"/>
                    </a:cubicBezTo>
                    <a:cubicBezTo>
                      <a:pt x="402" y="149"/>
                      <a:pt x="418" y="188"/>
                      <a:pt x="448" y="194"/>
                    </a:cubicBezTo>
                    <a:cubicBezTo>
                      <a:pt x="459" y="197"/>
                      <a:pt x="478" y="201"/>
                      <a:pt x="479" y="208"/>
                    </a:cubicBezTo>
                    <a:cubicBezTo>
                      <a:pt x="484" y="226"/>
                      <a:pt x="483" y="246"/>
                      <a:pt x="480" y="265"/>
                    </a:cubicBezTo>
                    <a:cubicBezTo>
                      <a:pt x="480" y="269"/>
                      <a:pt x="467" y="276"/>
                      <a:pt x="460" y="276"/>
                    </a:cubicBezTo>
                    <a:cubicBezTo>
                      <a:pt x="428" y="275"/>
                      <a:pt x="417" y="297"/>
                      <a:pt x="411" y="322"/>
                    </a:cubicBezTo>
                    <a:cubicBezTo>
                      <a:pt x="409" y="331"/>
                      <a:pt x="415" y="344"/>
                      <a:pt x="420" y="354"/>
                    </a:cubicBezTo>
                    <a:cubicBezTo>
                      <a:pt x="434" y="378"/>
                      <a:pt x="435" y="378"/>
                      <a:pt x="415" y="398"/>
                    </a:cubicBezTo>
                    <a:cubicBezTo>
                      <a:pt x="411" y="401"/>
                      <a:pt x="408" y="405"/>
                      <a:pt x="404" y="408"/>
                    </a:cubicBezTo>
                    <a:cubicBezTo>
                      <a:pt x="387" y="426"/>
                      <a:pt x="383" y="426"/>
                      <a:pt x="363" y="412"/>
                    </a:cubicBezTo>
                    <a:cubicBezTo>
                      <a:pt x="338" y="394"/>
                      <a:pt x="322" y="393"/>
                      <a:pt x="298" y="411"/>
                    </a:cubicBezTo>
                    <a:cubicBezTo>
                      <a:pt x="292" y="416"/>
                      <a:pt x="290" y="427"/>
                      <a:pt x="287" y="435"/>
                    </a:cubicBezTo>
                    <a:cubicBezTo>
                      <a:pt x="282" y="446"/>
                      <a:pt x="280" y="466"/>
                      <a:pt x="274" y="467"/>
                    </a:cubicBezTo>
                    <a:cubicBezTo>
                      <a:pt x="255" y="471"/>
                      <a:pt x="235" y="469"/>
                      <a:pt x="215" y="466"/>
                    </a:cubicBezTo>
                    <a:cubicBezTo>
                      <a:pt x="211" y="466"/>
                      <a:pt x="206" y="452"/>
                      <a:pt x="205" y="445"/>
                    </a:cubicBezTo>
                    <a:cubicBezTo>
                      <a:pt x="200" y="415"/>
                      <a:pt x="186" y="399"/>
                      <a:pt x="157" y="396"/>
                    </a:cubicBezTo>
                    <a:cubicBezTo>
                      <a:pt x="148" y="396"/>
                      <a:pt x="137" y="403"/>
                      <a:pt x="129" y="409"/>
                    </a:cubicBezTo>
                    <a:cubicBezTo>
                      <a:pt x="104" y="426"/>
                      <a:pt x="104" y="426"/>
                      <a:pt x="83" y="405"/>
                    </a:cubicBezTo>
                    <a:cubicBezTo>
                      <a:pt x="78" y="400"/>
                      <a:pt x="74" y="396"/>
                      <a:pt x="70" y="392"/>
                    </a:cubicBezTo>
                    <a:cubicBezTo>
                      <a:pt x="56" y="381"/>
                      <a:pt x="55" y="368"/>
                      <a:pt x="68" y="357"/>
                    </a:cubicBezTo>
                    <a:cubicBezTo>
                      <a:pt x="92" y="335"/>
                      <a:pt x="84" y="311"/>
                      <a:pt x="71" y="288"/>
                    </a:cubicBezTo>
                    <a:cubicBezTo>
                      <a:pt x="68" y="283"/>
                      <a:pt x="60" y="279"/>
                      <a:pt x="54" y="276"/>
                    </a:cubicBezTo>
                    <a:cubicBezTo>
                      <a:pt x="47" y="274"/>
                      <a:pt x="40" y="274"/>
                      <a:pt x="32" y="272"/>
                    </a:cubicBezTo>
                    <a:cubicBezTo>
                      <a:pt x="29" y="272"/>
                      <a:pt x="26" y="272"/>
                      <a:pt x="23" y="271"/>
                    </a:cubicBezTo>
                    <a:cubicBezTo>
                      <a:pt x="0" y="256"/>
                      <a:pt x="14" y="232"/>
                      <a:pt x="11" y="213"/>
                    </a:cubicBezTo>
                    <a:cubicBezTo>
                      <a:pt x="10" y="201"/>
                      <a:pt x="18" y="195"/>
                      <a:pt x="29" y="194"/>
                    </a:cubicBezTo>
                    <a:cubicBezTo>
                      <a:pt x="33" y="193"/>
                      <a:pt x="36" y="193"/>
                      <a:pt x="39" y="193"/>
                    </a:cubicBezTo>
                    <a:cubicBezTo>
                      <a:pt x="65" y="188"/>
                      <a:pt x="83" y="170"/>
                      <a:pt x="85" y="144"/>
                    </a:cubicBezTo>
                    <a:cubicBezTo>
                      <a:pt x="86" y="136"/>
                      <a:pt x="80" y="126"/>
                      <a:pt x="75" y="118"/>
                    </a:cubicBezTo>
                    <a:cubicBezTo>
                      <a:pt x="56" y="91"/>
                      <a:pt x="56" y="92"/>
                      <a:pt x="79" y="70"/>
                    </a:cubicBezTo>
                    <a:cubicBezTo>
                      <a:pt x="82" y="68"/>
                      <a:pt x="85" y="65"/>
                      <a:pt x="87" y="62"/>
                    </a:cubicBezTo>
                    <a:cubicBezTo>
                      <a:pt x="106" y="44"/>
                      <a:pt x="109" y="44"/>
                      <a:pt x="130" y="58"/>
                    </a:cubicBezTo>
                    <a:cubicBezTo>
                      <a:pt x="153" y="75"/>
                      <a:pt x="176" y="75"/>
                      <a:pt x="198" y="57"/>
                    </a:cubicBezTo>
                    <a:cubicBezTo>
                      <a:pt x="204" y="52"/>
                      <a:pt x="207" y="42"/>
                      <a:pt x="208" y="34"/>
                    </a:cubicBezTo>
                    <a:cubicBezTo>
                      <a:pt x="214" y="0"/>
                      <a:pt x="214" y="0"/>
                      <a:pt x="248" y="0"/>
                    </a:cubicBezTo>
                    <a:cubicBezTo>
                      <a:pt x="252" y="0"/>
                      <a:pt x="257" y="0"/>
                      <a:pt x="261" y="0"/>
                    </a:cubicBezTo>
                    <a:cubicBezTo>
                      <a:pt x="284" y="0"/>
                      <a:pt x="287" y="3"/>
                      <a:pt x="290" y="26"/>
                    </a:cubicBezTo>
                    <a:cubicBezTo>
                      <a:pt x="294" y="54"/>
                      <a:pt x="312" y="72"/>
                      <a:pt x="340" y="74"/>
                    </a:cubicBezTo>
                    <a:cubicBezTo>
                      <a:pt x="347" y="74"/>
                      <a:pt x="356" y="69"/>
                      <a:pt x="363" y="64"/>
                    </a:cubicBezTo>
                    <a:cubicBezTo>
                      <a:pt x="392" y="44"/>
                      <a:pt x="392" y="43"/>
                      <a:pt x="417" y="70"/>
                    </a:cubicBezTo>
                    <a:cubicBezTo>
                      <a:pt x="424" y="77"/>
                      <a:pt x="431" y="86"/>
                      <a:pt x="438" y="96"/>
                    </a:cubicBezTo>
                    <a:close/>
                    <a:moveTo>
                      <a:pt x="246" y="137"/>
                    </a:moveTo>
                    <a:cubicBezTo>
                      <a:pt x="194" y="138"/>
                      <a:pt x="150" y="181"/>
                      <a:pt x="150" y="233"/>
                    </a:cubicBezTo>
                    <a:cubicBezTo>
                      <a:pt x="149" y="287"/>
                      <a:pt x="195" y="332"/>
                      <a:pt x="249" y="332"/>
                    </a:cubicBezTo>
                    <a:cubicBezTo>
                      <a:pt x="302" y="331"/>
                      <a:pt x="345" y="287"/>
                      <a:pt x="344" y="233"/>
                    </a:cubicBezTo>
                    <a:cubicBezTo>
                      <a:pt x="344" y="180"/>
                      <a:pt x="300" y="137"/>
                      <a:pt x="246"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1213808">
                  <a:defRPr/>
                </a:pPr>
                <a:endParaRPr lang="en-US" sz="1975" kern="0">
                  <a:solidFill>
                    <a:srgbClr val="000000"/>
                  </a:solidFill>
                  <a:latin typeface="Calibri" panose="020F0502020204030204" pitchFamily="34" charset="0"/>
                  <a:cs typeface="Calibri" panose="020F0502020204030204" pitchFamily="34" charset="0"/>
                </a:endParaRPr>
              </a:p>
            </p:txBody>
          </p:sp>
        </p:grpSp>
        <p:sp>
          <p:nvSpPr>
            <p:cNvPr id="54" name="Rectangle 53">
              <a:extLst>
                <a:ext uri="{FF2B5EF4-FFF2-40B4-BE49-F238E27FC236}">
                  <a16:creationId xmlns:a16="http://schemas.microsoft.com/office/drawing/2014/main" id="{12B11C20-0B19-B042-84EC-A429A54D5120}"/>
                </a:ext>
              </a:extLst>
            </p:cNvPr>
            <p:cNvSpPr/>
            <p:nvPr/>
          </p:nvSpPr>
          <p:spPr>
            <a:xfrm>
              <a:off x="3644906" y="702608"/>
              <a:ext cx="3388947" cy="350678"/>
            </a:xfrm>
            <a:prstGeom prst="rect">
              <a:avLst/>
            </a:prstGeom>
            <a:gradFill flip="none" rotWithShape="1">
              <a:gsLst>
                <a:gs pos="0">
                  <a:srgbClr val="0033A0"/>
                </a:gs>
                <a:gs pos="100000">
                  <a:srgbClr val="00B13F"/>
                </a:gs>
              </a:gsLst>
              <a:lin ang="0" scaled="1"/>
              <a:tileRect/>
            </a:gradFill>
            <a:ln>
              <a:gradFill flip="none" rotWithShape="1">
                <a:gsLst>
                  <a:gs pos="0">
                    <a:srgbClr val="003EA0"/>
                  </a:gs>
                  <a:gs pos="100000">
                    <a:srgbClr val="00B14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400" b="1" dirty="0">
                  <a:solidFill>
                    <a:srgbClr val="FFFFFF"/>
                  </a:solidFill>
                  <a:latin typeface="Calibri" panose="020F0502020204030204" pitchFamily="34" charset="0"/>
                  <a:cs typeface="Calibri" panose="020F0502020204030204" pitchFamily="34" charset="0"/>
                </a:rPr>
                <a:t>RUN BETTER</a:t>
              </a:r>
            </a:p>
          </p:txBody>
        </p:sp>
      </p:grpSp>
      <p:sp>
        <p:nvSpPr>
          <p:cNvPr id="55" name="Rectangle 54">
            <a:extLst>
              <a:ext uri="{FF2B5EF4-FFF2-40B4-BE49-F238E27FC236}">
                <a16:creationId xmlns:a16="http://schemas.microsoft.com/office/drawing/2014/main" id="{8A460DDC-2958-FE45-BB8D-BE4A339E984D}"/>
              </a:ext>
            </a:extLst>
          </p:cNvPr>
          <p:cNvSpPr/>
          <p:nvPr/>
        </p:nvSpPr>
        <p:spPr>
          <a:xfrm>
            <a:off x="5611287" y="841568"/>
            <a:ext cx="4661246" cy="450174"/>
          </a:xfrm>
          <a:prstGeom prst="rect">
            <a:avLst/>
          </a:prstGeom>
          <a:gradFill flip="none" rotWithShape="1">
            <a:gsLst>
              <a:gs pos="0">
                <a:srgbClr val="0033A0"/>
              </a:gs>
              <a:gs pos="100000">
                <a:srgbClr val="00B13F"/>
              </a:gs>
            </a:gsLst>
            <a:lin ang="0" scaled="1"/>
            <a:tileRect/>
          </a:gradFill>
          <a:ln>
            <a:gradFill flip="none" rotWithShape="1">
              <a:gsLst>
                <a:gs pos="0">
                  <a:srgbClr val="003EA0"/>
                </a:gs>
                <a:gs pos="100000">
                  <a:srgbClr val="00B14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400" b="1" dirty="0">
                <a:solidFill>
                  <a:srgbClr val="FFFFFF"/>
                </a:solidFill>
                <a:latin typeface="Calibri" panose="020F0502020204030204" pitchFamily="34" charset="0"/>
                <a:cs typeface="Calibri" panose="020F0502020204030204" pitchFamily="34" charset="0"/>
              </a:rPr>
              <a:t>LAND SAFE</a:t>
            </a:r>
          </a:p>
        </p:txBody>
      </p:sp>
      <p:sp>
        <p:nvSpPr>
          <p:cNvPr id="5" name="Rectangle 4"/>
          <p:cNvSpPr/>
          <p:nvPr/>
        </p:nvSpPr>
        <p:spPr>
          <a:xfrm>
            <a:off x="2814437" y="1945584"/>
            <a:ext cx="542136" cy="338554"/>
          </a:xfrm>
          <a:prstGeom prst="rect">
            <a:avLst/>
          </a:prstGeom>
        </p:spPr>
        <p:txBody>
          <a:bodyPr wrap="none">
            <a:spAutoFit/>
          </a:bodyPr>
          <a:lstStyle/>
          <a:p>
            <a:r>
              <a:rPr lang="en-US" sz="1600" b="1" kern="0" dirty="0" smtClean="0">
                <a:solidFill>
                  <a:srgbClr val="000000">
                    <a:lumMod val="65000"/>
                    <a:lumOff val="35000"/>
                  </a:srgbClr>
                </a:solidFill>
                <a:latin typeface="Calibri" panose="020F0502020204030204" pitchFamily="34" charset="0"/>
                <a:cs typeface="Calibri" panose="020F0502020204030204" pitchFamily="34" charset="0"/>
              </a:rPr>
              <a:t>35%</a:t>
            </a:r>
            <a:endParaRPr lang="en-US" sz="1600" b="1" dirty="0"/>
          </a:p>
        </p:txBody>
      </p:sp>
      <p:sp>
        <p:nvSpPr>
          <p:cNvPr id="98" name="Rectangle 97"/>
          <p:cNvSpPr/>
          <p:nvPr/>
        </p:nvSpPr>
        <p:spPr>
          <a:xfrm>
            <a:off x="2860083" y="1316703"/>
            <a:ext cx="644728" cy="338554"/>
          </a:xfrm>
          <a:prstGeom prst="rect">
            <a:avLst/>
          </a:prstGeom>
        </p:spPr>
        <p:txBody>
          <a:bodyPr wrap="none">
            <a:spAutoFit/>
          </a:bodyPr>
          <a:lstStyle/>
          <a:p>
            <a:r>
              <a:rPr lang="en-US" sz="1600" b="1" kern="0" dirty="0" smtClean="0">
                <a:solidFill>
                  <a:srgbClr val="000000">
                    <a:lumMod val="65000"/>
                    <a:lumOff val="35000"/>
                  </a:srgbClr>
                </a:solidFill>
                <a:latin typeface="Calibri" panose="020F0502020204030204" pitchFamily="34" charset="0"/>
                <a:cs typeface="Calibri" panose="020F0502020204030204" pitchFamily="34" charset="0"/>
              </a:rPr>
              <a:t>100%</a:t>
            </a:r>
            <a:endParaRPr lang="en-US" sz="1600" b="1" dirty="0"/>
          </a:p>
        </p:txBody>
      </p:sp>
      <p:sp>
        <p:nvSpPr>
          <p:cNvPr id="100" name="Rectangle 99"/>
          <p:cNvSpPr/>
          <p:nvPr/>
        </p:nvSpPr>
        <p:spPr>
          <a:xfrm>
            <a:off x="2619106" y="2584105"/>
            <a:ext cx="811441" cy="338554"/>
          </a:xfrm>
          <a:prstGeom prst="rect">
            <a:avLst/>
          </a:prstGeom>
        </p:spPr>
        <p:txBody>
          <a:bodyPr wrap="none">
            <a:spAutoFit/>
          </a:bodyPr>
          <a:lstStyle/>
          <a:p>
            <a:r>
              <a:rPr lang="en-US" sz="1600" b="1" kern="0" dirty="0" smtClean="0">
                <a:solidFill>
                  <a:srgbClr val="000000">
                    <a:lumMod val="65000"/>
                    <a:lumOff val="35000"/>
                  </a:srgbClr>
                </a:solidFill>
                <a:latin typeface="Calibri" panose="020F0502020204030204" pitchFamily="34" charset="0"/>
                <a:cs typeface="Calibri" panose="020F0502020204030204" pitchFamily="34" charset="0"/>
              </a:rPr>
              <a:t>10-20%</a:t>
            </a:r>
            <a:endParaRPr lang="en-US" sz="1600" b="1" dirty="0"/>
          </a:p>
        </p:txBody>
      </p:sp>
      <p:grpSp>
        <p:nvGrpSpPr>
          <p:cNvPr id="103" name="Group 48">
            <a:extLst>
              <a:ext uri="{FF2B5EF4-FFF2-40B4-BE49-F238E27FC236}">
                <a16:creationId xmlns:a16="http://schemas.microsoft.com/office/drawing/2014/main" id="{8EB323AB-4021-2E4D-BB18-E90645F9952B}"/>
              </a:ext>
            </a:extLst>
          </p:cNvPr>
          <p:cNvGrpSpPr>
            <a:grpSpLocks noChangeAspect="1"/>
          </p:cNvGrpSpPr>
          <p:nvPr/>
        </p:nvGrpSpPr>
        <p:grpSpPr bwMode="auto">
          <a:xfrm>
            <a:off x="6034512" y="4097148"/>
            <a:ext cx="440916" cy="435503"/>
            <a:chOff x="2946" y="2413"/>
            <a:chExt cx="186" cy="190"/>
          </a:xfrm>
          <a:solidFill>
            <a:srgbClr val="0033A0"/>
          </a:solidFill>
        </p:grpSpPr>
        <p:sp>
          <p:nvSpPr>
            <p:cNvPr id="105" name="Freeform 49">
              <a:extLst>
                <a:ext uri="{FF2B5EF4-FFF2-40B4-BE49-F238E27FC236}">
                  <a16:creationId xmlns:a16="http://schemas.microsoft.com/office/drawing/2014/main" id="{9FFA85FE-3B93-5945-A709-511DEBF1720C}"/>
                </a:ext>
              </a:extLst>
            </p:cNvPr>
            <p:cNvSpPr>
              <a:spLocks/>
            </p:cNvSpPr>
            <p:nvPr/>
          </p:nvSpPr>
          <p:spPr bwMode="auto">
            <a:xfrm>
              <a:off x="3017" y="2413"/>
              <a:ext cx="51" cy="52"/>
            </a:xfrm>
            <a:custGeom>
              <a:avLst/>
              <a:gdLst>
                <a:gd name="T0" fmla="*/ 0 w 77"/>
                <a:gd name="T1" fmla="*/ 79 h 79"/>
                <a:gd name="T2" fmla="*/ 0 w 77"/>
                <a:gd name="T3" fmla="*/ 68 h 79"/>
                <a:gd name="T4" fmla="*/ 4 w 77"/>
                <a:gd name="T5" fmla="*/ 62 h 79"/>
                <a:gd name="T6" fmla="*/ 21 w 77"/>
                <a:gd name="T7" fmla="*/ 51 h 79"/>
                <a:gd name="T8" fmla="*/ 25 w 77"/>
                <a:gd name="T9" fmla="*/ 39 h 79"/>
                <a:gd name="T10" fmla="*/ 20 w 77"/>
                <a:gd name="T11" fmla="*/ 28 h 79"/>
                <a:gd name="T12" fmla="*/ 21 w 77"/>
                <a:gd name="T13" fmla="*/ 23 h 79"/>
                <a:gd name="T14" fmla="*/ 21 w 77"/>
                <a:gd name="T15" fmla="*/ 20 h 79"/>
                <a:gd name="T16" fmla="*/ 27 w 77"/>
                <a:gd name="T17" fmla="*/ 4 h 79"/>
                <a:gd name="T18" fmla="*/ 26 w 77"/>
                <a:gd name="T19" fmla="*/ 0 h 79"/>
                <a:gd name="T20" fmla="*/ 41 w 77"/>
                <a:gd name="T21" fmla="*/ 0 h 79"/>
                <a:gd name="T22" fmla="*/ 42 w 77"/>
                <a:gd name="T23" fmla="*/ 1 h 79"/>
                <a:gd name="T24" fmla="*/ 52 w 77"/>
                <a:gd name="T25" fmla="*/ 8 h 79"/>
                <a:gd name="T26" fmla="*/ 55 w 77"/>
                <a:gd name="T27" fmla="*/ 19 h 79"/>
                <a:gd name="T28" fmla="*/ 56 w 77"/>
                <a:gd name="T29" fmla="*/ 24 h 79"/>
                <a:gd name="T30" fmla="*/ 54 w 77"/>
                <a:gd name="T31" fmla="*/ 34 h 79"/>
                <a:gd name="T32" fmla="*/ 51 w 77"/>
                <a:gd name="T33" fmla="*/ 47 h 79"/>
                <a:gd name="T34" fmla="*/ 54 w 77"/>
                <a:gd name="T35" fmla="*/ 50 h 79"/>
                <a:gd name="T36" fmla="*/ 72 w 77"/>
                <a:gd name="T37" fmla="*/ 61 h 79"/>
                <a:gd name="T38" fmla="*/ 76 w 77"/>
                <a:gd name="T39" fmla="*/ 70 h 79"/>
                <a:gd name="T40" fmla="*/ 76 w 77"/>
                <a:gd name="T41" fmla="*/ 79 h 79"/>
                <a:gd name="T42" fmla="*/ 0 w 77"/>
                <a:gd name="T4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79">
                  <a:moveTo>
                    <a:pt x="0" y="79"/>
                  </a:moveTo>
                  <a:cubicBezTo>
                    <a:pt x="0" y="75"/>
                    <a:pt x="0" y="71"/>
                    <a:pt x="0" y="68"/>
                  </a:cubicBezTo>
                  <a:cubicBezTo>
                    <a:pt x="1" y="66"/>
                    <a:pt x="2" y="63"/>
                    <a:pt x="4" y="62"/>
                  </a:cubicBezTo>
                  <a:cubicBezTo>
                    <a:pt x="10" y="58"/>
                    <a:pt x="15" y="54"/>
                    <a:pt x="21" y="51"/>
                  </a:cubicBezTo>
                  <a:cubicBezTo>
                    <a:pt x="26" y="48"/>
                    <a:pt x="27" y="44"/>
                    <a:pt x="25" y="39"/>
                  </a:cubicBezTo>
                  <a:cubicBezTo>
                    <a:pt x="23" y="35"/>
                    <a:pt x="22" y="32"/>
                    <a:pt x="20" y="28"/>
                  </a:cubicBezTo>
                  <a:cubicBezTo>
                    <a:pt x="20" y="26"/>
                    <a:pt x="21" y="24"/>
                    <a:pt x="21" y="23"/>
                  </a:cubicBezTo>
                  <a:cubicBezTo>
                    <a:pt x="21" y="22"/>
                    <a:pt x="21" y="21"/>
                    <a:pt x="21" y="20"/>
                  </a:cubicBezTo>
                  <a:cubicBezTo>
                    <a:pt x="20" y="14"/>
                    <a:pt x="22" y="8"/>
                    <a:pt x="27" y="4"/>
                  </a:cubicBezTo>
                  <a:cubicBezTo>
                    <a:pt x="27" y="3"/>
                    <a:pt x="26" y="2"/>
                    <a:pt x="26" y="0"/>
                  </a:cubicBezTo>
                  <a:cubicBezTo>
                    <a:pt x="31" y="0"/>
                    <a:pt x="36" y="0"/>
                    <a:pt x="41" y="0"/>
                  </a:cubicBezTo>
                  <a:cubicBezTo>
                    <a:pt x="41" y="0"/>
                    <a:pt x="41" y="1"/>
                    <a:pt x="42" y="1"/>
                  </a:cubicBezTo>
                  <a:cubicBezTo>
                    <a:pt x="47" y="1"/>
                    <a:pt x="48" y="6"/>
                    <a:pt x="52" y="8"/>
                  </a:cubicBezTo>
                  <a:cubicBezTo>
                    <a:pt x="56" y="10"/>
                    <a:pt x="56" y="15"/>
                    <a:pt x="55" y="19"/>
                  </a:cubicBezTo>
                  <a:cubicBezTo>
                    <a:pt x="55" y="20"/>
                    <a:pt x="56" y="22"/>
                    <a:pt x="56" y="24"/>
                  </a:cubicBezTo>
                  <a:cubicBezTo>
                    <a:pt x="57" y="27"/>
                    <a:pt x="56" y="31"/>
                    <a:pt x="54" y="34"/>
                  </a:cubicBezTo>
                  <a:cubicBezTo>
                    <a:pt x="51" y="38"/>
                    <a:pt x="51" y="42"/>
                    <a:pt x="51" y="47"/>
                  </a:cubicBezTo>
                  <a:cubicBezTo>
                    <a:pt x="51" y="48"/>
                    <a:pt x="53" y="49"/>
                    <a:pt x="54" y="50"/>
                  </a:cubicBezTo>
                  <a:cubicBezTo>
                    <a:pt x="60" y="53"/>
                    <a:pt x="66" y="57"/>
                    <a:pt x="72" y="61"/>
                  </a:cubicBezTo>
                  <a:cubicBezTo>
                    <a:pt x="75" y="63"/>
                    <a:pt x="77" y="66"/>
                    <a:pt x="76" y="70"/>
                  </a:cubicBezTo>
                  <a:cubicBezTo>
                    <a:pt x="76" y="73"/>
                    <a:pt x="76" y="76"/>
                    <a:pt x="76" y="79"/>
                  </a:cubicBezTo>
                  <a:cubicBezTo>
                    <a:pt x="51" y="79"/>
                    <a:pt x="26" y="79"/>
                    <a:pt x="0"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sp>
          <p:nvSpPr>
            <p:cNvPr id="106" name="Freeform 50">
              <a:extLst>
                <a:ext uri="{FF2B5EF4-FFF2-40B4-BE49-F238E27FC236}">
                  <a16:creationId xmlns:a16="http://schemas.microsoft.com/office/drawing/2014/main" id="{FC7126C5-753B-AF4F-8037-8BAC6160BCED}"/>
                </a:ext>
              </a:extLst>
            </p:cNvPr>
            <p:cNvSpPr>
              <a:spLocks/>
            </p:cNvSpPr>
            <p:nvPr/>
          </p:nvSpPr>
          <p:spPr bwMode="auto">
            <a:xfrm>
              <a:off x="2952" y="2436"/>
              <a:ext cx="59" cy="71"/>
            </a:xfrm>
            <a:custGeom>
              <a:avLst/>
              <a:gdLst>
                <a:gd name="T0" fmla="*/ 14 w 90"/>
                <a:gd name="T1" fmla="*/ 107 h 107"/>
                <a:gd name="T2" fmla="*/ 0 w 90"/>
                <a:gd name="T3" fmla="*/ 106 h 107"/>
                <a:gd name="T4" fmla="*/ 85 w 90"/>
                <a:gd name="T5" fmla="*/ 0 h 107"/>
                <a:gd name="T6" fmla="*/ 90 w 90"/>
                <a:gd name="T7" fmla="*/ 13 h 107"/>
                <a:gd name="T8" fmla="*/ 14 w 90"/>
                <a:gd name="T9" fmla="*/ 107 h 107"/>
              </a:gdLst>
              <a:ahLst/>
              <a:cxnLst>
                <a:cxn ang="0">
                  <a:pos x="T0" y="T1"/>
                </a:cxn>
                <a:cxn ang="0">
                  <a:pos x="T2" y="T3"/>
                </a:cxn>
                <a:cxn ang="0">
                  <a:pos x="T4" y="T5"/>
                </a:cxn>
                <a:cxn ang="0">
                  <a:pos x="T6" y="T7"/>
                </a:cxn>
                <a:cxn ang="0">
                  <a:pos x="T8" y="T9"/>
                </a:cxn>
              </a:cxnLst>
              <a:rect l="0" t="0" r="r" b="b"/>
              <a:pathLst>
                <a:path w="90" h="107">
                  <a:moveTo>
                    <a:pt x="14" y="107"/>
                  </a:moveTo>
                  <a:cubicBezTo>
                    <a:pt x="0" y="106"/>
                    <a:pt x="0" y="106"/>
                    <a:pt x="0" y="106"/>
                  </a:cubicBezTo>
                  <a:cubicBezTo>
                    <a:pt x="6" y="57"/>
                    <a:pt x="39" y="16"/>
                    <a:pt x="85" y="0"/>
                  </a:cubicBezTo>
                  <a:cubicBezTo>
                    <a:pt x="90" y="13"/>
                    <a:pt x="90" y="13"/>
                    <a:pt x="90" y="13"/>
                  </a:cubicBezTo>
                  <a:cubicBezTo>
                    <a:pt x="48" y="28"/>
                    <a:pt x="19" y="64"/>
                    <a:pt x="1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sp>
          <p:nvSpPr>
            <p:cNvPr id="107" name="Freeform 51">
              <a:extLst>
                <a:ext uri="{FF2B5EF4-FFF2-40B4-BE49-F238E27FC236}">
                  <a16:creationId xmlns:a16="http://schemas.microsoft.com/office/drawing/2014/main" id="{C20BBE09-B635-FB47-80D7-7E6B3180E92A}"/>
                </a:ext>
              </a:extLst>
            </p:cNvPr>
            <p:cNvSpPr>
              <a:spLocks/>
            </p:cNvSpPr>
            <p:nvPr/>
          </p:nvSpPr>
          <p:spPr bwMode="auto">
            <a:xfrm>
              <a:off x="2993" y="2583"/>
              <a:ext cx="81" cy="20"/>
            </a:xfrm>
            <a:custGeom>
              <a:avLst/>
              <a:gdLst>
                <a:gd name="T0" fmla="*/ 68 w 123"/>
                <a:gd name="T1" fmla="*/ 31 h 31"/>
                <a:gd name="T2" fmla="*/ 0 w 123"/>
                <a:gd name="T3" fmla="*/ 12 h 31"/>
                <a:gd name="T4" fmla="*/ 7 w 123"/>
                <a:gd name="T5" fmla="*/ 0 h 31"/>
                <a:gd name="T6" fmla="*/ 68 w 123"/>
                <a:gd name="T7" fmla="*/ 17 h 31"/>
                <a:gd name="T8" fmla="*/ 117 w 123"/>
                <a:gd name="T9" fmla="*/ 6 h 31"/>
                <a:gd name="T10" fmla="*/ 123 w 123"/>
                <a:gd name="T11" fmla="*/ 18 h 31"/>
                <a:gd name="T12" fmla="*/ 68 w 123"/>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3" h="31">
                  <a:moveTo>
                    <a:pt x="68" y="31"/>
                  </a:moveTo>
                  <a:cubicBezTo>
                    <a:pt x="44" y="31"/>
                    <a:pt x="20" y="24"/>
                    <a:pt x="0" y="12"/>
                  </a:cubicBezTo>
                  <a:cubicBezTo>
                    <a:pt x="7" y="0"/>
                    <a:pt x="7" y="0"/>
                    <a:pt x="7" y="0"/>
                  </a:cubicBezTo>
                  <a:cubicBezTo>
                    <a:pt x="25" y="11"/>
                    <a:pt x="46" y="17"/>
                    <a:pt x="68" y="17"/>
                  </a:cubicBezTo>
                  <a:cubicBezTo>
                    <a:pt x="85" y="17"/>
                    <a:pt x="102" y="13"/>
                    <a:pt x="117" y="6"/>
                  </a:cubicBezTo>
                  <a:cubicBezTo>
                    <a:pt x="123" y="18"/>
                    <a:pt x="123" y="18"/>
                    <a:pt x="123" y="18"/>
                  </a:cubicBezTo>
                  <a:cubicBezTo>
                    <a:pt x="106" y="26"/>
                    <a:pt x="87" y="31"/>
                    <a:pt x="68"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sp>
          <p:nvSpPr>
            <p:cNvPr id="108" name="Freeform 52">
              <a:extLst>
                <a:ext uri="{FF2B5EF4-FFF2-40B4-BE49-F238E27FC236}">
                  <a16:creationId xmlns:a16="http://schemas.microsoft.com/office/drawing/2014/main" id="{4F78F898-C1BB-F047-BAEE-D856EBCFF1D1}"/>
                </a:ext>
              </a:extLst>
            </p:cNvPr>
            <p:cNvSpPr>
              <a:spLocks/>
            </p:cNvSpPr>
            <p:nvPr/>
          </p:nvSpPr>
          <p:spPr bwMode="auto">
            <a:xfrm>
              <a:off x="3075" y="2441"/>
              <a:ext cx="49" cy="76"/>
            </a:xfrm>
            <a:custGeom>
              <a:avLst/>
              <a:gdLst>
                <a:gd name="T0" fmla="*/ 74 w 74"/>
                <a:gd name="T1" fmla="*/ 114 h 114"/>
                <a:gd name="T2" fmla="*/ 60 w 74"/>
                <a:gd name="T3" fmla="*/ 114 h 114"/>
                <a:gd name="T4" fmla="*/ 0 w 74"/>
                <a:gd name="T5" fmla="*/ 12 h 114"/>
                <a:gd name="T6" fmla="*/ 7 w 74"/>
                <a:gd name="T7" fmla="*/ 0 h 114"/>
                <a:gd name="T8" fmla="*/ 74 w 74"/>
                <a:gd name="T9" fmla="*/ 114 h 114"/>
              </a:gdLst>
              <a:ahLst/>
              <a:cxnLst>
                <a:cxn ang="0">
                  <a:pos x="T0" y="T1"/>
                </a:cxn>
                <a:cxn ang="0">
                  <a:pos x="T2" y="T3"/>
                </a:cxn>
                <a:cxn ang="0">
                  <a:pos x="T4" y="T5"/>
                </a:cxn>
                <a:cxn ang="0">
                  <a:pos x="T6" y="T7"/>
                </a:cxn>
                <a:cxn ang="0">
                  <a:pos x="T8" y="T9"/>
                </a:cxn>
              </a:cxnLst>
              <a:rect l="0" t="0" r="r" b="b"/>
              <a:pathLst>
                <a:path w="74" h="114">
                  <a:moveTo>
                    <a:pt x="74" y="114"/>
                  </a:moveTo>
                  <a:cubicBezTo>
                    <a:pt x="60" y="114"/>
                    <a:pt x="60" y="114"/>
                    <a:pt x="60" y="114"/>
                  </a:cubicBezTo>
                  <a:cubicBezTo>
                    <a:pt x="60" y="72"/>
                    <a:pt x="37" y="33"/>
                    <a:pt x="0" y="12"/>
                  </a:cubicBezTo>
                  <a:cubicBezTo>
                    <a:pt x="7" y="0"/>
                    <a:pt x="7" y="0"/>
                    <a:pt x="7" y="0"/>
                  </a:cubicBezTo>
                  <a:cubicBezTo>
                    <a:pt x="48" y="23"/>
                    <a:pt x="74" y="67"/>
                    <a:pt x="74"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sp>
          <p:nvSpPr>
            <p:cNvPr id="109" name="Freeform 53">
              <a:extLst>
                <a:ext uri="{FF2B5EF4-FFF2-40B4-BE49-F238E27FC236}">
                  <a16:creationId xmlns:a16="http://schemas.microsoft.com/office/drawing/2014/main" id="{0A6B60AC-7B78-E643-9912-F63807BDB0B5}"/>
                </a:ext>
              </a:extLst>
            </p:cNvPr>
            <p:cNvSpPr>
              <a:spLocks noEditPoints="1"/>
            </p:cNvSpPr>
            <p:nvPr/>
          </p:nvSpPr>
          <p:spPr bwMode="auto">
            <a:xfrm>
              <a:off x="3076" y="2527"/>
              <a:ext cx="56" cy="55"/>
            </a:xfrm>
            <a:custGeom>
              <a:avLst/>
              <a:gdLst>
                <a:gd name="T0" fmla="*/ 42 w 85"/>
                <a:gd name="T1" fmla="*/ 0 h 84"/>
                <a:gd name="T2" fmla="*/ 85 w 85"/>
                <a:gd name="T3" fmla="*/ 42 h 84"/>
                <a:gd name="T4" fmla="*/ 42 w 85"/>
                <a:gd name="T5" fmla="*/ 84 h 84"/>
                <a:gd name="T6" fmla="*/ 0 w 85"/>
                <a:gd name="T7" fmla="*/ 41 h 84"/>
                <a:gd name="T8" fmla="*/ 42 w 85"/>
                <a:gd name="T9" fmla="*/ 0 h 84"/>
                <a:gd name="T10" fmla="*/ 45 w 85"/>
                <a:gd name="T11" fmla="*/ 25 h 84"/>
                <a:gd name="T12" fmla="*/ 45 w 85"/>
                <a:gd name="T13" fmla="*/ 19 h 84"/>
                <a:gd name="T14" fmla="*/ 45 w 85"/>
                <a:gd name="T15" fmla="*/ 15 h 84"/>
                <a:gd name="T16" fmla="*/ 42 w 85"/>
                <a:gd name="T17" fmla="*/ 12 h 84"/>
                <a:gd name="T18" fmla="*/ 40 w 85"/>
                <a:gd name="T19" fmla="*/ 15 h 84"/>
                <a:gd name="T20" fmla="*/ 40 w 85"/>
                <a:gd name="T21" fmla="*/ 35 h 84"/>
                <a:gd name="T22" fmla="*/ 39 w 85"/>
                <a:gd name="T23" fmla="*/ 36 h 84"/>
                <a:gd name="T24" fmla="*/ 36 w 85"/>
                <a:gd name="T25" fmla="*/ 43 h 84"/>
                <a:gd name="T26" fmla="*/ 41 w 85"/>
                <a:gd name="T27" fmla="*/ 48 h 84"/>
                <a:gd name="T28" fmla="*/ 48 w 85"/>
                <a:gd name="T29" fmla="*/ 46 h 84"/>
                <a:gd name="T30" fmla="*/ 50 w 85"/>
                <a:gd name="T31" fmla="*/ 44 h 84"/>
                <a:gd name="T32" fmla="*/ 62 w 85"/>
                <a:gd name="T33" fmla="*/ 44 h 84"/>
                <a:gd name="T34" fmla="*/ 64 w 85"/>
                <a:gd name="T35" fmla="*/ 41 h 84"/>
                <a:gd name="T36" fmla="*/ 62 w 85"/>
                <a:gd name="T37" fmla="*/ 40 h 84"/>
                <a:gd name="T38" fmla="*/ 50 w 85"/>
                <a:gd name="T39" fmla="*/ 40 h 84"/>
                <a:gd name="T40" fmla="*/ 48 w 85"/>
                <a:gd name="T41" fmla="*/ 38 h 84"/>
                <a:gd name="T42" fmla="*/ 46 w 85"/>
                <a:gd name="T43" fmla="*/ 36 h 84"/>
                <a:gd name="T44" fmla="*/ 45 w 85"/>
                <a:gd name="T45" fmla="*/ 34 h 84"/>
                <a:gd name="T46" fmla="*/ 45 w 85"/>
                <a:gd name="T47"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84">
                  <a:moveTo>
                    <a:pt x="42" y="0"/>
                  </a:moveTo>
                  <a:cubicBezTo>
                    <a:pt x="66" y="0"/>
                    <a:pt x="85" y="19"/>
                    <a:pt x="85" y="42"/>
                  </a:cubicBezTo>
                  <a:cubicBezTo>
                    <a:pt x="85" y="65"/>
                    <a:pt x="65" y="84"/>
                    <a:pt x="42" y="84"/>
                  </a:cubicBezTo>
                  <a:cubicBezTo>
                    <a:pt x="18" y="84"/>
                    <a:pt x="0" y="65"/>
                    <a:pt x="0" y="41"/>
                  </a:cubicBezTo>
                  <a:cubicBezTo>
                    <a:pt x="0" y="19"/>
                    <a:pt x="19" y="0"/>
                    <a:pt x="42" y="0"/>
                  </a:cubicBezTo>
                  <a:close/>
                  <a:moveTo>
                    <a:pt x="45" y="25"/>
                  </a:moveTo>
                  <a:cubicBezTo>
                    <a:pt x="45" y="23"/>
                    <a:pt x="45" y="21"/>
                    <a:pt x="45" y="19"/>
                  </a:cubicBezTo>
                  <a:cubicBezTo>
                    <a:pt x="45" y="17"/>
                    <a:pt x="45" y="16"/>
                    <a:pt x="45" y="15"/>
                  </a:cubicBezTo>
                  <a:cubicBezTo>
                    <a:pt x="45" y="13"/>
                    <a:pt x="43" y="12"/>
                    <a:pt x="42" y="12"/>
                  </a:cubicBezTo>
                  <a:cubicBezTo>
                    <a:pt x="40" y="12"/>
                    <a:pt x="40" y="13"/>
                    <a:pt x="40" y="15"/>
                  </a:cubicBezTo>
                  <a:cubicBezTo>
                    <a:pt x="40" y="22"/>
                    <a:pt x="40" y="28"/>
                    <a:pt x="40" y="35"/>
                  </a:cubicBezTo>
                  <a:cubicBezTo>
                    <a:pt x="40" y="35"/>
                    <a:pt x="40" y="36"/>
                    <a:pt x="39" y="36"/>
                  </a:cubicBezTo>
                  <a:cubicBezTo>
                    <a:pt x="36" y="38"/>
                    <a:pt x="35" y="40"/>
                    <a:pt x="36" y="43"/>
                  </a:cubicBezTo>
                  <a:cubicBezTo>
                    <a:pt x="36" y="46"/>
                    <a:pt x="38" y="48"/>
                    <a:pt x="41" y="48"/>
                  </a:cubicBezTo>
                  <a:cubicBezTo>
                    <a:pt x="43" y="49"/>
                    <a:pt x="46" y="48"/>
                    <a:pt x="48" y="46"/>
                  </a:cubicBezTo>
                  <a:cubicBezTo>
                    <a:pt x="48" y="45"/>
                    <a:pt x="49" y="44"/>
                    <a:pt x="50" y="44"/>
                  </a:cubicBezTo>
                  <a:cubicBezTo>
                    <a:pt x="54" y="44"/>
                    <a:pt x="58" y="44"/>
                    <a:pt x="62" y="44"/>
                  </a:cubicBezTo>
                  <a:cubicBezTo>
                    <a:pt x="64" y="44"/>
                    <a:pt x="65" y="43"/>
                    <a:pt x="64" y="41"/>
                  </a:cubicBezTo>
                  <a:cubicBezTo>
                    <a:pt x="64" y="40"/>
                    <a:pt x="63" y="39"/>
                    <a:pt x="62" y="40"/>
                  </a:cubicBezTo>
                  <a:cubicBezTo>
                    <a:pt x="58" y="40"/>
                    <a:pt x="54" y="39"/>
                    <a:pt x="50" y="40"/>
                  </a:cubicBezTo>
                  <a:cubicBezTo>
                    <a:pt x="49" y="40"/>
                    <a:pt x="48" y="39"/>
                    <a:pt x="48" y="38"/>
                  </a:cubicBezTo>
                  <a:cubicBezTo>
                    <a:pt x="47" y="38"/>
                    <a:pt x="47" y="37"/>
                    <a:pt x="46" y="36"/>
                  </a:cubicBezTo>
                  <a:cubicBezTo>
                    <a:pt x="45" y="36"/>
                    <a:pt x="45" y="35"/>
                    <a:pt x="45" y="34"/>
                  </a:cubicBezTo>
                  <a:cubicBezTo>
                    <a:pt x="45" y="31"/>
                    <a:pt x="45" y="28"/>
                    <a:pt x="45"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sp>
          <p:nvSpPr>
            <p:cNvPr id="110" name="Freeform 54">
              <a:extLst>
                <a:ext uri="{FF2B5EF4-FFF2-40B4-BE49-F238E27FC236}">
                  <a16:creationId xmlns:a16="http://schemas.microsoft.com/office/drawing/2014/main" id="{AAF7C5F5-8346-144A-AC56-922E384689ED}"/>
                </a:ext>
              </a:extLst>
            </p:cNvPr>
            <p:cNvSpPr>
              <a:spLocks/>
            </p:cNvSpPr>
            <p:nvPr/>
          </p:nvSpPr>
          <p:spPr bwMode="auto">
            <a:xfrm>
              <a:off x="2946" y="2525"/>
              <a:ext cx="35" cy="65"/>
            </a:xfrm>
            <a:custGeom>
              <a:avLst/>
              <a:gdLst>
                <a:gd name="T0" fmla="*/ 22 w 52"/>
                <a:gd name="T1" fmla="*/ 88 h 98"/>
                <a:gd name="T2" fmla="*/ 14 w 52"/>
                <a:gd name="T3" fmla="*/ 86 h 98"/>
                <a:gd name="T4" fmla="*/ 0 w 52"/>
                <a:gd name="T5" fmla="*/ 67 h 98"/>
                <a:gd name="T6" fmla="*/ 3 w 52"/>
                <a:gd name="T7" fmla="*/ 63 h 98"/>
                <a:gd name="T8" fmla="*/ 14 w 52"/>
                <a:gd name="T9" fmla="*/ 63 h 98"/>
                <a:gd name="T10" fmla="*/ 17 w 52"/>
                <a:gd name="T11" fmla="*/ 66 h 98"/>
                <a:gd name="T12" fmla="*/ 18 w 52"/>
                <a:gd name="T13" fmla="*/ 69 h 98"/>
                <a:gd name="T14" fmla="*/ 27 w 52"/>
                <a:gd name="T15" fmla="*/ 75 h 98"/>
                <a:gd name="T16" fmla="*/ 34 w 52"/>
                <a:gd name="T17" fmla="*/ 65 h 98"/>
                <a:gd name="T18" fmla="*/ 29 w 52"/>
                <a:gd name="T19" fmla="*/ 58 h 98"/>
                <a:gd name="T20" fmla="*/ 20 w 52"/>
                <a:gd name="T21" fmla="*/ 54 h 98"/>
                <a:gd name="T22" fmla="*/ 12 w 52"/>
                <a:gd name="T23" fmla="*/ 50 h 98"/>
                <a:gd name="T24" fmla="*/ 3 w 52"/>
                <a:gd name="T25" fmla="*/ 35 h 98"/>
                <a:gd name="T26" fmla="*/ 8 w 52"/>
                <a:gd name="T27" fmla="*/ 18 h 98"/>
                <a:gd name="T28" fmla="*/ 20 w 52"/>
                <a:gd name="T29" fmla="*/ 12 h 98"/>
                <a:gd name="T30" fmla="*/ 22 w 52"/>
                <a:gd name="T31" fmla="*/ 11 h 98"/>
                <a:gd name="T32" fmla="*/ 22 w 52"/>
                <a:gd name="T33" fmla="*/ 3 h 98"/>
                <a:gd name="T34" fmla="*/ 25 w 52"/>
                <a:gd name="T35" fmla="*/ 0 h 98"/>
                <a:gd name="T36" fmla="*/ 31 w 52"/>
                <a:gd name="T37" fmla="*/ 0 h 98"/>
                <a:gd name="T38" fmla="*/ 34 w 52"/>
                <a:gd name="T39" fmla="*/ 3 h 98"/>
                <a:gd name="T40" fmla="*/ 34 w 52"/>
                <a:gd name="T41" fmla="*/ 9 h 98"/>
                <a:gd name="T42" fmla="*/ 36 w 52"/>
                <a:gd name="T43" fmla="*/ 12 h 98"/>
                <a:gd name="T44" fmla="*/ 52 w 52"/>
                <a:gd name="T45" fmla="*/ 28 h 98"/>
                <a:gd name="T46" fmla="*/ 52 w 52"/>
                <a:gd name="T47" fmla="*/ 32 h 98"/>
                <a:gd name="T48" fmla="*/ 50 w 52"/>
                <a:gd name="T49" fmla="*/ 35 h 98"/>
                <a:gd name="T50" fmla="*/ 37 w 52"/>
                <a:gd name="T51" fmla="*/ 35 h 98"/>
                <a:gd name="T52" fmla="*/ 35 w 52"/>
                <a:gd name="T53" fmla="*/ 33 h 98"/>
                <a:gd name="T54" fmla="*/ 34 w 52"/>
                <a:gd name="T55" fmla="*/ 29 h 98"/>
                <a:gd name="T56" fmla="*/ 24 w 52"/>
                <a:gd name="T57" fmla="*/ 24 h 98"/>
                <a:gd name="T58" fmla="*/ 20 w 52"/>
                <a:gd name="T59" fmla="*/ 31 h 98"/>
                <a:gd name="T60" fmla="*/ 24 w 52"/>
                <a:gd name="T61" fmla="*/ 40 h 98"/>
                <a:gd name="T62" fmla="*/ 36 w 52"/>
                <a:gd name="T63" fmla="*/ 46 h 98"/>
                <a:gd name="T64" fmla="*/ 45 w 52"/>
                <a:gd name="T65" fmla="*/ 51 h 98"/>
                <a:gd name="T66" fmla="*/ 52 w 52"/>
                <a:gd name="T67" fmla="*/ 67 h 98"/>
                <a:gd name="T68" fmla="*/ 36 w 52"/>
                <a:gd name="T69" fmla="*/ 87 h 98"/>
                <a:gd name="T70" fmla="*/ 34 w 52"/>
                <a:gd name="T71" fmla="*/ 88 h 98"/>
                <a:gd name="T72" fmla="*/ 34 w 52"/>
                <a:gd name="T73" fmla="*/ 95 h 98"/>
                <a:gd name="T74" fmla="*/ 31 w 52"/>
                <a:gd name="T75" fmla="*/ 98 h 98"/>
                <a:gd name="T76" fmla="*/ 25 w 52"/>
                <a:gd name="T77" fmla="*/ 98 h 98"/>
                <a:gd name="T78" fmla="*/ 22 w 52"/>
                <a:gd name="T79" fmla="*/ 96 h 98"/>
                <a:gd name="T80" fmla="*/ 22 w 52"/>
                <a:gd name="T81"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98">
                  <a:moveTo>
                    <a:pt x="22" y="88"/>
                  </a:moveTo>
                  <a:cubicBezTo>
                    <a:pt x="19" y="87"/>
                    <a:pt x="17" y="87"/>
                    <a:pt x="14" y="86"/>
                  </a:cubicBezTo>
                  <a:cubicBezTo>
                    <a:pt x="6" y="82"/>
                    <a:pt x="1" y="76"/>
                    <a:pt x="0" y="67"/>
                  </a:cubicBezTo>
                  <a:cubicBezTo>
                    <a:pt x="0" y="64"/>
                    <a:pt x="0" y="63"/>
                    <a:pt x="3" y="63"/>
                  </a:cubicBezTo>
                  <a:cubicBezTo>
                    <a:pt x="7" y="63"/>
                    <a:pt x="10" y="63"/>
                    <a:pt x="14" y="63"/>
                  </a:cubicBezTo>
                  <a:cubicBezTo>
                    <a:pt x="16" y="63"/>
                    <a:pt x="17" y="64"/>
                    <a:pt x="17" y="66"/>
                  </a:cubicBezTo>
                  <a:cubicBezTo>
                    <a:pt x="17" y="67"/>
                    <a:pt x="17" y="68"/>
                    <a:pt x="18" y="69"/>
                  </a:cubicBezTo>
                  <a:cubicBezTo>
                    <a:pt x="19" y="73"/>
                    <a:pt x="23" y="75"/>
                    <a:pt x="27" y="75"/>
                  </a:cubicBezTo>
                  <a:cubicBezTo>
                    <a:pt x="34" y="75"/>
                    <a:pt x="35" y="70"/>
                    <a:pt x="34" y="65"/>
                  </a:cubicBezTo>
                  <a:cubicBezTo>
                    <a:pt x="34" y="62"/>
                    <a:pt x="32" y="60"/>
                    <a:pt x="29" y="58"/>
                  </a:cubicBezTo>
                  <a:cubicBezTo>
                    <a:pt x="26" y="57"/>
                    <a:pt x="23" y="56"/>
                    <a:pt x="20" y="54"/>
                  </a:cubicBezTo>
                  <a:cubicBezTo>
                    <a:pt x="17" y="53"/>
                    <a:pt x="14" y="51"/>
                    <a:pt x="12" y="50"/>
                  </a:cubicBezTo>
                  <a:cubicBezTo>
                    <a:pt x="6" y="46"/>
                    <a:pt x="3" y="41"/>
                    <a:pt x="3" y="35"/>
                  </a:cubicBezTo>
                  <a:cubicBezTo>
                    <a:pt x="2" y="29"/>
                    <a:pt x="3" y="23"/>
                    <a:pt x="8" y="18"/>
                  </a:cubicBezTo>
                  <a:cubicBezTo>
                    <a:pt x="11" y="15"/>
                    <a:pt x="16" y="13"/>
                    <a:pt x="20" y="12"/>
                  </a:cubicBezTo>
                  <a:cubicBezTo>
                    <a:pt x="21" y="12"/>
                    <a:pt x="21" y="12"/>
                    <a:pt x="22" y="11"/>
                  </a:cubicBezTo>
                  <a:cubicBezTo>
                    <a:pt x="22" y="9"/>
                    <a:pt x="22" y="6"/>
                    <a:pt x="22" y="3"/>
                  </a:cubicBezTo>
                  <a:cubicBezTo>
                    <a:pt x="22" y="1"/>
                    <a:pt x="23" y="0"/>
                    <a:pt x="25" y="0"/>
                  </a:cubicBezTo>
                  <a:cubicBezTo>
                    <a:pt x="27" y="0"/>
                    <a:pt x="29" y="0"/>
                    <a:pt x="31" y="0"/>
                  </a:cubicBezTo>
                  <a:cubicBezTo>
                    <a:pt x="33" y="0"/>
                    <a:pt x="34" y="1"/>
                    <a:pt x="34" y="3"/>
                  </a:cubicBezTo>
                  <a:cubicBezTo>
                    <a:pt x="34" y="5"/>
                    <a:pt x="34" y="7"/>
                    <a:pt x="34" y="9"/>
                  </a:cubicBezTo>
                  <a:cubicBezTo>
                    <a:pt x="34" y="11"/>
                    <a:pt x="34" y="12"/>
                    <a:pt x="36" y="12"/>
                  </a:cubicBezTo>
                  <a:cubicBezTo>
                    <a:pt x="44" y="14"/>
                    <a:pt x="49" y="20"/>
                    <a:pt x="52" y="28"/>
                  </a:cubicBezTo>
                  <a:cubicBezTo>
                    <a:pt x="52" y="30"/>
                    <a:pt x="52" y="31"/>
                    <a:pt x="52" y="32"/>
                  </a:cubicBezTo>
                  <a:cubicBezTo>
                    <a:pt x="52" y="34"/>
                    <a:pt x="51" y="35"/>
                    <a:pt x="50" y="35"/>
                  </a:cubicBezTo>
                  <a:cubicBezTo>
                    <a:pt x="46" y="35"/>
                    <a:pt x="41" y="35"/>
                    <a:pt x="37" y="35"/>
                  </a:cubicBezTo>
                  <a:cubicBezTo>
                    <a:pt x="36" y="35"/>
                    <a:pt x="35" y="34"/>
                    <a:pt x="35" y="33"/>
                  </a:cubicBezTo>
                  <a:cubicBezTo>
                    <a:pt x="35" y="32"/>
                    <a:pt x="34" y="30"/>
                    <a:pt x="34" y="29"/>
                  </a:cubicBezTo>
                  <a:cubicBezTo>
                    <a:pt x="33" y="25"/>
                    <a:pt x="28" y="23"/>
                    <a:pt x="24" y="24"/>
                  </a:cubicBezTo>
                  <a:cubicBezTo>
                    <a:pt x="21" y="25"/>
                    <a:pt x="20" y="28"/>
                    <a:pt x="20" y="31"/>
                  </a:cubicBezTo>
                  <a:cubicBezTo>
                    <a:pt x="19" y="35"/>
                    <a:pt x="20" y="38"/>
                    <a:pt x="24" y="40"/>
                  </a:cubicBezTo>
                  <a:cubicBezTo>
                    <a:pt x="28" y="42"/>
                    <a:pt x="32" y="44"/>
                    <a:pt x="36" y="46"/>
                  </a:cubicBezTo>
                  <a:cubicBezTo>
                    <a:pt x="39" y="47"/>
                    <a:pt x="42" y="49"/>
                    <a:pt x="45" y="51"/>
                  </a:cubicBezTo>
                  <a:cubicBezTo>
                    <a:pt x="50" y="55"/>
                    <a:pt x="52" y="61"/>
                    <a:pt x="52" y="67"/>
                  </a:cubicBezTo>
                  <a:cubicBezTo>
                    <a:pt x="52" y="77"/>
                    <a:pt x="46" y="84"/>
                    <a:pt x="36" y="87"/>
                  </a:cubicBezTo>
                  <a:cubicBezTo>
                    <a:pt x="35" y="87"/>
                    <a:pt x="35" y="87"/>
                    <a:pt x="34" y="88"/>
                  </a:cubicBezTo>
                  <a:cubicBezTo>
                    <a:pt x="34" y="90"/>
                    <a:pt x="34" y="93"/>
                    <a:pt x="34" y="95"/>
                  </a:cubicBezTo>
                  <a:cubicBezTo>
                    <a:pt x="34" y="98"/>
                    <a:pt x="33" y="98"/>
                    <a:pt x="31" y="98"/>
                  </a:cubicBezTo>
                  <a:cubicBezTo>
                    <a:pt x="29" y="98"/>
                    <a:pt x="27" y="98"/>
                    <a:pt x="25" y="98"/>
                  </a:cubicBezTo>
                  <a:cubicBezTo>
                    <a:pt x="23" y="98"/>
                    <a:pt x="22" y="98"/>
                    <a:pt x="22" y="96"/>
                  </a:cubicBezTo>
                  <a:cubicBezTo>
                    <a:pt x="22" y="93"/>
                    <a:pt x="22" y="90"/>
                    <a:pt x="22"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defTabSz="903108">
                <a:defRPr/>
              </a:pPr>
              <a:endParaRPr lang="en-US" sz="1580" dirty="0">
                <a:solidFill>
                  <a:prstClr val="black"/>
                </a:solidFill>
                <a:latin typeface="Calibri" panose="020F0502020204030204" pitchFamily="34" charset="0"/>
                <a:cs typeface="Calibri" panose="020F0502020204030204" pitchFamily="34" charset="0"/>
              </a:endParaRPr>
            </a:p>
          </p:txBody>
        </p:sp>
      </p:grpSp>
      <p:sp>
        <p:nvSpPr>
          <p:cNvPr id="111" name="Freeform 5">
            <a:extLst>
              <a:ext uri="{FF2B5EF4-FFF2-40B4-BE49-F238E27FC236}">
                <a16:creationId xmlns:a16="http://schemas.microsoft.com/office/drawing/2014/main" id="{8712F9D4-487A-7345-AC08-627B72966812}"/>
              </a:ext>
            </a:extLst>
          </p:cNvPr>
          <p:cNvSpPr>
            <a:spLocks noEditPoints="1"/>
          </p:cNvSpPr>
          <p:nvPr/>
        </p:nvSpPr>
        <p:spPr bwMode="auto">
          <a:xfrm>
            <a:off x="5996439" y="4652450"/>
            <a:ext cx="450972" cy="553015"/>
          </a:xfrm>
          <a:custGeom>
            <a:avLst/>
            <a:gdLst>
              <a:gd name="T0" fmla="*/ 50 w 142"/>
              <a:gd name="T1" fmla="*/ 181 h 181"/>
              <a:gd name="T2" fmla="*/ 50 w 142"/>
              <a:gd name="T3" fmla="*/ 147 h 181"/>
              <a:gd name="T4" fmla="*/ 19 w 142"/>
              <a:gd name="T5" fmla="*/ 144 h 181"/>
              <a:gd name="T6" fmla="*/ 16 w 142"/>
              <a:gd name="T7" fmla="*/ 140 h 181"/>
              <a:gd name="T8" fmla="*/ 15 w 142"/>
              <a:gd name="T9" fmla="*/ 114 h 181"/>
              <a:gd name="T10" fmla="*/ 12 w 142"/>
              <a:gd name="T11" fmla="*/ 111 h 181"/>
              <a:gd name="T12" fmla="*/ 0 w 142"/>
              <a:gd name="T13" fmla="*/ 109 h 181"/>
              <a:gd name="T14" fmla="*/ 14 w 142"/>
              <a:gd name="T15" fmla="*/ 55 h 181"/>
              <a:gd name="T16" fmla="*/ 29 w 142"/>
              <a:gd name="T17" fmla="*/ 24 h 181"/>
              <a:gd name="T18" fmla="*/ 90 w 142"/>
              <a:gd name="T19" fmla="*/ 5 h 181"/>
              <a:gd name="T20" fmla="*/ 133 w 142"/>
              <a:gd name="T21" fmla="*/ 45 h 181"/>
              <a:gd name="T22" fmla="*/ 125 w 142"/>
              <a:gd name="T23" fmla="*/ 122 h 181"/>
              <a:gd name="T24" fmla="*/ 122 w 142"/>
              <a:gd name="T25" fmla="*/ 132 h 181"/>
              <a:gd name="T26" fmla="*/ 122 w 142"/>
              <a:gd name="T27" fmla="*/ 169 h 181"/>
              <a:gd name="T28" fmla="*/ 122 w 142"/>
              <a:gd name="T29" fmla="*/ 181 h 181"/>
              <a:gd name="T30" fmla="*/ 50 w 142"/>
              <a:gd name="T31" fmla="*/ 181 h 181"/>
              <a:gd name="T32" fmla="*/ 112 w 142"/>
              <a:gd name="T33" fmla="*/ 68 h 181"/>
              <a:gd name="T34" fmla="*/ 113 w 142"/>
              <a:gd name="T35" fmla="*/ 66 h 181"/>
              <a:gd name="T36" fmla="*/ 106 w 142"/>
              <a:gd name="T37" fmla="*/ 54 h 181"/>
              <a:gd name="T38" fmla="*/ 113 w 142"/>
              <a:gd name="T39" fmla="*/ 43 h 181"/>
              <a:gd name="T40" fmla="*/ 108 w 142"/>
              <a:gd name="T41" fmla="*/ 34 h 181"/>
              <a:gd name="T42" fmla="*/ 95 w 142"/>
              <a:gd name="T43" fmla="*/ 35 h 181"/>
              <a:gd name="T44" fmla="*/ 89 w 142"/>
              <a:gd name="T45" fmla="*/ 23 h 181"/>
              <a:gd name="T46" fmla="*/ 78 w 142"/>
              <a:gd name="T47" fmla="*/ 23 h 181"/>
              <a:gd name="T48" fmla="*/ 72 w 142"/>
              <a:gd name="T49" fmla="*/ 35 h 181"/>
              <a:gd name="T50" fmla="*/ 59 w 142"/>
              <a:gd name="T51" fmla="*/ 34 h 181"/>
              <a:gd name="T52" fmla="*/ 53 w 142"/>
              <a:gd name="T53" fmla="*/ 44 h 181"/>
              <a:gd name="T54" fmla="*/ 55 w 142"/>
              <a:gd name="T55" fmla="*/ 45 h 181"/>
              <a:gd name="T56" fmla="*/ 60 w 142"/>
              <a:gd name="T57" fmla="*/ 56 h 181"/>
              <a:gd name="T58" fmla="*/ 55 w 142"/>
              <a:gd name="T59" fmla="*/ 63 h 181"/>
              <a:gd name="T60" fmla="*/ 54 w 142"/>
              <a:gd name="T61" fmla="*/ 68 h 181"/>
              <a:gd name="T62" fmla="*/ 65 w 142"/>
              <a:gd name="T63" fmla="*/ 72 h 181"/>
              <a:gd name="T64" fmla="*/ 69 w 142"/>
              <a:gd name="T65" fmla="*/ 73 h 181"/>
              <a:gd name="T66" fmla="*/ 77 w 142"/>
              <a:gd name="T67" fmla="*/ 84 h 181"/>
              <a:gd name="T68" fmla="*/ 78 w 142"/>
              <a:gd name="T69" fmla="*/ 85 h 181"/>
              <a:gd name="T70" fmla="*/ 87 w 142"/>
              <a:gd name="T71" fmla="*/ 86 h 181"/>
              <a:gd name="T72" fmla="*/ 89 w 142"/>
              <a:gd name="T73" fmla="*/ 84 h 181"/>
              <a:gd name="T74" fmla="*/ 90 w 142"/>
              <a:gd name="T75" fmla="*/ 82 h 181"/>
              <a:gd name="T76" fmla="*/ 98 w 142"/>
              <a:gd name="T77" fmla="*/ 73 h 181"/>
              <a:gd name="T78" fmla="*/ 101 w 142"/>
              <a:gd name="T79" fmla="*/ 73 h 181"/>
              <a:gd name="T80" fmla="*/ 108 w 142"/>
              <a:gd name="T81" fmla="*/ 75 h 181"/>
              <a:gd name="T82" fmla="*/ 112 w 142"/>
              <a:gd name="T83" fmla="*/ 68 h 181"/>
              <a:gd name="T84" fmla="*/ 26 w 142"/>
              <a:gd name="T85" fmla="*/ 90 h 181"/>
              <a:gd name="T86" fmla="*/ 29 w 142"/>
              <a:gd name="T87" fmla="*/ 93 h 181"/>
              <a:gd name="T88" fmla="*/ 29 w 142"/>
              <a:gd name="T89" fmla="*/ 101 h 181"/>
              <a:gd name="T90" fmla="*/ 28 w 142"/>
              <a:gd name="T91" fmla="*/ 109 h 181"/>
              <a:gd name="T92" fmla="*/ 29 w 142"/>
              <a:gd name="T93" fmla="*/ 111 h 181"/>
              <a:gd name="T94" fmla="*/ 43 w 142"/>
              <a:gd name="T95" fmla="*/ 118 h 181"/>
              <a:gd name="T96" fmla="*/ 49 w 142"/>
              <a:gd name="T97" fmla="*/ 118 h 181"/>
              <a:gd name="T98" fmla="*/ 53 w 142"/>
              <a:gd name="T99" fmla="*/ 111 h 181"/>
              <a:gd name="T100" fmla="*/ 62 w 142"/>
              <a:gd name="T101" fmla="*/ 111 h 181"/>
              <a:gd name="T102" fmla="*/ 66 w 142"/>
              <a:gd name="T103" fmla="*/ 105 h 181"/>
              <a:gd name="T104" fmla="*/ 66 w 142"/>
              <a:gd name="T105" fmla="*/ 90 h 181"/>
              <a:gd name="T106" fmla="*/ 62 w 142"/>
              <a:gd name="T107" fmla="*/ 84 h 181"/>
              <a:gd name="T108" fmla="*/ 53 w 142"/>
              <a:gd name="T109" fmla="*/ 85 h 181"/>
              <a:gd name="T110" fmla="*/ 49 w 142"/>
              <a:gd name="T111" fmla="*/ 77 h 181"/>
              <a:gd name="T112" fmla="*/ 43 w 142"/>
              <a:gd name="T113" fmla="*/ 77 h 181"/>
              <a:gd name="T114" fmla="*/ 30 w 142"/>
              <a:gd name="T115" fmla="*/ 84 h 181"/>
              <a:gd name="T116" fmla="*/ 26 w 142"/>
              <a:gd name="T1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181">
                <a:moveTo>
                  <a:pt x="50" y="181"/>
                </a:moveTo>
                <a:cubicBezTo>
                  <a:pt x="50" y="170"/>
                  <a:pt x="50" y="158"/>
                  <a:pt x="50" y="147"/>
                </a:cubicBezTo>
                <a:cubicBezTo>
                  <a:pt x="36" y="148"/>
                  <a:pt x="27" y="147"/>
                  <a:pt x="19" y="144"/>
                </a:cubicBezTo>
                <a:cubicBezTo>
                  <a:pt x="17" y="143"/>
                  <a:pt x="16" y="142"/>
                  <a:pt x="16" y="140"/>
                </a:cubicBezTo>
                <a:cubicBezTo>
                  <a:pt x="15" y="131"/>
                  <a:pt x="15" y="123"/>
                  <a:pt x="15" y="114"/>
                </a:cubicBezTo>
                <a:cubicBezTo>
                  <a:pt x="15" y="112"/>
                  <a:pt x="14" y="111"/>
                  <a:pt x="12" y="111"/>
                </a:cubicBezTo>
                <a:cubicBezTo>
                  <a:pt x="7" y="110"/>
                  <a:pt x="3" y="109"/>
                  <a:pt x="0" y="109"/>
                </a:cubicBezTo>
                <a:cubicBezTo>
                  <a:pt x="4" y="91"/>
                  <a:pt x="9" y="73"/>
                  <a:pt x="14" y="55"/>
                </a:cubicBezTo>
                <a:cubicBezTo>
                  <a:pt x="17" y="44"/>
                  <a:pt x="21" y="33"/>
                  <a:pt x="29" y="24"/>
                </a:cubicBezTo>
                <a:cubicBezTo>
                  <a:pt x="45" y="5"/>
                  <a:pt x="66" y="0"/>
                  <a:pt x="90" y="5"/>
                </a:cubicBezTo>
                <a:cubicBezTo>
                  <a:pt x="112" y="9"/>
                  <a:pt x="126" y="24"/>
                  <a:pt x="133" y="45"/>
                </a:cubicBezTo>
                <a:cubicBezTo>
                  <a:pt x="142" y="72"/>
                  <a:pt x="139" y="97"/>
                  <a:pt x="125" y="122"/>
                </a:cubicBezTo>
                <a:cubicBezTo>
                  <a:pt x="123" y="125"/>
                  <a:pt x="122" y="128"/>
                  <a:pt x="122" y="132"/>
                </a:cubicBezTo>
                <a:cubicBezTo>
                  <a:pt x="122" y="144"/>
                  <a:pt x="122" y="156"/>
                  <a:pt x="122" y="169"/>
                </a:cubicBezTo>
                <a:cubicBezTo>
                  <a:pt x="122" y="173"/>
                  <a:pt x="122" y="177"/>
                  <a:pt x="122" y="181"/>
                </a:cubicBezTo>
                <a:cubicBezTo>
                  <a:pt x="98" y="181"/>
                  <a:pt x="74" y="181"/>
                  <a:pt x="50" y="181"/>
                </a:cubicBezTo>
                <a:close/>
                <a:moveTo>
                  <a:pt x="112" y="68"/>
                </a:moveTo>
                <a:cubicBezTo>
                  <a:pt x="112" y="67"/>
                  <a:pt x="113" y="66"/>
                  <a:pt x="113" y="66"/>
                </a:cubicBezTo>
                <a:cubicBezTo>
                  <a:pt x="111" y="62"/>
                  <a:pt x="106" y="60"/>
                  <a:pt x="106" y="54"/>
                </a:cubicBezTo>
                <a:cubicBezTo>
                  <a:pt x="106" y="48"/>
                  <a:pt x="111" y="47"/>
                  <a:pt x="113" y="43"/>
                </a:cubicBezTo>
                <a:cubicBezTo>
                  <a:pt x="112" y="40"/>
                  <a:pt x="110" y="37"/>
                  <a:pt x="108" y="34"/>
                </a:cubicBezTo>
                <a:cubicBezTo>
                  <a:pt x="104" y="35"/>
                  <a:pt x="100" y="38"/>
                  <a:pt x="95" y="35"/>
                </a:cubicBezTo>
                <a:cubicBezTo>
                  <a:pt x="90" y="32"/>
                  <a:pt x="90" y="27"/>
                  <a:pt x="89" y="23"/>
                </a:cubicBezTo>
                <a:cubicBezTo>
                  <a:pt x="85" y="23"/>
                  <a:pt x="82" y="23"/>
                  <a:pt x="78" y="23"/>
                </a:cubicBezTo>
                <a:cubicBezTo>
                  <a:pt x="76" y="27"/>
                  <a:pt x="77" y="32"/>
                  <a:pt x="72" y="35"/>
                </a:cubicBezTo>
                <a:cubicBezTo>
                  <a:pt x="67" y="38"/>
                  <a:pt x="63" y="35"/>
                  <a:pt x="59" y="34"/>
                </a:cubicBezTo>
                <a:cubicBezTo>
                  <a:pt x="57" y="37"/>
                  <a:pt x="55" y="40"/>
                  <a:pt x="53" y="44"/>
                </a:cubicBezTo>
                <a:cubicBezTo>
                  <a:pt x="54" y="44"/>
                  <a:pt x="55" y="45"/>
                  <a:pt x="55" y="45"/>
                </a:cubicBezTo>
                <a:cubicBezTo>
                  <a:pt x="60" y="48"/>
                  <a:pt x="61" y="51"/>
                  <a:pt x="60" y="56"/>
                </a:cubicBezTo>
                <a:cubicBezTo>
                  <a:pt x="60" y="60"/>
                  <a:pt x="57" y="61"/>
                  <a:pt x="55" y="63"/>
                </a:cubicBezTo>
                <a:cubicBezTo>
                  <a:pt x="53" y="65"/>
                  <a:pt x="53" y="66"/>
                  <a:pt x="54" y="68"/>
                </a:cubicBezTo>
                <a:cubicBezTo>
                  <a:pt x="58" y="75"/>
                  <a:pt x="58" y="75"/>
                  <a:pt x="65" y="72"/>
                </a:cubicBezTo>
                <a:cubicBezTo>
                  <a:pt x="67" y="72"/>
                  <a:pt x="68" y="72"/>
                  <a:pt x="69" y="73"/>
                </a:cubicBezTo>
                <a:cubicBezTo>
                  <a:pt x="74" y="75"/>
                  <a:pt x="77" y="78"/>
                  <a:pt x="77" y="84"/>
                </a:cubicBezTo>
                <a:cubicBezTo>
                  <a:pt x="77" y="84"/>
                  <a:pt x="77" y="85"/>
                  <a:pt x="78" y="85"/>
                </a:cubicBezTo>
                <a:cubicBezTo>
                  <a:pt x="81" y="85"/>
                  <a:pt x="84" y="86"/>
                  <a:pt x="87" y="86"/>
                </a:cubicBezTo>
                <a:cubicBezTo>
                  <a:pt x="88" y="86"/>
                  <a:pt x="89" y="84"/>
                  <a:pt x="89" y="84"/>
                </a:cubicBezTo>
                <a:cubicBezTo>
                  <a:pt x="90" y="83"/>
                  <a:pt x="90" y="83"/>
                  <a:pt x="90" y="82"/>
                </a:cubicBezTo>
                <a:cubicBezTo>
                  <a:pt x="90" y="76"/>
                  <a:pt x="94" y="75"/>
                  <a:pt x="98" y="73"/>
                </a:cubicBezTo>
                <a:cubicBezTo>
                  <a:pt x="99" y="72"/>
                  <a:pt x="100" y="73"/>
                  <a:pt x="101" y="73"/>
                </a:cubicBezTo>
                <a:cubicBezTo>
                  <a:pt x="103" y="73"/>
                  <a:pt x="106" y="74"/>
                  <a:pt x="108" y="75"/>
                </a:cubicBezTo>
                <a:cubicBezTo>
                  <a:pt x="109" y="73"/>
                  <a:pt x="111" y="70"/>
                  <a:pt x="112" y="68"/>
                </a:cubicBezTo>
                <a:close/>
                <a:moveTo>
                  <a:pt x="26" y="90"/>
                </a:moveTo>
                <a:cubicBezTo>
                  <a:pt x="27" y="91"/>
                  <a:pt x="28" y="92"/>
                  <a:pt x="29" y="93"/>
                </a:cubicBezTo>
                <a:cubicBezTo>
                  <a:pt x="31" y="95"/>
                  <a:pt x="32" y="100"/>
                  <a:pt x="29" y="101"/>
                </a:cubicBezTo>
                <a:cubicBezTo>
                  <a:pt x="25" y="104"/>
                  <a:pt x="26" y="106"/>
                  <a:pt x="28" y="109"/>
                </a:cubicBezTo>
                <a:cubicBezTo>
                  <a:pt x="29" y="110"/>
                  <a:pt x="29" y="110"/>
                  <a:pt x="29" y="111"/>
                </a:cubicBezTo>
                <a:cubicBezTo>
                  <a:pt x="39" y="109"/>
                  <a:pt x="39" y="109"/>
                  <a:pt x="43" y="118"/>
                </a:cubicBezTo>
                <a:cubicBezTo>
                  <a:pt x="45" y="118"/>
                  <a:pt x="47" y="118"/>
                  <a:pt x="49" y="118"/>
                </a:cubicBezTo>
                <a:cubicBezTo>
                  <a:pt x="51" y="116"/>
                  <a:pt x="50" y="113"/>
                  <a:pt x="53" y="111"/>
                </a:cubicBezTo>
                <a:cubicBezTo>
                  <a:pt x="57" y="109"/>
                  <a:pt x="59" y="111"/>
                  <a:pt x="62" y="111"/>
                </a:cubicBezTo>
                <a:cubicBezTo>
                  <a:pt x="64" y="109"/>
                  <a:pt x="65" y="107"/>
                  <a:pt x="66" y="105"/>
                </a:cubicBezTo>
                <a:cubicBezTo>
                  <a:pt x="59" y="98"/>
                  <a:pt x="59" y="97"/>
                  <a:pt x="66" y="90"/>
                </a:cubicBezTo>
                <a:cubicBezTo>
                  <a:pt x="65" y="88"/>
                  <a:pt x="64" y="86"/>
                  <a:pt x="62" y="84"/>
                </a:cubicBezTo>
                <a:cubicBezTo>
                  <a:pt x="59" y="84"/>
                  <a:pt x="57" y="86"/>
                  <a:pt x="53" y="85"/>
                </a:cubicBezTo>
                <a:cubicBezTo>
                  <a:pt x="50" y="83"/>
                  <a:pt x="51" y="79"/>
                  <a:pt x="49" y="77"/>
                </a:cubicBezTo>
                <a:cubicBezTo>
                  <a:pt x="47" y="77"/>
                  <a:pt x="45" y="77"/>
                  <a:pt x="43" y="77"/>
                </a:cubicBezTo>
                <a:cubicBezTo>
                  <a:pt x="39" y="86"/>
                  <a:pt x="38" y="86"/>
                  <a:pt x="30" y="84"/>
                </a:cubicBezTo>
                <a:cubicBezTo>
                  <a:pt x="28" y="86"/>
                  <a:pt x="27" y="88"/>
                  <a:pt x="26" y="90"/>
                </a:cubicBezTo>
                <a:close/>
              </a:path>
            </a:pathLst>
          </a:custGeom>
          <a:solidFill>
            <a:srgbClr val="0033A0"/>
          </a:solidFill>
          <a:ln>
            <a:noFill/>
          </a:ln>
          <a:extLst/>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112" name="Freeform 29">
            <a:extLst>
              <a:ext uri="{FF2B5EF4-FFF2-40B4-BE49-F238E27FC236}">
                <a16:creationId xmlns:a16="http://schemas.microsoft.com/office/drawing/2014/main" id="{2A05423B-02CC-AD49-99BF-7C835CFBFE49}"/>
              </a:ext>
            </a:extLst>
          </p:cNvPr>
          <p:cNvSpPr>
            <a:spLocks/>
          </p:cNvSpPr>
          <p:nvPr/>
        </p:nvSpPr>
        <p:spPr bwMode="auto">
          <a:xfrm>
            <a:off x="5969851" y="5311944"/>
            <a:ext cx="544161" cy="532876"/>
          </a:xfrm>
          <a:custGeom>
            <a:avLst/>
            <a:gdLst>
              <a:gd name="T0" fmla="*/ 168 w 262"/>
              <a:gd name="T1" fmla="*/ 55 h 266"/>
              <a:gd name="T2" fmla="*/ 160 w 262"/>
              <a:gd name="T3" fmla="*/ 68 h 266"/>
              <a:gd name="T4" fmla="*/ 34 w 262"/>
              <a:gd name="T5" fmla="*/ 104 h 266"/>
              <a:gd name="T6" fmla="*/ 64 w 262"/>
              <a:gd name="T7" fmla="*/ 223 h 266"/>
              <a:gd name="T8" fmla="*/ 182 w 262"/>
              <a:gd name="T9" fmla="*/ 208 h 266"/>
              <a:gd name="T10" fmla="*/ 184 w 262"/>
              <a:gd name="T11" fmla="*/ 89 h 266"/>
              <a:gd name="T12" fmla="*/ 168 w 262"/>
              <a:gd name="T13" fmla="*/ 105 h 266"/>
              <a:gd name="T14" fmla="*/ 180 w 262"/>
              <a:gd name="T15" fmla="*/ 166 h 266"/>
              <a:gd name="T16" fmla="*/ 153 w 262"/>
              <a:gd name="T17" fmla="*/ 203 h 266"/>
              <a:gd name="T18" fmla="*/ 65 w 262"/>
              <a:gd name="T19" fmla="*/ 194 h 266"/>
              <a:gd name="T20" fmla="*/ 61 w 262"/>
              <a:gd name="T21" fmla="*/ 106 h 266"/>
              <a:gd name="T22" fmla="*/ 142 w 262"/>
              <a:gd name="T23" fmla="*/ 85 h 266"/>
              <a:gd name="T24" fmla="*/ 136 w 262"/>
              <a:gd name="T25" fmla="*/ 99 h 266"/>
              <a:gd name="T26" fmla="*/ 88 w 262"/>
              <a:gd name="T27" fmla="*/ 102 h 266"/>
              <a:gd name="T28" fmla="*/ 66 w 262"/>
              <a:gd name="T29" fmla="*/ 128 h 266"/>
              <a:gd name="T30" fmla="*/ 88 w 262"/>
              <a:gd name="T31" fmla="*/ 192 h 266"/>
              <a:gd name="T32" fmla="*/ 154 w 262"/>
              <a:gd name="T33" fmla="*/ 182 h 266"/>
              <a:gd name="T34" fmla="*/ 156 w 262"/>
              <a:gd name="T35" fmla="*/ 115 h 266"/>
              <a:gd name="T36" fmla="*/ 145 w 262"/>
              <a:gd name="T37" fmla="*/ 128 h 266"/>
              <a:gd name="T38" fmla="*/ 145 w 262"/>
              <a:gd name="T39" fmla="*/ 134 h 266"/>
              <a:gd name="T40" fmla="*/ 124 w 262"/>
              <a:gd name="T41" fmla="*/ 179 h 266"/>
              <a:gd name="T42" fmla="*/ 89 w 262"/>
              <a:gd name="T43" fmla="*/ 169 h 266"/>
              <a:gd name="T44" fmla="*/ 85 w 262"/>
              <a:gd name="T45" fmla="*/ 133 h 266"/>
              <a:gd name="T46" fmla="*/ 116 w 262"/>
              <a:gd name="T47" fmla="*/ 114 h 266"/>
              <a:gd name="T48" fmla="*/ 128 w 262"/>
              <a:gd name="T49" fmla="*/ 117 h 266"/>
              <a:gd name="T50" fmla="*/ 136 w 262"/>
              <a:gd name="T51" fmla="*/ 115 h 266"/>
              <a:gd name="T52" fmla="*/ 190 w 262"/>
              <a:gd name="T53" fmla="*/ 61 h 266"/>
              <a:gd name="T54" fmla="*/ 192 w 262"/>
              <a:gd name="T55" fmla="*/ 53 h 266"/>
              <a:gd name="T56" fmla="*/ 187 w 262"/>
              <a:gd name="T57" fmla="*/ 35 h 266"/>
              <a:gd name="T58" fmla="*/ 189 w 262"/>
              <a:gd name="T59" fmla="*/ 29 h 266"/>
              <a:gd name="T60" fmla="*/ 218 w 262"/>
              <a:gd name="T61" fmla="*/ 0 h 266"/>
              <a:gd name="T62" fmla="*/ 225 w 262"/>
              <a:gd name="T63" fmla="*/ 27 h 266"/>
              <a:gd name="T64" fmla="*/ 235 w 262"/>
              <a:gd name="T65" fmla="*/ 37 h 266"/>
              <a:gd name="T66" fmla="*/ 262 w 262"/>
              <a:gd name="T67" fmla="*/ 46 h 266"/>
              <a:gd name="T68" fmla="*/ 232 w 262"/>
              <a:gd name="T69" fmla="*/ 76 h 266"/>
              <a:gd name="T70" fmla="*/ 228 w 262"/>
              <a:gd name="T71" fmla="*/ 76 h 266"/>
              <a:gd name="T72" fmla="*/ 211 w 262"/>
              <a:gd name="T73" fmla="*/ 71 h 266"/>
              <a:gd name="T74" fmla="*/ 199 w 262"/>
              <a:gd name="T75" fmla="*/ 74 h 266"/>
              <a:gd name="T76" fmla="*/ 195 w 262"/>
              <a:gd name="T77" fmla="*/ 77 h 266"/>
              <a:gd name="T78" fmla="*/ 216 w 262"/>
              <a:gd name="T79" fmla="*/ 178 h 266"/>
              <a:gd name="T80" fmla="*/ 173 w 262"/>
              <a:gd name="T81" fmla="*/ 236 h 266"/>
              <a:gd name="T82" fmla="*/ 32 w 262"/>
              <a:gd name="T83" fmla="*/ 214 h 266"/>
              <a:gd name="T84" fmla="*/ 34 w 262"/>
              <a:gd name="T85" fmla="*/ 77 h 266"/>
              <a:gd name="T86" fmla="*/ 168 w 262"/>
              <a:gd name="T87" fmla="*/ 5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2" h="266">
                <a:moveTo>
                  <a:pt x="168" y="55"/>
                </a:moveTo>
                <a:cubicBezTo>
                  <a:pt x="165" y="59"/>
                  <a:pt x="163" y="64"/>
                  <a:pt x="160" y="68"/>
                </a:cubicBezTo>
                <a:cubicBezTo>
                  <a:pt x="106" y="40"/>
                  <a:pt x="54" y="67"/>
                  <a:pt x="34" y="104"/>
                </a:cubicBezTo>
                <a:cubicBezTo>
                  <a:pt x="13" y="145"/>
                  <a:pt x="25" y="196"/>
                  <a:pt x="64" y="223"/>
                </a:cubicBezTo>
                <a:cubicBezTo>
                  <a:pt x="101" y="248"/>
                  <a:pt x="153" y="241"/>
                  <a:pt x="182" y="208"/>
                </a:cubicBezTo>
                <a:cubicBezTo>
                  <a:pt x="215" y="171"/>
                  <a:pt x="211" y="119"/>
                  <a:pt x="184" y="89"/>
                </a:cubicBezTo>
                <a:cubicBezTo>
                  <a:pt x="179" y="94"/>
                  <a:pt x="174" y="99"/>
                  <a:pt x="168" y="105"/>
                </a:cubicBezTo>
                <a:cubicBezTo>
                  <a:pt x="182" y="123"/>
                  <a:pt x="186" y="144"/>
                  <a:pt x="180" y="166"/>
                </a:cubicBezTo>
                <a:cubicBezTo>
                  <a:pt x="175" y="182"/>
                  <a:pt x="166" y="194"/>
                  <a:pt x="153" y="203"/>
                </a:cubicBezTo>
                <a:cubicBezTo>
                  <a:pt x="125" y="222"/>
                  <a:pt x="89" y="218"/>
                  <a:pt x="65" y="194"/>
                </a:cubicBezTo>
                <a:cubicBezTo>
                  <a:pt x="43" y="170"/>
                  <a:pt x="41" y="133"/>
                  <a:pt x="61" y="106"/>
                </a:cubicBezTo>
                <a:cubicBezTo>
                  <a:pt x="79" y="82"/>
                  <a:pt x="116" y="72"/>
                  <a:pt x="142" y="85"/>
                </a:cubicBezTo>
                <a:cubicBezTo>
                  <a:pt x="140" y="90"/>
                  <a:pt x="138" y="94"/>
                  <a:pt x="136" y="99"/>
                </a:cubicBezTo>
                <a:cubicBezTo>
                  <a:pt x="120" y="92"/>
                  <a:pt x="103" y="93"/>
                  <a:pt x="88" y="102"/>
                </a:cubicBezTo>
                <a:cubicBezTo>
                  <a:pt x="77" y="108"/>
                  <a:pt x="70" y="117"/>
                  <a:pt x="66" y="128"/>
                </a:cubicBezTo>
                <a:cubicBezTo>
                  <a:pt x="56" y="152"/>
                  <a:pt x="66" y="179"/>
                  <a:pt x="88" y="192"/>
                </a:cubicBezTo>
                <a:cubicBezTo>
                  <a:pt x="110" y="205"/>
                  <a:pt x="138" y="201"/>
                  <a:pt x="154" y="182"/>
                </a:cubicBezTo>
                <a:cubicBezTo>
                  <a:pt x="171" y="163"/>
                  <a:pt x="172" y="134"/>
                  <a:pt x="156" y="115"/>
                </a:cubicBezTo>
                <a:cubicBezTo>
                  <a:pt x="152" y="119"/>
                  <a:pt x="148" y="123"/>
                  <a:pt x="145" y="128"/>
                </a:cubicBezTo>
                <a:cubicBezTo>
                  <a:pt x="144" y="129"/>
                  <a:pt x="145" y="132"/>
                  <a:pt x="145" y="134"/>
                </a:cubicBezTo>
                <a:cubicBezTo>
                  <a:pt x="153" y="153"/>
                  <a:pt x="143" y="174"/>
                  <a:pt x="124" y="179"/>
                </a:cubicBezTo>
                <a:cubicBezTo>
                  <a:pt x="110" y="183"/>
                  <a:pt x="98" y="179"/>
                  <a:pt x="89" y="169"/>
                </a:cubicBezTo>
                <a:cubicBezTo>
                  <a:pt x="80" y="158"/>
                  <a:pt x="79" y="145"/>
                  <a:pt x="85" y="133"/>
                </a:cubicBezTo>
                <a:cubicBezTo>
                  <a:pt x="91" y="120"/>
                  <a:pt x="101" y="114"/>
                  <a:pt x="116" y="114"/>
                </a:cubicBezTo>
                <a:cubicBezTo>
                  <a:pt x="120" y="114"/>
                  <a:pt x="124" y="115"/>
                  <a:pt x="128" y="117"/>
                </a:cubicBezTo>
                <a:cubicBezTo>
                  <a:pt x="132" y="118"/>
                  <a:pt x="134" y="118"/>
                  <a:pt x="136" y="115"/>
                </a:cubicBezTo>
                <a:cubicBezTo>
                  <a:pt x="154" y="97"/>
                  <a:pt x="172" y="79"/>
                  <a:pt x="190" y="61"/>
                </a:cubicBezTo>
                <a:cubicBezTo>
                  <a:pt x="192" y="59"/>
                  <a:pt x="193" y="56"/>
                  <a:pt x="192" y="53"/>
                </a:cubicBezTo>
                <a:cubicBezTo>
                  <a:pt x="190" y="47"/>
                  <a:pt x="188" y="41"/>
                  <a:pt x="187" y="35"/>
                </a:cubicBezTo>
                <a:cubicBezTo>
                  <a:pt x="187" y="33"/>
                  <a:pt x="187" y="30"/>
                  <a:pt x="189" y="29"/>
                </a:cubicBezTo>
                <a:cubicBezTo>
                  <a:pt x="198" y="19"/>
                  <a:pt x="207" y="10"/>
                  <a:pt x="218" y="0"/>
                </a:cubicBezTo>
                <a:cubicBezTo>
                  <a:pt x="220" y="9"/>
                  <a:pt x="223" y="18"/>
                  <a:pt x="225" y="27"/>
                </a:cubicBezTo>
                <a:cubicBezTo>
                  <a:pt x="226" y="33"/>
                  <a:pt x="229" y="36"/>
                  <a:pt x="235" y="37"/>
                </a:cubicBezTo>
                <a:cubicBezTo>
                  <a:pt x="244" y="40"/>
                  <a:pt x="253" y="43"/>
                  <a:pt x="262" y="46"/>
                </a:cubicBezTo>
                <a:cubicBezTo>
                  <a:pt x="252" y="56"/>
                  <a:pt x="242" y="66"/>
                  <a:pt x="232" y="76"/>
                </a:cubicBezTo>
                <a:cubicBezTo>
                  <a:pt x="231" y="77"/>
                  <a:pt x="229" y="77"/>
                  <a:pt x="228" y="76"/>
                </a:cubicBezTo>
                <a:cubicBezTo>
                  <a:pt x="222" y="75"/>
                  <a:pt x="216" y="73"/>
                  <a:pt x="211" y="71"/>
                </a:cubicBezTo>
                <a:cubicBezTo>
                  <a:pt x="206" y="69"/>
                  <a:pt x="202" y="69"/>
                  <a:pt x="199" y="74"/>
                </a:cubicBezTo>
                <a:cubicBezTo>
                  <a:pt x="198" y="75"/>
                  <a:pt x="197" y="76"/>
                  <a:pt x="195" y="77"/>
                </a:cubicBezTo>
                <a:cubicBezTo>
                  <a:pt x="219" y="107"/>
                  <a:pt x="227" y="141"/>
                  <a:pt x="216" y="178"/>
                </a:cubicBezTo>
                <a:cubicBezTo>
                  <a:pt x="209" y="202"/>
                  <a:pt x="195" y="222"/>
                  <a:pt x="173" y="236"/>
                </a:cubicBezTo>
                <a:cubicBezTo>
                  <a:pt x="126" y="266"/>
                  <a:pt x="68" y="257"/>
                  <a:pt x="32" y="214"/>
                </a:cubicBezTo>
                <a:cubicBezTo>
                  <a:pt x="0" y="175"/>
                  <a:pt x="1" y="114"/>
                  <a:pt x="34" y="77"/>
                </a:cubicBezTo>
                <a:cubicBezTo>
                  <a:pt x="71" y="35"/>
                  <a:pt x="130" y="32"/>
                  <a:pt x="168" y="55"/>
                </a:cubicBezTo>
                <a:close/>
              </a:path>
            </a:pathLst>
          </a:custGeom>
          <a:solidFill>
            <a:srgbClr val="0033A0"/>
          </a:solidFill>
          <a:ln>
            <a:noFill/>
          </a:ln>
        </p:spPr>
        <p:txBody>
          <a:bodyPr vert="horz" wrap="square" lIns="120415" tIns="60207" rIns="120415" bIns="60207" numCol="1" anchor="t" anchorCtr="0" compatLnSpc="1">
            <a:prstTxWarp prst="textNoShape">
              <a:avLst/>
            </a:prstTxWarp>
          </a:bodyPr>
          <a:lstStyle/>
          <a:p>
            <a:pPr defTabSz="1204115">
              <a:defRPr/>
            </a:pPr>
            <a:endParaRPr lang="en-US" sz="1975" dirty="0">
              <a:solidFill>
                <a:prstClr val="black"/>
              </a:solidFill>
              <a:latin typeface="Calibri" panose="020F0502020204030204" pitchFamily="34" charset="0"/>
              <a:cs typeface="Calibri" panose="020F0502020204030204" pitchFamily="34" charset="0"/>
            </a:endParaRPr>
          </a:p>
        </p:txBody>
      </p:sp>
      <p:sp>
        <p:nvSpPr>
          <p:cNvPr id="45" name="Rectangle 44"/>
          <p:cNvSpPr/>
          <p:nvPr/>
        </p:nvSpPr>
        <p:spPr>
          <a:xfrm>
            <a:off x="8038089" y="3868763"/>
            <a:ext cx="2166939" cy="523220"/>
          </a:xfrm>
          <a:prstGeom prst="rect">
            <a:avLst/>
          </a:prstGeom>
        </p:spPr>
        <p:txBody>
          <a:bodyPr wrap="square">
            <a:spAutoFit/>
          </a:bodyPr>
          <a:lstStyle/>
          <a:p>
            <a:pPr defTabSz="602057">
              <a:defRPr/>
            </a:pPr>
            <a:r>
              <a:rPr lang="en-US" sz="1600" b="1" kern="0" dirty="0">
                <a:solidFill>
                  <a:srgbClr val="000000">
                    <a:lumMod val="65000"/>
                    <a:lumOff val="35000"/>
                  </a:srgbClr>
                </a:solidFill>
                <a:latin typeface="Calibri" panose="020F0502020204030204" pitchFamily="34" charset="0"/>
                <a:cs typeface="Calibri" panose="020F0502020204030204" pitchFamily="34" charset="0"/>
              </a:rPr>
              <a:t>20-40%</a:t>
            </a:r>
            <a:r>
              <a:rPr lang="en-US" sz="1600" kern="0" dirty="0">
                <a:solidFill>
                  <a:srgbClr val="000000">
                    <a:lumMod val="65000"/>
                    <a:lumOff val="35000"/>
                  </a:srgbClr>
                </a:solidFill>
                <a:latin typeface="Calibri" panose="020F0502020204030204" pitchFamily="34" charset="0"/>
                <a:cs typeface="Calibri" panose="020F0502020204030204" pitchFamily="34" charset="0"/>
              </a:rPr>
              <a:t> </a:t>
            </a:r>
            <a:r>
              <a:rPr lang="en-US" sz="1200" kern="0" dirty="0">
                <a:solidFill>
                  <a:srgbClr val="000000">
                    <a:lumMod val="65000"/>
                    <a:lumOff val="35000"/>
                  </a:srgbClr>
                </a:solidFill>
                <a:latin typeface="Calibri" panose="020F0502020204030204" pitchFamily="34" charset="0"/>
                <a:cs typeface="Calibri" panose="020F0502020204030204" pitchFamily="34" charset="0"/>
              </a:rPr>
              <a:t>Leakage reduction of Elimination and Automation</a:t>
            </a:r>
          </a:p>
        </p:txBody>
      </p:sp>
      <p:sp>
        <p:nvSpPr>
          <p:cNvPr id="113" name="Rectangle 112"/>
          <p:cNvSpPr/>
          <p:nvPr/>
        </p:nvSpPr>
        <p:spPr>
          <a:xfrm>
            <a:off x="8038089" y="4351135"/>
            <a:ext cx="2166939" cy="523220"/>
          </a:xfrm>
          <a:prstGeom prst="rect">
            <a:avLst/>
          </a:prstGeom>
        </p:spPr>
        <p:txBody>
          <a:bodyPr wrap="square">
            <a:spAutoFit/>
          </a:bodyPr>
          <a:lstStyle/>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Automation – </a:t>
            </a:r>
            <a:r>
              <a:rPr lang="en-US" sz="1600" b="1" kern="0" dirty="0" smtClean="0">
                <a:solidFill>
                  <a:srgbClr val="000000">
                    <a:lumMod val="65000"/>
                    <a:lumOff val="35000"/>
                  </a:srgbClr>
                </a:solidFill>
                <a:latin typeface="Calibri" panose="020F0502020204030204" pitchFamily="34" charset="0"/>
                <a:cs typeface="Calibri" panose="020F0502020204030204" pitchFamily="34" charset="0"/>
              </a:rPr>
              <a:t>2X Effort </a:t>
            </a: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reduction on use cases</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sp>
        <p:nvSpPr>
          <p:cNvPr id="114" name="Rectangle 113"/>
          <p:cNvSpPr/>
          <p:nvPr/>
        </p:nvSpPr>
        <p:spPr>
          <a:xfrm>
            <a:off x="8031306" y="4882729"/>
            <a:ext cx="2166939" cy="461665"/>
          </a:xfrm>
          <a:prstGeom prst="rect">
            <a:avLst/>
          </a:prstGeom>
        </p:spPr>
        <p:txBody>
          <a:bodyPr wrap="square">
            <a:spAutoFit/>
          </a:bodyPr>
          <a:lstStyle/>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Monitoring Transformation with PID 3.0*</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cxnSp>
        <p:nvCxnSpPr>
          <p:cNvPr id="71" name="Straight Connector 70">
            <a:extLst>
              <a:ext uri="{FF2B5EF4-FFF2-40B4-BE49-F238E27FC236}">
                <a16:creationId xmlns:a16="http://schemas.microsoft.com/office/drawing/2014/main" id="{617F80D2-F87B-0740-85F5-9DE9A818208E}"/>
              </a:ext>
            </a:extLst>
          </p:cNvPr>
          <p:cNvCxnSpPr/>
          <p:nvPr/>
        </p:nvCxnSpPr>
        <p:spPr>
          <a:xfrm>
            <a:off x="7973921" y="3864592"/>
            <a:ext cx="0" cy="2103120"/>
          </a:xfrm>
          <a:prstGeom prst="line">
            <a:avLst/>
          </a:prstGeom>
          <a:noFill/>
          <a:ln w="9525" cap="flat" cmpd="sng" algn="ctr">
            <a:solidFill>
              <a:sysClr val="window" lastClr="FFFFFF">
                <a:lumMod val="75000"/>
              </a:sysClr>
            </a:solidFill>
            <a:prstDash val="sysDash"/>
          </a:ln>
          <a:effectLst/>
        </p:spPr>
      </p:cxnSp>
      <p:sp>
        <p:nvSpPr>
          <p:cNvPr id="2" name="Rectangle 1"/>
          <p:cNvSpPr/>
          <p:nvPr/>
        </p:nvSpPr>
        <p:spPr>
          <a:xfrm>
            <a:off x="6577925" y="4628501"/>
            <a:ext cx="1153008" cy="369332"/>
          </a:xfrm>
          <a:prstGeom prst="rect">
            <a:avLst/>
          </a:prstGeom>
        </p:spPr>
        <p:txBody>
          <a:bodyPr wrap="none">
            <a:spAutoFit/>
          </a:bodyPr>
          <a:lstStyle/>
          <a:p>
            <a:pPr defTabSz="484764">
              <a:defRPr/>
            </a:pPr>
            <a:r>
              <a:rPr lang="en-US" b="1" dirty="0" smtClean="0">
                <a:solidFill>
                  <a:srgbClr val="000000">
                    <a:lumMod val="65000"/>
                    <a:lumOff val="35000"/>
                  </a:srgbClr>
                </a:solidFill>
                <a:latin typeface="Calibri" panose="020F0502020204030204" pitchFamily="34" charset="0"/>
                <a:ea typeface="MS PGothic" pitchFamily="34" charset="-128"/>
                <a:cs typeface="Calibri" panose="020F0502020204030204" pitchFamily="34" charset="0"/>
              </a:rPr>
              <a:t>Transform</a:t>
            </a:r>
            <a:endParaRPr lang="en-US" b="1" dirty="0">
              <a:solidFill>
                <a:srgbClr val="000000">
                  <a:lumMod val="65000"/>
                  <a:lumOff val="35000"/>
                </a:srgbClr>
              </a:solidFill>
              <a:latin typeface="Calibri" panose="020F0502020204030204" pitchFamily="34" charset="0"/>
              <a:ea typeface="MS PGothic" pitchFamily="34" charset="-128"/>
              <a:cs typeface="Calibri" panose="020F0502020204030204" pitchFamily="34" charset="0"/>
            </a:endParaRPr>
          </a:p>
        </p:txBody>
      </p:sp>
      <p:sp>
        <p:nvSpPr>
          <p:cNvPr id="72" name="Rectangle 71"/>
          <p:cNvSpPr/>
          <p:nvPr/>
        </p:nvSpPr>
        <p:spPr>
          <a:xfrm>
            <a:off x="7973921" y="5326724"/>
            <a:ext cx="2297879" cy="461665"/>
          </a:xfrm>
          <a:prstGeom prst="rect">
            <a:avLst/>
          </a:prstGeom>
        </p:spPr>
        <p:txBody>
          <a:bodyPr wrap="square">
            <a:spAutoFit/>
          </a:bodyPr>
          <a:lstStyle/>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SMO evolution to Service Integration and Governance</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sp>
        <p:nvSpPr>
          <p:cNvPr id="61" name="Oval 60">
            <a:extLst>
              <a:ext uri="{FF2B5EF4-FFF2-40B4-BE49-F238E27FC236}">
                <a16:creationId xmlns:a16="http://schemas.microsoft.com/office/drawing/2014/main" id="{42CD869C-4CAA-ED43-8221-D716610BD640}"/>
              </a:ext>
            </a:extLst>
          </p:cNvPr>
          <p:cNvSpPr/>
          <p:nvPr/>
        </p:nvSpPr>
        <p:spPr>
          <a:xfrm>
            <a:off x="2252491" y="380256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1</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42CD869C-4CAA-ED43-8221-D716610BD640}"/>
              </a:ext>
            </a:extLst>
          </p:cNvPr>
          <p:cNvSpPr/>
          <p:nvPr/>
        </p:nvSpPr>
        <p:spPr>
          <a:xfrm>
            <a:off x="7477812" y="3846860"/>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1" dirty="0" smtClean="0">
                <a:solidFill>
                  <a:prstClr val="white"/>
                </a:solidFill>
                <a:latin typeface="Calibri" panose="020F0502020204030204"/>
              </a:rPr>
              <a:t>3</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42CD869C-4CAA-ED43-8221-D716610BD640}"/>
              </a:ext>
            </a:extLst>
          </p:cNvPr>
          <p:cNvSpPr/>
          <p:nvPr/>
        </p:nvSpPr>
        <p:spPr>
          <a:xfrm>
            <a:off x="7520193" y="4888429"/>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4</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2CD869C-4CAA-ED43-8221-D716610BD640}"/>
              </a:ext>
            </a:extLst>
          </p:cNvPr>
          <p:cNvSpPr/>
          <p:nvPr/>
        </p:nvSpPr>
        <p:spPr>
          <a:xfrm>
            <a:off x="2237860" y="5437190"/>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2</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42CD869C-4CAA-ED43-8221-D716610BD640}"/>
              </a:ext>
            </a:extLst>
          </p:cNvPr>
          <p:cNvSpPr/>
          <p:nvPr/>
        </p:nvSpPr>
        <p:spPr>
          <a:xfrm>
            <a:off x="72432" y="5829954"/>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1" dirty="0" smtClean="0">
                <a:solidFill>
                  <a:prstClr val="white"/>
                </a:solidFill>
                <a:latin typeface="Calibri" panose="020F0502020204030204"/>
              </a:rPr>
              <a:t>X</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p:cNvSpPr/>
          <p:nvPr/>
        </p:nvSpPr>
        <p:spPr>
          <a:xfrm>
            <a:off x="518076" y="5909163"/>
            <a:ext cx="1754006" cy="276999"/>
          </a:xfrm>
          <a:prstGeom prst="rect">
            <a:avLst/>
          </a:prstGeom>
        </p:spPr>
        <p:txBody>
          <a:bodyPr wrap="none">
            <a:spAutoFit/>
          </a:bodyPr>
          <a:lstStyle/>
          <a:p>
            <a:pPr defTabSz="602057">
              <a:defRPr/>
            </a:pPr>
            <a:r>
              <a:rPr lang="en-US" sz="1200" kern="0" dirty="0" smtClean="0">
                <a:solidFill>
                  <a:srgbClr val="000000">
                    <a:lumMod val="65000"/>
                    <a:lumOff val="35000"/>
                  </a:srgbClr>
                </a:solidFill>
                <a:latin typeface="Calibri" panose="020F0502020204030204" pitchFamily="34" charset="0"/>
                <a:cs typeface="Calibri" panose="020F0502020204030204" pitchFamily="34" charset="0"/>
              </a:rPr>
              <a:t>Cognizant Differentiators</a:t>
            </a:r>
            <a:endParaRPr lang="en-US" sz="1200" kern="0" dirty="0">
              <a:solidFill>
                <a:srgbClr val="000000">
                  <a:lumMod val="65000"/>
                  <a:lumOff val="35000"/>
                </a:srgb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219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FP 2 – Solution Overview</a:t>
            </a:r>
            <a:endParaRPr lang="en-US" dirty="0"/>
          </a:p>
        </p:txBody>
      </p:sp>
    </p:spTree>
    <p:extLst>
      <p:ext uri="{BB962C8B-B14F-4D97-AF65-F5344CB8AC3E}">
        <p14:creationId xmlns:p14="http://schemas.microsoft.com/office/powerpoint/2010/main" val="424258366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verall RFP 2 Solution tenets aligned to Marriott’s objectives and defined outcomes</a:t>
            </a:r>
            <a:endParaRPr lang="en-US" dirty="0"/>
          </a:p>
        </p:txBody>
      </p:sp>
      <p:graphicFrame>
        <p:nvGraphicFramePr>
          <p:cNvPr id="44" name="Table 43"/>
          <p:cNvGraphicFramePr>
            <a:graphicFrameLocks noGrp="1"/>
          </p:cNvGraphicFramePr>
          <p:nvPr>
            <p:extLst/>
          </p:nvPr>
        </p:nvGraphicFramePr>
        <p:xfrm>
          <a:off x="1098776" y="990259"/>
          <a:ext cx="10213659" cy="4758230"/>
        </p:xfrm>
        <a:graphic>
          <a:graphicData uri="http://schemas.openxmlformats.org/drawingml/2006/table">
            <a:tbl>
              <a:tblPr/>
              <a:tblGrid>
                <a:gridCol w="2715578">
                  <a:extLst>
                    <a:ext uri="{9D8B030D-6E8A-4147-A177-3AD203B41FA5}">
                      <a16:colId xmlns:a16="http://schemas.microsoft.com/office/drawing/2014/main" val="301894525"/>
                    </a:ext>
                  </a:extLst>
                </a:gridCol>
                <a:gridCol w="4274258">
                  <a:extLst>
                    <a:ext uri="{9D8B030D-6E8A-4147-A177-3AD203B41FA5}">
                      <a16:colId xmlns:a16="http://schemas.microsoft.com/office/drawing/2014/main" val="4173903235"/>
                    </a:ext>
                  </a:extLst>
                </a:gridCol>
                <a:gridCol w="3223823">
                  <a:extLst>
                    <a:ext uri="{9D8B030D-6E8A-4147-A177-3AD203B41FA5}">
                      <a16:colId xmlns:a16="http://schemas.microsoft.com/office/drawing/2014/main" val="3715696057"/>
                    </a:ext>
                  </a:extLst>
                </a:gridCol>
              </a:tblGrid>
              <a:tr h="288094">
                <a:tc>
                  <a:txBody>
                    <a:bodyPr/>
                    <a:lstStyle/>
                    <a:p>
                      <a:pPr marL="0" marR="0" algn="ctr">
                        <a:spcBef>
                          <a:spcPts val="0"/>
                        </a:spcBef>
                        <a:spcAft>
                          <a:spcPts val="0"/>
                        </a:spcAft>
                      </a:pPr>
                      <a:r>
                        <a:rPr lang="en-US" sz="1600" b="1" dirty="0">
                          <a:effectLst/>
                          <a:latin typeface="Calibri" panose="020F0502020204030204" pitchFamily="34" charset="0"/>
                          <a:ea typeface="Times New Roman" panose="02020603050405020304" pitchFamily="18" charset="0"/>
                          <a:cs typeface="Times New Roman" panose="02020603050405020304" pitchFamily="18" charset="0"/>
                        </a:rPr>
                        <a:t>Objectiv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BD4B4"/>
                    </a:solidFill>
                  </a:tcPr>
                </a:tc>
                <a:tc>
                  <a:txBody>
                    <a:bodyPr/>
                    <a:lstStyle/>
                    <a:p>
                      <a:pPr marL="0" marR="0" algn="ctr">
                        <a:spcBef>
                          <a:spcPts val="0"/>
                        </a:spcBef>
                        <a:spcAft>
                          <a:spcPts val="0"/>
                        </a:spcAft>
                      </a:pPr>
                      <a:r>
                        <a:rPr lang="en-US" sz="1600" b="1" dirty="0" smtClean="0">
                          <a:effectLst/>
                          <a:latin typeface="Calibri" panose="020F0502020204030204" pitchFamily="34" charset="0"/>
                          <a:ea typeface="Times New Roman" panose="02020603050405020304" pitchFamily="18" charset="0"/>
                          <a:cs typeface="Times New Roman" panose="02020603050405020304" pitchFamily="18" charset="0"/>
                        </a:rPr>
                        <a:t>Solution Tenet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BD4B4"/>
                    </a:solidFill>
                  </a:tcPr>
                </a:tc>
                <a:tc>
                  <a:txBody>
                    <a:bodyPr/>
                    <a:lstStyle/>
                    <a:p>
                      <a:pPr marL="0" marR="0" algn="ctr">
                        <a:spcBef>
                          <a:spcPts val="0"/>
                        </a:spcBef>
                        <a:spcAft>
                          <a:spcPts val="0"/>
                        </a:spcAft>
                      </a:pPr>
                      <a:r>
                        <a:rPr lang="en-US" sz="1600" b="1" dirty="0">
                          <a:effectLst/>
                          <a:latin typeface="Calibri" panose="020F0502020204030204" pitchFamily="34" charset="0"/>
                          <a:ea typeface="Times New Roman" panose="02020603050405020304" pitchFamily="18" charset="0"/>
                          <a:cs typeface="Times New Roman" panose="02020603050405020304" pitchFamily="18" charset="0"/>
                        </a:rPr>
                        <a:t>Benefit to </a:t>
                      </a:r>
                      <a:r>
                        <a:rPr lang="en-US" sz="1600" b="1" dirty="0" smtClean="0">
                          <a:effectLst/>
                          <a:latin typeface="Calibri" panose="020F0502020204030204" pitchFamily="34" charset="0"/>
                          <a:ea typeface="Times New Roman" panose="02020603050405020304" pitchFamily="18" charset="0"/>
                          <a:cs typeface="Times New Roman" panose="02020603050405020304" pitchFamily="18" charset="0"/>
                        </a:rPr>
                        <a:t>Marriot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BD4B4"/>
                    </a:solidFill>
                  </a:tcPr>
                </a:tc>
                <a:extLst>
                  <a:ext uri="{0D108BD9-81ED-4DB2-BD59-A6C34878D82A}">
                    <a16:rowId xmlns:a16="http://schemas.microsoft.com/office/drawing/2014/main" val="2182952050"/>
                  </a:ext>
                </a:extLst>
              </a:tr>
              <a:tr h="159151">
                <a:tc>
                  <a:txBody>
                    <a:bodyPr/>
                    <a:lstStyle/>
                    <a:p>
                      <a:pPr algn="l" defTabSz="609585"/>
                      <a:r>
                        <a:rPr lang="en-US" sz="1200" b="1" kern="0" dirty="0" smtClean="0">
                          <a:latin typeface="Calibri" panose="020F0502020204030204" pitchFamily="34" charset="0"/>
                          <a:cs typeface="Calibri" panose="020F0502020204030204" pitchFamily="34" charset="0"/>
                        </a:rPr>
                        <a:t>Support Business Agility</a:t>
                      </a:r>
                      <a:endParaRPr lang="en-US" sz="1200" b="1" kern="0" dirty="0">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Agile Factory - </a:t>
                      </a:r>
                      <a:r>
                        <a:rPr lang="en-US" sz="1200" i="1" dirty="0" smtClean="0">
                          <a:solidFill>
                            <a:srgbClr val="141414">
                              <a:lumMod val="90000"/>
                              <a:lumOff val="10000"/>
                            </a:srgbClr>
                          </a:solidFill>
                          <a:latin typeface="Calibri" panose="020F0502020204030204" pitchFamily="34" charset="0"/>
                          <a:cs typeface="Calibri" panose="020F0502020204030204" pitchFamily="34" charset="0"/>
                        </a:rPr>
                        <a:t>Pod based Delivery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Delivery Pipeline Auto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Integrated Build</a:t>
                      </a:r>
                      <a:r>
                        <a:rPr lang="en-US" sz="1200" baseline="0" dirty="0" smtClean="0">
                          <a:solidFill>
                            <a:srgbClr val="141414">
                              <a:lumMod val="90000"/>
                              <a:lumOff val="10000"/>
                            </a:srgbClr>
                          </a:solidFill>
                          <a:latin typeface="Calibri" panose="020F0502020204030204" pitchFamily="34" charset="0"/>
                          <a:cs typeface="Calibri" panose="020F0502020204030204" pitchFamily="34" charset="0"/>
                        </a:rPr>
                        <a:t> &amp; Run (Enhancement</a:t>
                      </a:r>
                      <a:r>
                        <a:rPr lang="en-US" sz="1200" dirty="0" smtClean="0">
                          <a:solidFill>
                            <a:srgbClr val="141414">
                              <a:lumMod val="90000"/>
                              <a:lumOff val="10000"/>
                            </a:srgbClr>
                          </a:solidFill>
                          <a:latin typeface="Calibri" panose="020F0502020204030204" pitchFamily="34" charset="0"/>
                          <a:cs typeface="Calibri" panose="020F0502020204030204" pitchFamily="34" charset="0"/>
                        </a:rPr>
                        <a:t> and Maintenance)</a:t>
                      </a: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indent="0">
                        <a:spcBef>
                          <a:spcPts val="0"/>
                        </a:spcBef>
                        <a:spcAft>
                          <a:spcPts val="0"/>
                        </a:spcAft>
                        <a:buFont typeface="Wingdings" panose="05000000000000000000" pitchFamily="2" charset="2"/>
                        <a:buNone/>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25</a:t>
                      </a:r>
                      <a:r>
                        <a:rPr lang="en-US" sz="1200" baseline="0" dirty="0" smtClean="0">
                          <a:effectLst/>
                          <a:latin typeface="Calibri" panose="020F0502020204030204" pitchFamily="34" charset="0"/>
                          <a:ea typeface="Times New Roman" panose="02020603050405020304" pitchFamily="18" charset="0"/>
                          <a:cs typeface="Times New Roman" panose="02020603050405020304" pitchFamily="18" charset="0"/>
                        </a:rPr>
                        <a:t> to 30% gain in time to market</a:t>
                      </a:r>
                    </a:p>
                    <a:p>
                      <a:pPr marL="0" marR="0" indent="0">
                        <a:spcBef>
                          <a:spcPts val="0"/>
                        </a:spcBef>
                        <a:spcAft>
                          <a:spcPts val="0"/>
                        </a:spcAft>
                        <a:buFont typeface="Wingdings" panose="05000000000000000000" pitchFamily="2" charset="2"/>
                        <a:buNone/>
                      </a:pP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899901086"/>
                  </a:ext>
                </a:extLst>
              </a:tr>
              <a:tr h="477454">
                <a:tc>
                  <a:txBody>
                    <a:bodyPr/>
                    <a:lstStyle/>
                    <a:p>
                      <a:pPr algn="l" defTabSz="609585"/>
                      <a:r>
                        <a:rPr lang="en-US" sz="1200" b="1" kern="0" dirty="0" smtClean="0">
                          <a:latin typeface="Calibri" panose="020F0502020204030204" pitchFamily="34" charset="0"/>
                          <a:cs typeface="Calibri" panose="020F0502020204030204" pitchFamily="34" charset="0"/>
                        </a:rPr>
                        <a:t>Optimized ADM Activities</a:t>
                      </a:r>
                      <a:endParaRPr lang="en-US" sz="1200" b="1" kern="0" dirty="0">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Zero Maintenance™ - Deb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Cognizant Intelligent Automation Platform </a:t>
                      </a:r>
                      <a:r>
                        <a:rPr lang="en-US" sz="1200" i="1" dirty="0" smtClean="0">
                          <a:solidFill>
                            <a:srgbClr val="141414">
                              <a:lumMod val="90000"/>
                              <a:lumOff val="10000"/>
                            </a:srgbClr>
                          </a:solidFill>
                          <a:latin typeface="Calibri" panose="020F0502020204030204" pitchFamily="34" charset="0"/>
                          <a:cs typeface="Calibri" panose="020F0502020204030204" pitchFamily="34" charset="0"/>
                        </a:rPr>
                        <a:t>“Hive Centre”</a:t>
                      </a: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r>
                        <a:rPr lang="en-US" sz="1200" kern="1200" dirty="0" smtClean="0">
                          <a:solidFill>
                            <a:schemeClr val="tx1"/>
                          </a:solidFill>
                          <a:effectLst/>
                          <a:latin typeface="+mn-lt"/>
                          <a:ea typeface="+mn-ea"/>
                          <a:cs typeface="+mn-cs"/>
                        </a:rPr>
                        <a:t>20 t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30% reduced support effort</a:t>
                      </a:r>
                    </a:p>
                    <a:p>
                      <a:r>
                        <a:rPr lang="en-US" sz="1200" kern="1200" dirty="0" smtClean="0">
                          <a:solidFill>
                            <a:schemeClr val="tx1"/>
                          </a:solidFill>
                          <a:effectLst/>
                          <a:latin typeface="+mn-lt"/>
                          <a:ea typeface="+mn-ea"/>
                          <a:cs typeface="+mn-cs"/>
                        </a:rPr>
                        <a:t>20% reduction in MTTR</a:t>
                      </a:r>
                    </a:p>
                    <a:p>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10 to 15% YOY improvements in capacity</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29514401"/>
                  </a:ext>
                </a:extLst>
              </a:tr>
              <a:tr h="47745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1" kern="0" dirty="0" smtClean="0">
                          <a:latin typeface="Calibri" panose="020F0502020204030204" pitchFamily="34" charset="0"/>
                          <a:cs typeface="Calibri" panose="020F0502020204030204" pitchFamily="34" charset="0"/>
                        </a:rPr>
                        <a:t>Consistent &amp; Stable Landscape</a:t>
                      </a: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First time right </a:t>
                      </a:r>
                      <a:r>
                        <a:rPr lang="en-US" sz="1200" baseline="0" dirty="0" smtClean="0">
                          <a:solidFill>
                            <a:srgbClr val="141414">
                              <a:lumMod val="90000"/>
                              <a:lumOff val="10000"/>
                            </a:srgbClr>
                          </a:solidFill>
                          <a:latin typeface="Calibri" panose="020F0502020204030204" pitchFamily="34" charset="0"/>
                          <a:cs typeface="Calibri" panose="020F0502020204030204" pitchFamily="34" charset="0"/>
                        </a:rPr>
                        <a:t> </a:t>
                      </a:r>
                      <a:r>
                        <a:rPr lang="en-US" sz="1200" i="1" dirty="0" smtClean="0">
                          <a:solidFill>
                            <a:srgbClr val="141414">
                              <a:lumMod val="90000"/>
                              <a:lumOff val="10000"/>
                            </a:srgbClr>
                          </a:solidFill>
                          <a:latin typeface="Calibri" panose="020F0502020204030204" pitchFamily="34" charset="0"/>
                          <a:cs typeface="Calibri" panose="020F0502020204030204" pitchFamily="34" charset="0"/>
                        </a:rPr>
                        <a:t>“Hotel-in-a-Box</a:t>
                      </a:r>
                      <a:r>
                        <a:rPr lang="en-US" sz="1200" dirty="0" smtClean="0">
                          <a:solidFill>
                            <a:srgbClr val="141414">
                              <a:lumMod val="90000"/>
                              <a:lumOff val="10000"/>
                            </a:srgbClr>
                          </a:solidFill>
                          <a:latin typeface="Calibri" panose="020F0502020204030204" pitchFamily="34" charset="0"/>
                          <a:cs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Business Value Management</a:t>
                      </a: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r>
                        <a:rPr lang="en-US" sz="1200" kern="1200" dirty="0" smtClean="0">
                          <a:solidFill>
                            <a:schemeClr val="tx1"/>
                          </a:solidFill>
                          <a:effectLst/>
                          <a:latin typeface="+mn-lt"/>
                          <a:ea typeface="+mn-ea"/>
                          <a:cs typeface="+mn-cs"/>
                        </a:rPr>
                        <a:t>20 to 25% support ticket reduction</a:t>
                      </a:r>
                    </a:p>
                    <a:p>
                      <a:pPr marL="0" marR="0">
                        <a:spcBef>
                          <a:spcPts val="0"/>
                        </a:spcBef>
                        <a:spcAft>
                          <a:spcPts val="0"/>
                        </a:spcAft>
                      </a:pPr>
                      <a:r>
                        <a:rPr lang="en-US" sz="1200" kern="1200" dirty="0" smtClean="0">
                          <a:solidFill>
                            <a:schemeClr val="tx1"/>
                          </a:solidFill>
                          <a:effectLst/>
                          <a:latin typeface="+mn-lt"/>
                          <a:ea typeface="+mn-ea"/>
                          <a:cs typeface="+mn-cs"/>
                        </a:rPr>
                        <a:t>&lt;1% Critical</a:t>
                      </a:r>
                      <a:r>
                        <a:rPr lang="en-US" sz="1200" kern="1200" baseline="0" dirty="0" smtClean="0">
                          <a:solidFill>
                            <a:schemeClr val="tx1"/>
                          </a:solidFill>
                          <a:effectLst/>
                          <a:latin typeface="+mn-lt"/>
                          <a:ea typeface="+mn-ea"/>
                          <a:cs typeface="+mn-cs"/>
                        </a:rPr>
                        <a:t> defect leakage to production</a:t>
                      </a:r>
                      <a:endParaRPr lang="en-US" sz="1200" kern="1200" dirty="0" smtClean="0">
                        <a:solidFill>
                          <a:schemeClr val="tx1"/>
                        </a:solidFill>
                        <a:effectLst/>
                        <a:latin typeface="+mn-lt"/>
                        <a:ea typeface="+mn-ea"/>
                        <a:cs typeface="+mn-cs"/>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971087319"/>
                  </a:ext>
                </a:extLst>
              </a:tr>
              <a:tr h="47745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1" kern="0" dirty="0" smtClean="0">
                          <a:latin typeface="Calibri" panose="020F0502020204030204" pitchFamily="34" charset="0"/>
                          <a:cs typeface="Calibri" panose="020F0502020204030204" pitchFamily="34" charset="0"/>
                        </a:rPr>
                        <a:t>Improve Operational Intelligence</a:t>
                      </a: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Platform centric AI led Smart Ope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Zero Touch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Predictive Intelligence with PID 3.0 Platform</a:t>
                      </a:r>
                    </a:p>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40% reduction in Mean Time Between Failure (MTBF)</a:t>
                      </a:r>
                      <a:endParaRPr lang="en-US" sz="1000" dirty="0" smtClean="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315440290"/>
                  </a:ext>
                </a:extLst>
              </a:tr>
              <a:tr h="477454">
                <a:tc>
                  <a:txBody>
                    <a:bodyPr/>
                    <a:lstStyle/>
                    <a:p>
                      <a:pPr algn="l" defTabSz="609585"/>
                      <a:r>
                        <a:rPr lang="en-US" sz="1200" b="1" kern="0" dirty="0" smtClean="0">
                          <a:latin typeface="Calibri" panose="020F0502020204030204" pitchFamily="34" charset="0"/>
                          <a:cs typeface="Calibri" panose="020F0502020204030204" pitchFamily="34" charset="0"/>
                        </a:rPr>
                        <a:t>Process &amp; Technology Transformation</a:t>
                      </a:r>
                      <a:endParaRPr lang="en-US" sz="1200" b="1" kern="0" dirty="0">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Modern Platform &amp; Product Engineering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Multi-speed Delivery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Continuous Innov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Landscape Simplification</a:t>
                      </a: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Reduced hand off cycle time</a:t>
                      </a:r>
                    </a:p>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Improved reusability</a:t>
                      </a:r>
                    </a:p>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Additional 5% YOY improvement capacity due</a:t>
                      </a:r>
                      <a:r>
                        <a:rPr lang="en-US" sz="1200" baseline="0" dirty="0" smtClean="0">
                          <a:effectLst/>
                          <a:latin typeface="Calibri" panose="020F0502020204030204" pitchFamily="34" charset="0"/>
                          <a:ea typeface="Times New Roman" panose="02020603050405020304" pitchFamily="18" charset="0"/>
                          <a:cs typeface="Times New Roman" panose="02020603050405020304" pitchFamily="18" charset="0"/>
                        </a:rPr>
                        <a:t> to synergy</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730217569"/>
                  </a:ext>
                </a:extLst>
              </a:tr>
              <a:tr h="477454">
                <a:tc>
                  <a:txBody>
                    <a:bodyPr/>
                    <a:lstStyle/>
                    <a:p>
                      <a:pPr algn="l" defTabSz="609585"/>
                      <a:r>
                        <a:rPr lang="en-US" sz="1200" b="1" kern="0" dirty="0" smtClean="0">
                          <a:solidFill>
                            <a:schemeClr val="tx1"/>
                          </a:solidFill>
                          <a:latin typeface="Calibri" panose="020F0502020204030204" pitchFamily="34" charset="0"/>
                          <a:cs typeface="Calibri" panose="020F0502020204030204" pitchFamily="34" charset="0"/>
                        </a:rPr>
                        <a:t>“Best in class” guest user experience</a:t>
                      </a:r>
                      <a:endParaRPr lang="en-US" sz="1200" b="1" kern="0" dirty="0">
                        <a:solidFill>
                          <a:schemeClr val="tx1"/>
                        </a:solidFill>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Improve</a:t>
                      </a:r>
                      <a:r>
                        <a:rPr lang="en-US" sz="1200" baseline="0" dirty="0" smtClean="0">
                          <a:effectLst/>
                          <a:latin typeface="Calibri" panose="020F0502020204030204" pitchFamily="34" charset="0"/>
                          <a:ea typeface="Times New Roman" panose="02020603050405020304" pitchFamily="18" charset="0"/>
                          <a:cs typeface="Times New Roman" panose="02020603050405020304" pitchFamily="18" charset="0"/>
                        </a:rPr>
                        <a:t> NPS by 3 to 5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33492915"/>
                  </a:ext>
                </a:extLst>
              </a:tr>
              <a:tr h="477454">
                <a:tc>
                  <a:txBody>
                    <a:bodyPr/>
                    <a:lstStyle/>
                    <a:p>
                      <a:pPr algn="l" defTabSz="609585"/>
                      <a:r>
                        <a:rPr lang="en-US" sz="1200" b="1" kern="0" dirty="0" smtClean="0">
                          <a:latin typeface="Calibri" panose="020F0502020204030204" pitchFamily="34" charset="0"/>
                          <a:cs typeface="Calibri" panose="020F0502020204030204" pitchFamily="34" charset="0"/>
                        </a:rPr>
                        <a:t>Global Scalability</a:t>
                      </a:r>
                      <a:endParaRPr lang="en-US" sz="1200" b="1" kern="0" dirty="0">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Right-sho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141414">
                              <a:lumMod val="90000"/>
                              <a:lumOff val="10000"/>
                            </a:srgbClr>
                          </a:solidFill>
                          <a:latin typeface="Calibri" panose="020F0502020204030204" pitchFamily="34" charset="0"/>
                          <a:cs typeface="Calibri" panose="020F0502020204030204" pitchFamily="34" charset="0"/>
                        </a:rPr>
                        <a:t>Modern Work, Workforce, Workplace</a:t>
                      </a: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gt;95% on</a:t>
                      </a:r>
                      <a:r>
                        <a:rPr lang="en-US" sz="1200" baseline="0" dirty="0" smtClean="0">
                          <a:effectLst/>
                          <a:latin typeface="Calibri" panose="020F0502020204030204" pitchFamily="34" charset="0"/>
                          <a:ea typeface="Times New Roman" panose="02020603050405020304" pitchFamily="18" charset="0"/>
                          <a:cs typeface="Times New Roman" panose="02020603050405020304" pitchFamily="18" charset="0"/>
                        </a:rPr>
                        <a:t> time staffing </a:t>
                      </a:r>
                    </a:p>
                    <a:p>
                      <a:pPr marL="0" marR="0">
                        <a:spcBef>
                          <a:spcPts val="0"/>
                        </a:spcBef>
                        <a:spcAft>
                          <a:spcPts val="0"/>
                        </a:spcAft>
                      </a:pPr>
                      <a:r>
                        <a:rPr lang="en-US" sz="1200" baseline="0" dirty="0" smtClean="0">
                          <a:effectLst/>
                          <a:latin typeface="Calibri" panose="020F0502020204030204" pitchFamily="34" charset="0"/>
                          <a:ea typeface="Times New Roman" panose="02020603050405020304" pitchFamily="18" charset="0"/>
                          <a:cs typeface="Times New Roman" panose="02020603050405020304" pitchFamily="18" charset="0"/>
                        </a:rPr>
                        <a:t>Availability of best fit talen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237086426"/>
                  </a:ext>
                </a:extLst>
              </a:tr>
              <a:tr h="477454">
                <a:tc>
                  <a:txBody>
                    <a:bodyPr/>
                    <a:lstStyle/>
                    <a:p>
                      <a:pPr algn="l" defTabSz="609585"/>
                      <a:r>
                        <a:rPr lang="en-US" sz="1200" b="1" kern="0" dirty="0" smtClean="0">
                          <a:latin typeface="Calibri" panose="020F0502020204030204" pitchFamily="34" charset="0"/>
                          <a:cs typeface="Calibri" panose="020F0502020204030204" pitchFamily="34" charset="0"/>
                        </a:rPr>
                        <a:t>Motivated workforce</a:t>
                      </a:r>
                      <a:endParaRPr lang="en-US" sz="1200" b="1" kern="0" dirty="0">
                        <a:latin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Continuous Learning</a:t>
                      </a:r>
                    </a:p>
                    <a:p>
                      <a:pPr marL="0" marR="0">
                        <a:spcBef>
                          <a:spcPts val="0"/>
                        </a:spcBef>
                        <a:spcAft>
                          <a:spcPts val="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Innovation Cultur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53531171"/>
                  </a:ext>
                </a:extLst>
              </a:tr>
            </a:tbl>
          </a:graphicData>
        </a:graphic>
      </p:graphicFrame>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xfrm>
            <a:off x="1474512" y="6485808"/>
            <a:ext cx="1735429" cy="244819"/>
          </a:xfrm>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xfrm>
            <a:off x="42470" y="6430470"/>
            <a:ext cx="1213420" cy="323345"/>
          </a:xfrm>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23</a:t>
            </a:fld>
            <a:r>
              <a:rPr lang="en-US" dirty="0" smtClean="0"/>
              <a:t> of XX</a:t>
            </a:r>
            <a:endParaRPr lang="en-US" dirty="0"/>
          </a:p>
        </p:txBody>
      </p:sp>
      <p:sp>
        <p:nvSpPr>
          <p:cNvPr id="10" name="Diagonal Stripe 9"/>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a:solidFill>
                  <a:srgbClr val="FF0000"/>
                </a:solidFill>
              </a:rPr>
              <a:t>Change into </a:t>
            </a:r>
            <a:r>
              <a:rPr lang="en-US" sz="1400" dirty="0" smtClean="0">
                <a:solidFill>
                  <a:srgbClr val="FF0000"/>
                </a:solidFill>
              </a:rPr>
              <a:t>Run Better slide format</a:t>
            </a:r>
            <a:endParaRPr lang="en-US" sz="1400" dirty="0">
              <a:solidFill>
                <a:srgbClr val="FF0000"/>
              </a:solidFill>
            </a:endParaRPr>
          </a:p>
        </p:txBody>
      </p:sp>
    </p:spTree>
    <p:extLst>
      <p:ext uri="{BB962C8B-B14F-4D97-AF65-F5344CB8AC3E}">
        <p14:creationId xmlns:p14="http://schemas.microsoft.com/office/powerpoint/2010/main" val="2459142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8323" y="5216343"/>
            <a:ext cx="6076950" cy="1325563"/>
          </a:xfrm>
        </p:spPr>
        <p:txBody>
          <a:bodyPr/>
          <a:lstStyle/>
          <a:p>
            <a:r>
              <a:rPr lang="en-US" dirty="0" smtClean="0"/>
              <a:t>Build Better – AD – RFP 2</a:t>
            </a:r>
            <a:endParaRPr lang="en-US" dirty="0"/>
          </a:p>
        </p:txBody>
      </p:sp>
    </p:spTree>
    <p:extLst>
      <p:ext uri="{BB962C8B-B14F-4D97-AF65-F5344CB8AC3E}">
        <p14:creationId xmlns:p14="http://schemas.microsoft.com/office/powerpoint/2010/main" val="22050349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806" y="111355"/>
            <a:ext cx="10515600"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smtClean="0"/>
              <a:t>Coexisting multi models  - </a:t>
            </a:r>
            <a:r>
              <a:rPr lang="en-GB" sz="2400" dirty="0" smtClean="0"/>
              <a:t>Approach </a:t>
            </a:r>
            <a:endParaRPr lang="en-US" sz="2200" b="0" dirty="0"/>
          </a:p>
        </p:txBody>
      </p:sp>
      <p:sp>
        <p:nvSpPr>
          <p:cNvPr id="4" name="Rounded Rectangle 3"/>
          <p:cNvSpPr/>
          <p:nvPr/>
        </p:nvSpPr>
        <p:spPr>
          <a:xfrm>
            <a:off x="5014414" y="3008934"/>
            <a:ext cx="2916803" cy="1857106"/>
          </a:xfrm>
          <a:prstGeom prst="roundRect">
            <a:avLst>
              <a:gd name="adj" fmla="val 9411"/>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 name="Group 4"/>
          <p:cNvGrpSpPr/>
          <p:nvPr/>
        </p:nvGrpSpPr>
        <p:grpSpPr>
          <a:xfrm>
            <a:off x="2223437" y="981778"/>
            <a:ext cx="6805060" cy="462012"/>
            <a:chOff x="1925053" y="924027"/>
            <a:chExt cx="7979345" cy="462012"/>
          </a:xfrm>
          <a:solidFill>
            <a:schemeClr val="accent2"/>
          </a:solidFill>
        </p:grpSpPr>
        <p:sp>
          <p:nvSpPr>
            <p:cNvPr id="6" name="Rectangle 5"/>
            <p:cNvSpPr/>
            <p:nvPr/>
          </p:nvSpPr>
          <p:spPr>
            <a:xfrm>
              <a:off x="1925053" y="924027"/>
              <a:ext cx="1434164" cy="462012"/>
            </a:xfrm>
            <a:prstGeom prst="rect">
              <a:avLst/>
            </a:prstGeom>
            <a:solidFill>
              <a:srgbClr val="66666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Business/ End User</a:t>
              </a:r>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561348" y="924027"/>
              <a:ext cx="1434164" cy="462012"/>
            </a:xfrm>
            <a:prstGeom prst="rect">
              <a:avLst/>
            </a:prstGeom>
            <a:solidFill>
              <a:srgbClr val="BF8F00"/>
            </a:solidFill>
            <a:ln>
              <a:solidFill>
                <a:srgbClr val="BF8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Rapid Response</a:t>
              </a:r>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ctangle 7"/>
            <p:cNvSpPr/>
            <p:nvPr/>
          </p:nvSpPr>
          <p:spPr>
            <a:xfrm>
              <a:off x="5197643" y="924027"/>
              <a:ext cx="1264464" cy="462012"/>
            </a:xfrm>
            <a:prstGeom prst="rect">
              <a:avLst/>
            </a:prstGeom>
            <a:solidFill>
              <a:srgbClr val="BF8F00"/>
            </a:solidFill>
            <a:ln>
              <a:solidFill>
                <a:srgbClr val="BF8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L2</a:t>
              </a:r>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6573951" y="924027"/>
              <a:ext cx="1389224" cy="462012"/>
            </a:xfrm>
            <a:prstGeom prst="rect">
              <a:avLst/>
            </a:prstGeom>
            <a:solidFill>
              <a:srgbClr val="BF8F00"/>
            </a:solidFill>
            <a:ln>
              <a:solidFill>
                <a:srgbClr val="BF8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L3</a:t>
              </a:r>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8075019" y="924027"/>
              <a:ext cx="1829379" cy="462012"/>
            </a:xfrm>
            <a:prstGeom prst="rect">
              <a:avLst/>
            </a:prstGeom>
            <a:solidFill>
              <a:srgbClr val="BF8F00"/>
            </a:solidFill>
            <a:ln>
              <a:solidFill>
                <a:srgbClr val="BF8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Dev Team</a:t>
              </a:r>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1" name="Rectangle 10"/>
          <p:cNvSpPr/>
          <p:nvPr/>
        </p:nvSpPr>
        <p:spPr>
          <a:xfrm>
            <a:off x="211192" y="1961951"/>
            <a:ext cx="1678093" cy="733123"/>
          </a:xfrm>
          <a:prstGeom prst="rect">
            <a:avLst/>
          </a:prstGeom>
          <a:solidFill>
            <a:srgbClr val="00134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rocedurelized Support Issues</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p:cNvSpPr/>
          <p:nvPr/>
        </p:nvSpPr>
        <p:spPr>
          <a:xfrm>
            <a:off x="211192" y="3047434"/>
            <a:ext cx="1678093" cy="733123"/>
          </a:xfrm>
          <a:prstGeom prst="rect">
            <a:avLst/>
          </a:prstGeom>
          <a:solidFill>
            <a:srgbClr val="00134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Complex Support Issues</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p:cNvSpPr/>
          <p:nvPr/>
        </p:nvSpPr>
        <p:spPr>
          <a:xfrm>
            <a:off x="211192" y="4132917"/>
            <a:ext cx="1678093" cy="733123"/>
          </a:xfrm>
          <a:prstGeom prst="rect">
            <a:avLst/>
          </a:prstGeom>
          <a:solidFill>
            <a:srgbClr val="00134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Minor Enhancements &amp; Bug Fixes</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Rectangle 13"/>
          <p:cNvSpPr/>
          <p:nvPr/>
        </p:nvSpPr>
        <p:spPr>
          <a:xfrm>
            <a:off x="211192" y="5218400"/>
            <a:ext cx="1678093" cy="733123"/>
          </a:xfrm>
          <a:prstGeom prst="rect">
            <a:avLst/>
          </a:prstGeom>
          <a:solidFill>
            <a:srgbClr val="00134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Large Enhancements &amp;  Projects</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5" name="Group 14"/>
          <p:cNvGrpSpPr/>
          <p:nvPr/>
        </p:nvGrpSpPr>
        <p:grpSpPr>
          <a:xfrm>
            <a:off x="2704697" y="2099529"/>
            <a:ext cx="211755" cy="489667"/>
            <a:chOff x="-1635125" y="1168400"/>
            <a:chExt cx="377825" cy="1023938"/>
          </a:xfrm>
          <a:solidFill>
            <a:schemeClr val="tx1"/>
          </a:solidFill>
        </p:grpSpPr>
        <p:sp>
          <p:nvSpPr>
            <p:cNvPr id="16" name="Freeform 40"/>
            <p:cNvSpPr>
              <a:spLocks/>
            </p:cNvSpPr>
            <p:nvPr/>
          </p:nvSpPr>
          <p:spPr bwMode="auto">
            <a:xfrm>
              <a:off x="-1635125" y="1358900"/>
              <a:ext cx="377825" cy="833438"/>
            </a:xfrm>
            <a:custGeom>
              <a:avLst/>
              <a:gdLst>
                <a:gd name="T0" fmla="*/ 0 w 1037"/>
                <a:gd name="T1" fmla="*/ 238 h 2306"/>
                <a:gd name="T2" fmla="*/ 0 w 1037"/>
                <a:gd name="T3" fmla="*/ 1029 h 2306"/>
                <a:gd name="T4" fmla="*/ 167 w 1037"/>
                <a:gd name="T5" fmla="*/ 1074 h 2306"/>
                <a:gd name="T6" fmla="*/ 183 w 1037"/>
                <a:gd name="T7" fmla="*/ 1051 h 2306"/>
                <a:gd name="T8" fmla="*/ 227 w 1037"/>
                <a:gd name="T9" fmla="*/ 1670 h 2306"/>
                <a:gd name="T10" fmla="*/ 254 w 1037"/>
                <a:gd name="T11" fmla="*/ 2046 h 2306"/>
                <a:gd name="T12" fmla="*/ 266 w 1037"/>
                <a:gd name="T13" fmla="*/ 2212 h 2306"/>
                <a:gd name="T14" fmla="*/ 379 w 1037"/>
                <a:gd name="T15" fmla="*/ 2306 h 2306"/>
                <a:gd name="T16" fmla="*/ 393 w 1037"/>
                <a:gd name="T17" fmla="*/ 2306 h 2306"/>
                <a:gd name="T18" fmla="*/ 476 w 1037"/>
                <a:gd name="T19" fmla="*/ 2223 h 2306"/>
                <a:gd name="T20" fmla="*/ 547 w 1037"/>
                <a:gd name="T21" fmla="*/ 2223 h 2306"/>
                <a:gd name="T22" fmla="*/ 660 w 1037"/>
                <a:gd name="T23" fmla="*/ 2306 h 2306"/>
                <a:gd name="T24" fmla="*/ 669 w 1037"/>
                <a:gd name="T25" fmla="*/ 2306 h 2306"/>
                <a:gd name="T26" fmla="*/ 757 w 1037"/>
                <a:gd name="T27" fmla="*/ 2217 h 2306"/>
                <a:gd name="T28" fmla="*/ 769 w 1037"/>
                <a:gd name="T29" fmla="*/ 2052 h 2306"/>
                <a:gd name="T30" fmla="*/ 813 w 1037"/>
                <a:gd name="T31" fmla="*/ 1427 h 2306"/>
                <a:gd name="T32" fmla="*/ 818 w 1037"/>
                <a:gd name="T33" fmla="*/ 1388 h 2306"/>
                <a:gd name="T34" fmla="*/ 841 w 1037"/>
                <a:gd name="T35" fmla="*/ 1051 h 2306"/>
                <a:gd name="T36" fmla="*/ 873 w 1037"/>
                <a:gd name="T37" fmla="*/ 1091 h 2306"/>
                <a:gd name="T38" fmla="*/ 1026 w 1037"/>
                <a:gd name="T39" fmla="*/ 1026 h 2306"/>
                <a:gd name="T40" fmla="*/ 1023 w 1037"/>
                <a:gd name="T41" fmla="*/ 852 h 2306"/>
                <a:gd name="T42" fmla="*/ 1023 w 1037"/>
                <a:gd name="T43" fmla="*/ 299 h 2306"/>
                <a:gd name="T44" fmla="*/ 763 w 1037"/>
                <a:gd name="T45" fmla="*/ 0 h 2306"/>
                <a:gd name="T46" fmla="*/ 260 w 1037"/>
                <a:gd name="T47" fmla="*/ 0 h 2306"/>
                <a:gd name="T48" fmla="*/ 0 w 1037"/>
                <a:gd name="T49" fmla="*/ 238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7" h="2306">
                  <a:moveTo>
                    <a:pt x="0" y="238"/>
                  </a:moveTo>
                  <a:lnTo>
                    <a:pt x="0" y="1029"/>
                  </a:lnTo>
                  <a:cubicBezTo>
                    <a:pt x="0" y="1085"/>
                    <a:pt x="104" y="1157"/>
                    <a:pt x="167" y="1074"/>
                  </a:cubicBezTo>
                  <a:lnTo>
                    <a:pt x="183" y="1051"/>
                  </a:lnTo>
                  <a:lnTo>
                    <a:pt x="227" y="1670"/>
                  </a:lnTo>
                  <a:cubicBezTo>
                    <a:pt x="231" y="1768"/>
                    <a:pt x="254" y="1954"/>
                    <a:pt x="254" y="2046"/>
                  </a:cubicBezTo>
                  <a:lnTo>
                    <a:pt x="266" y="2212"/>
                  </a:lnTo>
                  <a:cubicBezTo>
                    <a:pt x="272" y="2301"/>
                    <a:pt x="324" y="2306"/>
                    <a:pt x="379" y="2306"/>
                  </a:cubicBezTo>
                  <a:lnTo>
                    <a:pt x="393" y="2306"/>
                  </a:lnTo>
                  <a:cubicBezTo>
                    <a:pt x="441" y="2306"/>
                    <a:pt x="475" y="2271"/>
                    <a:pt x="476" y="2223"/>
                  </a:cubicBezTo>
                  <a:lnTo>
                    <a:pt x="547" y="2223"/>
                  </a:lnTo>
                  <a:cubicBezTo>
                    <a:pt x="549" y="2302"/>
                    <a:pt x="613" y="2306"/>
                    <a:pt x="660" y="2306"/>
                  </a:cubicBezTo>
                  <a:lnTo>
                    <a:pt x="669" y="2306"/>
                  </a:lnTo>
                  <a:cubicBezTo>
                    <a:pt x="723" y="2306"/>
                    <a:pt x="754" y="2268"/>
                    <a:pt x="757" y="2217"/>
                  </a:cubicBezTo>
                  <a:cubicBezTo>
                    <a:pt x="761" y="2162"/>
                    <a:pt x="768" y="2106"/>
                    <a:pt x="769" y="2052"/>
                  </a:cubicBezTo>
                  <a:lnTo>
                    <a:pt x="813" y="1427"/>
                  </a:lnTo>
                  <a:cubicBezTo>
                    <a:pt x="815" y="1406"/>
                    <a:pt x="817" y="1411"/>
                    <a:pt x="818" y="1388"/>
                  </a:cubicBezTo>
                  <a:cubicBezTo>
                    <a:pt x="823" y="1297"/>
                    <a:pt x="841" y="1119"/>
                    <a:pt x="841" y="1051"/>
                  </a:cubicBezTo>
                  <a:cubicBezTo>
                    <a:pt x="852" y="1064"/>
                    <a:pt x="852" y="1075"/>
                    <a:pt x="873" y="1091"/>
                  </a:cubicBezTo>
                  <a:cubicBezTo>
                    <a:pt x="934" y="1140"/>
                    <a:pt x="1010" y="1098"/>
                    <a:pt x="1026" y="1026"/>
                  </a:cubicBezTo>
                  <a:cubicBezTo>
                    <a:pt x="1037" y="972"/>
                    <a:pt x="1027" y="899"/>
                    <a:pt x="1023" y="852"/>
                  </a:cubicBezTo>
                  <a:cubicBezTo>
                    <a:pt x="1015" y="752"/>
                    <a:pt x="1023" y="437"/>
                    <a:pt x="1023" y="299"/>
                  </a:cubicBezTo>
                  <a:cubicBezTo>
                    <a:pt x="1023" y="124"/>
                    <a:pt x="953" y="0"/>
                    <a:pt x="763" y="0"/>
                  </a:cubicBezTo>
                  <a:lnTo>
                    <a:pt x="260" y="0"/>
                  </a:lnTo>
                  <a:cubicBezTo>
                    <a:pt x="108" y="0"/>
                    <a:pt x="0" y="106"/>
                    <a:pt x="0" y="238"/>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42"/>
            <p:cNvSpPr>
              <a:spLocks/>
            </p:cNvSpPr>
            <p:nvPr/>
          </p:nvSpPr>
          <p:spPr bwMode="auto">
            <a:xfrm>
              <a:off x="-1538288" y="1168400"/>
              <a:ext cx="193675" cy="190500"/>
            </a:xfrm>
            <a:custGeom>
              <a:avLst/>
              <a:gdLst>
                <a:gd name="T0" fmla="*/ 3 w 533"/>
                <a:gd name="T1" fmla="*/ 210 h 527"/>
                <a:gd name="T2" fmla="*/ 29 w 533"/>
                <a:gd name="T3" fmla="*/ 355 h 527"/>
                <a:gd name="T4" fmla="*/ 452 w 533"/>
                <a:gd name="T5" fmla="*/ 355 h 527"/>
                <a:gd name="T6" fmla="*/ 241 w 533"/>
                <a:gd name="T7" fmla="*/ 0 h 527"/>
                <a:gd name="T8" fmla="*/ 239 w 533"/>
                <a:gd name="T9" fmla="*/ 0 h 527"/>
                <a:gd name="T10" fmla="*/ 149 w 533"/>
                <a:gd name="T11" fmla="*/ 19 h 527"/>
                <a:gd name="T12" fmla="*/ 32 w 533"/>
                <a:gd name="T13" fmla="*/ 123 h 527"/>
                <a:gd name="T14" fmla="*/ 3 w 533"/>
                <a:gd name="T15" fmla="*/ 210 h 5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3" h="527">
                  <a:moveTo>
                    <a:pt x="3" y="210"/>
                  </a:moveTo>
                  <a:cubicBezTo>
                    <a:pt x="3" y="266"/>
                    <a:pt x="0" y="304"/>
                    <a:pt x="29" y="355"/>
                  </a:cubicBezTo>
                  <a:cubicBezTo>
                    <a:pt x="125" y="520"/>
                    <a:pt x="352" y="527"/>
                    <a:pt x="452" y="355"/>
                  </a:cubicBezTo>
                  <a:cubicBezTo>
                    <a:pt x="533" y="216"/>
                    <a:pt x="436" y="0"/>
                    <a:pt x="241" y="0"/>
                  </a:cubicBezTo>
                  <a:lnTo>
                    <a:pt x="239" y="0"/>
                  </a:lnTo>
                  <a:cubicBezTo>
                    <a:pt x="213" y="0"/>
                    <a:pt x="170" y="10"/>
                    <a:pt x="149" y="19"/>
                  </a:cubicBezTo>
                  <a:cubicBezTo>
                    <a:pt x="98" y="40"/>
                    <a:pt x="58" y="76"/>
                    <a:pt x="32" y="123"/>
                  </a:cubicBezTo>
                  <a:cubicBezTo>
                    <a:pt x="19" y="147"/>
                    <a:pt x="3" y="177"/>
                    <a:pt x="3" y="210"/>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8" name="Group 17"/>
          <p:cNvGrpSpPr/>
          <p:nvPr/>
        </p:nvGrpSpPr>
        <p:grpSpPr>
          <a:xfrm>
            <a:off x="4119613" y="2205398"/>
            <a:ext cx="202132" cy="258662"/>
            <a:chOff x="3046230" y="2216886"/>
            <a:chExt cx="155760" cy="179805"/>
          </a:xfrm>
          <a:solidFill>
            <a:srgbClr val="008530"/>
          </a:solidFill>
        </p:grpSpPr>
        <p:sp>
          <p:nvSpPr>
            <p:cNvPr id="19" name="Freeform 191"/>
            <p:cNvSpPr>
              <a:spLocks/>
            </p:cNvSpPr>
            <p:nvPr/>
          </p:nvSpPr>
          <p:spPr bwMode="auto">
            <a:xfrm>
              <a:off x="3046230" y="2216886"/>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21" name="Group 20"/>
          <p:cNvGrpSpPr/>
          <p:nvPr/>
        </p:nvGrpSpPr>
        <p:grpSpPr>
          <a:xfrm>
            <a:off x="2704697" y="3147547"/>
            <a:ext cx="211755" cy="489667"/>
            <a:chOff x="-1635125" y="1168400"/>
            <a:chExt cx="377825" cy="1023938"/>
          </a:xfrm>
          <a:solidFill>
            <a:schemeClr val="tx1"/>
          </a:solidFill>
        </p:grpSpPr>
        <p:sp>
          <p:nvSpPr>
            <p:cNvPr id="22" name="Freeform 40"/>
            <p:cNvSpPr>
              <a:spLocks/>
            </p:cNvSpPr>
            <p:nvPr/>
          </p:nvSpPr>
          <p:spPr bwMode="auto">
            <a:xfrm>
              <a:off x="-1635125" y="1358900"/>
              <a:ext cx="377825" cy="833438"/>
            </a:xfrm>
            <a:custGeom>
              <a:avLst/>
              <a:gdLst>
                <a:gd name="T0" fmla="*/ 0 w 1037"/>
                <a:gd name="T1" fmla="*/ 238 h 2306"/>
                <a:gd name="T2" fmla="*/ 0 w 1037"/>
                <a:gd name="T3" fmla="*/ 1029 h 2306"/>
                <a:gd name="T4" fmla="*/ 167 w 1037"/>
                <a:gd name="T5" fmla="*/ 1074 h 2306"/>
                <a:gd name="T6" fmla="*/ 183 w 1037"/>
                <a:gd name="T7" fmla="*/ 1051 h 2306"/>
                <a:gd name="T8" fmla="*/ 227 w 1037"/>
                <a:gd name="T9" fmla="*/ 1670 h 2306"/>
                <a:gd name="T10" fmla="*/ 254 w 1037"/>
                <a:gd name="T11" fmla="*/ 2046 h 2306"/>
                <a:gd name="T12" fmla="*/ 266 w 1037"/>
                <a:gd name="T13" fmla="*/ 2212 h 2306"/>
                <a:gd name="T14" fmla="*/ 379 w 1037"/>
                <a:gd name="T15" fmla="*/ 2306 h 2306"/>
                <a:gd name="T16" fmla="*/ 393 w 1037"/>
                <a:gd name="T17" fmla="*/ 2306 h 2306"/>
                <a:gd name="T18" fmla="*/ 476 w 1037"/>
                <a:gd name="T19" fmla="*/ 2223 h 2306"/>
                <a:gd name="T20" fmla="*/ 547 w 1037"/>
                <a:gd name="T21" fmla="*/ 2223 h 2306"/>
                <a:gd name="T22" fmla="*/ 660 w 1037"/>
                <a:gd name="T23" fmla="*/ 2306 h 2306"/>
                <a:gd name="T24" fmla="*/ 669 w 1037"/>
                <a:gd name="T25" fmla="*/ 2306 h 2306"/>
                <a:gd name="T26" fmla="*/ 757 w 1037"/>
                <a:gd name="T27" fmla="*/ 2217 h 2306"/>
                <a:gd name="T28" fmla="*/ 769 w 1037"/>
                <a:gd name="T29" fmla="*/ 2052 h 2306"/>
                <a:gd name="T30" fmla="*/ 813 w 1037"/>
                <a:gd name="T31" fmla="*/ 1427 h 2306"/>
                <a:gd name="T32" fmla="*/ 818 w 1037"/>
                <a:gd name="T33" fmla="*/ 1388 h 2306"/>
                <a:gd name="T34" fmla="*/ 841 w 1037"/>
                <a:gd name="T35" fmla="*/ 1051 h 2306"/>
                <a:gd name="T36" fmla="*/ 873 w 1037"/>
                <a:gd name="T37" fmla="*/ 1091 h 2306"/>
                <a:gd name="T38" fmla="*/ 1026 w 1037"/>
                <a:gd name="T39" fmla="*/ 1026 h 2306"/>
                <a:gd name="T40" fmla="*/ 1023 w 1037"/>
                <a:gd name="T41" fmla="*/ 852 h 2306"/>
                <a:gd name="T42" fmla="*/ 1023 w 1037"/>
                <a:gd name="T43" fmla="*/ 299 h 2306"/>
                <a:gd name="T44" fmla="*/ 763 w 1037"/>
                <a:gd name="T45" fmla="*/ 0 h 2306"/>
                <a:gd name="T46" fmla="*/ 260 w 1037"/>
                <a:gd name="T47" fmla="*/ 0 h 2306"/>
                <a:gd name="T48" fmla="*/ 0 w 1037"/>
                <a:gd name="T49" fmla="*/ 238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7" h="2306">
                  <a:moveTo>
                    <a:pt x="0" y="238"/>
                  </a:moveTo>
                  <a:lnTo>
                    <a:pt x="0" y="1029"/>
                  </a:lnTo>
                  <a:cubicBezTo>
                    <a:pt x="0" y="1085"/>
                    <a:pt x="104" y="1157"/>
                    <a:pt x="167" y="1074"/>
                  </a:cubicBezTo>
                  <a:lnTo>
                    <a:pt x="183" y="1051"/>
                  </a:lnTo>
                  <a:lnTo>
                    <a:pt x="227" y="1670"/>
                  </a:lnTo>
                  <a:cubicBezTo>
                    <a:pt x="231" y="1768"/>
                    <a:pt x="254" y="1954"/>
                    <a:pt x="254" y="2046"/>
                  </a:cubicBezTo>
                  <a:lnTo>
                    <a:pt x="266" y="2212"/>
                  </a:lnTo>
                  <a:cubicBezTo>
                    <a:pt x="272" y="2301"/>
                    <a:pt x="324" y="2306"/>
                    <a:pt x="379" y="2306"/>
                  </a:cubicBezTo>
                  <a:lnTo>
                    <a:pt x="393" y="2306"/>
                  </a:lnTo>
                  <a:cubicBezTo>
                    <a:pt x="441" y="2306"/>
                    <a:pt x="475" y="2271"/>
                    <a:pt x="476" y="2223"/>
                  </a:cubicBezTo>
                  <a:lnTo>
                    <a:pt x="547" y="2223"/>
                  </a:lnTo>
                  <a:cubicBezTo>
                    <a:pt x="549" y="2302"/>
                    <a:pt x="613" y="2306"/>
                    <a:pt x="660" y="2306"/>
                  </a:cubicBezTo>
                  <a:lnTo>
                    <a:pt x="669" y="2306"/>
                  </a:lnTo>
                  <a:cubicBezTo>
                    <a:pt x="723" y="2306"/>
                    <a:pt x="754" y="2268"/>
                    <a:pt x="757" y="2217"/>
                  </a:cubicBezTo>
                  <a:cubicBezTo>
                    <a:pt x="761" y="2162"/>
                    <a:pt x="768" y="2106"/>
                    <a:pt x="769" y="2052"/>
                  </a:cubicBezTo>
                  <a:lnTo>
                    <a:pt x="813" y="1427"/>
                  </a:lnTo>
                  <a:cubicBezTo>
                    <a:pt x="815" y="1406"/>
                    <a:pt x="817" y="1411"/>
                    <a:pt x="818" y="1388"/>
                  </a:cubicBezTo>
                  <a:cubicBezTo>
                    <a:pt x="823" y="1297"/>
                    <a:pt x="841" y="1119"/>
                    <a:pt x="841" y="1051"/>
                  </a:cubicBezTo>
                  <a:cubicBezTo>
                    <a:pt x="852" y="1064"/>
                    <a:pt x="852" y="1075"/>
                    <a:pt x="873" y="1091"/>
                  </a:cubicBezTo>
                  <a:cubicBezTo>
                    <a:pt x="934" y="1140"/>
                    <a:pt x="1010" y="1098"/>
                    <a:pt x="1026" y="1026"/>
                  </a:cubicBezTo>
                  <a:cubicBezTo>
                    <a:pt x="1037" y="972"/>
                    <a:pt x="1027" y="899"/>
                    <a:pt x="1023" y="852"/>
                  </a:cubicBezTo>
                  <a:cubicBezTo>
                    <a:pt x="1015" y="752"/>
                    <a:pt x="1023" y="437"/>
                    <a:pt x="1023" y="299"/>
                  </a:cubicBezTo>
                  <a:cubicBezTo>
                    <a:pt x="1023" y="124"/>
                    <a:pt x="953" y="0"/>
                    <a:pt x="763" y="0"/>
                  </a:cubicBezTo>
                  <a:lnTo>
                    <a:pt x="260" y="0"/>
                  </a:lnTo>
                  <a:cubicBezTo>
                    <a:pt x="108" y="0"/>
                    <a:pt x="0" y="106"/>
                    <a:pt x="0" y="238"/>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42"/>
            <p:cNvSpPr>
              <a:spLocks/>
            </p:cNvSpPr>
            <p:nvPr/>
          </p:nvSpPr>
          <p:spPr bwMode="auto">
            <a:xfrm>
              <a:off x="-1538288" y="1168400"/>
              <a:ext cx="193675" cy="190500"/>
            </a:xfrm>
            <a:custGeom>
              <a:avLst/>
              <a:gdLst>
                <a:gd name="T0" fmla="*/ 3 w 533"/>
                <a:gd name="T1" fmla="*/ 210 h 527"/>
                <a:gd name="T2" fmla="*/ 29 w 533"/>
                <a:gd name="T3" fmla="*/ 355 h 527"/>
                <a:gd name="T4" fmla="*/ 452 w 533"/>
                <a:gd name="T5" fmla="*/ 355 h 527"/>
                <a:gd name="T6" fmla="*/ 241 w 533"/>
                <a:gd name="T7" fmla="*/ 0 h 527"/>
                <a:gd name="T8" fmla="*/ 239 w 533"/>
                <a:gd name="T9" fmla="*/ 0 h 527"/>
                <a:gd name="T10" fmla="*/ 149 w 533"/>
                <a:gd name="T11" fmla="*/ 19 h 527"/>
                <a:gd name="T12" fmla="*/ 32 w 533"/>
                <a:gd name="T13" fmla="*/ 123 h 527"/>
                <a:gd name="T14" fmla="*/ 3 w 533"/>
                <a:gd name="T15" fmla="*/ 210 h 5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3" h="527">
                  <a:moveTo>
                    <a:pt x="3" y="210"/>
                  </a:moveTo>
                  <a:cubicBezTo>
                    <a:pt x="3" y="266"/>
                    <a:pt x="0" y="304"/>
                    <a:pt x="29" y="355"/>
                  </a:cubicBezTo>
                  <a:cubicBezTo>
                    <a:pt x="125" y="520"/>
                    <a:pt x="352" y="527"/>
                    <a:pt x="452" y="355"/>
                  </a:cubicBezTo>
                  <a:cubicBezTo>
                    <a:pt x="533" y="216"/>
                    <a:pt x="436" y="0"/>
                    <a:pt x="241" y="0"/>
                  </a:cubicBezTo>
                  <a:lnTo>
                    <a:pt x="239" y="0"/>
                  </a:lnTo>
                  <a:cubicBezTo>
                    <a:pt x="213" y="0"/>
                    <a:pt x="170" y="10"/>
                    <a:pt x="149" y="19"/>
                  </a:cubicBezTo>
                  <a:cubicBezTo>
                    <a:pt x="98" y="40"/>
                    <a:pt x="58" y="76"/>
                    <a:pt x="32" y="123"/>
                  </a:cubicBezTo>
                  <a:cubicBezTo>
                    <a:pt x="19" y="147"/>
                    <a:pt x="3" y="177"/>
                    <a:pt x="3" y="210"/>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4" name="Group 23"/>
          <p:cNvGrpSpPr/>
          <p:nvPr/>
        </p:nvGrpSpPr>
        <p:grpSpPr>
          <a:xfrm>
            <a:off x="2704697" y="4254644"/>
            <a:ext cx="211755" cy="489667"/>
            <a:chOff x="-1635125" y="1168400"/>
            <a:chExt cx="377825" cy="1023938"/>
          </a:xfrm>
          <a:solidFill>
            <a:schemeClr val="tx1"/>
          </a:solidFill>
        </p:grpSpPr>
        <p:sp>
          <p:nvSpPr>
            <p:cNvPr id="25" name="Freeform 40"/>
            <p:cNvSpPr>
              <a:spLocks/>
            </p:cNvSpPr>
            <p:nvPr/>
          </p:nvSpPr>
          <p:spPr bwMode="auto">
            <a:xfrm>
              <a:off x="-1635125" y="1358900"/>
              <a:ext cx="377825" cy="833438"/>
            </a:xfrm>
            <a:custGeom>
              <a:avLst/>
              <a:gdLst>
                <a:gd name="T0" fmla="*/ 0 w 1037"/>
                <a:gd name="T1" fmla="*/ 238 h 2306"/>
                <a:gd name="T2" fmla="*/ 0 w 1037"/>
                <a:gd name="T3" fmla="*/ 1029 h 2306"/>
                <a:gd name="T4" fmla="*/ 167 w 1037"/>
                <a:gd name="T5" fmla="*/ 1074 h 2306"/>
                <a:gd name="T6" fmla="*/ 183 w 1037"/>
                <a:gd name="T7" fmla="*/ 1051 h 2306"/>
                <a:gd name="T8" fmla="*/ 227 w 1037"/>
                <a:gd name="T9" fmla="*/ 1670 h 2306"/>
                <a:gd name="T10" fmla="*/ 254 w 1037"/>
                <a:gd name="T11" fmla="*/ 2046 h 2306"/>
                <a:gd name="T12" fmla="*/ 266 w 1037"/>
                <a:gd name="T13" fmla="*/ 2212 h 2306"/>
                <a:gd name="T14" fmla="*/ 379 w 1037"/>
                <a:gd name="T15" fmla="*/ 2306 h 2306"/>
                <a:gd name="T16" fmla="*/ 393 w 1037"/>
                <a:gd name="T17" fmla="*/ 2306 h 2306"/>
                <a:gd name="T18" fmla="*/ 476 w 1037"/>
                <a:gd name="T19" fmla="*/ 2223 h 2306"/>
                <a:gd name="T20" fmla="*/ 547 w 1037"/>
                <a:gd name="T21" fmla="*/ 2223 h 2306"/>
                <a:gd name="T22" fmla="*/ 660 w 1037"/>
                <a:gd name="T23" fmla="*/ 2306 h 2306"/>
                <a:gd name="T24" fmla="*/ 669 w 1037"/>
                <a:gd name="T25" fmla="*/ 2306 h 2306"/>
                <a:gd name="T26" fmla="*/ 757 w 1037"/>
                <a:gd name="T27" fmla="*/ 2217 h 2306"/>
                <a:gd name="T28" fmla="*/ 769 w 1037"/>
                <a:gd name="T29" fmla="*/ 2052 h 2306"/>
                <a:gd name="T30" fmla="*/ 813 w 1037"/>
                <a:gd name="T31" fmla="*/ 1427 h 2306"/>
                <a:gd name="T32" fmla="*/ 818 w 1037"/>
                <a:gd name="T33" fmla="*/ 1388 h 2306"/>
                <a:gd name="T34" fmla="*/ 841 w 1037"/>
                <a:gd name="T35" fmla="*/ 1051 h 2306"/>
                <a:gd name="T36" fmla="*/ 873 w 1037"/>
                <a:gd name="T37" fmla="*/ 1091 h 2306"/>
                <a:gd name="T38" fmla="*/ 1026 w 1037"/>
                <a:gd name="T39" fmla="*/ 1026 h 2306"/>
                <a:gd name="T40" fmla="*/ 1023 w 1037"/>
                <a:gd name="T41" fmla="*/ 852 h 2306"/>
                <a:gd name="T42" fmla="*/ 1023 w 1037"/>
                <a:gd name="T43" fmla="*/ 299 h 2306"/>
                <a:gd name="T44" fmla="*/ 763 w 1037"/>
                <a:gd name="T45" fmla="*/ 0 h 2306"/>
                <a:gd name="T46" fmla="*/ 260 w 1037"/>
                <a:gd name="T47" fmla="*/ 0 h 2306"/>
                <a:gd name="T48" fmla="*/ 0 w 1037"/>
                <a:gd name="T49" fmla="*/ 238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7" h="2306">
                  <a:moveTo>
                    <a:pt x="0" y="238"/>
                  </a:moveTo>
                  <a:lnTo>
                    <a:pt x="0" y="1029"/>
                  </a:lnTo>
                  <a:cubicBezTo>
                    <a:pt x="0" y="1085"/>
                    <a:pt x="104" y="1157"/>
                    <a:pt x="167" y="1074"/>
                  </a:cubicBezTo>
                  <a:lnTo>
                    <a:pt x="183" y="1051"/>
                  </a:lnTo>
                  <a:lnTo>
                    <a:pt x="227" y="1670"/>
                  </a:lnTo>
                  <a:cubicBezTo>
                    <a:pt x="231" y="1768"/>
                    <a:pt x="254" y="1954"/>
                    <a:pt x="254" y="2046"/>
                  </a:cubicBezTo>
                  <a:lnTo>
                    <a:pt x="266" y="2212"/>
                  </a:lnTo>
                  <a:cubicBezTo>
                    <a:pt x="272" y="2301"/>
                    <a:pt x="324" y="2306"/>
                    <a:pt x="379" y="2306"/>
                  </a:cubicBezTo>
                  <a:lnTo>
                    <a:pt x="393" y="2306"/>
                  </a:lnTo>
                  <a:cubicBezTo>
                    <a:pt x="441" y="2306"/>
                    <a:pt x="475" y="2271"/>
                    <a:pt x="476" y="2223"/>
                  </a:cubicBezTo>
                  <a:lnTo>
                    <a:pt x="547" y="2223"/>
                  </a:lnTo>
                  <a:cubicBezTo>
                    <a:pt x="549" y="2302"/>
                    <a:pt x="613" y="2306"/>
                    <a:pt x="660" y="2306"/>
                  </a:cubicBezTo>
                  <a:lnTo>
                    <a:pt x="669" y="2306"/>
                  </a:lnTo>
                  <a:cubicBezTo>
                    <a:pt x="723" y="2306"/>
                    <a:pt x="754" y="2268"/>
                    <a:pt x="757" y="2217"/>
                  </a:cubicBezTo>
                  <a:cubicBezTo>
                    <a:pt x="761" y="2162"/>
                    <a:pt x="768" y="2106"/>
                    <a:pt x="769" y="2052"/>
                  </a:cubicBezTo>
                  <a:lnTo>
                    <a:pt x="813" y="1427"/>
                  </a:lnTo>
                  <a:cubicBezTo>
                    <a:pt x="815" y="1406"/>
                    <a:pt x="817" y="1411"/>
                    <a:pt x="818" y="1388"/>
                  </a:cubicBezTo>
                  <a:cubicBezTo>
                    <a:pt x="823" y="1297"/>
                    <a:pt x="841" y="1119"/>
                    <a:pt x="841" y="1051"/>
                  </a:cubicBezTo>
                  <a:cubicBezTo>
                    <a:pt x="852" y="1064"/>
                    <a:pt x="852" y="1075"/>
                    <a:pt x="873" y="1091"/>
                  </a:cubicBezTo>
                  <a:cubicBezTo>
                    <a:pt x="934" y="1140"/>
                    <a:pt x="1010" y="1098"/>
                    <a:pt x="1026" y="1026"/>
                  </a:cubicBezTo>
                  <a:cubicBezTo>
                    <a:pt x="1037" y="972"/>
                    <a:pt x="1027" y="899"/>
                    <a:pt x="1023" y="852"/>
                  </a:cubicBezTo>
                  <a:cubicBezTo>
                    <a:pt x="1015" y="752"/>
                    <a:pt x="1023" y="437"/>
                    <a:pt x="1023" y="299"/>
                  </a:cubicBezTo>
                  <a:cubicBezTo>
                    <a:pt x="1023" y="124"/>
                    <a:pt x="953" y="0"/>
                    <a:pt x="763" y="0"/>
                  </a:cubicBezTo>
                  <a:lnTo>
                    <a:pt x="260" y="0"/>
                  </a:lnTo>
                  <a:cubicBezTo>
                    <a:pt x="108" y="0"/>
                    <a:pt x="0" y="106"/>
                    <a:pt x="0" y="238"/>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42"/>
            <p:cNvSpPr>
              <a:spLocks/>
            </p:cNvSpPr>
            <p:nvPr/>
          </p:nvSpPr>
          <p:spPr bwMode="auto">
            <a:xfrm>
              <a:off x="-1538288" y="1168400"/>
              <a:ext cx="193675" cy="190500"/>
            </a:xfrm>
            <a:custGeom>
              <a:avLst/>
              <a:gdLst>
                <a:gd name="T0" fmla="*/ 3 w 533"/>
                <a:gd name="T1" fmla="*/ 210 h 527"/>
                <a:gd name="T2" fmla="*/ 29 w 533"/>
                <a:gd name="T3" fmla="*/ 355 h 527"/>
                <a:gd name="T4" fmla="*/ 452 w 533"/>
                <a:gd name="T5" fmla="*/ 355 h 527"/>
                <a:gd name="T6" fmla="*/ 241 w 533"/>
                <a:gd name="T7" fmla="*/ 0 h 527"/>
                <a:gd name="T8" fmla="*/ 239 w 533"/>
                <a:gd name="T9" fmla="*/ 0 h 527"/>
                <a:gd name="T10" fmla="*/ 149 w 533"/>
                <a:gd name="T11" fmla="*/ 19 h 527"/>
                <a:gd name="T12" fmla="*/ 32 w 533"/>
                <a:gd name="T13" fmla="*/ 123 h 527"/>
                <a:gd name="T14" fmla="*/ 3 w 533"/>
                <a:gd name="T15" fmla="*/ 210 h 5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3" h="527">
                  <a:moveTo>
                    <a:pt x="3" y="210"/>
                  </a:moveTo>
                  <a:cubicBezTo>
                    <a:pt x="3" y="266"/>
                    <a:pt x="0" y="304"/>
                    <a:pt x="29" y="355"/>
                  </a:cubicBezTo>
                  <a:cubicBezTo>
                    <a:pt x="125" y="520"/>
                    <a:pt x="352" y="527"/>
                    <a:pt x="452" y="355"/>
                  </a:cubicBezTo>
                  <a:cubicBezTo>
                    <a:pt x="533" y="216"/>
                    <a:pt x="436" y="0"/>
                    <a:pt x="241" y="0"/>
                  </a:cubicBezTo>
                  <a:lnTo>
                    <a:pt x="239" y="0"/>
                  </a:lnTo>
                  <a:cubicBezTo>
                    <a:pt x="213" y="0"/>
                    <a:pt x="170" y="10"/>
                    <a:pt x="149" y="19"/>
                  </a:cubicBezTo>
                  <a:cubicBezTo>
                    <a:pt x="98" y="40"/>
                    <a:pt x="58" y="76"/>
                    <a:pt x="32" y="123"/>
                  </a:cubicBezTo>
                  <a:cubicBezTo>
                    <a:pt x="19" y="147"/>
                    <a:pt x="3" y="177"/>
                    <a:pt x="3" y="210"/>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7" name="Group 26"/>
          <p:cNvGrpSpPr/>
          <p:nvPr/>
        </p:nvGrpSpPr>
        <p:grpSpPr>
          <a:xfrm>
            <a:off x="2704697" y="5298113"/>
            <a:ext cx="211755" cy="489667"/>
            <a:chOff x="-1635125" y="1168400"/>
            <a:chExt cx="377825" cy="1023938"/>
          </a:xfrm>
          <a:solidFill>
            <a:schemeClr val="tx1"/>
          </a:solidFill>
        </p:grpSpPr>
        <p:sp>
          <p:nvSpPr>
            <p:cNvPr id="28" name="Freeform 40"/>
            <p:cNvSpPr>
              <a:spLocks/>
            </p:cNvSpPr>
            <p:nvPr/>
          </p:nvSpPr>
          <p:spPr bwMode="auto">
            <a:xfrm>
              <a:off x="-1635125" y="1358900"/>
              <a:ext cx="377825" cy="833438"/>
            </a:xfrm>
            <a:custGeom>
              <a:avLst/>
              <a:gdLst>
                <a:gd name="T0" fmla="*/ 0 w 1037"/>
                <a:gd name="T1" fmla="*/ 238 h 2306"/>
                <a:gd name="T2" fmla="*/ 0 w 1037"/>
                <a:gd name="T3" fmla="*/ 1029 h 2306"/>
                <a:gd name="T4" fmla="*/ 167 w 1037"/>
                <a:gd name="T5" fmla="*/ 1074 h 2306"/>
                <a:gd name="T6" fmla="*/ 183 w 1037"/>
                <a:gd name="T7" fmla="*/ 1051 h 2306"/>
                <a:gd name="T8" fmla="*/ 227 w 1037"/>
                <a:gd name="T9" fmla="*/ 1670 h 2306"/>
                <a:gd name="T10" fmla="*/ 254 w 1037"/>
                <a:gd name="T11" fmla="*/ 2046 h 2306"/>
                <a:gd name="T12" fmla="*/ 266 w 1037"/>
                <a:gd name="T13" fmla="*/ 2212 h 2306"/>
                <a:gd name="T14" fmla="*/ 379 w 1037"/>
                <a:gd name="T15" fmla="*/ 2306 h 2306"/>
                <a:gd name="T16" fmla="*/ 393 w 1037"/>
                <a:gd name="T17" fmla="*/ 2306 h 2306"/>
                <a:gd name="T18" fmla="*/ 476 w 1037"/>
                <a:gd name="T19" fmla="*/ 2223 h 2306"/>
                <a:gd name="T20" fmla="*/ 547 w 1037"/>
                <a:gd name="T21" fmla="*/ 2223 h 2306"/>
                <a:gd name="T22" fmla="*/ 660 w 1037"/>
                <a:gd name="T23" fmla="*/ 2306 h 2306"/>
                <a:gd name="T24" fmla="*/ 669 w 1037"/>
                <a:gd name="T25" fmla="*/ 2306 h 2306"/>
                <a:gd name="T26" fmla="*/ 757 w 1037"/>
                <a:gd name="T27" fmla="*/ 2217 h 2306"/>
                <a:gd name="T28" fmla="*/ 769 w 1037"/>
                <a:gd name="T29" fmla="*/ 2052 h 2306"/>
                <a:gd name="T30" fmla="*/ 813 w 1037"/>
                <a:gd name="T31" fmla="*/ 1427 h 2306"/>
                <a:gd name="T32" fmla="*/ 818 w 1037"/>
                <a:gd name="T33" fmla="*/ 1388 h 2306"/>
                <a:gd name="T34" fmla="*/ 841 w 1037"/>
                <a:gd name="T35" fmla="*/ 1051 h 2306"/>
                <a:gd name="T36" fmla="*/ 873 w 1037"/>
                <a:gd name="T37" fmla="*/ 1091 h 2306"/>
                <a:gd name="T38" fmla="*/ 1026 w 1037"/>
                <a:gd name="T39" fmla="*/ 1026 h 2306"/>
                <a:gd name="T40" fmla="*/ 1023 w 1037"/>
                <a:gd name="T41" fmla="*/ 852 h 2306"/>
                <a:gd name="T42" fmla="*/ 1023 w 1037"/>
                <a:gd name="T43" fmla="*/ 299 h 2306"/>
                <a:gd name="T44" fmla="*/ 763 w 1037"/>
                <a:gd name="T45" fmla="*/ 0 h 2306"/>
                <a:gd name="T46" fmla="*/ 260 w 1037"/>
                <a:gd name="T47" fmla="*/ 0 h 2306"/>
                <a:gd name="T48" fmla="*/ 0 w 1037"/>
                <a:gd name="T49" fmla="*/ 238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7" h="2306">
                  <a:moveTo>
                    <a:pt x="0" y="238"/>
                  </a:moveTo>
                  <a:lnTo>
                    <a:pt x="0" y="1029"/>
                  </a:lnTo>
                  <a:cubicBezTo>
                    <a:pt x="0" y="1085"/>
                    <a:pt x="104" y="1157"/>
                    <a:pt x="167" y="1074"/>
                  </a:cubicBezTo>
                  <a:lnTo>
                    <a:pt x="183" y="1051"/>
                  </a:lnTo>
                  <a:lnTo>
                    <a:pt x="227" y="1670"/>
                  </a:lnTo>
                  <a:cubicBezTo>
                    <a:pt x="231" y="1768"/>
                    <a:pt x="254" y="1954"/>
                    <a:pt x="254" y="2046"/>
                  </a:cubicBezTo>
                  <a:lnTo>
                    <a:pt x="266" y="2212"/>
                  </a:lnTo>
                  <a:cubicBezTo>
                    <a:pt x="272" y="2301"/>
                    <a:pt x="324" y="2306"/>
                    <a:pt x="379" y="2306"/>
                  </a:cubicBezTo>
                  <a:lnTo>
                    <a:pt x="393" y="2306"/>
                  </a:lnTo>
                  <a:cubicBezTo>
                    <a:pt x="441" y="2306"/>
                    <a:pt x="475" y="2271"/>
                    <a:pt x="476" y="2223"/>
                  </a:cubicBezTo>
                  <a:lnTo>
                    <a:pt x="547" y="2223"/>
                  </a:lnTo>
                  <a:cubicBezTo>
                    <a:pt x="549" y="2302"/>
                    <a:pt x="613" y="2306"/>
                    <a:pt x="660" y="2306"/>
                  </a:cubicBezTo>
                  <a:lnTo>
                    <a:pt x="669" y="2306"/>
                  </a:lnTo>
                  <a:cubicBezTo>
                    <a:pt x="723" y="2306"/>
                    <a:pt x="754" y="2268"/>
                    <a:pt x="757" y="2217"/>
                  </a:cubicBezTo>
                  <a:cubicBezTo>
                    <a:pt x="761" y="2162"/>
                    <a:pt x="768" y="2106"/>
                    <a:pt x="769" y="2052"/>
                  </a:cubicBezTo>
                  <a:lnTo>
                    <a:pt x="813" y="1427"/>
                  </a:lnTo>
                  <a:cubicBezTo>
                    <a:pt x="815" y="1406"/>
                    <a:pt x="817" y="1411"/>
                    <a:pt x="818" y="1388"/>
                  </a:cubicBezTo>
                  <a:cubicBezTo>
                    <a:pt x="823" y="1297"/>
                    <a:pt x="841" y="1119"/>
                    <a:pt x="841" y="1051"/>
                  </a:cubicBezTo>
                  <a:cubicBezTo>
                    <a:pt x="852" y="1064"/>
                    <a:pt x="852" y="1075"/>
                    <a:pt x="873" y="1091"/>
                  </a:cubicBezTo>
                  <a:cubicBezTo>
                    <a:pt x="934" y="1140"/>
                    <a:pt x="1010" y="1098"/>
                    <a:pt x="1026" y="1026"/>
                  </a:cubicBezTo>
                  <a:cubicBezTo>
                    <a:pt x="1037" y="972"/>
                    <a:pt x="1027" y="899"/>
                    <a:pt x="1023" y="852"/>
                  </a:cubicBezTo>
                  <a:cubicBezTo>
                    <a:pt x="1015" y="752"/>
                    <a:pt x="1023" y="437"/>
                    <a:pt x="1023" y="299"/>
                  </a:cubicBezTo>
                  <a:cubicBezTo>
                    <a:pt x="1023" y="124"/>
                    <a:pt x="953" y="0"/>
                    <a:pt x="763" y="0"/>
                  </a:cubicBezTo>
                  <a:lnTo>
                    <a:pt x="260" y="0"/>
                  </a:lnTo>
                  <a:cubicBezTo>
                    <a:pt x="108" y="0"/>
                    <a:pt x="0" y="106"/>
                    <a:pt x="0" y="238"/>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42"/>
            <p:cNvSpPr>
              <a:spLocks/>
            </p:cNvSpPr>
            <p:nvPr/>
          </p:nvSpPr>
          <p:spPr bwMode="auto">
            <a:xfrm>
              <a:off x="-1538288" y="1168400"/>
              <a:ext cx="193675" cy="190500"/>
            </a:xfrm>
            <a:custGeom>
              <a:avLst/>
              <a:gdLst>
                <a:gd name="T0" fmla="*/ 3 w 533"/>
                <a:gd name="T1" fmla="*/ 210 h 527"/>
                <a:gd name="T2" fmla="*/ 29 w 533"/>
                <a:gd name="T3" fmla="*/ 355 h 527"/>
                <a:gd name="T4" fmla="*/ 452 w 533"/>
                <a:gd name="T5" fmla="*/ 355 h 527"/>
                <a:gd name="T6" fmla="*/ 241 w 533"/>
                <a:gd name="T7" fmla="*/ 0 h 527"/>
                <a:gd name="T8" fmla="*/ 239 w 533"/>
                <a:gd name="T9" fmla="*/ 0 h 527"/>
                <a:gd name="T10" fmla="*/ 149 w 533"/>
                <a:gd name="T11" fmla="*/ 19 h 527"/>
                <a:gd name="T12" fmla="*/ 32 w 533"/>
                <a:gd name="T13" fmla="*/ 123 h 527"/>
                <a:gd name="T14" fmla="*/ 3 w 533"/>
                <a:gd name="T15" fmla="*/ 210 h 5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3" h="527">
                  <a:moveTo>
                    <a:pt x="3" y="210"/>
                  </a:moveTo>
                  <a:cubicBezTo>
                    <a:pt x="3" y="266"/>
                    <a:pt x="0" y="304"/>
                    <a:pt x="29" y="355"/>
                  </a:cubicBezTo>
                  <a:cubicBezTo>
                    <a:pt x="125" y="520"/>
                    <a:pt x="352" y="527"/>
                    <a:pt x="452" y="355"/>
                  </a:cubicBezTo>
                  <a:cubicBezTo>
                    <a:pt x="533" y="216"/>
                    <a:pt x="436" y="0"/>
                    <a:pt x="241" y="0"/>
                  </a:cubicBezTo>
                  <a:lnTo>
                    <a:pt x="239" y="0"/>
                  </a:lnTo>
                  <a:cubicBezTo>
                    <a:pt x="213" y="0"/>
                    <a:pt x="170" y="10"/>
                    <a:pt x="149" y="19"/>
                  </a:cubicBezTo>
                  <a:cubicBezTo>
                    <a:pt x="98" y="40"/>
                    <a:pt x="58" y="76"/>
                    <a:pt x="32" y="123"/>
                  </a:cubicBezTo>
                  <a:cubicBezTo>
                    <a:pt x="19" y="147"/>
                    <a:pt x="3" y="177"/>
                    <a:pt x="3" y="210"/>
                  </a:cubicBezTo>
                  <a:close/>
                </a:path>
              </a:pathLst>
            </a:custGeom>
            <a:grpFill/>
            <a:ln w="19050">
              <a:solidFill>
                <a:schemeClr val="bg1">
                  <a:lumMod val="75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30" name="Group 29"/>
          <p:cNvGrpSpPr/>
          <p:nvPr/>
        </p:nvGrpSpPr>
        <p:grpSpPr>
          <a:xfrm>
            <a:off x="5483970" y="3237574"/>
            <a:ext cx="202132" cy="258661"/>
            <a:chOff x="3046228" y="2216887"/>
            <a:chExt cx="155760" cy="179804"/>
          </a:xfrm>
          <a:solidFill>
            <a:srgbClr val="666666"/>
          </a:solidFill>
        </p:grpSpPr>
        <p:sp>
          <p:nvSpPr>
            <p:cNvPr id="31"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cxnSp>
        <p:nvCxnSpPr>
          <p:cNvPr id="33" name="Straight Arrow Connector 32"/>
          <p:cNvCxnSpPr/>
          <p:nvPr/>
        </p:nvCxnSpPr>
        <p:spPr>
          <a:xfrm>
            <a:off x="3022336" y="3392379"/>
            <a:ext cx="1980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979717" y="2328512"/>
            <a:ext cx="1080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022336" y="4493423"/>
            <a:ext cx="1980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endCxn id="3" idx="1"/>
          </p:cNvCxnSpPr>
          <p:nvPr/>
        </p:nvCxnSpPr>
        <p:spPr>
          <a:xfrm flipV="1">
            <a:off x="2996166" y="5600638"/>
            <a:ext cx="1109437" cy="701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370897" y="3746949"/>
            <a:ext cx="24063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smtClean="0">
                <a:ln>
                  <a:noFill/>
                </a:ln>
                <a:solidFill>
                  <a:prstClr val="black"/>
                </a:solidFill>
                <a:effectLst/>
                <a:uLnTx/>
                <a:uFillTx/>
                <a:latin typeface="Calibri" panose="020F0502020204030204"/>
                <a:ea typeface="+mn-ea"/>
                <a:cs typeface="+mn-cs"/>
              </a:rPr>
              <a:t>Kanban based Delivery</a:t>
            </a:r>
            <a:endPar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9" name="Group 38"/>
          <p:cNvGrpSpPr/>
          <p:nvPr/>
        </p:nvGrpSpPr>
        <p:grpSpPr>
          <a:xfrm>
            <a:off x="6549384" y="3237574"/>
            <a:ext cx="202132" cy="258661"/>
            <a:chOff x="3046228" y="2216887"/>
            <a:chExt cx="155760" cy="179804"/>
          </a:xfrm>
          <a:solidFill>
            <a:srgbClr val="666666"/>
          </a:solidFill>
        </p:grpSpPr>
        <p:sp>
          <p:nvSpPr>
            <p:cNvPr id="40"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1"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42" name="Group 41"/>
          <p:cNvGrpSpPr/>
          <p:nvPr/>
        </p:nvGrpSpPr>
        <p:grpSpPr>
          <a:xfrm>
            <a:off x="7468340" y="3237574"/>
            <a:ext cx="202132" cy="258661"/>
            <a:chOff x="3046228" y="2216887"/>
            <a:chExt cx="155760" cy="179804"/>
          </a:xfrm>
          <a:solidFill>
            <a:srgbClr val="666666"/>
          </a:solidFill>
        </p:grpSpPr>
        <p:sp>
          <p:nvSpPr>
            <p:cNvPr id="43"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45" name="Group 44"/>
          <p:cNvGrpSpPr/>
          <p:nvPr/>
        </p:nvGrpSpPr>
        <p:grpSpPr>
          <a:xfrm>
            <a:off x="5483970" y="4358157"/>
            <a:ext cx="202132" cy="258661"/>
            <a:chOff x="3046228" y="2216887"/>
            <a:chExt cx="155760" cy="179804"/>
          </a:xfrm>
          <a:solidFill>
            <a:srgbClr val="666666"/>
          </a:solidFill>
        </p:grpSpPr>
        <p:sp>
          <p:nvSpPr>
            <p:cNvPr id="46"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48" name="Group 47"/>
          <p:cNvGrpSpPr/>
          <p:nvPr/>
        </p:nvGrpSpPr>
        <p:grpSpPr>
          <a:xfrm>
            <a:off x="6549384" y="4358157"/>
            <a:ext cx="202132" cy="258661"/>
            <a:chOff x="3046228" y="2216887"/>
            <a:chExt cx="155760" cy="179804"/>
          </a:xfrm>
          <a:solidFill>
            <a:srgbClr val="666666"/>
          </a:solidFill>
        </p:grpSpPr>
        <p:sp>
          <p:nvSpPr>
            <p:cNvPr id="49"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1" name="Group 50"/>
          <p:cNvGrpSpPr/>
          <p:nvPr/>
        </p:nvGrpSpPr>
        <p:grpSpPr>
          <a:xfrm>
            <a:off x="7468340" y="4358157"/>
            <a:ext cx="202132" cy="258661"/>
            <a:chOff x="3046228" y="2216887"/>
            <a:chExt cx="155760" cy="179804"/>
          </a:xfrm>
          <a:solidFill>
            <a:srgbClr val="666666"/>
          </a:solidFill>
        </p:grpSpPr>
        <p:sp>
          <p:nvSpPr>
            <p:cNvPr id="52"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57" name="TextBox 56"/>
          <p:cNvSpPr txBox="1"/>
          <p:nvPr/>
        </p:nvSpPr>
        <p:spPr>
          <a:xfrm>
            <a:off x="9240253" y="2029199"/>
            <a:ext cx="2762449"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Rapid Respons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SoP based Issue resolution</a:t>
            </a:r>
          </a:p>
        </p:txBody>
      </p:sp>
      <p:sp>
        <p:nvSpPr>
          <p:cNvPr id="58" name="TextBox 57"/>
          <p:cNvSpPr txBox="1"/>
          <p:nvPr/>
        </p:nvSpPr>
        <p:spPr>
          <a:xfrm>
            <a:off x="9240253" y="3103545"/>
            <a:ext cx="2762449"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Accommodated new </a:t>
            </a: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tasks on the </a:t>
            </a: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fly </a:t>
            </a:r>
            <a:endPar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Flexibility in customizing </a:t>
            </a: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Kanban process &amp; policies specific to the proje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Average </a:t>
            </a: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Cycle time &amp; lead time can be easily </a:t>
            </a: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measured</a:t>
            </a:r>
            <a:endPar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Rectangle 58"/>
          <p:cNvSpPr/>
          <p:nvPr/>
        </p:nvSpPr>
        <p:spPr>
          <a:xfrm>
            <a:off x="9403881" y="1443790"/>
            <a:ext cx="2505003" cy="423511"/>
          </a:xfrm>
          <a:prstGeom prst="rect">
            <a:avLst/>
          </a:prstGeom>
          <a:solidFill>
            <a:srgbClr val="00853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white"/>
                </a:solidFill>
                <a:effectLst/>
                <a:uLnTx/>
                <a:uFillTx/>
                <a:latin typeface="Calibri" panose="020F0502020204030204"/>
                <a:ea typeface="+mn-ea"/>
                <a:cs typeface="+mn-cs"/>
              </a:rPr>
              <a:t>Key Highlights</a:t>
            </a:r>
            <a:endPar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9240253" y="5046625"/>
            <a:ext cx="2762449"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Align development steps and business </a:t>
            </a: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Tighter Biz &amp; IT ecosystem to minimize </a:t>
            </a:r>
            <a:r>
              <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rPr>
              <a:t>rework and improve </a:t>
            </a:r>
            <a:r>
              <a:rPr kumimoji="0" lang="en-GB" sz="1400" b="0" i="1" u="none" strike="noStrike" kern="1200" cap="none" spc="0" normalizeH="0" baseline="0" noProof="0" dirty="0" smtClean="0">
                <a:ln>
                  <a:noFill/>
                </a:ln>
                <a:solidFill>
                  <a:prstClr val="black"/>
                </a:solidFill>
                <a:effectLst/>
                <a:uLnTx/>
                <a:uFillTx/>
                <a:latin typeface="Calibri" panose="020F0502020204030204"/>
                <a:ea typeface="+mn-ea"/>
                <a:cs typeface="+mn-cs"/>
              </a:rPr>
              <a:t>efficiency</a:t>
            </a:r>
            <a:endPar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7" name="Group 66"/>
          <p:cNvGrpSpPr/>
          <p:nvPr/>
        </p:nvGrpSpPr>
        <p:grpSpPr>
          <a:xfrm>
            <a:off x="5955022" y="3233887"/>
            <a:ext cx="324409" cy="258151"/>
            <a:chOff x="6383790" y="1771048"/>
            <a:chExt cx="613776" cy="419582"/>
          </a:xfrm>
          <a:solidFill>
            <a:schemeClr val="tx1">
              <a:lumMod val="75000"/>
              <a:lumOff val="25000"/>
            </a:schemeClr>
          </a:solidFill>
        </p:grpSpPr>
        <p:sp>
          <p:nvSpPr>
            <p:cNvPr id="68" name="Curved Left Arrow 67"/>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Curved Left Arrow 68"/>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0" name="Group 69"/>
          <p:cNvGrpSpPr/>
          <p:nvPr/>
        </p:nvGrpSpPr>
        <p:grpSpPr>
          <a:xfrm>
            <a:off x="7009610" y="3233887"/>
            <a:ext cx="324409" cy="258151"/>
            <a:chOff x="6383790" y="1771048"/>
            <a:chExt cx="613776" cy="419582"/>
          </a:xfrm>
          <a:solidFill>
            <a:schemeClr val="tx1">
              <a:lumMod val="75000"/>
              <a:lumOff val="25000"/>
            </a:schemeClr>
          </a:solidFill>
        </p:grpSpPr>
        <p:sp>
          <p:nvSpPr>
            <p:cNvPr id="71" name="Curved Left Arrow 70"/>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Curved Left Arrow 71"/>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3" name="Group 72"/>
          <p:cNvGrpSpPr/>
          <p:nvPr/>
        </p:nvGrpSpPr>
        <p:grpSpPr>
          <a:xfrm>
            <a:off x="5955022" y="4331734"/>
            <a:ext cx="324409" cy="258151"/>
            <a:chOff x="6383790" y="1771048"/>
            <a:chExt cx="613776" cy="419582"/>
          </a:xfrm>
          <a:solidFill>
            <a:schemeClr val="tx1">
              <a:lumMod val="75000"/>
              <a:lumOff val="25000"/>
            </a:schemeClr>
          </a:solidFill>
        </p:grpSpPr>
        <p:sp>
          <p:nvSpPr>
            <p:cNvPr id="74" name="Curved Left Arrow 73"/>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Curved Left Arrow 74"/>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6" name="Group 75"/>
          <p:cNvGrpSpPr/>
          <p:nvPr/>
        </p:nvGrpSpPr>
        <p:grpSpPr>
          <a:xfrm>
            <a:off x="7009610" y="4331734"/>
            <a:ext cx="324409" cy="258151"/>
            <a:chOff x="6383790" y="1771048"/>
            <a:chExt cx="613776" cy="419582"/>
          </a:xfrm>
          <a:solidFill>
            <a:schemeClr val="tx1">
              <a:lumMod val="75000"/>
              <a:lumOff val="25000"/>
            </a:schemeClr>
          </a:solidFill>
        </p:grpSpPr>
        <p:sp>
          <p:nvSpPr>
            <p:cNvPr id="77" name="Curved Left Arrow 76"/>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Curved Left Arrow 77"/>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85" name="Group 84"/>
          <p:cNvGrpSpPr/>
          <p:nvPr/>
        </p:nvGrpSpPr>
        <p:grpSpPr>
          <a:xfrm>
            <a:off x="4105603" y="5120155"/>
            <a:ext cx="2598822" cy="960965"/>
            <a:chOff x="4993291" y="5120155"/>
            <a:chExt cx="4035206" cy="960965"/>
          </a:xfrm>
        </p:grpSpPr>
        <p:sp>
          <p:nvSpPr>
            <p:cNvPr id="3" name="Rounded Rectangle 2"/>
            <p:cNvSpPr/>
            <p:nvPr/>
          </p:nvSpPr>
          <p:spPr>
            <a:xfrm>
              <a:off x="4993291" y="5120155"/>
              <a:ext cx="4035206" cy="960965"/>
            </a:xfrm>
            <a:prstGeom prst="roundRect">
              <a:avLst>
                <a:gd name="adj" fmla="val 9411"/>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p:cNvSpPr txBox="1"/>
            <p:nvPr/>
          </p:nvSpPr>
          <p:spPr>
            <a:xfrm>
              <a:off x="5662686" y="5654753"/>
              <a:ext cx="2406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smtClean="0">
                  <a:ln>
                    <a:noFill/>
                  </a:ln>
                  <a:solidFill>
                    <a:prstClr val="black"/>
                  </a:solidFill>
                  <a:effectLst/>
                  <a:uLnTx/>
                  <a:uFillTx/>
                  <a:latin typeface="Calibri" panose="020F0502020204030204"/>
                  <a:ea typeface="+mn-ea"/>
                  <a:cs typeface="+mn-cs"/>
                </a:rPr>
                <a:t>Agile Delivery</a:t>
              </a:r>
              <a:endPar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4" name="Group 53"/>
            <p:cNvGrpSpPr/>
            <p:nvPr/>
          </p:nvGrpSpPr>
          <p:grpSpPr>
            <a:xfrm>
              <a:off x="5452537" y="5301897"/>
              <a:ext cx="202132" cy="258661"/>
              <a:chOff x="3046228" y="2216887"/>
              <a:chExt cx="155760" cy="179804"/>
            </a:xfrm>
            <a:solidFill>
              <a:srgbClr val="666666"/>
            </a:solidFill>
          </p:grpSpPr>
          <p:sp>
            <p:nvSpPr>
              <p:cNvPr id="55"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6"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1" name="Group 60"/>
            <p:cNvGrpSpPr/>
            <p:nvPr/>
          </p:nvGrpSpPr>
          <p:grpSpPr>
            <a:xfrm>
              <a:off x="6539079" y="5301897"/>
              <a:ext cx="202132" cy="258661"/>
              <a:chOff x="3046228" y="2216887"/>
              <a:chExt cx="155760" cy="179804"/>
            </a:xfrm>
            <a:solidFill>
              <a:srgbClr val="666666"/>
            </a:solidFill>
          </p:grpSpPr>
          <p:sp>
            <p:nvSpPr>
              <p:cNvPr id="62"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4" name="Group 63"/>
            <p:cNvGrpSpPr/>
            <p:nvPr/>
          </p:nvGrpSpPr>
          <p:grpSpPr>
            <a:xfrm>
              <a:off x="8069002" y="5301897"/>
              <a:ext cx="202132" cy="258661"/>
              <a:chOff x="3046228" y="2216887"/>
              <a:chExt cx="155760" cy="179804"/>
            </a:xfrm>
            <a:solidFill>
              <a:srgbClr val="666666"/>
            </a:solidFill>
          </p:grpSpPr>
          <p:sp>
            <p:nvSpPr>
              <p:cNvPr id="65"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79" name="Group 78"/>
            <p:cNvGrpSpPr/>
            <p:nvPr/>
          </p:nvGrpSpPr>
          <p:grpSpPr>
            <a:xfrm>
              <a:off x="5955022" y="5349504"/>
              <a:ext cx="324409" cy="258151"/>
              <a:chOff x="6383790" y="1771048"/>
              <a:chExt cx="613776" cy="419582"/>
            </a:xfrm>
            <a:solidFill>
              <a:schemeClr val="tx1">
                <a:lumMod val="75000"/>
                <a:lumOff val="25000"/>
              </a:schemeClr>
            </a:solidFill>
          </p:grpSpPr>
          <p:sp>
            <p:nvSpPr>
              <p:cNvPr id="80" name="Curved Left Arrow 79"/>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Curved Left Arrow 80"/>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82" name="Group 81"/>
            <p:cNvGrpSpPr/>
            <p:nvPr/>
          </p:nvGrpSpPr>
          <p:grpSpPr>
            <a:xfrm>
              <a:off x="7269493" y="5349504"/>
              <a:ext cx="324409" cy="258151"/>
              <a:chOff x="6383790" y="1771048"/>
              <a:chExt cx="613776" cy="419582"/>
            </a:xfrm>
            <a:solidFill>
              <a:schemeClr val="tx1">
                <a:lumMod val="75000"/>
                <a:lumOff val="25000"/>
              </a:schemeClr>
            </a:solidFill>
          </p:grpSpPr>
          <p:sp>
            <p:nvSpPr>
              <p:cNvPr id="83" name="Curved Left Arrow 82"/>
              <p:cNvSpPr/>
              <p:nvPr/>
            </p:nvSpPr>
            <p:spPr>
              <a:xfrm>
                <a:off x="6741211"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Curved Left Arrow 83"/>
              <p:cNvSpPr/>
              <p:nvPr/>
            </p:nvSpPr>
            <p:spPr>
              <a:xfrm flipH="1" flipV="1">
                <a:off x="6383790" y="1771048"/>
                <a:ext cx="256355" cy="419582"/>
              </a:xfrm>
              <a:prstGeom prst="curvedLeftArrow">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86" name="Group 85"/>
          <p:cNvGrpSpPr/>
          <p:nvPr/>
        </p:nvGrpSpPr>
        <p:grpSpPr>
          <a:xfrm>
            <a:off x="6805059" y="5139196"/>
            <a:ext cx="2598822" cy="960965"/>
            <a:chOff x="4993291" y="5120155"/>
            <a:chExt cx="4035206" cy="960965"/>
          </a:xfrm>
        </p:grpSpPr>
        <p:sp>
          <p:nvSpPr>
            <p:cNvPr id="87" name="Rounded Rectangle 86"/>
            <p:cNvSpPr/>
            <p:nvPr/>
          </p:nvSpPr>
          <p:spPr>
            <a:xfrm>
              <a:off x="4993291" y="5120155"/>
              <a:ext cx="4035206" cy="960965"/>
            </a:xfrm>
            <a:prstGeom prst="roundRect">
              <a:avLst>
                <a:gd name="adj" fmla="val 9411"/>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8" name="TextBox 87"/>
            <p:cNvSpPr txBox="1"/>
            <p:nvPr/>
          </p:nvSpPr>
          <p:spPr>
            <a:xfrm>
              <a:off x="5662686" y="5654753"/>
              <a:ext cx="33658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smtClean="0">
                  <a:ln>
                    <a:noFill/>
                  </a:ln>
                  <a:solidFill>
                    <a:prstClr val="black"/>
                  </a:solidFill>
                  <a:effectLst/>
                  <a:uLnTx/>
                  <a:uFillTx/>
                  <a:latin typeface="Calibri" panose="020F0502020204030204"/>
                  <a:ea typeface="+mn-ea"/>
                  <a:cs typeface="+mn-cs"/>
                </a:rPr>
                <a:t>Waterfall/Iterative</a:t>
              </a:r>
              <a:endPar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89" name="Group 88"/>
            <p:cNvGrpSpPr/>
            <p:nvPr/>
          </p:nvGrpSpPr>
          <p:grpSpPr>
            <a:xfrm>
              <a:off x="5452537" y="5301897"/>
              <a:ext cx="202132" cy="258661"/>
              <a:chOff x="3046228" y="2216887"/>
              <a:chExt cx="155760" cy="179804"/>
            </a:xfrm>
            <a:solidFill>
              <a:srgbClr val="666666"/>
            </a:solidFill>
          </p:grpSpPr>
          <p:sp>
            <p:nvSpPr>
              <p:cNvPr id="102"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3"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0" name="Group 89"/>
            <p:cNvGrpSpPr/>
            <p:nvPr/>
          </p:nvGrpSpPr>
          <p:grpSpPr>
            <a:xfrm>
              <a:off x="6662850" y="5301897"/>
              <a:ext cx="331815" cy="258661"/>
              <a:chOff x="3141606" y="2216887"/>
              <a:chExt cx="255692" cy="179804"/>
            </a:xfrm>
            <a:solidFill>
              <a:srgbClr val="666666"/>
            </a:solidFill>
          </p:grpSpPr>
          <p:sp>
            <p:nvSpPr>
              <p:cNvPr id="100" name="Freeform 191"/>
              <p:cNvSpPr>
                <a:spLocks/>
              </p:cNvSpPr>
              <p:nvPr/>
            </p:nvSpPr>
            <p:spPr bwMode="auto">
              <a:xfrm>
                <a:off x="324153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1"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91" name="Group 90"/>
            <p:cNvGrpSpPr/>
            <p:nvPr/>
          </p:nvGrpSpPr>
          <p:grpSpPr>
            <a:xfrm>
              <a:off x="8069002" y="5301897"/>
              <a:ext cx="202132" cy="258661"/>
              <a:chOff x="3046228" y="2216887"/>
              <a:chExt cx="155760" cy="179804"/>
            </a:xfrm>
            <a:solidFill>
              <a:srgbClr val="666666"/>
            </a:solidFill>
          </p:grpSpPr>
          <p:sp>
            <p:nvSpPr>
              <p:cNvPr id="98" name="Freeform 191"/>
              <p:cNvSpPr>
                <a:spLocks/>
              </p:cNvSpPr>
              <p:nvPr/>
            </p:nvSpPr>
            <p:spPr bwMode="auto">
              <a:xfrm>
                <a:off x="3046228" y="2216887"/>
                <a:ext cx="155760" cy="179803"/>
              </a:xfrm>
              <a:custGeom>
                <a:avLst/>
                <a:gdLst>
                  <a:gd name="T0" fmla="*/ 234 w 336"/>
                  <a:gd name="T1" fmla="*/ 336 h 336"/>
                  <a:gd name="T2" fmla="*/ 0 w 336"/>
                  <a:gd name="T3" fmla="*/ 336 h 336"/>
                  <a:gd name="T4" fmla="*/ 0 w 336"/>
                  <a:gd name="T5" fmla="*/ 0 h 336"/>
                  <a:gd name="T6" fmla="*/ 336 w 336"/>
                  <a:gd name="T7" fmla="*/ 0 h 336"/>
                  <a:gd name="T8" fmla="*/ 336 w 336"/>
                  <a:gd name="T9" fmla="*/ 233 h 336"/>
                  <a:gd name="T10" fmla="*/ 234 w 336"/>
                  <a:gd name="T11" fmla="*/ 336 h 336"/>
                </a:gdLst>
                <a:ahLst/>
                <a:cxnLst>
                  <a:cxn ang="0">
                    <a:pos x="T0" y="T1"/>
                  </a:cxn>
                  <a:cxn ang="0">
                    <a:pos x="T2" y="T3"/>
                  </a:cxn>
                  <a:cxn ang="0">
                    <a:pos x="T4" y="T5"/>
                  </a:cxn>
                  <a:cxn ang="0">
                    <a:pos x="T6" y="T7"/>
                  </a:cxn>
                  <a:cxn ang="0">
                    <a:pos x="T8" y="T9"/>
                  </a:cxn>
                  <a:cxn ang="0">
                    <a:pos x="T10" y="T11"/>
                  </a:cxn>
                </a:cxnLst>
                <a:rect l="0" t="0" r="r" b="b"/>
                <a:pathLst>
                  <a:path w="336" h="336">
                    <a:moveTo>
                      <a:pt x="234" y="336"/>
                    </a:moveTo>
                    <a:lnTo>
                      <a:pt x="0" y="336"/>
                    </a:lnTo>
                    <a:lnTo>
                      <a:pt x="0" y="0"/>
                    </a:lnTo>
                    <a:lnTo>
                      <a:pt x="336" y="0"/>
                    </a:lnTo>
                    <a:lnTo>
                      <a:pt x="336" y="233"/>
                    </a:lnTo>
                    <a:lnTo>
                      <a:pt x="234" y="336"/>
                    </a:lnTo>
                    <a:close/>
                  </a:path>
                </a:pathLst>
              </a:custGeom>
              <a:grpFill/>
              <a:ln w="2222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9" name="Freeform 192"/>
              <p:cNvSpPr>
                <a:spLocks/>
              </p:cNvSpPr>
              <p:nvPr/>
            </p:nvSpPr>
            <p:spPr bwMode="auto">
              <a:xfrm>
                <a:off x="3141606" y="2317752"/>
                <a:ext cx="60382" cy="78939"/>
              </a:xfrm>
              <a:custGeom>
                <a:avLst/>
                <a:gdLst>
                  <a:gd name="T0" fmla="*/ 0 w 102"/>
                  <a:gd name="T1" fmla="*/ 103 h 103"/>
                  <a:gd name="T2" fmla="*/ 0 w 102"/>
                  <a:gd name="T3" fmla="*/ 0 h 103"/>
                  <a:gd name="T4" fmla="*/ 102 w 102"/>
                  <a:gd name="T5" fmla="*/ 0 h 103"/>
                </a:gdLst>
                <a:ahLst/>
                <a:cxnLst>
                  <a:cxn ang="0">
                    <a:pos x="T0" y="T1"/>
                  </a:cxn>
                  <a:cxn ang="0">
                    <a:pos x="T2" y="T3"/>
                  </a:cxn>
                  <a:cxn ang="0">
                    <a:pos x="T4" y="T5"/>
                  </a:cxn>
                </a:cxnLst>
                <a:rect l="0" t="0" r="r" b="b"/>
                <a:pathLst>
                  <a:path w="102" h="103">
                    <a:moveTo>
                      <a:pt x="0" y="103"/>
                    </a:moveTo>
                    <a:lnTo>
                      <a:pt x="0" y="0"/>
                    </a:lnTo>
                    <a:lnTo>
                      <a:pt x="102" y="0"/>
                    </a:lnTo>
                  </a:path>
                </a:pathLst>
              </a:custGeom>
              <a:grpFill/>
              <a:ln w="3175"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107" name="Right Arrow 106"/>
          <p:cNvSpPr/>
          <p:nvPr/>
        </p:nvSpPr>
        <p:spPr>
          <a:xfrm>
            <a:off x="7372955" y="5431227"/>
            <a:ext cx="50736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ight Arrow 107"/>
          <p:cNvSpPr/>
          <p:nvPr/>
        </p:nvSpPr>
        <p:spPr>
          <a:xfrm>
            <a:off x="8179164" y="5420321"/>
            <a:ext cx="50736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094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smtClean="0"/>
              <a:t>Multi-Speed Delivery Model in alignment with Business Strategy</a:t>
            </a:r>
            <a:endParaRPr lang="en-US" sz="2200" b="0" dirty="0"/>
          </a:p>
        </p:txBody>
      </p:sp>
      <p:sp>
        <p:nvSpPr>
          <p:cNvPr id="3" name="Rounded Rectangle 2"/>
          <p:cNvSpPr/>
          <p:nvPr/>
        </p:nvSpPr>
        <p:spPr bwMode="auto">
          <a:xfrm>
            <a:off x="2442640" y="2048335"/>
            <a:ext cx="7231803" cy="2697912"/>
          </a:xfrm>
          <a:prstGeom prst="roundRect">
            <a:avLst/>
          </a:prstGeom>
          <a:solidFill>
            <a:srgbClr val="FFC000">
              <a:alpha val="30000"/>
            </a:srgbClr>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4" name="Rounded Rectangle 3"/>
          <p:cNvSpPr/>
          <p:nvPr/>
        </p:nvSpPr>
        <p:spPr bwMode="auto">
          <a:xfrm>
            <a:off x="2445090" y="1685273"/>
            <a:ext cx="7233660" cy="1371600"/>
          </a:xfrm>
          <a:prstGeom prst="roundRect">
            <a:avLst/>
          </a:prstGeom>
          <a:solidFill>
            <a:srgbClr val="85CA3A">
              <a:alpha val="50000"/>
            </a:srgbClr>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5" name="Rounded Rectangle 4"/>
          <p:cNvSpPr/>
          <p:nvPr/>
        </p:nvSpPr>
        <p:spPr bwMode="auto">
          <a:xfrm>
            <a:off x="2465600" y="3578860"/>
            <a:ext cx="7213150" cy="2366571"/>
          </a:xfrm>
          <a:prstGeom prst="roundRect">
            <a:avLst/>
          </a:prstGeom>
          <a:solidFill>
            <a:schemeClr val="accent5">
              <a:lumMod val="50000"/>
              <a:alpha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ＭＳ Ｐゴシック" pitchFamily="-12" charset="-128"/>
              <a:cs typeface="ＭＳ Ｐゴシック" pitchFamily="-12" charset="-128"/>
            </a:endParaRPr>
          </a:p>
        </p:txBody>
      </p:sp>
      <p:cxnSp>
        <p:nvCxnSpPr>
          <p:cNvPr id="26" name="Straight Arrow Connector 25"/>
          <p:cNvCxnSpPr/>
          <p:nvPr/>
        </p:nvCxnSpPr>
        <p:spPr bwMode="auto">
          <a:xfrm>
            <a:off x="2187802" y="1409050"/>
            <a:ext cx="0" cy="4716783"/>
          </a:xfrm>
          <a:prstGeom prst="straightConnector1">
            <a:avLst/>
          </a:prstGeom>
          <a:ln w="28575">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bwMode="auto">
          <a:xfrm flipV="1">
            <a:off x="9849825" y="1261371"/>
            <a:ext cx="1743" cy="4689390"/>
          </a:xfrm>
          <a:prstGeom prst="straightConnector1">
            <a:avLst/>
          </a:prstGeom>
          <a:ln w="28575">
            <a:headEnd type="oval" w="lg" len="lg"/>
            <a:tailEnd type="triangle"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bwMode="auto">
          <a:xfrm rot="5400000">
            <a:off x="1167927" y="3513723"/>
            <a:ext cx="1758732" cy="338554"/>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rPr>
              <a:t>Governance</a:t>
            </a:r>
            <a:endPar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ndParaRPr>
          </a:p>
        </p:txBody>
      </p:sp>
      <p:sp>
        <p:nvSpPr>
          <p:cNvPr id="29" name="TextBox 28"/>
          <p:cNvSpPr txBox="1"/>
          <p:nvPr/>
        </p:nvSpPr>
        <p:spPr bwMode="auto">
          <a:xfrm rot="16200000">
            <a:off x="8679424" y="3481353"/>
            <a:ext cx="2689902" cy="338554"/>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rPr>
              <a:t>Pace of Change</a:t>
            </a:r>
          </a:p>
        </p:txBody>
      </p:sp>
      <p:grpSp>
        <p:nvGrpSpPr>
          <p:cNvPr id="56" name="Group 55"/>
          <p:cNvGrpSpPr/>
          <p:nvPr/>
        </p:nvGrpSpPr>
        <p:grpSpPr>
          <a:xfrm>
            <a:off x="4746282" y="1256402"/>
            <a:ext cx="4152900" cy="4935927"/>
            <a:chOff x="4746282" y="1256402"/>
            <a:chExt cx="4152900" cy="4935927"/>
          </a:xfrm>
        </p:grpSpPr>
        <p:sp>
          <p:nvSpPr>
            <p:cNvPr id="7" name="Isosceles Triangle 6"/>
            <p:cNvSpPr/>
            <p:nvPr/>
          </p:nvSpPr>
          <p:spPr bwMode="auto">
            <a:xfrm rot="10800000">
              <a:off x="4746282" y="1256402"/>
              <a:ext cx="4152900" cy="4935927"/>
            </a:xfrm>
            <a:prstGeom prst="triangle">
              <a:avLst/>
            </a:prstGeom>
            <a:solidFill>
              <a:schemeClr val="bg1">
                <a:alpha val="40000"/>
              </a:schemeClr>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8" name="Rectangle 7"/>
            <p:cNvSpPr/>
            <p:nvPr/>
          </p:nvSpPr>
          <p:spPr bwMode="auto">
            <a:xfrm>
              <a:off x="5468856" y="1922943"/>
              <a:ext cx="274320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Marriott Mobile</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9" name="Rectangle 8"/>
            <p:cNvSpPr/>
            <p:nvPr/>
          </p:nvSpPr>
          <p:spPr bwMode="auto">
            <a:xfrm>
              <a:off x="5658048" y="2381024"/>
              <a:ext cx="237744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Marriott.Com</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0" name="Rectangle 9"/>
            <p:cNvSpPr/>
            <p:nvPr/>
          </p:nvSpPr>
          <p:spPr bwMode="auto">
            <a:xfrm>
              <a:off x="5831471" y="2759833"/>
              <a:ext cx="201168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MarRFP</a:t>
              </a: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1400" b="1" dirty="0">
                <a:solidFill>
                  <a:srgbClr val="FFFFFF"/>
                </a:solidFill>
                <a:latin typeface="Calibri" panose="020F0502020204030204" pitchFamily="34" charset="0"/>
                <a:ea typeface="ＭＳ Ｐゴシック" pitchFamily="-12" charset="-128"/>
                <a:cs typeface="ＭＳ Ｐゴシック" pitchFamily="-12" charset="-128"/>
              </a:endParaRPr>
            </a:p>
          </p:txBody>
        </p:sp>
        <p:sp>
          <p:nvSpPr>
            <p:cNvPr id="11" name="Rectangle 10"/>
            <p:cNvSpPr/>
            <p:nvPr/>
          </p:nvSpPr>
          <p:spPr bwMode="auto">
            <a:xfrm>
              <a:off x="6209848" y="3271779"/>
              <a:ext cx="128016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API Platform </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2" name="Rectangle 11"/>
            <p:cNvSpPr/>
            <p:nvPr/>
          </p:nvSpPr>
          <p:spPr bwMode="auto">
            <a:xfrm>
              <a:off x="6383266" y="4050863"/>
              <a:ext cx="91440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kumimoji="0" lang="en-US" sz="14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rPr>
                <a:t>TMA</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3" name="Rectangle 12"/>
            <p:cNvSpPr/>
            <p:nvPr/>
          </p:nvSpPr>
          <p:spPr bwMode="auto">
            <a:xfrm>
              <a:off x="6462101" y="4492299"/>
              <a:ext cx="73152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smtClean="0">
                  <a:solidFill>
                    <a:srgbClr val="FFFFFF"/>
                  </a:solidFill>
                  <a:latin typeface="Calibri" panose="020F0502020204030204" pitchFamily="34" charset="0"/>
                  <a:ea typeface="ＭＳ Ｐゴシック" pitchFamily="-12" charset="-128"/>
                  <a:cs typeface="ＭＳ Ｐゴシック" pitchFamily="-12" charset="-128"/>
                </a:rPr>
                <a:t>DSP</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4" name="Rectangle 13"/>
            <p:cNvSpPr/>
            <p:nvPr/>
          </p:nvSpPr>
          <p:spPr bwMode="auto">
            <a:xfrm>
              <a:off x="6572458" y="4981467"/>
              <a:ext cx="54864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smtClean="0">
                  <a:solidFill>
                    <a:srgbClr val="FFFFFF"/>
                  </a:solidFill>
                  <a:latin typeface="Calibri" panose="020F0502020204030204" pitchFamily="34" charset="0"/>
                  <a:ea typeface="ＭＳ Ｐゴシック" pitchFamily="-12" charset="-128"/>
                  <a:cs typeface="ＭＳ Ｐゴシック" pitchFamily="-12" charset="-128"/>
                </a:rPr>
                <a:t>EPIC</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5" name="Rectangle 14"/>
            <p:cNvSpPr/>
            <p:nvPr/>
          </p:nvSpPr>
          <p:spPr bwMode="auto">
            <a:xfrm>
              <a:off x="6667049" y="5401447"/>
              <a:ext cx="36576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lvl="0" algn="ctr" eaLnBrk="0" fontAlgn="base" hangingPunct="0">
                <a:spcBef>
                  <a:spcPct val="0"/>
                </a:spcBef>
                <a:spcAft>
                  <a:spcPct val="0"/>
                </a:spcAft>
                <a:defRPr/>
              </a:pPr>
              <a:r>
                <a:rPr kumimoji="0" lang="en-US" sz="14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rPr>
                <a:t>SGI</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4" name="Rectangle 23"/>
            <p:cNvSpPr/>
            <p:nvPr/>
          </p:nvSpPr>
          <p:spPr bwMode="auto">
            <a:xfrm>
              <a:off x="6299187" y="3683000"/>
              <a:ext cx="1097280" cy="223343"/>
            </a:xfrm>
            <a:prstGeom prst="rect">
              <a:avLst/>
            </a:prstGeom>
            <a:solidFill>
              <a:srgbClr val="85CA3A"/>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rPr>
                <a:t>IO</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30" name="TextBox 29"/>
            <p:cNvSpPr txBox="1"/>
            <p:nvPr/>
          </p:nvSpPr>
          <p:spPr bwMode="auto">
            <a:xfrm>
              <a:off x="5680147" y="1309979"/>
              <a:ext cx="2689902" cy="369332"/>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0000"/>
                  </a:solidFill>
                  <a:effectLst/>
                  <a:uLnTx/>
                  <a:uFillTx/>
                  <a:latin typeface="Calibri" panose="020F0502020204030204" pitchFamily="34" charset="0"/>
                </a:rPr>
                <a:t>Mode 2</a:t>
              </a:r>
            </a:p>
          </p:txBody>
        </p:sp>
      </p:grpSp>
      <p:grpSp>
        <p:nvGrpSpPr>
          <p:cNvPr id="57" name="Group 56"/>
          <p:cNvGrpSpPr/>
          <p:nvPr/>
        </p:nvGrpSpPr>
        <p:grpSpPr>
          <a:xfrm>
            <a:off x="2386342" y="1256403"/>
            <a:ext cx="4152900" cy="5023244"/>
            <a:chOff x="2386342" y="1256403"/>
            <a:chExt cx="4152900" cy="5023244"/>
          </a:xfrm>
        </p:grpSpPr>
        <p:sp>
          <p:nvSpPr>
            <p:cNvPr id="6" name="Isosceles Triangle 5"/>
            <p:cNvSpPr/>
            <p:nvPr/>
          </p:nvSpPr>
          <p:spPr bwMode="auto">
            <a:xfrm>
              <a:off x="2386342" y="1256403"/>
              <a:ext cx="4152900" cy="4940135"/>
            </a:xfrm>
            <a:prstGeom prst="triangle">
              <a:avLst/>
            </a:prstGeom>
            <a:solidFill>
              <a:schemeClr val="bg1">
                <a:alpha val="40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6" name="Rectangle 15"/>
            <p:cNvSpPr/>
            <p:nvPr/>
          </p:nvSpPr>
          <p:spPr bwMode="auto">
            <a:xfrm>
              <a:off x="3120940" y="5401437"/>
              <a:ext cx="274320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Global Locator </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7" name="Rectangle 16"/>
            <p:cNvSpPr/>
            <p:nvPr/>
          </p:nvSpPr>
          <p:spPr bwMode="auto">
            <a:xfrm>
              <a:off x="3315272" y="4988508"/>
              <a:ext cx="237744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FOSSE PM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8" name="Rectangle 17"/>
            <p:cNvSpPr/>
            <p:nvPr/>
          </p:nvSpPr>
          <p:spPr bwMode="auto">
            <a:xfrm>
              <a:off x="3499120" y="4508065"/>
              <a:ext cx="201168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Udemand</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9" name="Rectangle 18"/>
            <p:cNvSpPr/>
            <p:nvPr/>
          </p:nvSpPr>
          <p:spPr bwMode="auto">
            <a:xfrm>
              <a:off x="3845966" y="4045610"/>
              <a:ext cx="128016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400" b="1" dirty="0" smtClean="0">
                  <a:solidFill>
                    <a:srgbClr val="FFFFFF"/>
                  </a:solidFill>
                  <a:latin typeface="Calibri" panose="020F0502020204030204" pitchFamily="34" charset="0"/>
                  <a:ea typeface="ＭＳ Ｐゴシック" pitchFamily="-12" charset="-128"/>
                  <a:cs typeface="ＭＳ Ｐゴシック" pitchFamily="-12" charset="-128"/>
                </a:rPr>
                <a:t>DS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0" name="Rectangle 19"/>
            <p:cNvSpPr/>
            <p:nvPr/>
          </p:nvSpPr>
          <p:spPr bwMode="auto">
            <a:xfrm>
              <a:off x="4003613" y="3282280"/>
              <a:ext cx="91440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CTAC</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1" name="Rectangle 20"/>
            <p:cNvSpPr/>
            <p:nvPr/>
          </p:nvSpPr>
          <p:spPr bwMode="auto">
            <a:xfrm>
              <a:off x="4098212" y="2780852"/>
              <a:ext cx="819802" cy="202324"/>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kumimoji="0" lang="en-US" sz="14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rPr>
                <a:t>Reward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2" name="Rectangle 21"/>
            <p:cNvSpPr/>
            <p:nvPr/>
          </p:nvSpPr>
          <p:spPr bwMode="auto">
            <a:xfrm>
              <a:off x="4192811" y="2365262"/>
              <a:ext cx="54864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smtClean="0">
                  <a:solidFill>
                    <a:srgbClr val="FFFFFF"/>
                  </a:solidFill>
                  <a:latin typeface="Calibri" panose="020F0502020204030204" pitchFamily="34" charset="0"/>
                  <a:ea typeface="ＭＳ Ｐゴシック" pitchFamily="-12" charset="-128"/>
                  <a:cs typeface="ＭＳ Ｐゴシック" pitchFamily="-12" charset="-128"/>
                </a:rPr>
                <a:t>GXP</a:t>
              </a:r>
              <a:endParaRPr lang="en-US" sz="1400" b="1" dirty="0">
                <a:solidFill>
                  <a:srgbClr val="FFFFFF"/>
                </a:solidFill>
                <a:latin typeface="Calibri" panose="020F0502020204030204" pitchFamily="34" charset="0"/>
                <a:ea typeface="ＭＳ Ｐゴシック" pitchFamily="-12" charset="-128"/>
                <a:cs typeface="ＭＳ Ｐゴシック" pitchFamily="-12" charset="-128"/>
              </a:endParaRPr>
            </a:p>
          </p:txBody>
        </p:sp>
        <p:sp>
          <p:nvSpPr>
            <p:cNvPr id="23" name="Rectangle 22"/>
            <p:cNvSpPr/>
            <p:nvPr/>
          </p:nvSpPr>
          <p:spPr bwMode="auto">
            <a:xfrm>
              <a:off x="4287396" y="1928214"/>
              <a:ext cx="36576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lvl="0" algn="ctr" eaLnBrk="0" fontAlgn="base" hangingPunct="0">
                <a:spcBef>
                  <a:spcPct val="0"/>
                </a:spcBef>
                <a:spcAft>
                  <a:spcPct val="0"/>
                </a:spcAft>
                <a:defRPr/>
              </a:pPr>
              <a:r>
                <a:rPr kumimoji="0" lang="en-US" sz="14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rPr>
                <a:t>MPG</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5" name="Rectangle 24"/>
            <p:cNvSpPr/>
            <p:nvPr/>
          </p:nvSpPr>
          <p:spPr bwMode="auto">
            <a:xfrm>
              <a:off x="3919525" y="3661969"/>
              <a:ext cx="1097280" cy="223343"/>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lvl="0" algn="ctr" eaLnBrk="0" fontAlgn="base" hangingPunct="0">
                <a:spcBef>
                  <a:spcPct val="0"/>
                </a:spcBef>
                <a:spcAft>
                  <a:spcPct val="0"/>
                </a:spcAft>
                <a:defRPr/>
              </a:pPr>
              <a:r>
                <a:rPr lang="en-US" sz="1400" b="1" dirty="0">
                  <a:solidFill>
                    <a:srgbClr val="FFFFFF"/>
                  </a:solidFill>
                  <a:latin typeface="Calibri" panose="020F0502020204030204" pitchFamily="34" charset="0"/>
                  <a:ea typeface="ＭＳ Ｐゴシック" pitchFamily="-12" charset="-128"/>
                  <a:cs typeface="ＭＳ Ｐゴシック" pitchFamily="-12" charset="-128"/>
                </a:rPr>
                <a:t>OMNI</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31" name="TextBox 30"/>
            <p:cNvSpPr txBox="1"/>
            <p:nvPr/>
          </p:nvSpPr>
          <p:spPr bwMode="auto">
            <a:xfrm>
              <a:off x="3141631" y="5910315"/>
              <a:ext cx="2689902" cy="369332"/>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0000"/>
                  </a:solidFill>
                  <a:effectLst/>
                  <a:uLnTx/>
                  <a:uFillTx/>
                  <a:latin typeface="Calibri" panose="020F0502020204030204" pitchFamily="34" charset="0"/>
                </a:rPr>
                <a:t>Mode 1</a:t>
              </a:r>
            </a:p>
          </p:txBody>
        </p:sp>
      </p:grpSp>
      <p:sp>
        <p:nvSpPr>
          <p:cNvPr id="32" name="TextBox 31"/>
          <p:cNvSpPr txBox="1"/>
          <p:nvPr/>
        </p:nvSpPr>
        <p:spPr bwMode="auto">
          <a:xfrm>
            <a:off x="8235068" y="1710745"/>
            <a:ext cx="1645920" cy="307777"/>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rPr>
              <a:t>Innovation</a:t>
            </a:r>
          </a:p>
        </p:txBody>
      </p:sp>
      <p:sp>
        <p:nvSpPr>
          <p:cNvPr id="33" name="TextBox 32"/>
          <p:cNvSpPr txBox="1"/>
          <p:nvPr/>
        </p:nvSpPr>
        <p:spPr bwMode="auto">
          <a:xfrm>
            <a:off x="8189873" y="3099436"/>
            <a:ext cx="1645920" cy="307777"/>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rPr>
              <a:t>Differentiation</a:t>
            </a:r>
          </a:p>
        </p:txBody>
      </p:sp>
      <p:sp>
        <p:nvSpPr>
          <p:cNvPr id="34" name="TextBox 33"/>
          <p:cNvSpPr txBox="1"/>
          <p:nvPr/>
        </p:nvSpPr>
        <p:spPr bwMode="auto">
          <a:xfrm>
            <a:off x="8266393" y="5177847"/>
            <a:ext cx="1645920" cy="307777"/>
          </a:xfrm>
          <a:prstGeom prst="rect">
            <a:avLst/>
          </a:prstGeom>
          <a:noFill/>
          <a:ln w="9525">
            <a:noFill/>
            <a:miter lim="800000"/>
            <a:headEnd/>
            <a:tailEnd/>
          </a:ln>
        </p:spPr>
        <p:txBody>
          <a:bodyPr wrap="square" rtlCol="0">
            <a:prstTxWarp prst="textNoShape">
              <a:avLst/>
            </a:prstTxWarp>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rPr>
              <a:t>Records</a:t>
            </a:r>
          </a:p>
        </p:txBody>
      </p:sp>
      <p:sp>
        <p:nvSpPr>
          <p:cNvPr id="42" name="TextBox 41"/>
          <p:cNvSpPr txBox="1"/>
          <p:nvPr/>
        </p:nvSpPr>
        <p:spPr>
          <a:xfrm>
            <a:off x="9443528" y="820325"/>
            <a:ext cx="943747" cy="30777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1414"/>
                </a:solidFill>
                <a:effectLst/>
                <a:uLnTx/>
                <a:uFillTx/>
                <a:latin typeface="Calibri" panose="020F0502020204030204" pitchFamily="34" charset="0"/>
                <a:cs typeface="Calibri" panose="020F0502020204030204" pitchFamily="34" charset="0"/>
              </a:rPr>
              <a:t>Mode </a:t>
            </a:r>
            <a:r>
              <a:rPr kumimoji="0" lang="en-US" sz="1400" b="1" i="0" u="none" strike="noStrike" kern="1200" cap="none" spc="0" normalizeH="0" baseline="0" noProof="0" dirty="0" smtClean="0">
                <a:ln>
                  <a:noFill/>
                </a:ln>
                <a:solidFill>
                  <a:srgbClr val="141414"/>
                </a:solidFill>
                <a:effectLst/>
                <a:uLnTx/>
                <a:uFillTx/>
                <a:latin typeface="Calibri" panose="020F0502020204030204" pitchFamily="34" charset="0"/>
                <a:cs typeface="Calibri" panose="020F0502020204030204" pitchFamily="34" charset="0"/>
              </a:rPr>
              <a:t>2</a:t>
            </a:r>
            <a:endParaRPr kumimoji="0" lang="en-US" sz="1400" b="0" i="0" u="none" strike="noStrike" kern="1200" cap="none" spc="0" normalizeH="0" baseline="0" noProof="0" dirty="0">
              <a:ln>
                <a:noFill/>
              </a:ln>
              <a:solidFill>
                <a:srgbClr val="141414"/>
              </a:solidFill>
              <a:effectLst/>
              <a:uLnTx/>
              <a:uFillTx/>
              <a:latin typeface="Calibri" panose="020F0502020204030204" pitchFamily="34" charset="0"/>
              <a:cs typeface="Calibri" panose="020F0502020204030204" pitchFamily="34" charset="0"/>
            </a:endParaRPr>
          </a:p>
        </p:txBody>
      </p:sp>
      <p:cxnSp>
        <p:nvCxnSpPr>
          <p:cNvPr id="43" name="Straight Arrow Connector 42"/>
          <p:cNvCxnSpPr/>
          <p:nvPr/>
        </p:nvCxnSpPr>
        <p:spPr>
          <a:xfrm>
            <a:off x="10207253" y="975041"/>
            <a:ext cx="215160" cy="0"/>
          </a:xfrm>
          <a:prstGeom prst="straightConnector1">
            <a:avLst/>
          </a:prstGeom>
          <a:ln>
            <a:solidFill>
              <a:schemeClr val="tx2">
                <a:lumMod val="90000"/>
                <a:lumOff val="1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4" name="Picture 2" descr="https://d30y9cdsu7xlg0.cloudfront.net/png/331665-200.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99991" y="818344"/>
            <a:ext cx="397736" cy="365760"/>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p:cNvGrpSpPr/>
          <p:nvPr/>
        </p:nvGrpSpPr>
        <p:grpSpPr>
          <a:xfrm>
            <a:off x="208245" y="762860"/>
            <a:ext cx="3821270" cy="457200"/>
            <a:chOff x="2456646" y="835479"/>
            <a:chExt cx="3821270" cy="457200"/>
          </a:xfrm>
        </p:grpSpPr>
        <p:pic>
          <p:nvPicPr>
            <p:cNvPr id="35" name="Picture 3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456646" y="835479"/>
              <a:ext cx="564373" cy="457200"/>
            </a:xfrm>
            <a:prstGeom prst="rect">
              <a:avLst/>
            </a:prstGeom>
          </p:spPr>
        </p:pic>
        <p:sp>
          <p:nvSpPr>
            <p:cNvPr id="39" name="TextBox 38"/>
            <p:cNvSpPr txBox="1"/>
            <p:nvPr/>
          </p:nvSpPr>
          <p:spPr>
            <a:xfrm>
              <a:off x="2967617" y="931175"/>
              <a:ext cx="978850" cy="3093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41414"/>
                  </a:solidFill>
                  <a:effectLst/>
                  <a:uLnTx/>
                  <a:uFillTx/>
                  <a:latin typeface="Calibri" panose="020F0502020204030204" pitchFamily="34" charset="0"/>
                  <a:cs typeface="Calibri" panose="020F0502020204030204" pitchFamily="34" charset="0"/>
                </a:rPr>
                <a:t>Mode </a:t>
              </a:r>
              <a:r>
                <a:rPr kumimoji="0" lang="en-US" sz="1400" b="1" i="0" u="none" strike="noStrike" kern="1200" cap="none" spc="0" normalizeH="0" baseline="0" noProof="0" dirty="0" smtClean="0">
                  <a:ln>
                    <a:noFill/>
                  </a:ln>
                  <a:solidFill>
                    <a:srgbClr val="141414"/>
                  </a:solidFill>
                  <a:effectLst/>
                  <a:uLnTx/>
                  <a:uFillTx/>
                  <a:latin typeface="Calibri" panose="020F0502020204030204" pitchFamily="34" charset="0"/>
                  <a:cs typeface="Calibri" panose="020F0502020204030204" pitchFamily="34" charset="0"/>
                </a:rPr>
                <a:t>1</a:t>
              </a:r>
              <a:endParaRPr kumimoji="0" lang="en-US" sz="1400" b="1" i="0" u="none" strike="noStrike" kern="1200" cap="none" spc="0" normalizeH="0" baseline="0" noProof="0" dirty="0">
                <a:ln>
                  <a:noFill/>
                </a:ln>
                <a:solidFill>
                  <a:srgbClr val="141414"/>
                </a:solidFill>
                <a:effectLst/>
                <a:uLnTx/>
                <a:uFillTx/>
                <a:latin typeface="Calibri" panose="020F0502020204030204" pitchFamily="34" charset="0"/>
                <a:cs typeface="Calibri" panose="020F0502020204030204" pitchFamily="34" charset="0"/>
              </a:endParaRPr>
            </a:p>
          </p:txBody>
        </p:sp>
        <p:cxnSp>
          <p:nvCxnSpPr>
            <p:cNvPr id="40" name="Straight Arrow Connector 39"/>
            <p:cNvCxnSpPr/>
            <p:nvPr/>
          </p:nvCxnSpPr>
          <p:spPr>
            <a:xfrm>
              <a:off x="3704893" y="1062650"/>
              <a:ext cx="236676" cy="0"/>
            </a:xfrm>
            <a:prstGeom prst="straightConnector1">
              <a:avLst/>
            </a:prstGeom>
            <a:ln>
              <a:solidFill>
                <a:schemeClr val="tx2">
                  <a:lumMod val="90000"/>
                  <a:lumOff val="1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bwMode="auto">
            <a:xfrm>
              <a:off x="3948659" y="913028"/>
              <a:ext cx="2329257" cy="338554"/>
            </a:xfrm>
            <a:prstGeom prst="rect">
              <a:avLst/>
            </a:prstGeom>
            <a:noFill/>
            <a:ln w="9525">
              <a:noFill/>
              <a:miter lim="800000"/>
              <a:headEnd/>
              <a:tailEnd/>
            </a:ln>
          </p:spPr>
          <p:txBody>
            <a:bodyPr wrap="square" rtlCol="0">
              <a:prstTxWarp prst="textNoShape">
                <a:avLst/>
              </a:prstTxWarp>
              <a:spAutoFit/>
            </a:bodyPr>
            <a:lstStyle/>
            <a:p>
              <a:pPr lvl="0" defTabSz="685800">
                <a:defRPr/>
              </a:pPr>
              <a:r>
                <a:rPr lang="en-US" sz="1600" b="1" dirty="0">
                  <a:solidFill>
                    <a:srgbClr val="141414"/>
                  </a:solidFill>
                  <a:latin typeface="Calibri" panose="020F0502020204030204" pitchFamily="34" charset="0"/>
                  <a:cs typeface="Calibri" panose="020F0502020204030204" pitchFamily="34" charset="0"/>
                </a:rPr>
                <a:t>Operational excellence</a:t>
              </a:r>
            </a:p>
          </p:txBody>
        </p:sp>
      </p:grpSp>
      <p:sp>
        <p:nvSpPr>
          <p:cNvPr id="52" name="TextBox 51"/>
          <p:cNvSpPr txBox="1"/>
          <p:nvPr/>
        </p:nvSpPr>
        <p:spPr bwMode="auto">
          <a:xfrm>
            <a:off x="10434507" y="789548"/>
            <a:ext cx="1502490" cy="338554"/>
          </a:xfrm>
          <a:prstGeom prst="rect">
            <a:avLst/>
          </a:prstGeom>
          <a:noFill/>
          <a:ln w="9525">
            <a:noFill/>
            <a:miter lim="800000"/>
            <a:headEnd/>
            <a:tailEnd/>
          </a:ln>
        </p:spPr>
        <p:txBody>
          <a:bodyPr wrap="square" rtlCol="0">
            <a:prstTxWarp prst="textNoShape">
              <a:avLst/>
            </a:prstTxWarp>
            <a:spAutoFit/>
          </a:bodyPr>
          <a:lstStyle/>
          <a:p>
            <a:pPr defTabSz="685800">
              <a:defRPr/>
            </a:pPr>
            <a:r>
              <a:rPr lang="en-US" sz="1600" b="1" dirty="0">
                <a:solidFill>
                  <a:srgbClr val="141414"/>
                </a:solidFill>
                <a:latin typeface="Calibri" panose="020F0502020204030204" pitchFamily="34" charset="0"/>
                <a:cs typeface="Calibri" panose="020F0502020204030204" pitchFamily="34" charset="0"/>
              </a:rPr>
              <a:t>Business </a:t>
            </a:r>
            <a:r>
              <a:rPr lang="en-US" sz="1600" b="1" dirty="0" smtClean="0">
                <a:solidFill>
                  <a:srgbClr val="141414"/>
                </a:solidFill>
                <a:latin typeface="Calibri" panose="020F0502020204030204" pitchFamily="34" charset="0"/>
                <a:cs typeface="Calibri" panose="020F0502020204030204" pitchFamily="34" charset="0"/>
              </a:rPr>
              <a:t>Agility</a:t>
            </a:r>
            <a:endParaRPr lang="en-US" sz="1600" b="1" dirty="0">
              <a:solidFill>
                <a:srgbClr val="141414"/>
              </a:solidFill>
              <a:latin typeface="Calibri" panose="020F0502020204030204" pitchFamily="34" charset="0"/>
              <a:cs typeface="Calibri" panose="020F0502020204030204" pitchFamily="34" charset="0"/>
            </a:endParaRPr>
          </a:p>
        </p:txBody>
      </p:sp>
      <p:sp>
        <p:nvSpPr>
          <p:cNvPr id="58" name="TextBox 57"/>
          <p:cNvSpPr txBox="1"/>
          <p:nvPr/>
        </p:nvSpPr>
        <p:spPr>
          <a:xfrm>
            <a:off x="19995" y="1816887"/>
            <a:ext cx="1981696" cy="3708708"/>
          </a:xfrm>
          <a:prstGeom prst="rect">
            <a:avLst/>
          </a:prstGeom>
          <a:noFill/>
        </p:spPr>
        <p:txBody>
          <a:bodyPr wrap="square" rtlCol="0">
            <a:spAutoFit/>
          </a:bodyPr>
          <a:lstStyle/>
          <a:p>
            <a:pPr marL="285750" indent="-285750">
              <a:spcAft>
                <a:spcPts val="600"/>
              </a:spcAft>
              <a:buFont typeface="Wingdings" panose="05000000000000000000" pitchFamily="2" charset="2"/>
              <a:buChar char="ü"/>
            </a:pPr>
            <a:r>
              <a:rPr lang="en-US" sz="1400" dirty="0" smtClean="0"/>
              <a:t>Transform from Waterfall to Agile / Iterative</a:t>
            </a:r>
          </a:p>
          <a:p>
            <a:pPr marL="285750" indent="-285750">
              <a:spcAft>
                <a:spcPts val="600"/>
              </a:spcAft>
              <a:buFont typeface="Wingdings" panose="05000000000000000000" pitchFamily="2" charset="2"/>
              <a:buChar char="ü"/>
            </a:pPr>
            <a:r>
              <a:rPr lang="en-US" sz="1400" dirty="0" smtClean="0"/>
              <a:t>Induce selected capabilities of DevSecOps</a:t>
            </a:r>
          </a:p>
          <a:p>
            <a:pPr marL="285750" indent="-285750">
              <a:spcAft>
                <a:spcPts val="600"/>
              </a:spcAft>
              <a:buFont typeface="Wingdings" panose="05000000000000000000" pitchFamily="2" charset="2"/>
              <a:buChar char="ü"/>
            </a:pPr>
            <a:r>
              <a:rPr lang="en-US" sz="1400" dirty="0" smtClean="0"/>
              <a:t>Core Modernization</a:t>
            </a:r>
          </a:p>
          <a:p>
            <a:pPr marL="285750" indent="-285750">
              <a:spcAft>
                <a:spcPts val="600"/>
              </a:spcAft>
              <a:buFont typeface="Wingdings" panose="05000000000000000000" pitchFamily="2" charset="2"/>
              <a:buChar char="ü"/>
            </a:pPr>
            <a:r>
              <a:rPr lang="en-US" sz="1400" dirty="0" smtClean="0"/>
              <a:t>Upskill / Cross Skill workforce </a:t>
            </a:r>
          </a:p>
          <a:p>
            <a:pPr marL="285750" indent="-285750">
              <a:spcAft>
                <a:spcPts val="600"/>
              </a:spcAft>
              <a:buFont typeface="Wingdings" panose="05000000000000000000" pitchFamily="2" charset="2"/>
              <a:buChar char="ü"/>
            </a:pPr>
            <a:r>
              <a:rPr lang="en-US" sz="1400" dirty="0" smtClean="0"/>
              <a:t>Cloud Lift and Shift</a:t>
            </a:r>
          </a:p>
          <a:p>
            <a:pPr marL="285750" indent="-285750">
              <a:spcAft>
                <a:spcPts val="600"/>
              </a:spcAft>
              <a:buFont typeface="Wingdings" panose="05000000000000000000" pitchFamily="2" charset="2"/>
              <a:buChar char="ü"/>
            </a:pPr>
            <a:r>
              <a:rPr lang="en-US" sz="1400" dirty="0" smtClean="0"/>
              <a:t>Enhance Monitoring/ Alerting</a:t>
            </a:r>
            <a:r>
              <a:rPr lang="en-US" sz="1400" dirty="0"/>
              <a:t> </a:t>
            </a:r>
            <a:r>
              <a:rPr lang="en-US" sz="1400" dirty="0" smtClean="0"/>
              <a:t>solutions – ‘</a:t>
            </a:r>
            <a:r>
              <a:rPr lang="en-US" sz="1400" i="1" dirty="0" smtClean="0"/>
              <a:t>Predictive Maintenance</a:t>
            </a:r>
            <a:r>
              <a:rPr lang="en-US" sz="1400" dirty="0" smtClean="0"/>
              <a:t>’</a:t>
            </a:r>
            <a:endParaRPr lang="en-US" sz="1400" dirty="0"/>
          </a:p>
        </p:txBody>
      </p:sp>
      <p:sp>
        <p:nvSpPr>
          <p:cNvPr id="59" name="TextBox 58"/>
          <p:cNvSpPr txBox="1"/>
          <p:nvPr/>
        </p:nvSpPr>
        <p:spPr bwMode="auto">
          <a:xfrm>
            <a:off x="38170" y="1423075"/>
            <a:ext cx="2329257" cy="338554"/>
          </a:xfrm>
          <a:prstGeom prst="rect">
            <a:avLst/>
          </a:prstGeom>
          <a:noFill/>
          <a:ln w="9525">
            <a:noFill/>
            <a:miter lim="800000"/>
            <a:headEnd/>
            <a:tailEnd/>
          </a:ln>
        </p:spPr>
        <p:txBody>
          <a:bodyPr wrap="square" rtlCol="0">
            <a:prstTxWarp prst="textNoShape">
              <a:avLst/>
            </a:prstTxWarp>
            <a:spAutoFit/>
          </a:bodyPr>
          <a:lstStyle/>
          <a:p>
            <a:pPr lvl="0" defTabSz="685800">
              <a:defRPr/>
            </a:pPr>
            <a:r>
              <a:rPr lang="en-US" sz="1600" b="1" u="sng" dirty="0" smtClean="0">
                <a:solidFill>
                  <a:srgbClr val="141414"/>
                </a:solidFill>
                <a:latin typeface="Calibri" panose="020F0502020204030204" pitchFamily="34" charset="0"/>
                <a:cs typeface="Calibri" panose="020F0502020204030204" pitchFamily="34" charset="0"/>
              </a:rPr>
              <a:t>Key Themes Applicable</a:t>
            </a:r>
            <a:endParaRPr lang="en-US" sz="1600" b="1" u="sng" dirty="0">
              <a:solidFill>
                <a:srgbClr val="141414"/>
              </a:solidFill>
              <a:latin typeface="Calibri" panose="020F0502020204030204" pitchFamily="34" charset="0"/>
              <a:cs typeface="Calibri" panose="020F0502020204030204" pitchFamily="34" charset="0"/>
            </a:endParaRPr>
          </a:p>
        </p:txBody>
      </p:sp>
      <p:sp>
        <p:nvSpPr>
          <p:cNvPr id="60" name="TextBox 59"/>
          <p:cNvSpPr txBox="1"/>
          <p:nvPr/>
        </p:nvSpPr>
        <p:spPr>
          <a:xfrm>
            <a:off x="10074882" y="1811569"/>
            <a:ext cx="2074254" cy="4078039"/>
          </a:xfrm>
          <a:prstGeom prst="rect">
            <a:avLst/>
          </a:prstGeom>
          <a:noFill/>
        </p:spPr>
        <p:txBody>
          <a:bodyPr wrap="square" rtlCol="0">
            <a:spAutoFit/>
          </a:bodyPr>
          <a:lstStyle/>
          <a:p>
            <a:pPr marL="285750" indent="-285750">
              <a:spcAft>
                <a:spcPts val="600"/>
              </a:spcAft>
              <a:buFont typeface="Wingdings" panose="05000000000000000000" pitchFamily="2" charset="2"/>
              <a:buChar char="ü"/>
            </a:pPr>
            <a:r>
              <a:rPr lang="en-US" sz="1400" dirty="0" smtClean="0"/>
              <a:t>Enable Agility @ Scale</a:t>
            </a:r>
          </a:p>
          <a:p>
            <a:pPr marL="285750" indent="-285750">
              <a:spcAft>
                <a:spcPts val="600"/>
              </a:spcAft>
              <a:buFont typeface="Wingdings" panose="05000000000000000000" pitchFamily="2" charset="2"/>
              <a:buChar char="ü"/>
            </a:pPr>
            <a:r>
              <a:rPr lang="en-US" sz="1400" dirty="0" smtClean="0"/>
              <a:t>End to End automation via  DevSecOps platform</a:t>
            </a:r>
          </a:p>
          <a:p>
            <a:pPr marL="285750" indent="-285750">
              <a:spcAft>
                <a:spcPts val="600"/>
              </a:spcAft>
              <a:buFont typeface="Wingdings" panose="05000000000000000000" pitchFamily="2" charset="2"/>
              <a:buChar char="ü"/>
            </a:pPr>
            <a:r>
              <a:rPr lang="en-US" sz="1400" dirty="0" smtClean="0"/>
              <a:t>Strangler pattern to Microservices Architecture</a:t>
            </a:r>
          </a:p>
          <a:p>
            <a:pPr marL="285750" indent="-285750">
              <a:spcAft>
                <a:spcPts val="600"/>
              </a:spcAft>
              <a:buFont typeface="Wingdings" panose="05000000000000000000" pitchFamily="2" charset="2"/>
              <a:buChar char="ü"/>
            </a:pPr>
            <a:r>
              <a:rPr lang="en-US" sz="1400" dirty="0" smtClean="0"/>
              <a:t>Cloud Native development</a:t>
            </a:r>
          </a:p>
          <a:p>
            <a:pPr marL="285750" indent="-285750">
              <a:spcAft>
                <a:spcPts val="600"/>
              </a:spcAft>
              <a:buFont typeface="Wingdings" panose="05000000000000000000" pitchFamily="2" charset="2"/>
              <a:buChar char="ü"/>
            </a:pPr>
            <a:r>
              <a:rPr lang="en-US" sz="1400" dirty="0" smtClean="0"/>
              <a:t>Full Stack / Cross Functional PODs</a:t>
            </a:r>
          </a:p>
          <a:p>
            <a:pPr marL="285750" indent="-285750">
              <a:spcAft>
                <a:spcPts val="600"/>
              </a:spcAft>
              <a:buFont typeface="Wingdings" panose="05000000000000000000" pitchFamily="2" charset="2"/>
              <a:buChar char="ü"/>
            </a:pPr>
            <a:r>
              <a:rPr lang="en-US" sz="1400" dirty="0" smtClean="0"/>
              <a:t>Integrated Dev &amp; Ops team</a:t>
            </a:r>
          </a:p>
          <a:p>
            <a:pPr marL="285750" indent="-285750">
              <a:spcAft>
                <a:spcPts val="600"/>
              </a:spcAft>
              <a:buFont typeface="Wingdings" panose="05000000000000000000" pitchFamily="2" charset="2"/>
              <a:buChar char="ü"/>
            </a:pPr>
            <a:r>
              <a:rPr lang="en-US" sz="1400" dirty="0" smtClean="0"/>
              <a:t>Human centric designs</a:t>
            </a:r>
          </a:p>
          <a:p>
            <a:pPr marL="285750" indent="-285750">
              <a:spcAft>
                <a:spcPts val="600"/>
              </a:spcAft>
              <a:buFont typeface="Wingdings" panose="05000000000000000000" pitchFamily="2" charset="2"/>
              <a:buChar char="ü"/>
            </a:pPr>
            <a:endParaRPr lang="en-US" sz="1400" dirty="0"/>
          </a:p>
        </p:txBody>
      </p:sp>
      <p:sp>
        <p:nvSpPr>
          <p:cNvPr id="61" name="TextBox 60"/>
          <p:cNvSpPr txBox="1"/>
          <p:nvPr/>
        </p:nvSpPr>
        <p:spPr bwMode="auto">
          <a:xfrm>
            <a:off x="10035745" y="1414538"/>
            <a:ext cx="2329257" cy="338554"/>
          </a:xfrm>
          <a:prstGeom prst="rect">
            <a:avLst/>
          </a:prstGeom>
          <a:noFill/>
          <a:ln w="9525">
            <a:noFill/>
            <a:miter lim="800000"/>
            <a:headEnd/>
            <a:tailEnd/>
          </a:ln>
        </p:spPr>
        <p:txBody>
          <a:bodyPr wrap="square" rtlCol="0">
            <a:prstTxWarp prst="textNoShape">
              <a:avLst/>
            </a:prstTxWarp>
            <a:spAutoFit/>
          </a:bodyPr>
          <a:lstStyle/>
          <a:p>
            <a:pPr lvl="0" defTabSz="685800">
              <a:defRPr/>
            </a:pPr>
            <a:r>
              <a:rPr lang="en-US" sz="1600" b="1" u="sng" dirty="0" smtClean="0">
                <a:solidFill>
                  <a:srgbClr val="141414"/>
                </a:solidFill>
                <a:latin typeface="Calibri" panose="020F0502020204030204" pitchFamily="34" charset="0"/>
                <a:cs typeface="Calibri" panose="020F0502020204030204" pitchFamily="34" charset="0"/>
              </a:rPr>
              <a:t>Key Themes Applicable</a:t>
            </a:r>
            <a:endParaRPr lang="en-US" sz="1600" b="1" u="sng" dirty="0">
              <a:solidFill>
                <a:srgbClr val="14141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90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p:cNvSpPr/>
          <p:nvPr/>
        </p:nvSpPr>
        <p:spPr>
          <a:xfrm>
            <a:off x="10428753" y="2460095"/>
            <a:ext cx="1366277" cy="2740819"/>
          </a:xfrm>
          <a:prstGeom prst="rect">
            <a:avLst/>
          </a:prstGeom>
          <a:solidFill>
            <a:schemeClr val="bg1">
              <a:lumMod val="50000"/>
              <a:alpha val="9000"/>
            </a:schemeClr>
          </a:solidFill>
          <a:ln w="3175">
            <a:solidFill>
              <a:srgbClr val="FFFFFF"/>
            </a:solidFill>
            <a:prstDash val="dashDot"/>
          </a:ln>
        </p:spPr>
        <p:txBody>
          <a:bodyPr vert="horz" lIns="30480" tIns="50800" rIns="30480" bIns="50800" rtlCol="0" anchor="t">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endParaRPr kumimoji="0" lang="en-US" sz="1067"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sp>
        <p:nvSpPr>
          <p:cNvPr id="3" name="Title 2"/>
          <p:cNvSpPr>
            <a:spLocks noGrp="1"/>
          </p:cNvSpPr>
          <p:nvPr>
            <p:ph type="title"/>
          </p:nvPr>
        </p:nvSpPr>
        <p:spPr/>
        <p:txBody>
          <a:bodyPr/>
          <a:lstStyle/>
          <a:p>
            <a:r>
              <a:rPr lang="en-US" sz="2400" dirty="0"/>
              <a:t>Envisaging the Future </a:t>
            </a:r>
            <a:r>
              <a:rPr lang="en-US" sz="2400" dirty="0" smtClean="0"/>
              <a:t>Operating Model</a:t>
            </a:r>
            <a:endParaRPr lang="en-US" sz="2400" dirty="0"/>
          </a:p>
        </p:txBody>
      </p:sp>
      <p:grpSp>
        <p:nvGrpSpPr>
          <p:cNvPr id="7" name="Group 6"/>
          <p:cNvGrpSpPr/>
          <p:nvPr/>
        </p:nvGrpSpPr>
        <p:grpSpPr>
          <a:xfrm>
            <a:off x="211479" y="879073"/>
            <a:ext cx="4189018" cy="195612"/>
            <a:chOff x="779210" y="6906126"/>
            <a:chExt cx="5068712" cy="381191"/>
          </a:xfrm>
        </p:grpSpPr>
        <p:sp>
          <p:nvSpPr>
            <p:cNvPr id="112" name="Rounded Rectangle 111"/>
            <p:cNvSpPr/>
            <p:nvPr/>
          </p:nvSpPr>
          <p:spPr>
            <a:xfrm>
              <a:off x="2332446" y="6906126"/>
              <a:ext cx="1453783" cy="365760"/>
            </a:xfrm>
            <a:prstGeom prst="roundRect">
              <a:avLst/>
            </a:prstGeom>
            <a:solidFill>
              <a:srgbClr val="0070C0"/>
            </a:solidFill>
            <a:ln w="3175" cap="flat" cmpd="sng" algn="ctr">
              <a:solidFill>
                <a:srgbClr val="0070C0"/>
              </a:solidFill>
              <a:prstDash val="solid"/>
              <a:round/>
              <a:headEnd type="none" w="med" len="med"/>
              <a:tailEnd type="none" w="med" len="med"/>
            </a:ln>
            <a:effectLst/>
          </p:spPr>
          <p:txBody>
            <a:bodyPr rot="0" spcFirstLastPara="0" vertOverflow="overflow" horzOverflow="overflow" vert="horz" wrap="square" lIns="84651" tIns="42328" rIns="84651" bIns="42328" numCol="1" spcCol="0" rtlCol="0" fromWordArt="0" anchor="ctr" anchorCtr="0" forceAA="0" compatLnSpc="1">
              <a:prstTxWarp prst="textNoShape">
                <a:avLst/>
              </a:prstTxWarp>
              <a:noAutofit/>
            </a:bodyPr>
            <a:lstStyle/>
            <a:p>
              <a:pPr marL="0" marR="0" lvl="0" indent="0" algn="ctr" defTabSz="1451002"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Calibri" panose="020F0502020204030204" pitchFamily="34" charset="0"/>
                </a:rPr>
                <a:t>Marriott</a:t>
              </a:r>
              <a:endPar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Calibri" panose="020F0502020204030204" pitchFamily="34" charset="0"/>
              </a:endParaRPr>
            </a:p>
          </p:txBody>
        </p:sp>
        <p:sp>
          <p:nvSpPr>
            <p:cNvPr id="113" name="Rounded Rectangle 112"/>
            <p:cNvSpPr/>
            <p:nvPr/>
          </p:nvSpPr>
          <p:spPr>
            <a:xfrm>
              <a:off x="779210" y="6921557"/>
              <a:ext cx="1453782" cy="365760"/>
            </a:xfrm>
            <a:prstGeom prst="roundRect">
              <a:avLst/>
            </a:prstGeom>
            <a:solidFill>
              <a:srgbClr val="308293"/>
            </a:solidFill>
            <a:ln w="3175" cap="flat" cmpd="sng" algn="ctr">
              <a:solidFill>
                <a:srgbClr val="00B050"/>
              </a:solidFill>
              <a:prstDash val="solid"/>
              <a:round/>
              <a:headEnd type="none" w="med" len="med"/>
              <a:tailEnd type="none" w="med" len="med"/>
            </a:ln>
            <a:effectLst/>
          </p:spPr>
          <p:txBody>
            <a:bodyPr rot="0" spcFirstLastPara="0" vertOverflow="overflow" horzOverflow="overflow" vert="horz" wrap="square" lIns="84651" tIns="42328" rIns="84651" bIns="42328" numCol="1" spcCol="0" rtlCol="0" fromWordArt="0" anchor="ctr" anchorCtr="0" forceAA="0" compatLnSpc="1">
              <a:prstTxWarp prst="textNoShape">
                <a:avLst/>
              </a:prstTxWarp>
              <a:noAutofit/>
            </a:bodyPr>
            <a:lstStyle/>
            <a:p>
              <a:pPr marL="0" marR="0" lvl="0" indent="0" algn="ctr" defTabSz="1451002"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Calibri" panose="020F0502020204030204" pitchFamily="34" charset="0"/>
                </a:rPr>
                <a:t>Cognizant</a:t>
              </a:r>
            </a:p>
          </p:txBody>
        </p:sp>
        <p:sp>
          <p:nvSpPr>
            <p:cNvPr id="104" name="Rectangle 103"/>
            <p:cNvSpPr/>
            <p:nvPr/>
          </p:nvSpPr>
          <p:spPr bwMode="auto">
            <a:xfrm>
              <a:off x="3985137" y="6926301"/>
              <a:ext cx="1862785" cy="325411"/>
            </a:xfrm>
            <a:prstGeom prst="rect">
              <a:avLst/>
            </a:prstGeom>
            <a:pattFill prst="pct50">
              <a:fgClr>
                <a:schemeClr val="bg2">
                  <a:lumMod val="25000"/>
                </a:schemeClr>
              </a:fgClr>
              <a:bgClr>
                <a:schemeClr val="bg1"/>
              </a:bgClr>
            </a:pattFill>
            <a:ln w="3175">
              <a:solidFill>
                <a:schemeClr val="tx1">
                  <a:lumMod val="85000"/>
                  <a:lumOff val="15000"/>
                </a:schemeClr>
              </a:solidFill>
            </a:ln>
          </p:spPr>
          <p:txBody>
            <a:bodyPr vert="horz" lIns="30480" tIns="50800" rIns="3048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Out of Scope</a:t>
              </a:r>
              <a:endParaRPr kumimoji="0" lang="en-US" sz="105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grpSp>
      <p:sp>
        <p:nvSpPr>
          <p:cNvPr id="111" name="Title 3"/>
          <p:cNvSpPr txBox="1">
            <a:spLocks/>
          </p:cNvSpPr>
          <p:nvPr/>
        </p:nvSpPr>
        <p:spPr>
          <a:xfrm>
            <a:off x="4764805" y="2653656"/>
            <a:ext cx="5564642" cy="2737213"/>
          </a:xfrm>
          <a:prstGeom prst="roundRect">
            <a:avLst>
              <a:gd name="adj" fmla="val 8444"/>
            </a:avLst>
          </a:prstGeom>
          <a:solidFill>
            <a:srgbClr val="30829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1354285" eaLnBrk="0" fontAlgn="base" hangingPunct="0">
              <a:lnSpc>
                <a:spcPct val="100000"/>
              </a:lnSpc>
              <a:spcBef>
                <a:spcPct val="0"/>
              </a:spcBef>
              <a:spcAft>
                <a:spcPct val="0"/>
              </a:spcAft>
              <a:buClrTx/>
              <a:buSzTx/>
              <a:buFontTx/>
              <a:buNone/>
              <a:tabLst/>
              <a:defRPr kumimoji="0" sz="1100" b="1" i="0" u="none" strike="noStrike" cap="none" spc="0" normalizeH="0" baseline="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cxnSp>
        <p:nvCxnSpPr>
          <p:cNvPr id="79" name="Straight Arrow Connector 78"/>
          <p:cNvCxnSpPr/>
          <p:nvPr/>
        </p:nvCxnSpPr>
        <p:spPr>
          <a:xfrm flipH="1">
            <a:off x="9634888" y="1995762"/>
            <a:ext cx="1743" cy="548640"/>
          </a:xfrm>
          <a:prstGeom prst="straightConnector1">
            <a:avLst/>
          </a:prstGeom>
          <a:noFill/>
          <a:ln w="28575" cap="flat" cmpd="sng" algn="ctr">
            <a:solidFill>
              <a:schemeClr val="tx1"/>
            </a:solidFill>
            <a:prstDash val="solid"/>
            <a:headEnd type="triangle" w="med" len="med"/>
            <a:tailEnd type="triangle" w="med" len="med"/>
          </a:ln>
          <a:effectLst/>
        </p:spPr>
      </p:cxnSp>
      <p:cxnSp>
        <p:nvCxnSpPr>
          <p:cNvPr id="80" name="Straight Arrow Connector 79"/>
          <p:cNvCxnSpPr/>
          <p:nvPr/>
        </p:nvCxnSpPr>
        <p:spPr>
          <a:xfrm flipH="1">
            <a:off x="7841133" y="1995762"/>
            <a:ext cx="1743" cy="548640"/>
          </a:xfrm>
          <a:prstGeom prst="straightConnector1">
            <a:avLst/>
          </a:prstGeom>
          <a:noFill/>
          <a:ln w="28575" cap="flat" cmpd="sng" algn="ctr">
            <a:solidFill>
              <a:schemeClr val="tx1"/>
            </a:solidFill>
            <a:prstDash val="solid"/>
            <a:headEnd type="triangle" w="med" len="med"/>
            <a:tailEnd type="triangle" w="med" len="med"/>
          </a:ln>
          <a:effectLst/>
        </p:spPr>
      </p:cxnSp>
      <p:cxnSp>
        <p:nvCxnSpPr>
          <p:cNvPr id="81" name="Straight Arrow Connector 80"/>
          <p:cNvCxnSpPr/>
          <p:nvPr/>
        </p:nvCxnSpPr>
        <p:spPr>
          <a:xfrm>
            <a:off x="5381206" y="1995762"/>
            <a:ext cx="0" cy="548640"/>
          </a:xfrm>
          <a:prstGeom prst="straightConnector1">
            <a:avLst/>
          </a:prstGeom>
          <a:noFill/>
          <a:ln w="28575" cap="flat" cmpd="sng" algn="ctr">
            <a:solidFill>
              <a:schemeClr val="tx1"/>
            </a:solidFill>
            <a:prstDash val="solid"/>
            <a:headEnd type="triangle" w="med" len="med"/>
            <a:tailEnd type="triangle"/>
          </a:ln>
          <a:effectLst/>
        </p:spPr>
      </p:cxnSp>
      <p:sp>
        <p:nvSpPr>
          <p:cNvPr id="82" name="Rectangle 81"/>
          <p:cNvSpPr/>
          <p:nvPr/>
        </p:nvSpPr>
        <p:spPr bwMode="auto">
          <a:xfrm>
            <a:off x="9245936" y="3103780"/>
            <a:ext cx="1005840" cy="1737360"/>
          </a:xfrm>
          <a:prstGeom prst="rect">
            <a:avLst/>
          </a:prstGeom>
          <a:solidFill>
            <a:schemeClr val="accent2">
              <a:lumMod val="60000"/>
              <a:lumOff val="40000"/>
              <a:alpha val="52000"/>
            </a:schemeClr>
          </a:solidFill>
          <a:ln w="9525" cap="flat" cmpd="sng" algn="ctr">
            <a:solidFill>
              <a:srgbClr val="FFFFFF"/>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algn="ctr" defTabSz="1451002" eaLnBrk="0" fontAlgn="base" hangingPunct="0">
              <a:spcBef>
                <a:spcPct val="0"/>
              </a:spcBef>
              <a:spcAft>
                <a:spcPct val="0"/>
              </a:spcAft>
            </a:pPr>
            <a:r>
              <a:rPr lang="en-US" sz="1100" b="1" dirty="0">
                <a:solidFill>
                  <a:prstClr val="black"/>
                </a:solidFill>
                <a:latin typeface="Calibri" panose="020F0502020204030204" pitchFamily="34" charset="0"/>
                <a:ea typeface="ＭＳ Ｐゴシック" pitchFamily="-12" charset="-128"/>
                <a:cs typeface="Calibri" panose="020F0502020204030204" pitchFamily="34" charset="0"/>
              </a:rPr>
              <a:t>Tower 5</a:t>
            </a:r>
          </a:p>
        </p:txBody>
      </p:sp>
      <p:sp>
        <p:nvSpPr>
          <p:cNvPr id="83" name="Rectangle 82"/>
          <p:cNvSpPr/>
          <p:nvPr/>
        </p:nvSpPr>
        <p:spPr bwMode="auto">
          <a:xfrm>
            <a:off x="8143369" y="3103780"/>
            <a:ext cx="1005840" cy="1737360"/>
          </a:xfrm>
          <a:prstGeom prst="rect">
            <a:avLst/>
          </a:prstGeom>
          <a:solidFill>
            <a:schemeClr val="accent2">
              <a:lumMod val="60000"/>
              <a:lumOff val="40000"/>
              <a:alpha val="52000"/>
            </a:schemeClr>
          </a:solidFill>
          <a:ln w="9525" cap="flat" cmpd="sng" algn="ctr">
            <a:solidFill>
              <a:srgbClr val="FFFFFF"/>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algn="ctr" defTabSz="1451002" eaLnBrk="0" fontAlgn="base" hangingPunct="0">
              <a:spcBef>
                <a:spcPct val="0"/>
              </a:spcBef>
              <a:spcAft>
                <a:spcPct val="0"/>
              </a:spcAft>
            </a:pPr>
            <a:r>
              <a:rPr lang="en-US" sz="1100" b="1" dirty="0">
                <a:solidFill>
                  <a:prstClr val="black"/>
                </a:solidFill>
                <a:latin typeface="Calibri" panose="020F0502020204030204" pitchFamily="34" charset="0"/>
                <a:ea typeface="ＭＳ Ｐゴシック" pitchFamily="-12" charset="-128"/>
                <a:cs typeface="Calibri" panose="020F0502020204030204" pitchFamily="34" charset="0"/>
              </a:rPr>
              <a:t>Tower 4</a:t>
            </a:r>
          </a:p>
        </p:txBody>
      </p:sp>
      <p:sp>
        <p:nvSpPr>
          <p:cNvPr id="84" name="TextBox 83"/>
          <p:cNvSpPr txBox="1"/>
          <p:nvPr/>
        </p:nvSpPr>
        <p:spPr bwMode="auto">
          <a:xfrm rot="5400000">
            <a:off x="-891130" y="3290103"/>
            <a:ext cx="3652346" cy="1447128"/>
          </a:xfrm>
          <a:prstGeom prst="roundRect">
            <a:avLst>
              <a:gd name="adj" fmla="val 5350"/>
            </a:avLst>
          </a:prstGeom>
          <a:solidFill>
            <a:srgbClr val="0070C0"/>
          </a:solidFill>
          <a:ln w="3175" cap="flat" cmpd="sng" algn="ctr">
            <a:solidFill>
              <a:srgbClr val="0070C0"/>
            </a:solidFill>
            <a:prstDash val="solid"/>
            <a:round/>
            <a:headEnd type="none" w="med" len="med"/>
            <a:tailEnd type="none" w="med" len="med"/>
          </a:ln>
          <a:effectLst/>
        </p:spPr>
        <p:txBody>
          <a:bodyPr rot="0" spcFirstLastPara="0" vertOverflow="overflow" horzOverflow="overflow" vert="vert270" wrap="square" lIns="84651" tIns="42328" rIns="84651" bIns="42328" numCol="1" spcCol="0" rtlCol="0" fromWordArt="0" anchor="t" anchorCtr="0" forceAA="0" compatLnSpc="1">
            <a:prstTxWarp prst="textNoShape">
              <a:avLst/>
            </a:prstTxWarp>
            <a:noAutofit/>
          </a:bodyPr>
          <a:lstStyle>
            <a:defPPr>
              <a:defRPr lang="en-US"/>
            </a:defPPr>
            <a:lvl1pPr marR="0" indent="0" algn="ctr" defTabSz="914400" eaLnBrk="0" fontAlgn="base" hangingPunct="0">
              <a:lnSpc>
                <a:spcPct val="100000"/>
              </a:lnSpc>
              <a:spcBef>
                <a:spcPct val="0"/>
              </a:spcBef>
              <a:spcAft>
                <a:spcPct val="0"/>
              </a:spcAft>
              <a:buClrTx/>
              <a:buSzTx/>
              <a:buFontTx/>
              <a:buNone/>
              <a:tabLst/>
              <a:defRPr kumimoji="0" sz="2400" b="1" i="0" u="none" strike="noStrike" cap="none" normalizeH="0" baseline="0">
                <a:ln>
                  <a:noFill/>
                </a:ln>
                <a:effectLst/>
                <a:latin typeface="Arial" pitchFamily="-12" charset="0"/>
                <a:ea typeface="ＭＳ Ｐゴシック" pitchFamily="-12" charset="-128"/>
                <a:cs typeface="ＭＳ Ｐゴシック" pitchFamily="-12" charset="-128"/>
              </a:defRPr>
            </a:lvl1pP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Calibri" panose="020F0502020204030204" pitchFamily="34" charset="0"/>
                <a:ea typeface="ＭＳ Ｐゴシック" pitchFamily="-12" charset="-128"/>
                <a:cs typeface="Calibri" panose="020F0502020204030204" pitchFamily="34" charset="0"/>
              </a:rPr>
              <a:t>Marriott</a:t>
            </a:r>
            <a:endPar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Calibri" panose="020F0502020204030204" pitchFamily="34" charset="0"/>
            </a:endParaRPr>
          </a:p>
        </p:txBody>
      </p:sp>
      <p:sp>
        <p:nvSpPr>
          <p:cNvPr id="85" name="Rectangle 84"/>
          <p:cNvSpPr/>
          <p:nvPr/>
        </p:nvSpPr>
        <p:spPr bwMode="auto">
          <a:xfrm>
            <a:off x="292453" y="2648629"/>
            <a:ext cx="319622" cy="2743200"/>
          </a:xfrm>
          <a:prstGeom prst="rect">
            <a:avLst/>
          </a:prstGeom>
          <a:solidFill>
            <a:schemeClr val="bg1"/>
          </a:solidFill>
          <a:ln w="9525">
            <a:noFill/>
            <a:miter lim="800000"/>
            <a:headEnd/>
            <a:tailEnd/>
          </a:ln>
        </p:spPr>
        <p:txBody>
          <a:bodyPr vert="vert270" wrap="square" lIns="101580" tIns="50792" rIns="101580" bIns="50792" rtlCol="0" anchor="ctr">
            <a:prstTxWarp prst="textNoShape">
              <a:avLst/>
            </a:prstTxWarp>
            <a:noAutofit/>
          </a:bodyPr>
          <a:lstStyle/>
          <a:p>
            <a:pPr marL="0" marR="0" lvl="0" indent="0" algn="ctr" defTabSz="1354285" rtl="0" eaLnBrk="0"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Marriott’s  </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usiness Groups</a:t>
            </a:r>
          </a:p>
        </p:txBody>
      </p:sp>
      <p:sp>
        <p:nvSpPr>
          <p:cNvPr id="86" name="Rectangle 85"/>
          <p:cNvSpPr/>
          <p:nvPr/>
        </p:nvSpPr>
        <p:spPr bwMode="auto">
          <a:xfrm>
            <a:off x="656383" y="3347337"/>
            <a:ext cx="918768" cy="638857"/>
          </a:xfrm>
          <a:prstGeom prst="rect">
            <a:avLst/>
          </a:prstGeom>
          <a:solidFill>
            <a:schemeClr val="bg1"/>
          </a:solidFill>
          <a:ln w="9525" cap="flat" cmpd="sng" algn="ctr">
            <a:noFill/>
            <a:prstDash val="solid"/>
            <a:round/>
            <a:headEnd type="none" w="med" len="med"/>
            <a:tailEnd type="none" w="med" len="med"/>
          </a:ln>
          <a:effectLst/>
        </p:spPr>
        <p:txBody>
          <a:bodyPr vert="horz" wrap="square" lIns="0" tIns="42328" rIns="0" bIns="42328" numCol="1" rtlCol="0" anchor="ctr" anchorCtr="0" compatLnSpc="1">
            <a:prstTxWarp prst="textNoShape">
              <a:avLst/>
            </a:prstTxWarp>
          </a:bodyPr>
          <a:lstStyle/>
          <a:p>
            <a:pPr marL="0" marR="0" lvl="0" indent="0" algn="ctr" defTabSz="1451002"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Calibri" panose="020F0502020204030204" pitchFamily="34" charset="0"/>
              </a:rPr>
              <a:t>IT</a:t>
            </a:r>
          </a:p>
        </p:txBody>
      </p:sp>
      <p:sp>
        <p:nvSpPr>
          <p:cNvPr id="87" name="Rectangle 86"/>
          <p:cNvSpPr/>
          <p:nvPr/>
        </p:nvSpPr>
        <p:spPr bwMode="auto">
          <a:xfrm>
            <a:off x="656383" y="4054265"/>
            <a:ext cx="918768" cy="638857"/>
          </a:xfrm>
          <a:prstGeom prst="rect">
            <a:avLst/>
          </a:prstGeom>
          <a:solidFill>
            <a:schemeClr val="bg1"/>
          </a:solidFill>
          <a:ln w="9525" cap="flat" cmpd="sng" algn="ctr">
            <a:noFill/>
            <a:prstDash val="solid"/>
            <a:round/>
            <a:headEnd type="none" w="med" len="med"/>
            <a:tailEnd type="none" w="med" len="med"/>
          </a:ln>
          <a:effectLst/>
        </p:spPr>
        <p:txBody>
          <a:bodyPr vert="horz" wrap="square" lIns="0" tIns="42328" rIns="0" bIns="42328" numCol="1" rtlCol="0" anchor="ctr" anchorCtr="0" compatLnSpc="1">
            <a:prstTxWarp prst="textNoShape">
              <a:avLst/>
            </a:prstTxWarp>
          </a:bodyPr>
          <a:lstStyle/>
          <a:p>
            <a:pPr marL="0" marR="0" lvl="0" indent="0" algn="ctr" defTabSz="135428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ategy &amp; Innovation</a:t>
            </a:r>
          </a:p>
        </p:txBody>
      </p:sp>
      <p:sp>
        <p:nvSpPr>
          <p:cNvPr id="88" name="Rectangle 87"/>
          <p:cNvSpPr/>
          <p:nvPr/>
        </p:nvSpPr>
        <p:spPr bwMode="auto">
          <a:xfrm>
            <a:off x="656383" y="4761193"/>
            <a:ext cx="918768" cy="630636"/>
          </a:xfrm>
          <a:prstGeom prst="rect">
            <a:avLst/>
          </a:prstGeom>
          <a:solidFill>
            <a:schemeClr val="bg1"/>
          </a:solidFill>
          <a:ln w="9525" cap="flat" cmpd="sng" algn="ctr">
            <a:noFill/>
            <a:prstDash val="solid"/>
            <a:round/>
            <a:headEnd type="none" w="med" len="med"/>
            <a:tailEnd type="none" w="med" len="med"/>
          </a:ln>
          <a:effectLst/>
        </p:spPr>
        <p:txBody>
          <a:bodyPr vert="horz" wrap="square" lIns="0" tIns="42328" rIns="0" bIns="42328" numCol="1" rtlCol="0" anchor="ctr" anchorCtr="0" compatLnSpc="1">
            <a:prstTxWarp prst="textNoShape">
              <a:avLst/>
            </a:prstTxWarp>
          </a:bodyPr>
          <a:lstStyle/>
          <a:p>
            <a:pPr marL="0" marR="0" lvl="0" indent="0" algn="ctr" defTabSz="135428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rchitecture</a:t>
            </a:r>
          </a:p>
          <a:p>
            <a:pPr marL="0" marR="0" lvl="0" indent="0" algn="ctr" defTabSz="1354285"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oup</a:t>
            </a:r>
          </a:p>
        </p:txBody>
      </p:sp>
      <p:sp>
        <p:nvSpPr>
          <p:cNvPr id="89" name="Rectangle 88"/>
          <p:cNvSpPr/>
          <p:nvPr/>
        </p:nvSpPr>
        <p:spPr bwMode="auto">
          <a:xfrm>
            <a:off x="656383" y="2648630"/>
            <a:ext cx="918768" cy="630636"/>
          </a:xfrm>
          <a:prstGeom prst="rect">
            <a:avLst/>
          </a:prstGeom>
          <a:solidFill>
            <a:schemeClr val="bg1"/>
          </a:solidFill>
          <a:ln w="9525" cap="flat" cmpd="sng" algn="ctr">
            <a:noFill/>
            <a:prstDash val="solid"/>
            <a:round/>
            <a:headEnd type="none" w="med" len="med"/>
            <a:tailEnd type="none" w="med" len="med"/>
          </a:ln>
          <a:effectLst/>
        </p:spPr>
        <p:txBody>
          <a:bodyPr vert="horz" wrap="square" lIns="0" tIns="42328" rIns="0" bIns="42328" numCol="1" rtlCol="0" anchor="ctr" anchorCtr="0" compatLnSpc="1">
            <a:prstTxWarp prst="textNoShape">
              <a:avLst/>
            </a:prstTxWarp>
          </a:bodyPr>
          <a:lstStyle/>
          <a:p>
            <a:pPr marL="0" marR="0" lvl="0" indent="0" algn="ctr" defTabSz="1451002"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Calibri" panose="020F0502020204030204" pitchFamily="34" charset="0"/>
              </a:rPr>
              <a:t>Governance</a:t>
            </a:r>
          </a:p>
        </p:txBody>
      </p:sp>
      <p:sp>
        <p:nvSpPr>
          <p:cNvPr id="90" name="Title 3"/>
          <p:cNvSpPr txBox="1">
            <a:spLocks/>
          </p:cNvSpPr>
          <p:nvPr/>
        </p:nvSpPr>
        <p:spPr>
          <a:xfrm>
            <a:off x="1818630" y="2094335"/>
            <a:ext cx="2836350" cy="365760"/>
          </a:xfrm>
          <a:prstGeom prst="roundRect">
            <a:avLst/>
          </a:prstGeom>
          <a:solidFill>
            <a:srgbClr val="308293"/>
          </a:solidFill>
          <a:ln w="3175">
            <a:solidFill>
              <a:srgbClr val="308293"/>
            </a:solidFill>
          </a:ln>
        </p:spPr>
        <p:txBody>
          <a:bodyPr vert="horz" lIns="30480" tIns="50800" rIns="30480" bIns="50800" rtlCol="0" anchor="ctr">
            <a:noAutofit/>
          </a:bodyPr>
          <a:lstStyle>
            <a:defPPr>
              <a:defRPr lang="en-US"/>
            </a:defPPr>
            <a:lvl1pPr algn="ctr" defTabSz="1463040">
              <a:spcBef>
                <a:spcPct val="0"/>
              </a:spcBef>
              <a:defRPr sz="1600" b="1">
                <a:solidFill>
                  <a:prstClr val="black">
                    <a:lumMod val="95000"/>
                    <a:lumOff val="5000"/>
                  </a:prstClr>
                </a:solidFill>
                <a:latin typeface="Calibri" pitchFamily="34" charset="0"/>
                <a:cs typeface="Arial" pitchFamily="34" charset="0"/>
              </a:defRPr>
            </a:lvl1p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067"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 </a:t>
            </a:r>
            <a:r>
              <a:rPr kumimoji="0" lang="en-US" b="1" i="0" u="none" strike="noStrike" kern="1200" cap="none" spc="0" normalizeH="0" baseline="0" noProof="0" dirty="0" smtClean="0">
                <a:ln>
                  <a:noFill/>
                </a:ln>
                <a:solidFill>
                  <a:srgbClr val="FFFFFF"/>
                </a:solidFill>
                <a:effectLst/>
                <a:uLnTx/>
                <a:uFillTx/>
                <a:latin typeface="Calibri" pitchFamily="34" charset="0"/>
                <a:ea typeface="+mn-ea"/>
                <a:cs typeface="Calibri" panose="020F0502020204030204" pitchFamily="34" charset="0"/>
              </a:rPr>
              <a:t>Transformation Office</a:t>
            </a:r>
            <a:endParaRPr kumimoji="0" lang="en-US"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endParaRPr>
          </a:p>
        </p:txBody>
      </p:sp>
      <p:sp>
        <p:nvSpPr>
          <p:cNvPr id="92" name="Rectangle 91"/>
          <p:cNvSpPr/>
          <p:nvPr/>
        </p:nvSpPr>
        <p:spPr bwMode="auto">
          <a:xfrm>
            <a:off x="5919973" y="3103780"/>
            <a:ext cx="1005840" cy="1737360"/>
          </a:xfrm>
          <a:prstGeom prst="rect">
            <a:avLst/>
          </a:prstGeom>
          <a:solidFill>
            <a:schemeClr val="accent2">
              <a:lumMod val="60000"/>
              <a:lumOff val="40000"/>
              <a:alpha val="52000"/>
            </a:schemeClr>
          </a:solidFill>
          <a:ln w="9525" cap="flat" cmpd="sng" algn="ctr">
            <a:solidFill>
              <a:srgbClr val="FFFFFF"/>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algn="ctr" defTabSz="1451002" eaLnBrk="0" fontAlgn="base" hangingPunct="0">
              <a:spcBef>
                <a:spcPct val="0"/>
              </a:spcBef>
              <a:spcAft>
                <a:spcPct val="0"/>
              </a:spcAft>
            </a:pPr>
            <a:r>
              <a:rPr lang="en-US" sz="1100" b="1" dirty="0">
                <a:solidFill>
                  <a:prstClr val="black"/>
                </a:solidFill>
                <a:latin typeface="Calibri" panose="020F0502020204030204" pitchFamily="34" charset="0"/>
                <a:ea typeface="ＭＳ Ｐゴシック" pitchFamily="-12" charset="-128"/>
                <a:cs typeface="Calibri" panose="020F0502020204030204" pitchFamily="34" charset="0"/>
              </a:rPr>
              <a:t>Tower 2</a:t>
            </a:r>
          </a:p>
        </p:txBody>
      </p:sp>
      <p:sp>
        <p:nvSpPr>
          <p:cNvPr id="93" name="Rectangle 92"/>
          <p:cNvSpPr/>
          <p:nvPr/>
        </p:nvSpPr>
        <p:spPr bwMode="auto">
          <a:xfrm>
            <a:off x="7031671" y="3103780"/>
            <a:ext cx="1005840" cy="1737360"/>
          </a:xfrm>
          <a:prstGeom prst="rect">
            <a:avLst/>
          </a:prstGeom>
          <a:solidFill>
            <a:schemeClr val="accent2">
              <a:lumMod val="60000"/>
              <a:lumOff val="40000"/>
              <a:alpha val="52000"/>
            </a:schemeClr>
          </a:solidFill>
          <a:ln w="9525" cap="flat" cmpd="sng" algn="ctr">
            <a:solidFill>
              <a:srgbClr val="FFFFFF"/>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algn="ctr" defTabSz="1451002" eaLnBrk="0" fontAlgn="base" hangingPunct="0">
              <a:spcBef>
                <a:spcPct val="0"/>
              </a:spcBef>
              <a:spcAft>
                <a:spcPct val="0"/>
              </a:spcAft>
            </a:pPr>
            <a:r>
              <a:rPr lang="en-US" sz="1100" b="1" dirty="0">
                <a:solidFill>
                  <a:prstClr val="black"/>
                </a:solidFill>
                <a:latin typeface="Calibri" panose="020F0502020204030204" pitchFamily="34" charset="0"/>
                <a:ea typeface="ＭＳ Ｐゴシック" pitchFamily="-12" charset="-128"/>
                <a:cs typeface="Calibri" panose="020F0502020204030204" pitchFamily="34" charset="0"/>
              </a:rPr>
              <a:t>Tower 3</a:t>
            </a:r>
          </a:p>
        </p:txBody>
      </p:sp>
      <p:sp>
        <p:nvSpPr>
          <p:cNvPr id="94" name="Rounded Rectangle 93"/>
          <p:cNvSpPr/>
          <p:nvPr/>
        </p:nvSpPr>
        <p:spPr>
          <a:xfrm>
            <a:off x="4808271" y="1701467"/>
            <a:ext cx="5395155" cy="274320"/>
          </a:xfrm>
          <a:prstGeom prst="roundRect">
            <a:avLst/>
          </a:prstGeom>
          <a:solidFill>
            <a:srgbClr val="0070C0"/>
          </a:solidFill>
          <a:ln w="3175" cap="flat" cmpd="sng" algn="ctr">
            <a:solidFill>
              <a:srgbClr val="0070C0"/>
            </a:solidFill>
            <a:prstDash val="solid"/>
            <a:round/>
            <a:headEnd type="none" w="med" len="med"/>
            <a:tailEnd type="none" w="med" len="med"/>
          </a:ln>
          <a:effectLst/>
        </p:spPr>
        <p:txBody>
          <a:bodyPr rot="0" spcFirstLastPara="0" vertOverflow="overflow" horzOverflow="overflow" vert="horz" wrap="square" lIns="101600" tIns="50800" rIns="101600" bIns="50800" numCol="1" spcCol="0" rtlCol="0" fromWordArt="0" anchor="ctr" anchorCtr="0" forceAA="0" compatLnSpc="1">
            <a:prstTxWarp prst="textNoShape">
              <a:avLst/>
            </a:prstTxWarp>
            <a:noAutofit/>
          </a:bodyP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rvice Desk</a:t>
            </a:r>
          </a:p>
        </p:txBody>
      </p:sp>
      <p:sp>
        <p:nvSpPr>
          <p:cNvPr id="95" name="Rounded Rectangle 94"/>
          <p:cNvSpPr/>
          <p:nvPr/>
        </p:nvSpPr>
        <p:spPr>
          <a:xfrm>
            <a:off x="6541764" y="781164"/>
            <a:ext cx="2504737" cy="423728"/>
          </a:xfrm>
          <a:prstGeom prst="roundRect">
            <a:avLst/>
          </a:prstGeom>
          <a:solidFill>
            <a:srgbClr val="0070C0"/>
          </a:solidFill>
          <a:ln w="9525">
            <a:solidFill>
              <a:srgbClr val="0070C0"/>
            </a:solidFill>
            <a:miter lim="800000"/>
            <a:headEnd/>
            <a:tailEnd/>
          </a:ln>
        </p:spPr>
        <p:txBody>
          <a:bodyPr vert="horz" wrap="square" lIns="203200" tIns="40640" rIns="152400" rtlCol="0" anchor="ctr">
            <a:prstTxWarp prst="textNoShape">
              <a:avLst/>
            </a:prstTxWarp>
            <a:noAutofit/>
          </a:bodyPr>
          <a:lstStyle/>
          <a:p>
            <a:pPr marL="0" marR="0" lvl="0" indent="0" algn="ctr" defTabSz="13542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pplications</a:t>
            </a:r>
          </a:p>
        </p:txBody>
      </p:sp>
      <p:sp>
        <p:nvSpPr>
          <p:cNvPr id="96" name="Rounded Rectangle 95"/>
          <p:cNvSpPr/>
          <p:nvPr/>
        </p:nvSpPr>
        <p:spPr>
          <a:xfrm>
            <a:off x="6380728" y="1436314"/>
            <a:ext cx="1307592" cy="206102"/>
          </a:xfrm>
          <a:prstGeom prst="roundRect">
            <a:avLst/>
          </a:prstGeom>
          <a:solidFill>
            <a:srgbClr val="308293">
              <a:alpha val="10000"/>
            </a:srgbClr>
          </a:solidFill>
          <a:ln w="9525" cap="flat" cmpd="sng" algn="ctr">
            <a:solidFill>
              <a:schemeClr val="bg1">
                <a:lumMod val="50000"/>
              </a:schemeClr>
            </a:solidFill>
            <a:prstDash val="solid"/>
          </a:ln>
          <a:effectLst>
            <a:innerShdw blurRad="63500" dist="50800" dir="10800000">
              <a:srgbClr val="4BACC6">
                <a:lumMod val="40000"/>
                <a:lumOff val="60000"/>
                <a:alpha val="50000"/>
              </a:srgbClr>
            </a:innerShdw>
          </a:effectLst>
        </p:spPr>
        <p:txBody>
          <a:bodyPr lIns="84616" tIns="42307" rIns="84616" bIns="42307" rtlCol="0" anchor="ctr"/>
          <a:lstStyle/>
          <a:p>
            <a:pPr marL="0" marR="0" lvl="0" indent="0" algn="ctr" defTabSz="135341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SNOW</a:t>
            </a:r>
            <a:endParaRPr kumimoji="0" lang="en-US" sz="1200" b="1" i="0" u="none" strike="noStrike" kern="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sp>
        <p:nvSpPr>
          <p:cNvPr id="97" name="TextBox 96"/>
          <p:cNvSpPr txBox="1"/>
          <p:nvPr/>
        </p:nvSpPr>
        <p:spPr>
          <a:xfrm>
            <a:off x="6473469" y="1166167"/>
            <a:ext cx="737064" cy="276999"/>
          </a:xfrm>
          <a:prstGeom prst="rect">
            <a:avLst/>
          </a:prstGeom>
          <a:noFill/>
        </p:spPr>
        <p:txBody>
          <a:bodyPr wrap="square" rtlCol="0">
            <a:spAutoFit/>
          </a:bodyPr>
          <a:lstStyle/>
          <a:p>
            <a:pPr marL="0" marR="0" lvl="0" indent="0" algn="ctr" defTabSz="13542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Tickets</a:t>
            </a:r>
          </a:p>
        </p:txBody>
      </p:sp>
      <p:sp>
        <p:nvSpPr>
          <p:cNvPr id="99" name="Rounded Rectangle 98"/>
          <p:cNvSpPr/>
          <p:nvPr/>
        </p:nvSpPr>
        <p:spPr>
          <a:xfrm>
            <a:off x="7889296" y="1442906"/>
            <a:ext cx="1307592" cy="206102"/>
          </a:xfrm>
          <a:prstGeom prst="roundRect">
            <a:avLst/>
          </a:prstGeom>
          <a:solidFill>
            <a:srgbClr val="308293">
              <a:alpha val="10000"/>
            </a:srgbClr>
          </a:solidFill>
          <a:ln w="9525" cap="flat" cmpd="sng" algn="ctr">
            <a:solidFill>
              <a:schemeClr val="bg1">
                <a:lumMod val="50000"/>
              </a:schemeClr>
            </a:solidFill>
            <a:prstDash val="solid"/>
          </a:ln>
          <a:effectLst>
            <a:innerShdw blurRad="63500" dist="50800" dir="10800000">
              <a:srgbClr val="4BACC6">
                <a:lumMod val="40000"/>
                <a:lumOff val="60000"/>
                <a:alpha val="50000"/>
              </a:srgbClr>
            </a:innerShdw>
          </a:effectLst>
        </p:spPr>
        <p:txBody>
          <a:bodyPr lIns="84616" tIns="42307" rIns="84616" bIns="42307" rtlCol="0" anchor="ctr"/>
          <a:lstStyle/>
          <a:p>
            <a:pPr marL="0" marR="0" lvl="0" indent="0" algn="ctr" defTabSz="1353415" rtl="0" eaLnBrk="1" fontAlgn="auto" latinLnBrk="0" hangingPunct="1">
              <a:lnSpc>
                <a:spcPct val="8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Monitoring Tools </a:t>
            </a:r>
          </a:p>
        </p:txBody>
      </p:sp>
      <p:sp>
        <p:nvSpPr>
          <p:cNvPr id="100" name="TextBox 99"/>
          <p:cNvSpPr txBox="1"/>
          <p:nvPr/>
        </p:nvSpPr>
        <p:spPr>
          <a:xfrm>
            <a:off x="8407504" y="1166167"/>
            <a:ext cx="737064" cy="276999"/>
          </a:xfrm>
          <a:prstGeom prst="rect">
            <a:avLst/>
          </a:prstGeom>
          <a:noFill/>
        </p:spPr>
        <p:txBody>
          <a:bodyPr wrap="square" rtlCol="0">
            <a:spAutoFit/>
          </a:bodyPr>
          <a:lstStyle/>
          <a:p>
            <a:pPr marL="0" marR="0" lvl="0" indent="0" algn="ctr" defTabSz="13542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Alerts</a:t>
            </a:r>
          </a:p>
        </p:txBody>
      </p:sp>
      <p:cxnSp>
        <p:nvCxnSpPr>
          <p:cNvPr id="101" name="Straight Arrow Connector 100"/>
          <p:cNvCxnSpPr/>
          <p:nvPr/>
        </p:nvCxnSpPr>
        <p:spPr>
          <a:xfrm>
            <a:off x="8452141" y="1226780"/>
            <a:ext cx="0" cy="182880"/>
          </a:xfrm>
          <a:prstGeom prst="straightConnector1">
            <a:avLst/>
          </a:prstGeom>
          <a:noFill/>
          <a:ln w="28575" cap="flat" cmpd="sng" algn="ctr">
            <a:solidFill>
              <a:schemeClr val="tx1"/>
            </a:solidFill>
            <a:prstDash val="solid"/>
            <a:headEnd type="triangle" w="med" len="med"/>
            <a:tailEnd type="triangle" w="med" len="med"/>
          </a:ln>
          <a:effectLst/>
        </p:spPr>
      </p:cxnSp>
      <p:cxnSp>
        <p:nvCxnSpPr>
          <p:cNvPr id="102" name="Straight Arrow Connector 101"/>
          <p:cNvCxnSpPr/>
          <p:nvPr/>
        </p:nvCxnSpPr>
        <p:spPr>
          <a:xfrm>
            <a:off x="5564490" y="1371351"/>
            <a:ext cx="0" cy="279310"/>
          </a:xfrm>
          <a:prstGeom prst="straightConnector1">
            <a:avLst/>
          </a:prstGeom>
          <a:noFill/>
          <a:ln w="28575" cap="flat" cmpd="sng" algn="ctr">
            <a:solidFill>
              <a:schemeClr val="tx1"/>
            </a:solidFill>
            <a:prstDash val="solid"/>
            <a:headEnd type="triangle" w="med" len="med"/>
            <a:tailEnd type="triangle" w="med" len="med"/>
          </a:ln>
          <a:effectLst/>
        </p:spPr>
      </p:cxnSp>
      <p:sp>
        <p:nvSpPr>
          <p:cNvPr id="103" name="Rectangle 102"/>
          <p:cNvSpPr/>
          <p:nvPr/>
        </p:nvSpPr>
        <p:spPr bwMode="auto">
          <a:xfrm>
            <a:off x="4797105" y="2123002"/>
            <a:ext cx="5463801" cy="490059"/>
          </a:xfrm>
          <a:prstGeom prst="rect">
            <a:avLst/>
          </a:prstGeom>
          <a:pattFill prst="pct50">
            <a:fgClr>
              <a:schemeClr val="bg2">
                <a:lumMod val="25000"/>
              </a:schemeClr>
            </a:fgClr>
            <a:bgClr>
              <a:schemeClr val="bg1"/>
            </a:bgClr>
          </a:pattFill>
          <a:ln w="3175">
            <a:solidFill>
              <a:schemeClr val="tx1">
                <a:lumMod val="85000"/>
                <a:lumOff val="15000"/>
              </a:schemeClr>
            </a:solidFill>
          </a:ln>
        </p:spPr>
        <p:txBody>
          <a:bodyPr vert="horz" lIns="30480" tIns="50800" rIns="3048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endParaRPr kumimoji="0" lang="en-US" sz="1067"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cxnSp>
        <p:nvCxnSpPr>
          <p:cNvPr id="105" name="Straight Arrow Connector 104"/>
          <p:cNvCxnSpPr/>
          <p:nvPr/>
        </p:nvCxnSpPr>
        <p:spPr>
          <a:xfrm>
            <a:off x="7136124" y="1226780"/>
            <a:ext cx="0" cy="182880"/>
          </a:xfrm>
          <a:prstGeom prst="straightConnector1">
            <a:avLst/>
          </a:prstGeom>
          <a:noFill/>
          <a:ln w="28575" cap="flat" cmpd="sng" algn="ctr">
            <a:solidFill>
              <a:schemeClr val="tx1"/>
            </a:solidFill>
            <a:prstDash val="solid"/>
            <a:headEnd type="triangle" w="med" len="med"/>
            <a:tailEnd type="triangle" w="med" len="med"/>
          </a:ln>
          <a:effectLst/>
        </p:spPr>
      </p:cxnSp>
      <p:sp>
        <p:nvSpPr>
          <p:cNvPr id="107" name="Rounded Rectangle 106"/>
          <p:cNvSpPr/>
          <p:nvPr/>
        </p:nvSpPr>
        <p:spPr>
          <a:xfrm>
            <a:off x="10517531" y="2515940"/>
            <a:ext cx="1188720" cy="457200"/>
          </a:xfrm>
          <a:prstGeom prst="roundRect">
            <a:avLst/>
          </a:prstGeom>
          <a:solidFill>
            <a:schemeClr val="accent4">
              <a:lumMod val="50000"/>
            </a:schemeClr>
          </a:solidFill>
          <a:ln w="3175" cap="flat" cmpd="sng" algn="ctr">
            <a:noFill/>
            <a:prstDash val="solid"/>
          </a:ln>
          <a:effectLst/>
        </p:spPr>
        <p:txBody>
          <a:bodyPr rtlCol="0" anchor="ctr"/>
          <a:lstStyle/>
          <a:p>
            <a:pPr marL="0" marR="0" lvl="0" indent="0" algn="ctr" defTabSz="1354285" rtl="0" eaLnBrk="1" fontAlgn="base" latinLnBrk="0" hangingPunct="1">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Global Technology Office</a:t>
            </a:r>
          </a:p>
        </p:txBody>
      </p:sp>
      <p:sp>
        <p:nvSpPr>
          <p:cNvPr id="108" name="Rounded Rectangle 107"/>
          <p:cNvSpPr/>
          <p:nvPr/>
        </p:nvSpPr>
        <p:spPr>
          <a:xfrm>
            <a:off x="10532278" y="3660385"/>
            <a:ext cx="1188720" cy="457200"/>
          </a:xfrm>
          <a:prstGeom prst="roundRect">
            <a:avLst/>
          </a:prstGeom>
          <a:solidFill>
            <a:schemeClr val="accent4">
              <a:lumMod val="50000"/>
            </a:schemeClr>
          </a:solidFill>
          <a:ln w="3175" cap="flat" cmpd="sng" algn="ctr">
            <a:noFill/>
            <a:prstDash val="solid"/>
          </a:ln>
          <a:effectLst/>
        </p:spPr>
        <p:txBody>
          <a:bodyPr rtlCol="0" anchor="ctr"/>
          <a:lstStyle/>
          <a:p>
            <a:pPr marL="0" marR="0" lvl="0" indent="0" algn="ctr" defTabSz="1354285" rtl="0" eaLnBrk="1" fontAlgn="base" latinLnBrk="0" hangingPunct="1">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AVM </a:t>
            </a:r>
            <a:r>
              <a:rPr kumimoji="0" lang="en-US" sz="1200" b="1" i="0" u="none" strike="noStrike" kern="0" cap="none" spc="0" normalizeH="0" baseline="0" noProof="0" dirty="0" err="1">
                <a:ln>
                  <a:noFill/>
                </a:ln>
                <a:solidFill>
                  <a:schemeClr val="bg1"/>
                </a:solidFill>
                <a:effectLst/>
                <a:uLnTx/>
                <a:uFillTx/>
                <a:latin typeface="Calibri" panose="020F0502020204030204" pitchFamily="34" charset="0"/>
                <a:ea typeface="+mn-ea"/>
                <a:cs typeface="Calibri" panose="020F0502020204030204" pitchFamily="34" charset="0"/>
              </a:rPr>
              <a:t>CoE</a:t>
            </a:r>
            <a:endPar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09" name="Rounded Rectangle 108"/>
          <p:cNvSpPr/>
          <p:nvPr/>
        </p:nvSpPr>
        <p:spPr>
          <a:xfrm>
            <a:off x="10517430" y="3082291"/>
            <a:ext cx="1188720" cy="457200"/>
          </a:xfrm>
          <a:prstGeom prst="roundRect">
            <a:avLst/>
          </a:prstGeom>
          <a:solidFill>
            <a:schemeClr val="accent4">
              <a:lumMod val="50000"/>
            </a:schemeClr>
          </a:solidFill>
          <a:ln w="3175" cap="flat" cmpd="sng" algn="ctr">
            <a:noFill/>
            <a:prstDash val="solid"/>
          </a:ln>
          <a:effectLst/>
        </p:spPr>
        <p:txBody>
          <a:bodyPr rtlCol="0" anchor="ctr"/>
          <a:lstStyle/>
          <a:p>
            <a:pPr marL="0" marR="0" lvl="0" indent="0" algn="ctr" defTabSz="1354285" rtl="0" eaLnBrk="1" fontAlgn="base" latinLnBrk="0" hangingPunct="1">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Agile &amp; DevOps </a:t>
            </a:r>
            <a:r>
              <a:rPr kumimoji="0" lang="en-US" sz="1200" b="1" i="0" u="none" strike="noStrike" kern="0" cap="none" spc="0" normalizeH="0" baseline="0" noProof="0" dirty="0" err="1">
                <a:ln>
                  <a:noFill/>
                </a:ln>
                <a:solidFill>
                  <a:schemeClr val="bg1"/>
                </a:solidFill>
                <a:effectLst/>
                <a:uLnTx/>
                <a:uFillTx/>
                <a:latin typeface="Calibri" panose="020F0502020204030204" pitchFamily="34" charset="0"/>
                <a:ea typeface="+mn-ea"/>
                <a:cs typeface="Calibri" panose="020F0502020204030204" pitchFamily="34" charset="0"/>
              </a:rPr>
              <a:t>CoE</a:t>
            </a:r>
            <a:endPar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10" name="Round Same Side Corner Rectangle 109"/>
          <p:cNvSpPr/>
          <p:nvPr/>
        </p:nvSpPr>
        <p:spPr bwMode="auto">
          <a:xfrm>
            <a:off x="10413795" y="1681509"/>
            <a:ext cx="1371273" cy="634167"/>
          </a:xfrm>
          <a:prstGeom prst="round2SameRect">
            <a:avLst/>
          </a:prstGeom>
          <a:solidFill>
            <a:srgbClr val="308293"/>
          </a:solidFill>
          <a:ln w="3175">
            <a:solidFill>
              <a:srgbClr val="FFFFFF"/>
            </a:solidFill>
          </a:ln>
        </p:spPr>
        <p:txBody>
          <a:bodyPr vert="horz" lIns="30480" tIns="50800" rIns="3048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ganizational Enablers</a:t>
            </a:r>
          </a:p>
        </p:txBody>
      </p:sp>
      <p:sp>
        <p:nvSpPr>
          <p:cNvPr id="114" name="Rectangle 113"/>
          <p:cNvSpPr/>
          <p:nvPr/>
        </p:nvSpPr>
        <p:spPr>
          <a:xfrm>
            <a:off x="1811525" y="5474439"/>
            <a:ext cx="5868562" cy="347941"/>
          </a:xfrm>
          <a:prstGeom prst="rect">
            <a:avLst/>
          </a:prstGeom>
          <a:solidFill>
            <a:srgbClr val="308293"/>
          </a:solidFill>
          <a:ln w="3175">
            <a:noFill/>
          </a:ln>
        </p:spPr>
        <p:txBody>
          <a:bodyPr vert="horz" lIns="30480" tIns="50800" rIns="3048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Delivery Enablers</a:t>
            </a:r>
          </a:p>
        </p:txBody>
      </p:sp>
      <p:sp>
        <p:nvSpPr>
          <p:cNvPr id="115" name="Rectangle 114"/>
          <p:cNvSpPr/>
          <p:nvPr/>
        </p:nvSpPr>
        <p:spPr>
          <a:xfrm>
            <a:off x="7846465" y="5469881"/>
            <a:ext cx="3879199" cy="345927"/>
          </a:xfrm>
          <a:prstGeom prst="rect">
            <a:avLst/>
          </a:prstGeom>
          <a:solidFill>
            <a:srgbClr val="308293"/>
          </a:solidFill>
          <a:ln w="3175">
            <a:noFill/>
          </a:ln>
        </p:spPr>
        <p:txBody>
          <a:bodyPr vert="horz" lIns="30480" tIns="50800" rIns="3048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Cognizant Service delivery  locations for </a:t>
            </a:r>
            <a:r>
              <a:rPr kumimoji="0" lang="en-US" sz="1400" b="1" i="0" u="none" strike="noStrike" kern="1200" cap="none" spc="0" normalizeH="0" baseline="0" noProof="0" dirty="0" smtClean="0">
                <a:ln>
                  <a:noFill/>
                </a:ln>
                <a:solidFill>
                  <a:srgbClr val="FFFFFF"/>
                </a:solidFill>
                <a:effectLst/>
                <a:uLnTx/>
                <a:uFillTx/>
                <a:latin typeface="Calibri" pitchFamily="34" charset="0"/>
                <a:ea typeface="+mn-ea"/>
                <a:cs typeface="Calibri" panose="020F0502020204030204" pitchFamily="34" charset="0"/>
              </a:rPr>
              <a:t>Marriott</a:t>
            </a:r>
            <a:endParaRPr kumimoji="0" lang="en-US" sz="14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endParaRPr>
          </a:p>
        </p:txBody>
      </p:sp>
      <p:sp>
        <p:nvSpPr>
          <p:cNvPr id="116" name="Rectangle 115"/>
          <p:cNvSpPr/>
          <p:nvPr/>
        </p:nvSpPr>
        <p:spPr>
          <a:xfrm>
            <a:off x="7857550" y="5792700"/>
            <a:ext cx="3899019" cy="461443"/>
          </a:xfrm>
          <a:prstGeom prst="rect">
            <a:avLst/>
          </a:prstGeom>
          <a:solidFill>
            <a:srgbClr val="308293">
              <a:alpha val="10000"/>
            </a:srgbClr>
          </a:solidFill>
          <a:ln w="3175" cap="flat" cmpd="sng" algn="ctr">
            <a:solidFill>
              <a:srgbClr val="FFFFFF"/>
            </a:solidFill>
            <a:prstDash val="solid"/>
          </a:ln>
          <a:effectLst/>
        </p:spPr>
        <p:txBody>
          <a:bodyPr rtlCol="0" anchor="ctr"/>
          <a:lstStyle/>
          <a:p>
            <a:pPr marL="0" marR="0" lvl="0" indent="0" algn="r" defTabSz="1354285" rtl="0" eaLnBrk="1" fontAlgn="base" latinLnBrk="0" hangingPunct="1">
              <a:lnSpc>
                <a:spcPct val="100000"/>
              </a:lnSpc>
              <a:spcBef>
                <a:spcPct val="0"/>
              </a:spcBef>
              <a:spcAft>
                <a:spcPct val="0"/>
              </a:spcAft>
              <a:buClrTx/>
              <a:buSzTx/>
              <a:buFontTx/>
              <a:buNone/>
              <a:tabLst/>
              <a:defRPr/>
            </a:pPr>
            <a:endParaRPr kumimoji="0" lang="en-US" sz="667" b="1" i="0" u="none" strike="noStrike" kern="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117" name="Group 116"/>
          <p:cNvGrpSpPr/>
          <p:nvPr/>
        </p:nvGrpSpPr>
        <p:grpSpPr>
          <a:xfrm>
            <a:off x="7882812" y="5861668"/>
            <a:ext cx="1223598" cy="338288"/>
            <a:chOff x="5827891" y="6931323"/>
            <a:chExt cx="985574" cy="296121"/>
          </a:xfrm>
        </p:grpSpPr>
        <p:sp>
          <p:nvSpPr>
            <p:cNvPr id="118" name="Rectangle 117"/>
            <p:cNvSpPr/>
            <p:nvPr/>
          </p:nvSpPr>
          <p:spPr>
            <a:xfrm>
              <a:off x="6351383" y="6984814"/>
              <a:ext cx="462082" cy="228328"/>
            </a:xfrm>
            <a:prstGeom prst="rect">
              <a:avLst/>
            </a:prstGeom>
            <a:ln>
              <a:noFill/>
            </a:ln>
          </p:spPr>
          <p:txBody>
            <a:bodyPr wrap="square" lIns="90677" tIns="45339" rIns="90677" bIns="45339">
              <a:spAutoFit/>
            </a:bodyP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S</a:t>
              </a:r>
            </a:p>
          </p:txBody>
        </p:sp>
        <p:pic>
          <p:nvPicPr>
            <p:cNvPr id="119" name="Picture 11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827891" y="6931323"/>
              <a:ext cx="477188" cy="296121"/>
            </a:xfrm>
            <a:prstGeom prst="rect">
              <a:avLst/>
            </a:prstGeom>
            <a:solidFill>
              <a:srgbClr val="FFDF79"/>
            </a:solidFill>
            <a:ln w="3175">
              <a:solidFill>
                <a:schemeClr val="bg2">
                  <a:lumMod val="75000"/>
                </a:schemeClr>
              </a:solidFill>
            </a:ln>
          </p:spPr>
        </p:pic>
      </p:grpSp>
      <p:grpSp>
        <p:nvGrpSpPr>
          <p:cNvPr id="120" name="Group 119"/>
          <p:cNvGrpSpPr/>
          <p:nvPr/>
        </p:nvGrpSpPr>
        <p:grpSpPr>
          <a:xfrm>
            <a:off x="10486963" y="5884297"/>
            <a:ext cx="1238702" cy="294441"/>
            <a:chOff x="7392101" y="6958202"/>
            <a:chExt cx="1284082" cy="349539"/>
          </a:xfrm>
        </p:grpSpPr>
        <p:pic>
          <p:nvPicPr>
            <p:cNvPr id="121" name="Picture 120"/>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392101" y="6958202"/>
              <a:ext cx="556192" cy="349539"/>
            </a:xfrm>
            <a:prstGeom prst="rect">
              <a:avLst/>
            </a:prstGeom>
            <a:solidFill>
              <a:srgbClr val="FFDF79"/>
            </a:solidFill>
            <a:ln w="3175">
              <a:solidFill>
                <a:schemeClr val="bg2">
                  <a:lumMod val="75000"/>
                </a:schemeClr>
              </a:solidFill>
            </a:ln>
          </p:spPr>
        </p:pic>
        <p:sp>
          <p:nvSpPr>
            <p:cNvPr id="122" name="Rectangle 121"/>
            <p:cNvSpPr/>
            <p:nvPr/>
          </p:nvSpPr>
          <p:spPr>
            <a:xfrm>
              <a:off x="7900485" y="6969430"/>
              <a:ext cx="775698" cy="309652"/>
            </a:xfrm>
            <a:prstGeom prst="rect">
              <a:avLst/>
            </a:prstGeom>
            <a:ln>
              <a:noFill/>
            </a:ln>
          </p:spPr>
          <p:txBody>
            <a:bodyPr wrap="square" lIns="90677" tIns="45339" rIns="90677" bIns="45339">
              <a:spAutoFit/>
            </a:bodyP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dia</a:t>
              </a:r>
            </a:p>
          </p:txBody>
        </p:sp>
      </p:grpSp>
      <p:sp>
        <p:nvSpPr>
          <p:cNvPr id="123" name="Rectangle 122"/>
          <p:cNvSpPr/>
          <p:nvPr/>
        </p:nvSpPr>
        <p:spPr>
          <a:xfrm>
            <a:off x="1814834" y="5839841"/>
            <a:ext cx="2023163" cy="276241"/>
          </a:xfrm>
          <a:prstGeom prst="rect">
            <a:avLst/>
          </a:prstGeom>
          <a:solidFill>
            <a:schemeClr val="accent6">
              <a:lumMod val="75000"/>
              <a:alpha val="8000"/>
            </a:schemeClr>
          </a:solidFill>
          <a:ln w="3175" cap="flat" cmpd="sng" algn="ctr">
            <a:solidFill>
              <a:srgbClr val="FFFFFF"/>
            </a:solidFill>
            <a:prstDash val="dashDot"/>
          </a:ln>
          <a:effectLst/>
        </p:spPr>
        <p:txBody>
          <a:bodyPr lIns="0" rIns="0" rtlCol="0" anchor="ct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nowledge Management</a:t>
            </a:r>
          </a:p>
        </p:txBody>
      </p:sp>
      <p:sp>
        <p:nvSpPr>
          <p:cNvPr id="124" name="Rectangle 123"/>
          <p:cNvSpPr/>
          <p:nvPr/>
        </p:nvSpPr>
        <p:spPr>
          <a:xfrm>
            <a:off x="4054194" y="5840030"/>
            <a:ext cx="1624824" cy="276241"/>
          </a:xfrm>
          <a:prstGeom prst="rect">
            <a:avLst/>
          </a:prstGeom>
          <a:solidFill>
            <a:schemeClr val="accent6">
              <a:lumMod val="75000"/>
              <a:alpha val="8000"/>
            </a:schemeClr>
          </a:solidFill>
          <a:ln w="3175" cap="flat" cmpd="sng" algn="ctr">
            <a:solidFill>
              <a:srgbClr val="FFFFFF"/>
            </a:solidFill>
            <a:prstDash val="dashDot"/>
          </a:ln>
          <a:effectLst/>
        </p:spPr>
        <p:txBody>
          <a:bodyPr lIns="0" rIns="0" rtlCol="0" anchor="ct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rameworks</a:t>
            </a:r>
          </a:p>
        </p:txBody>
      </p:sp>
      <p:sp>
        <p:nvSpPr>
          <p:cNvPr id="125" name="Rectangle 124"/>
          <p:cNvSpPr/>
          <p:nvPr/>
        </p:nvSpPr>
        <p:spPr>
          <a:xfrm>
            <a:off x="5734582" y="5839840"/>
            <a:ext cx="1943610" cy="276241"/>
          </a:xfrm>
          <a:prstGeom prst="rect">
            <a:avLst/>
          </a:prstGeom>
          <a:solidFill>
            <a:schemeClr val="accent6">
              <a:lumMod val="75000"/>
              <a:alpha val="8000"/>
            </a:schemeClr>
          </a:solidFill>
          <a:ln w="3175" cap="flat" cmpd="sng" algn="ctr">
            <a:solidFill>
              <a:srgbClr val="FFFFFF"/>
            </a:solidFill>
            <a:prstDash val="dashDot"/>
          </a:ln>
          <a:effectLst/>
        </p:spPr>
        <p:txBody>
          <a:bodyPr lIns="0" rIns="0" rtlCol="0" anchor="ct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ols/accelerators</a:t>
            </a:r>
          </a:p>
        </p:txBody>
      </p:sp>
      <p:sp>
        <p:nvSpPr>
          <p:cNvPr id="126" name="Rounded Rectangle 125"/>
          <p:cNvSpPr/>
          <p:nvPr/>
        </p:nvSpPr>
        <p:spPr>
          <a:xfrm>
            <a:off x="10515036" y="4187870"/>
            <a:ext cx="1188720" cy="457200"/>
          </a:xfrm>
          <a:prstGeom prst="roundRect">
            <a:avLst/>
          </a:prstGeom>
          <a:solidFill>
            <a:schemeClr val="accent4">
              <a:lumMod val="50000"/>
            </a:schemeClr>
          </a:solidFill>
          <a:ln w="3175" cap="flat" cmpd="sng" algn="ctr">
            <a:noFill/>
            <a:prstDash val="solid"/>
          </a:ln>
          <a:effectLst/>
        </p:spPr>
        <p:txBody>
          <a:bodyPr rtlCol="0" anchor="ctr"/>
          <a:lstStyle/>
          <a:p>
            <a:pPr marL="0" marR="0" lvl="0" indent="0" algn="ctr" defTabSz="1354285" rtl="0" eaLnBrk="1" fontAlgn="base" latinLnBrk="0" hangingPunct="1">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Collaboratory </a:t>
            </a:r>
          </a:p>
        </p:txBody>
      </p:sp>
      <p:sp>
        <p:nvSpPr>
          <p:cNvPr id="127" name="Title 3"/>
          <p:cNvSpPr txBox="1">
            <a:spLocks/>
          </p:cNvSpPr>
          <p:nvPr/>
        </p:nvSpPr>
        <p:spPr>
          <a:xfrm>
            <a:off x="1819087" y="4824204"/>
            <a:ext cx="2824281" cy="457200"/>
          </a:xfrm>
          <a:prstGeom prst="rect">
            <a:avLst/>
          </a:prstGeom>
          <a:pattFill prst="pct5">
            <a:fgClr>
              <a:srgbClr val="308293"/>
            </a:fgClr>
            <a:bgClr>
              <a:schemeClr val="bg1"/>
            </a:bgClr>
          </a:pattFill>
          <a:ln w="3175">
            <a:noFill/>
          </a:ln>
        </p:spPr>
        <p:txBody>
          <a:bodyPr vert="horz" lIns="30480" tIns="50800" rIns="30480" bIns="50800" rtlCol="0" anchor="ctr">
            <a:noAutofit/>
          </a:bodyPr>
          <a:lstStyle/>
          <a:p>
            <a:pPr marR="0" lvl="0" indent="0" algn="ctr" defTabSz="1354285" eaLnBrk="0" fontAlgn="base" hangingPunct="0">
              <a:lnSpc>
                <a:spcPct val="100000"/>
              </a:lnSpc>
              <a:spcBef>
                <a:spcPct val="0"/>
              </a:spcBef>
              <a:spcAft>
                <a:spcPct val="0"/>
              </a:spcAft>
              <a:buClrTx/>
              <a:buSzTx/>
              <a:buFontTx/>
              <a:buNone/>
              <a:tabLst/>
              <a:defRPr/>
            </a:pPr>
            <a:r>
              <a:rPr kumimoji="0" lang="en-US" sz="933" b="1" i="0" u="none" strike="noStrike" kern="0" cap="none" spc="0" normalizeH="0" baseline="0" noProof="0" dirty="0">
                <a:ln>
                  <a:noFill/>
                </a:ln>
                <a:effectLst/>
                <a:uLnTx/>
                <a:uFillTx/>
                <a:latin typeface="Calibri" panose="020F0502020204030204" pitchFamily="34" charset="0"/>
                <a:ea typeface="+mn-ea"/>
                <a:cs typeface="Calibri" panose="020F0502020204030204" pitchFamily="34" charset="0"/>
              </a:rPr>
              <a:t>           </a:t>
            </a:r>
            <a:r>
              <a:rPr lang="en-US" sz="1600" b="1" dirty="0">
                <a:latin typeface="Calibri" panose="020F0502020204030204" pitchFamily="34" charset="0"/>
                <a:ea typeface="Calibri" panose="020F0502020204030204" pitchFamily="34" charset="0"/>
                <a:cs typeface="Calibri" panose="020F0502020204030204" pitchFamily="34" charset="0"/>
              </a:rPr>
              <a:t>Transition Management Office  </a:t>
            </a:r>
          </a:p>
        </p:txBody>
      </p:sp>
      <p:sp>
        <p:nvSpPr>
          <p:cNvPr id="128" name="Rectangle 127"/>
          <p:cNvSpPr/>
          <p:nvPr/>
        </p:nvSpPr>
        <p:spPr>
          <a:xfrm>
            <a:off x="4810736" y="4964059"/>
            <a:ext cx="5447709" cy="290748"/>
          </a:xfrm>
          <a:prstGeom prst="rect">
            <a:avLst/>
          </a:prstGeom>
          <a:solidFill>
            <a:schemeClr val="accent4">
              <a:lumMod val="20000"/>
              <a:lumOff val="80000"/>
              <a:alpha val="62000"/>
            </a:schemeClr>
          </a:solidFill>
          <a:ln w="6350" cap="flat" cmpd="sng" algn="ctr">
            <a:noFill/>
            <a:prstDash val="solid"/>
          </a:ln>
          <a:effectLst/>
        </p:spPr>
        <p:txBody>
          <a:bodyPr rtlCol="0" anchor="ctr"/>
          <a:lstStyle/>
          <a:p>
            <a:pPr marL="0" marR="0" lvl="0" indent="0" algn="ctr" defTabSz="135428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sp>
        <p:nvSpPr>
          <p:cNvPr id="129" name="Title 3"/>
          <p:cNvSpPr txBox="1">
            <a:spLocks/>
          </p:cNvSpPr>
          <p:nvPr/>
        </p:nvSpPr>
        <p:spPr>
          <a:xfrm>
            <a:off x="4920183" y="4974237"/>
            <a:ext cx="5405416" cy="281758"/>
          </a:xfrm>
          <a:prstGeom prst="rect">
            <a:avLst/>
          </a:prstGeom>
        </p:spPr>
        <p:txBody>
          <a:bodyPr vert="horz" lIns="101600" tIns="50800" rIns="101600" bIns="50800" rtlCol="0" anchor="ctr">
            <a:noAutofit/>
          </a:bodyP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cs typeface="Calibri" panose="020F0502020204030204" pitchFamily="34" charset="0"/>
              </a:rPr>
              <a:t>Technology </a:t>
            </a:r>
            <a:r>
              <a:rPr kumimoji="0" lang="en-US" sz="1600"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cs typeface="Calibri" panose="020F0502020204030204" pitchFamily="34" charset="0"/>
              </a:rPr>
              <a:t>Shared </a:t>
            </a:r>
            <a:r>
              <a:rPr lang="en-US" sz="1600" b="1" dirty="0" smtClean="0">
                <a:solidFill>
                  <a:srgbClr val="000000">
                    <a:lumMod val="75000"/>
                    <a:lumOff val="25000"/>
                  </a:srgbClr>
                </a:solidFill>
                <a:latin typeface="Calibri" panose="020F0502020204030204" pitchFamily="34" charset="0"/>
                <a:cs typeface="Calibri" panose="020F0502020204030204" pitchFamily="34" charset="0"/>
              </a:rPr>
              <a:t>Se</a:t>
            </a:r>
            <a:r>
              <a:rPr kumimoji="0" lang="en-US" sz="1600" b="1" i="0" u="none" strike="noStrike" kern="1200" cap="none" spc="0" normalizeH="0" baseline="0" noProof="0" dirty="0" err="1" smtClean="0">
                <a:ln>
                  <a:noFill/>
                </a:ln>
                <a:solidFill>
                  <a:srgbClr val="000000">
                    <a:lumMod val="75000"/>
                    <a:lumOff val="25000"/>
                  </a:srgbClr>
                </a:solidFill>
                <a:effectLst/>
                <a:uLnTx/>
                <a:uFillTx/>
                <a:latin typeface="Calibri" panose="020F0502020204030204" pitchFamily="34" charset="0"/>
                <a:cs typeface="Calibri" panose="020F0502020204030204" pitchFamily="34" charset="0"/>
              </a:rPr>
              <a:t>rvices</a:t>
            </a:r>
            <a:endParaRPr kumimoji="0" lang="en-US" sz="16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cs typeface="Calibri" panose="020F0502020204030204" pitchFamily="34" charset="0"/>
            </a:endParaRPr>
          </a:p>
        </p:txBody>
      </p:sp>
      <p:grpSp>
        <p:nvGrpSpPr>
          <p:cNvPr id="130" name="Group 129"/>
          <p:cNvGrpSpPr/>
          <p:nvPr/>
        </p:nvGrpSpPr>
        <p:grpSpPr>
          <a:xfrm>
            <a:off x="4941051" y="778606"/>
            <a:ext cx="564053" cy="483174"/>
            <a:chOff x="4941051" y="785191"/>
            <a:chExt cx="564053" cy="483174"/>
          </a:xfrm>
        </p:grpSpPr>
        <p:sp>
          <p:nvSpPr>
            <p:cNvPr id="131" name="Oval 130"/>
            <p:cNvSpPr/>
            <p:nvPr/>
          </p:nvSpPr>
          <p:spPr bwMode="auto">
            <a:xfrm>
              <a:off x="4941051" y="785191"/>
              <a:ext cx="564053" cy="483174"/>
            </a:xfrm>
            <a:prstGeom prst="ellipse">
              <a:avLst/>
            </a:prstGeom>
            <a:solidFill>
              <a:schemeClr val="tx2">
                <a:lumMod val="75000"/>
              </a:schemeClr>
            </a:solidFill>
            <a:ln w="9525">
              <a:noFill/>
              <a:round/>
              <a:headEnd/>
              <a:tailEnd/>
            </a:ln>
            <a:effectLst/>
          </p:spPr>
          <p:txBody>
            <a:bodyPr vert="horz" wrap="square" lIns="121920" tIns="60960" rIns="121920" bIns="60960" numCol="1" rtlCol="0" anchor="t" anchorCtr="0" compatLnSpc="1">
              <a:prstTxWarp prst="textNoShape">
                <a:avLst/>
              </a:prstTxWarp>
            </a:bodyPr>
            <a:lstStyle/>
            <a:p>
              <a:pPr marL="0" marR="0" lvl="0" indent="0" algn="ctr" defTabSz="975774" rtl="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pic>
          <p:nvPicPr>
            <p:cNvPr id="132" name="Picture 131" descr="488759844-10.png"/>
            <p:cNvPicPr>
              <a:picLocks noChangeAspect="1"/>
            </p:cNvPicPr>
            <p:nvPr/>
          </p:nvPicPr>
          <p:blipFill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l="-19750" b="-43030"/>
            <a:stretch/>
          </p:blipFill>
          <p:spPr>
            <a:xfrm>
              <a:off x="5055217" y="830887"/>
              <a:ext cx="335720" cy="391783"/>
            </a:xfrm>
            <a:prstGeom prst="ellipse">
              <a:avLst/>
            </a:prstGeom>
            <a:noFill/>
          </p:spPr>
        </p:pic>
      </p:grpSp>
      <p:grpSp>
        <p:nvGrpSpPr>
          <p:cNvPr id="133" name="Group 132"/>
          <p:cNvGrpSpPr/>
          <p:nvPr/>
        </p:nvGrpSpPr>
        <p:grpSpPr>
          <a:xfrm>
            <a:off x="5612368" y="778606"/>
            <a:ext cx="564053" cy="483174"/>
            <a:chOff x="5612368" y="778606"/>
            <a:chExt cx="564053" cy="483174"/>
          </a:xfrm>
        </p:grpSpPr>
        <p:sp>
          <p:nvSpPr>
            <p:cNvPr id="134" name="Oval 133"/>
            <p:cNvSpPr/>
            <p:nvPr/>
          </p:nvSpPr>
          <p:spPr bwMode="auto">
            <a:xfrm>
              <a:off x="5612368" y="778606"/>
              <a:ext cx="564053" cy="483174"/>
            </a:xfrm>
            <a:prstGeom prst="ellipse">
              <a:avLst/>
            </a:prstGeom>
            <a:solidFill>
              <a:schemeClr val="tx2">
                <a:lumMod val="75000"/>
              </a:schemeClr>
            </a:solidFill>
            <a:ln w="9525">
              <a:noFill/>
              <a:round/>
              <a:headEnd/>
              <a:tailEnd/>
            </a:ln>
            <a:effectLst/>
          </p:spPr>
          <p:txBody>
            <a:bodyPr vert="horz" wrap="square" lIns="121920" tIns="60960" rIns="121920" bIns="60960" numCol="1" rtlCol="0" anchor="t" anchorCtr="0" compatLnSpc="1">
              <a:prstTxWarp prst="textNoShape">
                <a:avLst/>
              </a:prstTxWarp>
            </a:bodyPr>
            <a:lstStyle/>
            <a:p>
              <a:pPr marL="0" marR="0" lvl="0" indent="0" algn="ctr" defTabSz="975774" rtl="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pic>
          <p:nvPicPr>
            <p:cNvPr id="135" name="Picture 134" descr="488759844-10.png"/>
            <p:cNvPicPr>
              <a:picLocks noChangeAspect="1"/>
            </p:cNvPicPr>
            <p:nvPr/>
          </p:nvPicPr>
          <p:blipFill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l="-19750" b="-43030"/>
            <a:stretch/>
          </p:blipFill>
          <p:spPr>
            <a:xfrm>
              <a:off x="5726534" y="824302"/>
              <a:ext cx="335720" cy="391783"/>
            </a:xfrm>
            <a:prstGeom prst="ellipse">
              <a:avLst/>
            </a:prstGeom>
            <a:noFill/>
          </p:spPr>
        </p:pic>
      </p:grpSp>
      <p:sp>
        <p:nvSpPr>
          <p:cNvPr id="136" name="Rectangle 135"/>
          <p:cNvSpPr/>
          <p:nvPr/>
        </p:nvSpPr>
        <p:spPr>
          <a:xfrm>
            <a:off x="5705049" y="2175282"/>
            <a:ext cx="3491839" cy="163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54285"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L1.5 Support -Application Operations </a:t>
            </a:r>
            <a:r>
              <a:rPr kumimoji="0" lang="en-US" sz="1400" b="1" i="0" u="none" strike="noStrike" kern="1200" cap="none" spc="0" normalizeH="0" baseline="0" noProof="0" dirty="0" smtClean="0">
                <a:ln>
                  <a:noFill/>
                </a:ln>
                <a:solidFill>
                  <a:schemeClr val="tx1"/>
                </a:solidFill>
                <a:effectLst/>
                <a:uLnTx/>
                <a:uFillTx/>
                <a:latin typeface="Calibri" panose="020F0502020204030204" pitchFamily="34" charset="0"/>
                <a:ea typeface="+mn-ea"/>
                <a:cs typeface="Calibri" panose="020F0502020204030204" pitchFamily="34" charset="0"/>
              </a:rPr>
              <a:t>Center</a:t>
            </a:r>
          </a:p>
        </p:txBody>
      </p:sp>
      <p:sp>
        <p:nvSpPr>
          <p:cNvPr id="146" name="Rounded Rectangle 145"/>
          <p:cNvSpPr/>
          <p:nvPr/>
        </p:nvSpPr>
        <p:spPr>
          <a:xfrm>
            <a:off x="5037046" y="2373654"/>
            <a:ext cx="2115967" cy="207818"/>
          </a:xfrm>
          <a:prstGeom prst="roundRect">
            <a:avLst/>
          </a:prstGeom>
          <a:solidFill>
            <a:schemeClr val="accent6">
              <a:lumMod val="20000"/>
              <a:lumOff val="8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App Monitoring | SOP Activity</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7" name="Rounded Rectangle 146"/>
          <p:cNvSpPr/>
          <p:nvPr/>
        </p:nvSpPr>
        <p:spPr>
          <a:xfrm>
            <a:off x="7238113" y="2388994"/>
            <a:ext cx="2816352" cy="188925"/>
          </a:xfrm>
          <a:prstGeom prst="roundRect">
            <a:avLst/>
          </a:prstGeom>
          <a:solidFill>
            <a:schemeClr val="accent6">
              <a:lumMod val="20000"/>
              <a:lumOff val="80000"/>
            </a:schemeClr>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Self Help | Self Heal | Intelligent Automation</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48" name="Elbow Connector 147"/>
          <p:cNvCxnSpPr/>
          <p:nvPr/>
        </p:nvCxnSpPr>
        <p:spPr>
          <a:xfrm>
            <a:off x="1574561" y="2860976"/>
            <a:ext cx="274320" cy="45720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1559318" y="5038816"/>
            <a:ext cx="287743" cy="0"/>
          </a:xfrm>
          <a:prstGeom prst="straightConnector1">
            <a:avLst/>
          </a:prstGeom>
          <a:noFill/>
          <a:ln w="28575" cap="flat" cmpd="sng" algn="ctr">
            <a:solidFill>
              <a:schemeClr val="tx1"/>
            </a:solidFill>
            <a:prstDash val="solid"/>
            <a:headEnd type="triangle" w="sm" len="sm"/>
            <a:tailEnd type="triangle" w="sm" len="sm"/>
          </a:ln>
          <a:effectLst/>
        </p:spPr>
      </p:cxnSp>
      <p:sp>
        <p:nvSpPr>
          <p:cNvPr id="150" name="Rounded Rectangle 149"/>
          <p:cNvSpPr/>
          <p:nvPr/>
        </p:nvSpPr>
        <p:spPr>
          <a:xfrm>
            <a:off x="1811525" y="2538241"/>
            <a:ext cx="2843132" cy="457200"/>
          </a:xfrm>
          <a:prstGeom prst="roundRect">
            <a:avLst/>
          </a:prstGeom>
          <a:solidFill>
            <a:srgbClr val="30829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5428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Service intelligence </a:t>
            </a:r>
          </a:p>
          <a:p>
            <a:pPr marL="0" marR="0" lvl="0" indent="0" algn="ctr" defTabSz="135428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Dashboard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51" name="Rounded Rectangle 150"/>
          <p:cNvSpPr/>
          <p:nvPr/>
        </p:nvSpPr>
        <p:spPr>
          <a:xfrm>
            <a:off x="1811525" y="3120503"/>
            <a:ext cx="2843132" cy="457200"/>
          </a:xfrm>
          <a:prstGeom prst="roundRect">
            <a:avLst/>
          </a:prstGeom>
          <a:solidFill>
            <a:srgbClr val="30829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54285" eaLnBrk="0" fontAlgn="base" hangingPunct="0">
              <a:spcBef>
                <a:spcPct val="0"/>
              </a:spcBef>
              <a:spcAft>
                <a:spcPct val="0"/>
              </a:spcAft>
              <a:defRPr/>
            </a:pPr>
            <a:r>
              <a:rPr lang="en-US" sz="1600" b="1" dirty="0">
                <a:solidFill>
                  <a:prstClr val="white"/>
                </a:solidFill>
                <a:latin typeface="Calibri" panose="020F0502020204030204" pitchFamily="34" charset="0"/>
                <a:ea typeface="Calibri" panose="020F0502020204030204" pitchFamily="34" charset="0"/>
                <a:cs typeface="Calibri" panose="020F0502020204030204" pitchFamily="34" charset="0"/>
              </a:rPr>
              <a:t>Program Management </a:t>
            </a:r>
          </a:p>
          <a:p>
            <a:pPr algn="ctr" defTabSz="1354285" eaLnBrk="0" fontAlgn="base" hangingPunct="0">
              <a:spcBef>
                <a:spcPct val="0"/>
              </a:spcBef>
              <a:spcAft>
                <a:spcPct val="0"/>
              </a:spcAft>
              <a:defRPr/>
            </a:pPr>
            <a:r>
              <a:rPr lang="en-US" sz="1600" b="1" dirty="0">
                <a:solidFill>
                  <a:prstClr val="white"/>
                </a:solidFill>
                <a:latin typeface="Calibri" panose="020F0502020204030204" pitchFamily="34" charset="0"/>
                <a:ea typeface="Calibri" panose="020F0502020204030204" pitchFamily="34" charset="0"/>
                <a:cs typeface="Calibri" panose="020F0502020204030204" pitchFamily="34" charset="0"/>
              </a:rPr>
              <a:t>Office (PMO)</a:t>
            </a:r>
          </a:p>
        </p:txBody>
      </p:sp>
      <p:sp>
        <p:nvSpPr>
          <p:cNvPr id="152" name="Rounded Rectangle 151"/>
          <p:cNvSpPr/>
          <p:nvPr/>
        </p:nvSpPr>
        <p:spPr>
          <a:xfrm>
            <a:off x="1811525" y="3702765"/>
            <a:ext cx="2843132" cy="457200"/>
          </a:xfrm>
          <a:prstGeom prst="roundRect">
            <a:avLst/>
          </a:prstGeom>
          <a:solidFill>
            <a:srgbClr val="30829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defTabSz="1354285" eaLnBrk="0" fontAlgn="base" hangingPunct="0">
              <a:lnSpc>
                <a:spcPct val="100000"/>
              </a:lnSpc>
              <a:spcBef>
                <a:spcPct val="0"/>
              </a:spcBef>
              <a:spcAft>
                <a:spcPct val="0"/>
              </a:spcAft>
              <a:buClrTx/>
              <a:buSzTx/>
              <a:buFontTx/>
              <a:buNone/>
              <a:tabLst/>
              <a:defRPr/>
            </a:pPr>
            <a:r>
              <a:rPr lang="en-US" sz="1600" b="1" dirty="0">
                <a:solidFill>
                  <a:prstClr val="white"/>
                </a:solidFill>
                <a:latin typeface="Calibri" panose="020F0502020204030204" pitchFamily="34" charset="0"/>
                <a:ea typeface="Calibri" panose="020F0502020204030204" pitchFamily="34" charset="0"/>
                <a:cs typeface="Calibri" panose="020F0502020204030204" pitchFamily="34" charset="0"/>
              </a:rPr>
              <a:t>Service Management Office</a:t>
            </a:r>
          </a:p>
        </p:txBody>
      </p:sp>
      <p:sp>
        <p:nvSpPr>
          <p:cNvPr id="153" name="Rounded Rectangle 152"/>
          <p:cNvSpPr/>
          <p:nvPr/>
        </p:nvSpPr>
        <p:spPr>
          <a:xfrm>
            <a:off x="1811525" y="4285028"/>
            <a:ext cx="2843132" cy="457200"/>
          </a:xfrm>
          <a:prstGeom prst="roundRect">
            <a:avLst/>
          </a:prstGeom>
          <a:solidFill>
            <a:srgbClr val="30829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defTabSz="1354285" eaLnBrk="0" fontAlgn="base" hangingPunct="0">
              <a:lnSpc>
                <a:spcPct val="100000"/>
              </a:lnSpc>
              <a:spcBef>
                <a:spcPct val="0"/>
              </a:spcBef>
              <a:spcAft>
                <a:spcPct val="0"/>
              </a:spcAft>
              <a:buClrTx/>
              <a:buSzTx/>
              <a:buFontTx/>
              <a:buNone/>
              <a:tabLst/>
              <a:defRPr/>
            </a:pPr>
            <a:r>
              <a:rPr lang="en-US" sz="1600" b="1" dirty="0">
                <a:solidFill>
                  <a:prstClr val="white"/>
                </a:solidFill>
                <a:latin typeface="Calibri" panose="020F0502020204030204" pitchFamily="34" charset="0"/>
                <a:ea typeface="Calibri" panose="020F0502020204030204" pitchFamily="34" charset="0"/>
                <a:cs typeface="Calibri" panose="020F0502020204030204" pitchFamily="34" charset="0"/>
              </a:rPr>
              <a:t>Automation Office  </a:t>
            </a:r>
          </a:p>
        </p:txBody>
      </p:sp>
      <p:sp>
        <p:nvSpPr>
          <p:cNvPr id="72" name="Rectangle 71"/>
          <p:cNvSpPr/>
          <p:nvPr/>
        </p:nvSpPr>
        <p:spPr>
          <a:xfrm>
            <a:off x="9709311" y="5900085"/>
            <a:ext cx="748285" cy="260841"/>
          </a:xfrm>
          <a:prstGeom prst="rect">
            <a:avLst/>
          </a:prstGeom>
          <a:ln>
            <a:noFill/>
          </a:ln>
        </p:spPr>
        <p:txBody>
          <a:bodyPr wrap="square" lIns="90677" tIns="45339" rIns="90677" bIns="45339">
            <a:spAutoFit/>
          </a:bodyPr>
          <a:lstStyle/>
          <a:p>
            <a:pPr marL="0" marR="0" lvl="0" indent="0" algn="ctr" defTabSz="1354285"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Mexico</a:t>
            </a:r>
            <a:endParaRPr kumimoji="0" lang="en-US"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87906" y="5833050"/>
            <a:ext cx="872079" cy="405822"/>
          </a:xfrm>
          <a:prstGeom prst="rect">
            <a:avLst/>
          </a:prstGeom>
        </p:spPr>
      </p:pic>
      <p:sp>
        <p:nvSpPr>
          <p:cNvPr id="4" name="TextBox 3"/>
          <p:cNvSpPr txBox="1"/>
          <p:nvPr/>
        </p:nvSpPr>
        <p:spPr>
          <a:xfrm>
            <a:off x="5149578" y="2683896"/>
            <a:ext cx="4654544" cy="369332"/>
          </a:xfrm>
          <a:prstGeom prst="rect">
            <a:avLst/>
          </a:prstGeom>
          <a:noFill/>
        </p:spPr>
        <p:txBody>
          <a:bodyPr wrap="none" rtlCol="0">
            <a:spAutoFit/>
          </a:bodyPr>
          <a:lstStyle/>
          <a:p>
            <a:r>
              <a:rPr lang="en-US" b="1" dirty="0">
                <a:latin typeface="Calibri" pitchFamily="34" charset="0"/>
                <a:cs typeface="Calibri" panose="020F0502020204030204" pitchFamily="34" charset="0"/>
              </a:rPr>
              <a:t> </a:t>
            </a:r>
            <a:r>
              <a:rPr lang="en-US" b="1" dirty="0">
                <a:solidFill>
                  <a:schemeClr val="bg1"/>
                </a:solidFill>
                <a:cs typeface="Calibri" panose="020F0502020204030204" pitchFamily="34" charset="0"/>
              </a:rPr>
              <a:t>Maintenance</a:t>
            </a:r>
            <a:r>
              <a:rPr lang="en-US" dirty="0">
                <a:solidFill>
                  <a:schemeClr val="bg1"/>
                </a:solidFill>
                <a:cs typeface="Calibri" panose="020F0502020204030204" pitchFamily="34" charset="0"/>
              </a:rPr>
              <a:t>,</a:t>
            </a:r>
            <a:r>
              <a:rPr lang="en-US" b="1" dirty="0">
                <a:solidFill>
                  <a:schemeClr val="bg1"/>
                </a:solidFill>
                <a:latin typeface="Calibri" pitchFamily="34" charset="0"/>
                <a:cs typeface="Calibri" panose="020F0502020204030204" pitchFamily="34" charset="0"/>
              </a:rPr>
              <a:t> Enhancement and Development</a:t>
            </a:r>
            <a:endParaRPr lang="en-US" dirty="0">
              <a:solidFill>
                <a:schemeClr val="bg1"/>
              </a:solidFill>
            </a:endParaRPr>
          </a:p>
        </p:txBody>
      </p:sp>
      <p:sp>
        <p:nvSpPr>
          <p:cNvPr id="91" name="Rectangle 90"/>
          <p:cNvSpPr/>
          <p:nvPr/>
        </p:nvSpPr>
        <p:spPr bwMode="auto">
          <a:xfrm>
            <a:off x="4800325" y="3103780"/>
            <a:ext cx="1005840" cy="1737360"/>
          </a:xfrm>
          <a:prstGeom prst="rect">
            <a:avLst/>
          </a:prstGeom>
          <a:solidFill>
            <a:schemeClr val="accent2">
              <a:lumMod val="60000"/>
              <a:lumOff val="40000"/>
              <a:alpha val="52000"/>
            </a:schemeClr>
          </a:solidFill>
          <a:ln w="9525" cap="flat" cmpd="sng" algn="ctr">
            <a:solidFill>
              <a:srgbClr val="FFFFFF"/>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marL="0" marR="0" lvl="0" indent="0" algn="ctr" defTabSz="1451002"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pitchFamily="-12" charset="-128"/>
                <a:cs typeface="Calibri" panose="020F0502020204030204" pitchFamily="34" charset="0"/>
              </a:rPr>
              <a:t>Tower 1</a:t>
            </a:r>
            <a:endPar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Calibri" panose="020F0502020204030204" pitchFamily="34" charset="0"/>
            </a:endParaRPr>
          </a:p>
        </p:txBody>
      </p:sp>
      <p:sp>
        <p:nvSpPr>
          <p:cNvPr id="98" name="Rounded Rectangle 97"/>
          <p:cNvSpPr/>
          <p:nvPr/>
        </p:nvSpPr>
        <p:spPr>
          <a:xfrm>
            <a:off x="10532278" y="4748835"/>
            <a:ext cx="1188720" cy="457200"/>
          </a:xfrm>
          <a:prstGeom prst="roundRect">
            <a:avLst/>
          </a:prstGeom>
          <a:solidFill>
            <a:schemeClr val="accent4">
              <a:lumMod val="50000"/>
            </a:schemeClr>
          </a:solidFill>
          <a:ln w="3175" cap="flat" cmpd="sng" algn="ctr">
            <a:noFill/>
            <a:prstDash val="solid"/>
          </a:ln>
          <a:effectLst/>
        </p:spPr>
        <p:txBody>
          <a:bodyPr rtlCol="0" anchor="ctr"/>
          <a:lstStyle/>
          <a:p>
            <a:pPr marL="0" marR="0" lvl="0" indent="0" algn="ctr" defTabSz="1354285" rtl="0" eaLnBrk="1" fontAlgn="base" latinLnBrk="0" hangingPunct="1">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latin typeface="Calibri" panose="020F0502020204030204" pitchFamily="34" charset="0"/>
                <a:ea typeface="+mn-ea"/>
                <a:cs typeface="Calibri" panose="020F0502020204030204" pitchFamily="34" charset="0"/>
              </a:rPr>
              <a:t>Change Management</a:t>
            </a:r>
            <a:endParaRPr kumimoji="0" lang="en-US" sz="1200" b="1" i="0" u="none" strike="noStrike" kern="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37" name="Rectangle 136"/>
          <p:cNvSpPr/>
          <p:nvPr/>
        </p:nvSpPr>
        <p:spPr>
          <a:xfrm>
            <a:off x="4877310" y="3397418"/>
            <a:ext cx="5257076" cy="20458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US" sz="1100" b="1" dirty="0" smtClean="0">
                <a:solidFill>
                  <a:schemeClr val="tx1">
                    <a:lumMod val="75000"/>
                    <a:lumOff val="25000"/>
                  </a:schemeClr>
                </a:solidFill>
                <a:latin typeface="Calibri" panose="020F0502020204030204" pitchFamily="34" charset="0"/>
                <a:cs typeface="Arial" panose="020B0604020202020204" pitchFamily="34" charset="0"/>
              </a:rPr>
              <a:t>Systems of Record | System of Differentiation | System of Innovation</a:t>
            </a:r>
            <a:endParaRPr lang="en-US" sz="1100" b="1" dirty="0">
              <a:solidFill>
                <a:schemeClr val="tx1">
                  <a:lumMod val="75000"/>
                  <a:lumOff val="25000"/>
                </a:schemeClr>
              </a:solidFill>
              <a:latin typeface="Calibri" panose="020F0502020204030204" pitchFamily="34" charset="0"/>
              <a:cs typeface="Arial" panose="020B0604020202020204" pitchFamily="34" charset="0"/>
            </a:endParaRPr>
          </a:p>
        </p:txBody>
      </p:sp>
      <p:sp>
        <p:nvSpPr>
          <p:cNvPr id="138" name="Rectangle 137"/>
          <p:cNvSpPr/>
          <p:nvPr/>
        </p:nvSpPr>
        <p:spPr>
          <a:xfrm>
            <a:off x="4877310" y="4063274"/>
            <a:ext cx="5257076" cy="20458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US" sz="1100" b="1" dirty="0" smtClean="0">
                <a:solidFill>
                  <a:schemeClr val="tx1">
                    <a:lumMod val="75000"/>
                    <a:lumOff val="25000"/>
                  </a:schemeClr>
                </a:solidFill>
                <a:latin typeface="Calibri" panose="020F0502020204030204" pitchFamily="34" charset="0"/>
                <a:cs typeface="Arial" panose="020B0604020202020204" pitchFamily="34" charset="0"/>
              </a:rPr>
              <a:t>L3  |  L3 Core  |  Agile-</a:t>
            </a:r>
            <a:r>
              <a:rPr lang="en-US" sz="1100" b="1" dirty="0" err="1" smtClean="0">
                <a:solidFill>
                  <a:schemeClr val="tx1">
                    <a:lumMod val="75000"/>
                    <a:lumOff val="25000"/>
                  </a:schemeClr>
                </a:solidFill>
                <a:latin typeface="Calibri" panose="020F0502020204030204" pitchFamily="34" charset="0"/>
                <a:cs typeface="Arial" panose="020B0604020202020204" pitchFamily="34" charset="0"/>
              </a:rPr>
              <a:t>DevSecOps</a:t>
            </a:r>
            <a:r>
              <a:rPr lang="en-US" sz="1100" b="1" dirty="0" smtClean="0">
                <a:solidFill>
                  <a:schemeClr val="tx1">
                    <a:lumMod val="75000"/>
                    <a:lumOff val="25000"/>
                  </a:schemeClr>
                </a:solidFill>
                <a:latin typeface="Calibri" panose="020F0502020204030204" pitchFamily="34" charset="0"/>
                <a:cs typeface="Arial" panose="020B0604020202020204" pitchFamily="34" charset="0"/>
              </a:rPr>
              <a:t> PODs</a:t>
            </a:r>
            <a:endParaRPr lang="en-US" sz="1100" b="1" dirty="0">
              <a:solidFill>
                <a:schemeClr val="tx1">
                  <a:lumMod val="75000"/>
                  <a:lumOff val="25000"/>
                </a:schemeClr>
              </a:solidFill>
              <a:latin typeface="Calibri" panose="020F0502020204030204" pitchFamily="34" charset="0"/>
              <a:cs typeface="Arial" panose="020B0604020202020204" pitchFamily="34" charset="0"/>
            </a:endParaRPr>
          </a:p>
        </p:txBody>
      </p:sp>
      <p:sp>
        <p:nvSpPr>
          <p:cNvPr id="141" name="Rectangle 140"/>
          <p:cNvSpPr/>
          <p:nvPr/>
        </p:nvSpPr>
        <p:spPr>
          <a:xfrm>
            <a:off x="4877310" y="4468288"/>
            <a:ext cx="5257076" cy="20458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US" sz="1100" b="1" dirty="0" smtClean="0">
                <a:solidFill>
                  <a:schemeClr val="tx1">
                    <a:lumMod val="75000"/>
                    <a:lumOff val="25000"/>
                  </a:schemeClr>
                </a:solidFill>
                <a:latin typeface="Calibri" panose="020F0502020204030204" pitchFamily="34" charset="0"/>
                <a:cs typeface="Arial" panose="020B0604020202020204" pitchFamily="34" charset="0"/>
              </a:rPr>
              <a:t>Modified Agile | Core / Flex </a:t>
            </a:r>
            <a:r>
              <a:rPr lang="en-US" sz="1100" b="1" dirty="0">
                <a:solidFill>
                  <a:schemeClr val="tx1">
                    <a:lumMod val="75000"/>
                    <a:lumOff val="25000"/>
                  </a:schemeClr>
                </a:solidFill>
                <a:latin typeface="Calibri" panose="020F0502020204030204" pitchFamily="34" charset="0"/>
                <a:cs typeface="Arial" panose="020B0604020202020204" pitchFamily="34" charset="0"/>
              </a:rPr>
              <a:t>| Agile-</a:t>
            </a:r>
            <a:r>
              <a:rPr lang="en-US" sz="1100" b="1" dirty="0" err="1">
                <a:solidFill>
                  <a:schemeClr val="tx1">
                    <a:lumMod val="75000"/>
                    <a:lumOff val="25000"/>
                  </a:schemeClr>
                </a:solidFill>
                <a:latin typeface="Calibri" panose="020F0502020204030204" pitchFamily="34" charset="0"/>
                <a:cs typeface="Arial" panose="020B0604020202020204" pitchFamily="34" charset="0"/>
              </a:rPr>
              <a:t>DevSecOps</a:t>
            </a:r>
            <a:r>
              <a:rPr lang="en-US" sz="1100" b="1" dirty="0">
                <a:solidFill>
                  <a:schemeClr val="tx1">
                    <a:lumMod val="75000"/>
                    <a:lumOff val="25000"/>
                  </a:schemeClr>
                </a:solidFill>
                <a:latin typeface="Calibri" panose="020F0502020204030204" pitchFamily="34" charset="0"/>
                <a:cs typeface="Arial" panose="020B0604020202020204" pitchFamily="34" charset="0"/>
              </a:rPr>
              <a:t> </a:t>
            </a:r>
            <a:r>
              <a:rPr lang="en-US" sz="1100" b="1" dirty="0" smtClean="0">
                <a:solidFill>
                  <a:schemeClr val="tx1">
                    <a:lumMod val="75000"/>
                    <a:lumOff val="25000"/>
                  </a:schemeClr>
                </a:solidFill>
                <a:latin typeface="Calibri" panose="020F0502020204030204" pitchFamily="34" charset="0"/>
                <a:cs typeface="Arial" panose="020B0604020202020204" pitchFamily="34" charset="0"/>
              </a:rPr>
              <a:t>PODs</a:t>
            </a:r>
            <a:endParaRPr lang="en-US" sz="1100" b="1" dirty="0">
              <a:solidFill>
                <a:schemeClr val="tx1">
                  <a:lumMod val="75000"/>
                  <a:lumOff val="25000"/>
                </a:schemeClr>
              </a:solidFill>
              <a:latin typeface="Calibri" panose="020F0502020204030204" pitchFamily="34" charset="0"/>
              <a:cs typeface="Arial" panose="020B0604020202020204" pitchFamily="34" charset="0"/>
            </a:endParaRPr>
          </a:p>
        </p:txBody>
      </p:sp>
      <p:sp>
        <p:nvSpPr>
          <p:cNvPr id="142" name="Rectangle 141"/>
          <p:cNvSpPr/>
          <p:nvPr/>
        </p:nvSpPr>
        <p:spPr>
          <a:xfrm>
            <a:off x="4877310" y="3772092"/>
            <a:ext cx="5257076" cy="20458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r>
              <a:rPr lang="en-US" sz="1100" b="1" dirty="0" smtClean="0">
                <a:solidFill>
                  <a:schemeClr val="tx1">
                    <a:lumMod val="75000"/>
                    <a:lumOff val="25000"/>
                  </a:schemeClr>
                </a:solidFill>
                <a:latin typeface="Calibri" panose="020F0502020204030204" pitchFamily="34" charset="0"/>
                <a:cs typeface="Arial" panose="020B0604020202020204" pitchFamily="34" charset="0"/>
              </a:rPr>
              <a:t>L2 |  L2  |  Agile– DevSecOps PODs</a:t>
            </a:r>
            <a:endParaRPr lang="en-US" sz="1100" b="1" dirty="0">
              <a:solidFill>
                <a:schemeClr val="tx1">
                  <a:lumMod val="75000"/>
                  <a:lumOff val="25000"/>
                </a:schemeClr>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2329325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160" dirty="0" smtClean="0">
                <a:solidFill>
                  <a:srgbClr val="C00000"/>
                </a:solidFill>
                <a:cs typeface="Arial" pitchFamily="34" charset="0"/>
              </a:rPr>
              <a:t>Enhancement Process Workflow</a:t>
            </a:r>
            <a:endParaRPr lang="en-US" sz="2160" dirty="0">
              <a:solidFill>
                <a:srgbClr val="C00000"/>
              </a:solidFill>
              <a:cs typeface="Arial" pitchFamily="34" charset="0"/>
            </a:endParaRPr>
          </a:p>
        </p:txBody>
      </p:sp>
      <p:sp>
        <p:nvSpPr>
          <p:cNvPr id="10" name="Slide Number Placeholder 9"/>
          <p:cNvSpPr>
            <a:spLocks noGrp="1"/>
          </p:cNvSpPr>
          <p:nvPr>
            <p:ph type="sldNum" sz="quarter" idx="4294967295"/>
          </p:nvPr>
        </p:nvSpPr>
        <p:spPr>
          <a:xfrm>
            <a:off x="11561763" y="6370638"/>
            <a:ext cx="630237" cy="485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8233F8-0520-40A8-B4A0-C98BF98BE3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66" name="TextBox 365"/>
          <p:cNvSpPr txBox="1"/>
          <p:nvPr/>
        </p:nvSpPr>
        <p:spPr>
          <a:xfrm>
            <a:off x="42899" y="6124766"/>
            <a:ext cx="176471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High level indicative view</a:t>
            </a:r>
          </a:p>
        </p:txBody>
      </p:sp>
      <p:grpSp>
        <p:nvGrpSpPr>
          <p:cNvPr id="6" name="Group 5"/>
          <p:cNvGrpSpPr/>
          <p:nvPr/>
        </p:nvGrpSpPr>
        <p:grpSpPr>
          <a:xfrm>
            <a:off x="310894" y="680702"/>
            <a:ext cx="11825729" cy="5410667"/>
            <a:chOff x="310894" y="680702"/>
            <a:chExt cx="11825729" cy="5410667"/>
          </a:xfrm>
        </p:grpSpPr>
        <p:sp>
          <p:nvSpPr>
            <p:cNvPr id="175" name="Freeform 220"/>
            <p:cNvSpPr>
              <a:spLocks/>
            </p:cNvSpPr>
            <p:nvPr/>
          </p:nvSpPr>
          <p:spPr bwMode="auto">
            <a:xfrm>
              <a:off x="648936" y="680702"/>
              <a:ext cx="313813" cy="212039"/>
            </a:xfrm>
            <a:custGeom>
              <a:avLst/>
              <a:gdLst>
                <a:gd name="T0" fmla="*/ 299 w 299"/>
                <a:gd name="T1" fmla="*/ 0 h 206"/>
                <a:gd name="T2" fmla="*/ 0 w 299"/>
                <a:gd name="T3" fmla="*/ 0 h 206"/>
                <a:gd name="T4" fmla="*/ 151 w 299"/>
                <a:gd name="T5" fmla="*/ 206 h 206"/>
                <a:gd name="T6" fmla="*/ 299 w 299"/>
                <a:gd name="T7" fmla="*/ 0 h 206"/>
              </a:gdLst>
              <a:ahLst/>
              <a:cxnLst>
                <a:cxn ang="0">
                  <a:pos x="T0" y="T1"/>
                </a:cxn>
                <a:cxn ang="0">
                  <a:pos x="T2" y="T3"/>
                </a:cxn>
                <a:cxn ang="0">
                  <a:pos x="T4" y="T5"/>
                </a:cxn>
                <a:cxn ang="0">
                  <a:pos x="T6" y="T7"/>
                </a:cxn>
              </a:cxnLst>
              <a:rect l="0" t="0" r="r" b="b"/>
              <a:pathLst>
                <a:path w="299" h="206">
                  <a:moveTo>
                    <a:pt x="299" y="0"/>
                  </a:moveTo>
                  <a:lnTo>
                    <a:pt x="0" y="0"/>
                  </a:lnTo>
                  <a:lnTo>
                    <a:pt x="151" y="206"/>
                  </a:lnTo>
                  <a:lnTo>
                    <a:pt x="2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Rectangle 319"/>
            <p:cNvSpPr/>
            <p:nvPr/>
          </p:nvSpPr>
          <p:spPr>
            <a:xfrm>
              <a:off x="1273614" y="756704"/>
              <a:ext cx="1614193"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hange Request/Bug Fix</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Enhancement/Break Fix</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grpSp>
          <p:nvGrpSpPr>
            <p:cNvPr id="5" name="Group 4"/>
            <p:cNvGrpSpPr/>
            <p:nvPr/>
          </p:nvGrpSpPr>
          <p:grpSpPr>
            <a:xfrm>
              <a:off x="310894" y="954413"/>
              <a:ext cx="11825729" cy="5136956"/>
              <a:chOff x="310894" y="954413"/>
              <a:chExt cx="11825729" cy="5136956"/>
            </a:xfrm>
          </p:grpSpPr>
          <p:grpSp>
            <p:nvGrpSpPr>
              <p:cNvPr id="59" name="Group 58"/>
              <p:cNvGrpSpPr/>
              <p:nvPr/>
            </p:nvGrpSpPr>
            <p:grpSpPr>
              <a:xfrm>
                <a:off x="4957969" y="2111371"/>
                <a:ext cx="1987305" cy="2283063"/>
                <a:chOff x="8588894" y="2255520"/>
                <a:chExt cx="3013174" cy="3225446"/>
              </a:xfrm>
            </p:grpSpPr>
            <p:sp>
              <p:nvSpPr>
                <p:cNvPr id="60" name="Freeform 59"/>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2"/>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3"/>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4"/>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5"/>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66"/>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7"/>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9" name="Group 68"/>
              <p:cNvGrpSpPr/>
              <p:nvPr/>
            </p:nvGrpSpPr>
            <p:grpSpPr>
              <a:xfrm>
                <a:off x="6871942" y="3361943"/>
                <a:ext cx="2339975" cy="2685095"/>
                <a:chOff x="11643278" y="4174693"/>
                <a:chExt cx="3547895" cy="3793424"/>
              </a:xfrm>
            </p:grpSpPr>
            <p:sp>
              <p:nvSpPr>
                <p:cNvPr id="70" name="Freeform 69"/>
                <p:cNvSpPr>
                  <a:spLocks noEditPoints="1"/>
                </p:cNvSpPr>
                <p:nvPr/>
              </p:nvSpPr>
              <p:spPr bwMode="auto">
                <a:xfrm rot="14718710">
                  <a:off x="12456513" y="6400764"/>
                  <a:ext cx="970121" cy="850870"/>
                </a:xfrm>
                <a:custGeom>
                  <a:avLst/>
                  <a:gdLst>
                    <a:gd name="T0" fmla="*/ 27 w 41"/>
                    <a:gd name="T1" fmla="*/ 38 h 38"/>
                    <a:gd name="T2" fmla="*/ 38 w 41"/>
                    <a:gd name="T3" fmla="*/ 32 h 38"/>
                    <a:gd name="T4" fmla="*/ 39 w 41"/>
                    <a:gd name="T5" fmla="*/ 32 h 38"/>
                    <a:gd name="T6" fmla="*/ 41 w 41"/>
                    <a:gd name="T7" fmla="*/ 0 h 38"/>
                    <a:gd name="T8" fmla="*/ 41 w 41"/>
                    <a:gd name="T9" fmla="*/ 0 h 38"/>
                    <a:gd name="T10" fmla="*/ 1 w 41"/>
                    <a:gd name="T11" fmla="*/ 19 h 38"/>
                    <a:gd name="T12" fmla="*/ 0 w 41"/>
                    <a:gd name="T13" fmla="*/ 20 h 38"/>
                    <a:gd name="T14" fmla="*/ 27 w 41"/>
                    <a:gd name="T15" fmla="*/ 38 h 38"/>
                    <a:gd name="T16" fmla="*/ 2 w 41"/>
                    <a:gd name="T17" fmla="*/ 20 h 38"/>
                    <a:gd name="T18" fmla="*/ 40 w 41"/>
                    <a:gd name="T19" fmla="*/ 2 h 38"/>
                    <a:gd name="T20" fmla="*/ 38 w 41"/>
                    <a:gd name="T21" fmla="*/ 31 h 38"/>
                    <a:gd name="T22" fmla="*/ 27 w 41"/>
                    <a:gd name="T23" fmla="*/ 37 h 38"/>
                    <a:gd name="T24" fmla="*/ 2 w 41"/>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8">
                      <a:moveTo>
                        <a:pt x="27" y="38"/>
                      </a:moveTo>
                      <a:cubicBezTo>
                        <a:pt x="30" y="35"/>
                        <a:pt x="34" y="33"/>
                        <a:pt x="38" y="32"/>
                      </a:cubicBezTo>
                      <a:cubicBezTo>
                        <a:pt x="39" y="32"/>
                        <a:pt x="39" y="32"/>
                        <a:pt x="39" y="32"/>
                      </a:cubicBezTo>
                      <a:cubicBezTo>
                        <a:pt x="41" y="0"/>
                        <a:pt x="41" y="0"/>
                        <a:pt x="41" y="0"/>
                      </a:cubicBezTo>
                      <a:cubicBezTo>
                        <a:pt x="41" y="0"/>
                        <a:pt x="41" y="0"/>
                        <a:pt x="41" y="0"/>
                      </a:cubicBezTo>
                      <a:cubicBezTo>
                        <a:pt x="25" y="0"/>
                        <a:pt x="11" y="7"/>
                        <a:pt x="1" y="19"/>
                      </a:cubicBezTo>
                      <a:cubicBezTo>
                        <a:pt x="0" y="20"/>
                        <a:pt x="0" y="20"/>
                        <a:pt x="0" y="20"/>
                      </a:cubicBezTo>
                      <a:cubicBezTo>
                        <a:pt x="27" y="38"/>
                        <a:pt x="27" y="38"/>
                        <a:pt x="27" y="38"/>
                      </a:cubicBezTo>
                      <a:close/>
                      <a:moveTo>
                        <a:pt x="2" y="20"/>
                      </a:moveTo>
                      <a:cubicBezTo>
                        <a:pt x="12" y="8"/>
                        <a:pt x="26" y="2"/>
                        <a:pt x="40" y="2"/>
                      </a:cubicBezTo>
                      <a:cubicBezTo>
                        <a:pt x="38" y="31"/>
                        <a:pt x="38" y="31"/>
                        <a:pt x="38" y="31"/>
                      </a:cubicBezTo>
                      <a:cubicBezTo>
                        <a:pt x="34" y="32"/>
                        <a:pt x="30" y="34"/>
                        <a:pt x="27" y="37"/>
                      </a:cubicBezTo>
                      <a:lnTo>
                        <a:pt x="2" y="2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70"/>
                <p:cNvSpPr>
                  <a:spLocks noEditPoints="1"/>
                </p:cNvSpPr>
                <p:nvPr/>
              </p:nvSpPr>
              <p:spPr bwMode="auto">
                <a:xfrm rot="14718710">
                  <a:off x="13406609" y="4893055"/>
                  <a:ext cx="974268" cy="850870"/>
                </a:xfrm>
                <a:custGeom>
                  <a:avLst/>
                  <a:gdLst>
                    <a:gd name="T0" fmla="*/ 14 w 41"/>
                    <a:gd name="T1" fmla="*/ 1 h 38"/>
                    <a:gd name="T2" fmla="*/ 3 w 41"/>
                    <a:gd name="T3" fmla="*/ 6 h 38"/>
                    <a:gd name="T4" fmla="*/ 2 w 41"/>
                    <a:gd name="T5" fmla="*/ 6 h 38"/>
                    <a:gd name="T6" fmla="*/ 0 w 41"/>
                    <a:gd name="T7" fmla="*/ 38 h 38"/>
                    <a:gd name="T8" fmla="*/ 0 w 41"/>
                    <a:gd name="T9" fmla="*/ 38 h 38"/>
                    <a:gd name="T10" fmla="*/ 40 w 41"/>
                    <a:gd name="T11" fmla="*/ 19 h 38"/>
                    <a:gd name="T12" fmla="*/ 41 w 41"/>
                    <a:gd name="T13" fmla="*/ 19 h 38"/>
                    <a:gd name="T14" fmla="*/ 14 w 41"/>
                    <a:gd name="T15" fmla="*/ 0 h 38"/>
                    <a:gd name="T16" fmla="*/ 14 w 41"/>
                    <a:gd name="T17" fmla="*/ 1 h 38"/>
                    <a:gd name="T18" fmla="*/ 39 w 41"/>
                    <a:gd name="T19" fmla="*/ 19 h 38"/>
                    <a:gd name="T20" fmla="*/ 1 w 41"/>
                    <a:gd name="T21" fmla="*/ 37 h 38"/>
                    <a:gd name="T22" fmla="*/ 3 w 41"/>
                    <a:gd name="T23" fmla="*/ 7 h 38"/>
                    <a:gd name="T24" fmla="*/ 14 w 41"/>
                    <a:gd name="T25" fmla="*/ 2 h 38"/>
                    <a:gd name="T26" fmla="*/ 39 w 41"/>
                    <a:gd name="T2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14" y="1"/>
                      </a:moveTo>
                      <a:cubicBezTo>
                        <a:pt x="11" y="4"/>
                        <a:pt x="7" y="5"/>
                        <a:pt x="3" y="6"/>
                      </a:cubicBezTo>
                      <a:cubicBezTo>
                        <a:pt x="2" y="6"/>
                        <a:pt x="2" y="6"/>
                        <a:pt x="2" y="6"/>
                      </a:cubicBezTo>
                      <a:cubicBezTo>
                        <a:pt x="0" y="38"/>
                        <a:pt x="0" y="38"/>
                        <a:pt x="0" y="38"/>
                      </a:cubicBezTo>
                      <a:cubicBezTo>
                        <a:pt x="0" y="38"/>
                        <a:pt x="0" y="38"/>
                        <a:pt x="0" y="38"/>
                      </a:cubicBezTo>
                      <a:cubicBezTo>
                        <a:pt x="16" y="38"/>
                        <a:pt x="30" y="31"/>
                        <a:pt x="40" y="19"/>
                      </a:cubicBezTo>
                      <a:cubicBezTo>
                        <a:pt x="41" y="19"/>
                        <a:pt x="41" y="19"/>
                        <a:pt x="41" y="19"/>
                      </a:cubicBezTo>
                      <a:cubicBezTo>
                        <a:pt x="14" y="0"/>
                        <a:pt x="14" y="0"/>
                        <a:pt x="14" y="0"/>
                      </a:cubicBezTo>
                      <a:lnTo>
                        <a:pt x="14" y="1"/>
                      </a:lnTo>
                      <a:close/>
                      <a:moveTo>
                        <a:pt x="39" y="19"/>
                      </a:moveTo>
                      <a:cubicBezTo>
                        <a:pt x="29" y="30"/>
                        <a:pt x="15" y="37"/>
                        <a:pt x="1" y="37"/>
                      </a:cubicBezTo>
                      <a:cubicBezTo>
                        <a:pt x="3" y="7"/>
                        <a:pt x="3" y="7"/>
                        <a:pt x="3" y="7"/>
                      </a:cubicBezTo>
                      <a:cubicBezTo>
                        <a:pt x="7" y="6"/>
                        <a:pt x="11" y="5"/>
                        <a:pt x="14" y="2"/>
                      </a:cubicBezTo>
                      <a:lnTo>
                        <a:pt x="39"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71"/>
                <p:cNvSpPr>
                  <a:spLocks noEditPoints="1"/>
                </p:cNvSpPr>
                <p:nvPr/>
              </p:nvSpPr>
              <p:spPr bwMode="auto">
                <a:xfrm rot="14718710">
                  <a:off x="11520514" y="4297457"/>
                  <a:ext cx="3793424" cy="3547895"/>
                </a:xfrm>
                <a:custGeom>
                  <a:avLst/>
                  <a:gdLst>
                    <a:gd name="T0" fmla="*/ 154 w 160"/>
                    <a:gd name="T1" fmla="*/ 67 h 159"/>
                    <a:gd name="T2" fmla="*/ 151 w 160"/>
                    <a:gd name="T3" fmla="*/ 43 h 159"/>
                    <a:gd name="T4" fmla="*/ 137 w 160"/>
                    <a:gd name="T5" fmla="*/ 30 h 159"/>
                    <a:gd name="T6" fmla="*/ 119 w 160"/>
                    <a:gd name="T7" fmla="*/ 30 h 159"/>
                    <a:gd name="T8" fmla="*/ 110 w 160"/>
                    <a:gd name="T9" fmla="*/ 6 h 159"/>
                    <a:gd name="T10" fmla="*/ 89 w 160"/>
                    <a:gd name="T11" fmla="*/ 1 h 159"/>
                    <a:gd name="T12" fmla="*/ 71 w 160"/>
                    <a:gd name="T13" fmla="*/ 17 h 159"/>
                    <a:gd name="T14" fmla="*/ 54 w 160"/>
                    <a:gd name="T15" fmla="*/ 9 h 159"/>
                    <a:gd name="T16" fmla="*/ 36 w 160"/>
                    <a:gd name="T17" fmla="*/ 13 h 159"/>
                    <a:gd name="T18" fmla="*/ 22 w 160"/>
                    <a:gd name="T19" fmla="*/ 32 h 159"/>
                    <a:gd name="T20" fmla="*/ 25 w 160"/>
                    <a:gd name="T21" fmla="*/ 50 h 159"/>
                    <a:gd name="T22" fmla="*/ 2 w 160"/>
                    <a:gd name="T23" fmla="*/ 62 h 159"/>
                    <a:gd name="T24" fmla="*/ 4 w 160"/>
                    <a:gd name="T25" fmla="*/ 81 h 159"/>
                    <a:gd name="T26" fmla="*/ 20 w 160"/>
                    <a:gd name="T27" fmla="*/ 100 h 159"/>
                    <a:gd name="T28" fmla="*/ 14 w 160"/>
                    <a:gd name="T29" fmla="*/ 117 h 159"/>
                    <a:gd name="T30" fmla="*/ 26 w 160"/>
                    <a:gd name="T31" fmla="*/ 138 h 159"/>
                    <a:gd name="T32" fmla="*/ 43 w 160"/>
                    <a:gd name="T33" fmla="*/ 146 h 159"/>
                    <a:gd name="T34" fmla="*/ 60 w 160"/>
                    <a:gd name="T35" fmla="*/ 139 h 159"/>
                    <a:gd name="T36" fmla="*/ 76 w 160"/>
                    <a:gd name="T37" fmla="*/ 159 h 159"/>
                    <a:gd name="T38" fmla="*/ 98 w 160"/>
                    <a:gd name="T39" fmla="*/ 157 h 159"/>
                    <a:gd name="T40" fmla="*/ 110 w 160"/>
                    <a:gd name="T41" fmla="*/ 135 h 159"/>
                    <a:gd name="T42" fmla="*/ 128 w 160"/>
                    <a:gd name="T43" fmla="*/ 138 h 159"/>
                    <a:gd name="T44" fmla="*/ 144 w 160"/>
                    <a:gd name="T45" fmla="*/ 127 h 159"/>
                    <a:gd name="T46" fmla="*/ 151 w 160"/>
                    <a:gd name="T47" fmla="*/ 105 h 159"/>
                    <a:gd name="T48" fmla="*/ 142 w 160"/>
                    <a:gd name="T49" fmla="*/ 89 h 159"/>
                    <a:gd name="T50" fmla="*/ 142 w 160"/>
                    <a:gd name="T51" fmla="*/ 85 h 159"/>
                    <a:gd name="T52" fmla="*/ 155 w 160"/>
                    <a:gd name="T53" fmla="*/ 102 h 159"/>
                    <a:gd name="T54" fmla="*/ 134 w 160"/>
                    <a:gd name="T55" fmla="*/ 109 h 159"/>
                    <a:gd name="T56" fmla="*/ 141 w 160"/>
                    <a:gd name="T57" fmla="*/ 127 h 159"/>
                    <a:gd name="T58" fmla="*/ 120 w 160"/>
                    <a:gd name="T59" fmla="*/ 126 h 159"/>
                    <a:gd name="T60" fmla="*/ 119 w 160"/>
                    <a:gd name="T61" fmla="*/ 144 h 159"/>
                    <a:gd name="T62" fmla="*/ 104 w 160"/>
                    <a:gd name="T63" fmla="*/ 151 h 159"/>
                    <a:gd name="T64" fmla="*/ 90 w 160"/>
                    <a:gd name="T65" fmla="*/ 141 h 159"/>
                    <a:gd name="T66" fmla="*/ 76 w 160"/>
                    <a:gd name="T67" fmla="*/ 158 h 159"/>
                    <a:gd name="T68" fmla="*/ 60 w 160"/>
                    <a:gd name="T69" fmla="*/ 138 h 159"/>
                    <a:gd name="T70" fmla="*/ 45 w 160"/>
                    <a:gd name="T71" fmla="*/ 150 h 159"/>
                    <a:gd name="T72" fmla="*/ 41 w 160"/>
                    <a:gd name="T73" fmla="*/ 128 h 159"/>
                    <a:gd name="T74" fmla="*/ 24 w 160"/>
                    <a:gd name="T75" fmla="*/ 130 h 159"/>
                    <a:gd name="T76" fmla="*/ 14 w 160"/>
                    <a:gd name="T77" fmla="*/ 116 h 159"/>
                    <a:gd name="T78" fmla="*/ 22 w 160"/>
                    <a:gd name="T79" fmla="*/ 100 h 159"/>
                    <a:gd name="T80" fmla="*/ 2 w 160"/>
                    <a:gd name="T81" fmla="*/ 89 h 159"/>
                    <a:gd name="T82" fmla="*/ 18 w 160"/>
                    <a:gd name="T83" fmla="*/ 75 h 159"/>
                    <a:gd name="T84" fmla="*/ 5 w 160"/>
                    <a:gd name="T85" fmla="*/ 57 h 159"/>
                    <a:gd name="T86" fmla="*/ 26 w 160"/>
                    <a:gd name="T87" fmla="*/ 50 h 159"/>
                    <a:gd name="T88" fmla="*/ 19 w 160"/>
                    <a:gd name="T89" fmla="*/ 32 h 159"/>
                    <a:gd name="T90" fmla="*/ 40 w 160"/>
                    <a:gd name="T91" fmla="*/ 33 h 159"/>
                    <a:gd name="T92" fmla="*/ 41 w 160"/>
                    <a:gd name="T93" fmla="*/ 16 h 159"/>
                    <a:gd name="T94" fmla="*/ 56 w 160"/>
                    <a:gd name="T95" fmla="*/ 8 h 159"/>
                    <a:gd name="T96" fmla="*/ 70 w 160"/>
                    <a:gd name="T97" fmla="*/ 19 h 159"/>
                    <a:gd name="T98" fmla="*/ 84 w 160"/>
                    <a:gd name="T99" fmla="*/ 1 h 159"/>
                    <a:gd name="T100" fmla="*/ 100 w 160"/>
                    <a:gd name="T101" fmla="*/ 21 h 159"/>
                    <a:gd name="T102" fmla="*/ 115 w 160"/>
                    <a:gd name="T103" fmla="*/ 10 h 159"/>
                    <a:gd name="T104" fmla="*/ 119 w 160"/>
                    <a:gd name="T105" fmla="*/ 32 h 159"/>
                    <a:gd name="T106" fmla="*/ 136 w 160"/>
                    <a:gd name="T107" fmla="*/ 30 h 159"/>
                    <a:gd name="T108" fmla="*/ 146 w 160"/>
                    <a:gd name="T109" fmla="*/ 43 h 159"/>
                    <a:gd name="T110" fmla="*/ 138 w 160"/>
                    <a:gd name="T111" fmla="*/ 59 h 159"/>
                    <a:gd name="T112" fmla="*/ 158 w 160"/>
                    <a:gd name="T113"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143" y="81"/>
                      </a:moveTo>
                      <a:cubicBezTo>
                        <a:pt x="156" y="79"/>
                        <a:pt x="156" y="79"/>
                        <a:pt x="156" y="79"/>
                      </a:cubicBezTo>
                      <a:cubicBezTo>
                        <a:pt x="158" y="78"/>
                        <a:pt x="160" y="77"/>
                        <a:pt x="159" y="75"/>
                      </a:cubicBezTo>
                      <a:cubicBezTo>
                        <a:pt x="159" y="70"/>
                        <a:pt x="159" y="70"/>
                        <a:pt x="159" y="70"/>
                      </a:cubicBezTo>
                      <a:cubicBezTo>
                        <a:pt x="159" y="68"/>
                        <a:pt x="157" y="67"/>
                        <a:pt x="154" y="67"/>
                      </a:cubicBezTo>
                      <a:cubicBezTo>
                        <a:pt x="142" y="67"/>
                        <a:pt x="142" y="67"/>
                        <a:pt x="142" y="67"/>
                      </a:cubicBezTo>
                      <a:cubicBezTo>
                        <a:pt x="141" y="64"/>
                        <a:pt x="140" y="62"/>
                        <a:pt x="140" y="60"/>
                      </a:cubicBezTo>
                      <a:cubicBezTo>
                        <a:pt x="151" y="53"/>
                        <a:pt x="151" y="53"/>
                        <a:pt x="151" y="53"/>
                      </a:cubicBezTo>
                      <a:cubicBezTo>
                        <a:pt x="153" y="52"/>
                        <a:pt x="154" y="50"/>
                        <a:pt x="153" y="48"/>
                      </a:cubicBezTo>
                      <a:cubicBezTo>
                        <a:pt x="151" y="43"/>
                        <a:pt x="151" y="43"/>
                        <a:pt x="151" y="43"/>
                      </a:cubicBezTo>
                      <a:cubicBezTo>
                        <a:pt x="150" y="42"/>
                        <a:pt x="149" y="42"/>
                        <a:pt x="148" y="42"/>
                      </a:cubicBezTo>
                      <a:cubicBezTo>
                        <a:pt x="147" y="42"/>
                        <a:pt x="146" y="42"/>
                        <a:pt x="146" y="42"/>
                      </a:cubicBezTo>
                      <a:cubicBezTo>
                        <a:pt x="133" y="46"/>
                        <a:pt x="133" y="46"/>
                        <a:pt x="133" y="46"/>
                      </a:cubicBezTo>
                      <a:cubicBezTo>
                        <a:pt x="132" y="44"/>
                        <a:pt x="131" y="42"/>
                        <a:pt x="129" y="40"/>
                      </a:cubicBezTo>
                      <a:cubicBezTo>
                        <a:pt x="137" y="30"/>
                        <a:pt x="137" y="30"/>
                        <a:pt x="137" y="30"/>
                      </a:cubicBezTo>
                      <a:cubicBezTo>
                        <a:pt x="139" y="29"/>
                        <a:pt x="139" y="26"/>
                        <a:pt x="138" y="25"/>
                      </a:cubicBezTo>
                      <a:cubicBezTo>
                        <a:pt x="137" y="24"/>
                        <a:pt x="135" y="22"/>
                        <a:pt x="134" y="21"/>
                      </a:cubicBezTo>
                      <a:cubicBezTo>
                        <a:pt x="134" y="21"/>
                        <a:pt x="133" y="21"/>
                        <a:pt x="132" y="21"/>
                      </a:cubicBezTo>
                      <a:cubicBezTo>
                        <a:pt x="131" y="21"/>
                        <a:pt x="130" y="21"/>
                        <a:pt x="129" y="22"/>
                      </a:cubicBezTo>
                      <a:cubicBezTo>
                        <a:pt x="119" y="30"/>
                        <a:pt x="119" y="30"/>
                        <a:pt x="119" y="30"/>
                      </a:cubicBezTo>
                      <a:cubicBezTo>
                        <a:pt x="117" y="29"/>
                        <a:pt x="115" y="27"/>
                        <a:pt x="113" y="26"/>
                      </a:cubicBezTo>
                      <a:cubicBezTo>
                        <a:pt x="117" y="14"/>
                        <a:pt x="117" y="14"/>
                        <a:pt x="117" y="14"/>
                      </a:cubicBezTo>
                      <a:cubicBezTo>
                        <a:pt x="118" y="12"/>
                        <a:pt x="117" y="9"/>
                        <a:pt x="116" y="8"/>
                      </a:cubicBezTo>
                      <a:cubicBezTo>
                        <a:pt x="114" y="8"/>
                        <a:pt x="112" y="7"/>
                        <a:pt x="111" y="6"/>
                      </a:cubicBezTo>
                      <a:cubicBezTo>
                        <a:pt x="111" y="6"/>
                        <a:pt x="110" y="6"/>
                        <a:pt x="110" y="6"/>
                      </a:cubicBezTo>
                      <a:cubicBezTo>
                        <a:pt x="109" y="6"/>
                        <a:pt x="107" y="7"/>
                        <a:pt x="106" y="9"/>
                      </a:cubicBezTo>
                      <a:cubicBezTo>
                        <a:pt x="100" y="20"/>
                        <a:pt x="100" y="20"/>
                        <a:pt x="100" y="20"/>
                      </a:cubicBezTo>
                      <a:cubicBezTo>
                        <a:pt x="97" y="19"/>
                        <a:pt x="95" y="18"/>
                        <a:pt x="92" y="18"/>
                      </a:cubicBezTo>
                      <a:cubicBezTo>
                        <a:pt x="92" y="5"/>
                        <a:pt x="92" y="5"/>
                        <a:pt x="92" y="5"/>
                      </a:cubicBezTo>
                      <a:cubicBezTo>
                        <a:pt x="92" y="3"/>
                        <a:pt x="91" y="1"/>
                        <a:pt x="89" y="1"/>
                      </a:cubicBezTo>
                      <a:cubicBezTo>
                        <a:pt x="84" y="0"/>
                        <a:pt x="84" y="0"/>
                        <a:pt x="84" y="0"/>
                      </a:cubicBezTo>
                      <a:cubicBezTo>
                        <a:pt x="84" y="0"/>
                        <a:pt x="84" y="0"/>
                        <a:pt x="84" y="0"/>
                      </a:cubicBezTo>
                      <a:cubicBezTo>
                        <a:pt x="82" y="0"/>
                        <a:pt x="81" y="2"/>
                        <a:pt x="80" y="4"/>
                      </a:cubicBezTo>
                      <a:cubicBezTo>
                        <a:pt x="78" y="17"/>
                        <a:pt x="78" y="17"/>
                        <a:pt x="78" y="17"/>
                      </a:cubicBezTo>
                      <a:cubicBezTo>
                        <a:pt x="75" y="17"/>
                        <a:pt x="73" y="17"/>
                        <a:pt x="71" y="17"/>
                      </a:cubicBezTo>
                      <a:cubicBezTo>
                        <a:pt x="66" y="5"/>
                        <a:pt x="66" y="5"/>
                        <a:pt x="66" y="5"/>
                      </a:cubicBezTo>
                      <a:cubicBezTo>
                        <a:pt x="65" y="4"/>
                        <a:pt x="64" y="2"/>
                        <a:pt x="62" y="2"/>
                      </a:cubicBezTo>
                      <a:cubicBezTo>
                        <a:pt x="62" y="2"/>
                        <a:pt x="62" y="2"/>
                        <a:pt x="61" y="2"/>
                      </a:cubicBezTo>
                      <a:cubicBezTo>
                        <a:pt x="57" y="4"/>
                        <a:pt x="57" y="4"/>
                        <a:pt x="57" y="4"/>
                      </a:cubicBezTo>
                      <a:cubicBezTo>
                        <a:pt x="55" y="4"/>
                        <a:pt x="54" y="6"/>
                        <a:pt x="54" y="9"/>
                      </a:cubicBezTo>
                      <a:cubicBezTo>
                        <a:pt x="57" y="21"/>
                        <a:pt x="57" y="21"/>
                        <a:pt x="57" y="21"/>
                      </a:cubicBezTo>
                      <a:cubicBezTo>
                        <a:pt x="54" y="22"/>
                        <a:pt x="52" y="23"/>
                        <a:pt x="50" y="24"/>
                      </a:cubicBezTo>
                      <a:cubicBezTo>
                        <a:pt x="41" y="15"/>
                        <a:pt x="41" y="15"/>
                        <a:pt x="41" y="15"/>
                      </a:cubicBezTo>
                      <a:cubicBezTo>
                        <a:pt x="40" y="14"/>
                        <a:pt x="39" y="13"/>
                        <a:pt x="38" y="13"/>
                      </a:cubicBezTo>
                      <a:cubicBezTo>
                        <a:pt x="37" y="13"/>
                        <a:pt x="37" y="13"/>
                        <a:pt x="36" y="13"/>
                      </a:cubicBezTo>
                      <a:cubicBezTo>
                        <a:pt x="32" y="16"/>
                        <a:pt x="32" y="16"/>
                        <a:pt x="32" y="16"/>
                      </a:cubicBezTo>
                      <a:cubicBezTo>
                        <a:pt x="31" y="17"/>
                        <a:pt x="31" y="20"/>
                        <a:pt x="32" y="22"/>
                      </a:cubicBezTo>
                      <a:cubicBezTo>
                        <a:pt x="38" y="33"/>
                        <a:pt x="38" y="33"/>
                        <a:pt x="38" y="33"/>
                      </a:cubicBezTo>
                      <a:cubicBezTo>
                        <a:pt x="36" y="34"/>
                        <a:pt x="34" y="36"/>
                        <a:pt x="33" y="38"/>
                      </a:cubicBezTo>
                      <a:cubicBezTo>
                        <a:pt x="22" y="32"/>
                        <a:pt x="22" y="32"/>
                        <a:pt x="22" y="32"/>
                      </a:cubicBezTo>
                      <a:cubicBezTo>
                        <a:pt x="21" y="31"/>
                        <a:pt x="20" y="31"/>
                        <a:pt x="19" y="31"/>
                      </a:cubicBezTo>
                      <a:cubicBezTo>
                        <a:pt x="18" y="31"/>
                        <a:pt x="17" y="32"/>
                        <a:pt x="16" y="32"/>
                      </a:cubicBezTo>
                      <a:cubicBezTo>
                        <a:pt x="13" y="36"/>
                        <a:pt x="13" y="36"/>
                        <a:pt x="13" y="36"/>
                      </a:cubicBezTo>
                      <a:cubicBezTo>
                        <a:pt x="12" y="38"/>
                        <a:pt x="13" y="40"/>
                        <a:pt x="15" y="42"/>
                      </a:cubicBezTo>
                      <a:cubicBezTo>
                        <a:pt x="25" y="50"/>
                        <a:pt x="25" y="50"/>
                        <a:pt x="25" y="50"/>
                      </a:cubicBezTo>
                      <a:cubicBezTo>
                        <a:pt x="23" y="52"/>
                        <a:pt x="22" y="55"/>
                        <a:pt x="21" y="57"/>
                      </a:cubicBezTo>
                      <a:cubicBezTo>
                        <a:pt x="9" y="55"/>
                        <a:pt x="9" y="55"/>
                        <a:pt x="9" y="55"/>
                      </a:cubicBezTo>
                      <a:cubicBezTo>
                        <a:pt x="8" y="55"/>
                        <a:pt x="8" y="55"/>
                        <a:pt x="8" y="55"/>
                      </a:cubicBezTo>
                      <a:cubicBezTo>
                        <a:pt x="6" y="55"/>
                        <a:pt x="4" y="56"/>
                        <a:pt x="4" y="57"/>
                      </a:cubicBezTo>
                      <a:cubicBezTo>
                        <a:pt x="2" y="62"/>
                        <a:pt x="2" y="62"/>
                        <a:pt x="2" y="62"/>
                      </a:cubicBezTo>
                      <a:cubicBezTo>
                        <a:pt x="2" y="63"/>
                        <a:pt x="3" y="65"/>
                        <a:pt x="6" y="66"/>
                      </a:cubicBezTo>
                      <a:cubicBezTo>
                        <a:pt x="18" y="71"/>
                        <a:pt x="18" y="71"/>
                        <a:pt x="18" y="71"/>
                      </a:cubicBezTo>
                      <a:cubicBezTo>
                        <a:pt x="18" y="72"/>
                        <a:pt x="17" y="73"/>
                        <a:pt x="17" y="74"/>
                      </a:cubicBezTo>
                      <a:cubicBezTo>
                        <a:pt x="17" y="76"/>
                        <a:pt x="17" y="77"/>
                        <a:pt x="17" y="78"/>
                      </a:cubicBezTo>
                      <a:cubicBezTo>
                        <a:pt x="4" y="81"/>
                        <a:pt x="4" y="81"/>
                        <a:pt x="4" y="81"/>
                      </a:cubicBezTo>
                      <a:cubicBezTo>
                        <a:pt x="2" y="81"/>
                        <a:pt x="0" y="83"/>
                        <a:pt x="1" y="84"/>
                      </a:cubicBezTo>
                      <a:cubicBezTo>
                        <a:pt x="1" y="86"/>
                        <a:pt x="1" y="88"/>
                        <a:pt x="1" y="89"/>
                      </a:cubicBezTo>
                      <a:cubicBezTo>
                        <a:pt x="1" y="91"/>
                        <a:pt x="3" y="92"/>
                        <a:pt x="6" y="92"/>
                      </a:cubicBezTo>
                      <a:cubicBezTo>
                        <a:pt x="18" y="93"/>
                        <a:pt x="18" y="93"/>
                        <a:pt x="18" y="93"/>
                      </a:cubicBezTo>
                      <a:cubicBezTo>
                        <a:pt x="19" y="95"/>
                        <a:pt x="20" y="98"/>
                        <a:pt x="20" y="100"/>
                      </a:cubicBezTo>
                      <a:cubicBezTo>
                        <a:pt x="9" y="106"/>
                        <a:pt x="9" y="106"/>
                        <a:pt x="9" y="106"/>
                      </a:cubicBezTo>
                      <a:cubicBezTo>
                        <a:pt x="7" y="108"/>
                        <a:pt x="6" y="110"/>
                        <a:pt x="7" y="111"/>
                      </a:cubicBezTo>
                      <a:cubicBezTo>
                        <a:pt x="9" y="116"/>
                        <a:pt x="9" y="116"/>
                        <a:pt x="9" y="116"/>
                      </a:cubicBezTo>
                      <a:cubicBezTo>
                        <a:pt x="10" y="117"/>
                        <a:pt x="11" y="118"/>
                        <a:pt x="12" y="118"/>
                      </a:cubicBezTo>
                      <a:cubicBezTo>
                        <a:pt x="13" y="118"/>
                        <a:pt x="14" y="117"/>
                        <a:pt x="14" y="117"/>
                      </a:cubicBezTo>
                      <a:cubicBezTo>
                        <a:pt x="27" y="113"/>
                        <a:pt x="27" y="113"/>
                        <a:pt x="27" y="113"/>
                      </a:cubicBezTo>
                      <a:cubicBezTo>
                        <a:pt x="28" y="115"/>
                        <a:pt x="29" y="117"/>
                        <a:pt x="31" y="119"/>
                      </a:cubicBezTo>
                      <a:cubicBezTo>
                        <a:pt x="23" y="129"/>
                        <a:pt x="23" y="129"/>
                        <a:pt x="23" y="129"/>
                      </a:cubicBezTo>
                      <a:cubicBezTo>
                        <a:pt x="21" y="131"/>
                        <a:pt x="21" y="133"/>
                        <a:pt x="22" y="134"/>
                      </a:cubicBezTo>
                      <a:cubicBezTo>
                        <a:pt x="26" y="138"/>
                        <a:pt x="26" y="138"/>
                        <a:pt x="26" y="138"/>
                      </a:cubicBezTo>
                      <a:cubicBezTo>
                        <a:pt x="26" y="138"/>
                        <a:pt x="27" y="139"/>
                        <a:pt x="28" y="139"/>
                      </a:cubicBezTo>
                      <a:cubicBezTo>
                        <a:pt x="29" y="139"/>
                        <a:pt x="30" y="138"/>
                        <a:pt x="31" y="137"/>
                      </a:cubicBezTo>
                      <a:cubicBezTo>
                        <a:pt x="41" y="129"/>
                        <a:pt x="41" y="129"/>
                        <a:pt x="41" y="129"/>
                      </a:cubicBezTo>
                      <a:cubicBezTo>
                        <a:pt x="43" y="131"/>
                        <a:pt x="45" y="132"/>
                        <a:pt x="47" y="133"/>
                      </a:cubicBezTo>
                      <a:cubicBezTo>
                        <a:pt x="43" y="146"/>
                        <a:pt x="43" y="146"/>
                        <a:pt x="43" y="146"/>
                      </a:cubicBezTo>
                      <a:cubicBezTo>
                        <a:pt x="42" y="148"/>
                        <a:pt x="43" y="150"/>
                        <a:pt x="44" y="151"/>
                      </a:cubicBezTo>
                      <a:cubicBezTo>
                        <a:pt x="49" y="153"/>
                        <a:pt x="49" y="153"/>
                        <a:pt x="49" y="153"/>
                      </a:cubicBezTo>
                      <a:cubicBezTo>
                        <a:pt x="49" y="153"/>
                        <a:pt x="50" y="153"/>
                        <a:pt x="50" y="153"/>
                      </a:cubicBezTo>
                      <a:cubicBezTo>
                        <a:pt x="51" y="153"/>
                        <a:pt x="53" y="152"/>
                        <a:pt x="54" y="151"/>
                      </a:cubicBezTo>
                      <a:cubicBezTo>
                        <a:pt x="60" y="139"/>
                        <a:pt x="60" y="139"/>
                        <a:pt x="60" y="139"/>
                      </a:cubicBezTo>
                      <a:cubicBezTo>
                        <a:pt x="63" y="140"/>
                        <a:pt x="65" y="141"/>
                        <a:pt x="68" y="141"/>
                      </a:cubicBezTo>
                      <a:cubicBezTo>
                        <a:pt x="68" y="154"/>
                        <a:pt x="68" y="154"/>
                        <a:pt x="68" y="154"/>
                      </a:cubicBezTo>
                      <a:cubicBezTo>
                        <a:pt x="68" y="157"/>
                        <a:pt x="69" y="159"/>
                        <a:pt x="71" y="159"/>
                      </a:cubicBezTo>
                      <a:cubicBezTo>
                        <a:pt x="76" y="159"/>
                        <a:pt x="76" y="159"/>
                        <a:pt x="76" y="159"/>
                      </a:cubicBezTo>
                      <a:cubicBezTo>
                        <a:pt x="76" y="159"/>
                        <a:pt x="76" y="159"/>
                        <a:pt x="76" y="159"/>
                      </a:cubicBezTo>
                      <a:cubicBezTo>
                        <a:pt x="78" y="159"/>
                        <a:pt x="79" y="157"/>
                        <a:pt x="80" y="155"/>
                      </a:cubicBezTo>
                      <a:cubicBezTo>
                        <a:pt x="82" y="143"/>
                        <a:pt x="82" y="143"/>
                        <a:pt x="82" y="143"/>
                      </a:cubicBezTo>
                      <a:cubicBezTo>
                        <a:pt x="85" y="142"/>
                        <a:pt x="87" y="142"/>
                        <a:pt x="89" y="142"/>
                      </a:cubicBezTo>
                      <a:cubicBezTo>
                        <a:pt x="94" y="154"/>
                        <a:pt x="94" y="154"/>
                        <a:pt x="94" y="154"/>
                      </a:cubicBezTo>
                      <a:cubicBezTo>
                        <a:pt x="95" y="156"/>
                        <a:pt x="96" y="157"/>
                        <a:pt x="98" y="157"/>
                      </a:cubicBezTo>
                      <a:cubicBezTo>
                        <a:pt x="98" y="157"/>
                        <a:pt x="98" y="157"/>
                        <a:pt x="99" y="157"/>
                      </a:cubicBezTo>
                      <a:cubicBezTo>
                        <a:pt x="103" y="156"/>
                        <a:pt x="103" y="156"/>
                        <a:pt x="103" y="156"/>
                      </a:cubicBezTo>
                      <a:cubicBezTo>
                        <a:pt x="105" y="155"/>
                        <a:pt x="106" y="153"/>
                        <a:pt x="106" y="151"/>
                      </a:cubicBezTo>
                      <a:cubicBezTo>
                        <a:pt x="103" y="138"/>
                        <a:pt x="103" y="138"/>
                        <a:pt x="103" y="138"/>
                      </a:cubicBezTo>
                      <a:cubicBezTo>
                        <a:pt x="106" y="137"/>
                        <a:pt x="108" y="136"/>
                        <a:pt x="110" y="135"/>
                      </a:cubicBezTo>
                      <a:cubicBezTo>
                        <a:pt x="119" y="145"/>
                        <a:pt x="119" y="145"/>
                        <a:pt x="119" y="145"/>
                      </a:cubicBezTo>
                      <a:cubicBezTo>
                        <a:pt x="120" y="146"/>
                        <a:pt x="121" y="147"/>
                        <a:pt x="122" y="147"/>
                      </a:cubicBezTo>
                      <a:cubicBezTo>
                        <a:pt x="123" y="147"/>
                        <a:pt x="123" y="146"/>
                        <a:pt x="124" y="146"/>
                      </a:cubicBezTo>
                      <a:cubicBezTo>
                        <a:pt x="128" y="143"/>
                        <a:pt x="128" y="143"/>
                        <a:pt x="128" y="143"/>
                      </a:cubicBezTo>
                      <a:cubicBezTo>
                        <a:pt x="129" y="142"/>
                        <a:pt x="129" y="140"/>
                        <a:pt x="128" y="138"/>
                      </a:cubicBezTo>
                      <a:cubicBezTo>
                        <a:pt x="122" y="127"/>
                        <a:pt x="122" y="127"/>
                        <a:pt x="122" y="127"/>
                      </a:cubicBezTo>
                      <a:cubicBezTo>
                        <a:pt x="124" y="125"/>
                        <a:pt x="126" y="123"/>
                        <a:pt x="127" y="121"/>
                      </a:cubicBezTo>
                      <a:cubicBezTo>
                        <a:pt x="138" y="127"/>
                        <a:pt x="138" y="127"/>
                        <a:pt x="138" y="127"/>
                      </a:cubicBezTo>
                      <a:cubicBezTo>
                        <a:pt x="139" y="128"/>
                        <a:pt x="140" y="128"/>
                        <a:pt x="141" y="128"/>
                      </a:cubicBezTo>
                      <a:cubicBezTo>
                        <a:pt x="142" y="128"/>
                        <a:pt x="143" y="128"/>
                        <a:pt x="144" y="127"/>
                      </a:cubicBezTo>
                      <a:cubicBezTo>
                        <a:pt x="147" y="123"/>
                        <a:pt x="147" y="123"/>
                        <a:pt x="147" y="123"/>
                      </a:cubicBezTo>
                      <a:cubicBezTo>
                        <a:pt x="148" y="122"/>
                        <a:pt x="147" y="119"/>
                        <a:pt x="145" y="118"/>
                      </a:cubicBezTo>
                      <a:cubicBezTo>
                        <a:pt x="135" y="109"/>
                        <a:pt x="135" y="109"/>
                        <a:pt x="135" y="109"/>
                      </a:cubicBezTo>
                      <a:cubicBezTo>
                        <a:pt x="137" y="107"/>
                        <a:pt x="138" y="105"/>
                        <a:pt x="139" y="103"/>
                      </a:cubicBezTo>
                      <a:cubicBezTo>
                        <a:pt x="151" y="105"/>
                        <a:pt x="151" y="105"/>
                        <a:pt x="151" y="105"/>
                      </a:cubicBezTo>
                      <a:cubicBezTo>
                        <a:pt x="152" y="105"/>
                        <a:pt x="152" y="105"/>
                        <a:pt x="152" y="105"/>
                      </a:cubicBezTo>
                      <a:cubicBezTo>
                        <a:pt x="154" y="105"/>
                        <a:pt x="156" y="104"/>
                        <a:pt x="156" y="102"/>
                      </a:cubicBezTo>
                      <a:cubicBezTo>
                        <a:pt x="158" y="98"/>
                        <a:pt x="158" y="98"/>
                        <a:pt x="158" y="98"/>
                      </a:cubicBezTo>
                      <a:cubicBezTo>
                        <a:pt x="158" y="96"/>
                        <a:pt x="157" y="94"/>
                        <a:pt x="154" y="93"/>
                      </a:cubicBezTo>
                      <a:cubicBezTo>
                        <a:pt x="142" y="89"/>
                        <a:pt x="142" y="89"/>
                        <a:pt x="142" y="89"/>
                      </a:cubicBezTo>
                      <a:cubicBezTo>
                        <a:pt x="142" y="87"/>
                        <a:pt x="143" y="86"/>
                        <a:pt x="143" y="85"/>
                      </a:cubicBezTo>
                      <a:cubicBezTo>
                        <a:pt x="143" y="84"/>
                        <a:pt x="143" y="83"/>
                        <a:pt x="143" y="81"/>
                      </a:cubicBezTo>
                      <a:close/>
                      <a:moveTo>
                        <a:pt x="142" y="80"/>
                      </a:moveTo>
                      <a:cubicBezTo>
                        <a:pt x="142" y="81"/>
                        <a:pt x="142" y="81"/>
                        <a:pt x="142" y="81"/>
                      </a:cubicBezTo>
                      <a:cubicBezTo>
                        <a:pt x="142" y="82"/>
                        <a:pt x="142" y="84"/>
                        <a:pt x="142" y="85"/>
                      </a:cubicBezTo>
                      <a:cubicBezTo>
                        <a:pt x="141" y="86"/>
                        <a:pt x="141" y="87"/>
                        <a:pt x="141" y="89"/>
                      </a:cubicBezTo>
                      <a:cubicBezTo>
                        <a:pt x="141" y="89"/>
                        <a:pt x="141" y="89"/>
                        <a:pt x="141" y="89"/>
                      </a:cubicBezTo>
                      <a:cubicBezTo>
                        <a:pt x="154" y="94"/>
                        <a:pt x="154" y="94"/>
                        <a:pt x="154" y="94"/>
                      </a:cubicBezTo>
                      <a:cubicBezTo>
                        <a:pt x="156" y="95"/>
                        <a:pt x="157" y="96"/>
                        <a:pt x="156" y="97"/>
                      </a:cubicBezTo>
                      <a:cubicBezTo>
                        <a:pt x="155" y="102"/>
                        <a:pt x="155" y="102"/>
                        <a:pt x="155" y="102"/>
                      </a:cubicBezTo>
                      <a:cubicBezTo>
                        <a:pt x="155" y="103"/>
                        <a:pt x="154" y="104"/>
                        <a:pt x="152" y="104"/>
                      </a:cubicBezTo>
                      <a:cubicBezTo>
                        <a:pt x="152" y="104"/>
                        <a:pt x="152" y="103"/>
                        <a:pt x="151" y="103"/>
                      </a:cubicBezTo>
                      <a:cubicBezTo>
                        <a:pt x="138" y="101"/>
                        <a:pt x="138" y="101"/>
                        <a:pt x="138" y="101"/>
                      </a:cubicBezTo>
                      <a:cubicBezTo>
                        <a:pt x="138" y="102"/>
                        <a:pt x="138" y="102"/>
                        <a:pt x="138" y="102"/>
                      </a:cubicBezTo>
                      <a:cubicBezTo>
                        <a:pt x="137" y="104"/>
                        <a:pt x="136" y="107"/>
                        <a:pt x="134" y="109"/>
                      </a:cubicBezTo>
                      <a:cubicBezTo>
                        <a:pt x="134" y="110"/>
                        <a:pt x="134" y="110"/>
                        <a:pt x="134" y="110"/>
                      </a:cubicBezTo>
                      <a:cubicBezTo>
                        <a:pt x="144" y="119"/>
                        <a:pt x="144" y="119"/>
                        <a:pt x="144" y="119"/>
                      </a:cubicBezTo>
                      <a:cubicBezTo>
                        <a:pt x="146" y="120"/>
                        <a:pt x="146" y="121"/>
                        <a:pt x="146" y="122"/>
                      </a:cubicBezTo>
                      <a:cubicBezTo>
                        <a:pt x="143" y="126"/>
                        <a:pt x="143" y="126"/>
                        <a:pt x="143" y="126"/>
                      </a:cubicBezTo>
                      <a:cubicBezTo>
                        <a:pt x="143" y="127"/>
                        <a:pt x="142" y="127"/>
                        <a:pt x="141" y="127"/>
                      </a:cubicBezTo>
                      <a:cubicBezTo>
                        <a:pt x="141" y="127"/>
                        <a:pt x="140" y="127"/>
                        <a:pt x="139" y="126"/>
                      </a:cubicBezTo>
                      <a:cubicBezTo>
                        <a:pt x="127" y="120"/>
                        <a:pt x="127" y="120"/>
                        <a:pt x="127" y="120"/>
                      </a:cubicBezTo>
                      <a:cubicBezTo>
                        <a:pt x="127" y="120"/>
                        <a:pt x="127" y="120"/>
                        <a:pt x="127" y="120"/>
                      </a:cubicBezTo>
                      <a:cubicBezTo>
                        <a:pt x="125" y="122"/>
                        <a:pt x="123" y="124"/>
                        <a:pt x="121" y="126"/>
                      </a:cubicBezTo>
                      <a:cubicBezTo>
                        <a:pt x="120" y="126"/>
                        <a:pt x="120" y="126"/>
                        <a:pt x="120" y="126"/>
                      </a:cubicBezTo>
                      <a:cubicBezTo>
                        <a:pt x="127" y="138"/>
                        <a:pt x="127" y="138"/>
                        <a:pt x="127" y="138"/>
                      </a:cubicBezTo>
                      <a:cubicBezTo>
                        <a:pt x="128" y="140"/>
                        <a:pt x="128" y="142"/>
                        <a:pt x="127" y="142"/>
                      </a:cubicBezTo>
                      <a:cubicBezTo>
                        <a:pt x="123" y="145"/>
                        <a:pt x="123" y="145"/>
                        <a:pt x="123" y="145"/>
                      </a:cubicBezTo>
                      <a:cubicBezTo>
                        <a:pt x="123" y="145"/>
                        <a:pt x="123" y="145"/>
                        <a:pt x="122" y="145"/>
                      </a:cubicBezTo>
                      <a:cubicBezTo>
                        <a:pt x="121" y="145"/>
                        <a:pt x="120" y="145"/>
                        <a:pt x="119" y="144"/>
                      </a:cubicBezTo>
                      <a:cubicBezTo>
                        <a:pt x="110" y="133"/>
                        <a:pt x="110" y="133"/>
                        <a:pt x="110" y="133"/>
                      </a:cubicBezTo>
                      <a:cubicBezTo>
                        <a:pt x="110" y="134"/>
                        <a:pt x="110" y="134"/>
                        <a:pt x="110" y="134"/>
                      </a:cubicBezTo>
                      <a:cubicBezTo>
                        <a:pt x="108" y="135"/>
                        <a:pt x="105" y="136"/>
                        <a:pt x="103" y="137"/>
                      </a:cubicBezTo>
                      <a:cubicBezTo>
                        <a:pt x="102" y="137"/>
                        <a:pt x="102" y="137"/>
                        <a:pt x="102" y="137"/>
                      </a:cubicBezTo>
                      <a:cubicBezTo>
                        <a:pt x="104" y="151"/>
                        <a:pt x="104" y="151"/>
                        <a:pt x="104" y="151"/>
                      </a:cubicBezTo>
                      <a:cubicBezTo>
                        <a:pt x="105" y="153"/>
                        <a:pt x="104" y="154"/>
                        <a:pt x="103" y="155"/>
                      </a:cubicBezTo>
                      <a:cubicBezTo>
                        <a:pt x="98" y="156"/>
                        <a:pt x="98" y="156"/>
                        <a:pt x="98" y="156"/>
                      </a:cubicBezTo>
                      <a:cubicBezTo>
                        <a:pt x="98" y="156"/>
                        <a:pt x="98" y="156"/>
                        <a:pt x="98" y="156"/>
                      </a:cubicBezTo>
                      <a:cubicBezTo>
                        <a:pt x="97" y="156"/>
                        <a:pt x="96" y="155"/>
                        <a:pt x="95" y="153"/>
                      </a:cubicBezTo>
                      <a:cubicBezTo>
                        <a:pt x="90" y="141"/>
                        <a:pt x="90" y="141"/>
                        <a:pt x="90" y="141"/>
                      </a:cubicBezTo>
                      <a:cubicBezTo>
                        <a:pt x="90" y="141"/>
                        <a:pt x="90" y="141"/>
                        <a:pt x="90" y="141"/>
                      </a:cubicBezTo>
                      <a:cubicBezTo>
                        <a:pt x="87" y="141"/>
                        <a:pt x="84" y="141"/>
                        <a:pt x="82" y="141"/>
                      </a:cubicBezTo>
                      <a:cubicBezTo>
                        <a:pt x="81" y="141"/>
                        <a:pt x="81" y="141"/>
                        <a:pt x="81" y="141"/>
                      </a:cubicBezTo>
                      <a:cubicBezTo>
                        <a:pt x="79" y="155"/>
                        <a:pt x="79" y="155"/>
                        <a:pt x="79" y="155"/>
                      </a:cubicBezTo>
                      <a:cubicBezTo>
                        <a:pt x="78" y="157"/>
                        <a:pt x="77" y="158"/>
                        <a:pt x="76" y="158"/>
                      </a:cubicBezTo>
                      <a:cubicBezTo>
                        <a:pt x="71" y="158"/>
                        <a:pt x="71" y="158"/>
                        <a:pt x="71" y="158"/>
                      </a:cubicBezTo>
                      <a:cubicBezTo>
                        <a:pt x="70" y="158"/>
                        <a:pt x="69" y="156"/>
                        <a:pt x="69" y="154"/>
                      </a:cubicBezTo>
                      <a:cubicBezTo>
                        <a:pt x="69" y="140"/>
                        <a:pt x="69" y="140"/>
                        <a:pt x="69" y="140"/>
                      </a:cubicBezTo>
                      <a:cubicBezTo>
                        <a:pt x="68" y="140"/>
                        <a:pt x="68" y="140"/>
                        <a:pt x="68" y="140"/>
                      </a:cubicBezTo>
                      <a:cubicBezTo>
                        <a:pt x="66" y="140"/>
                        <a:pt x="63" y="139"/>
                        <a:pt x="60" y="138"/>
                      </a:cubicBezTo>
                      <a:cubicBezTo>
                        <a:pt x="60" y="138"/>
                        <a:pt x="60" y="138"/>
                        <a:pt x="60" y="138"/>
                      </a:cubicBezTo>
                      <a:cubicBezTo>
                        <a:pt x="53" y="150"/>
                        <a:pt x="53" y="150"/>
                        <a:pt x="53" y="150"/>
                      </a:cubicBezTo>
                      <a:cubicBezTo>
                        <a:pt x="52" y="151"/>
                        <a:pt x="51" y="152"/>
                        <a:pt x="50" y="152"/>
                      </a:cubicBezTo>
                      <a:cubicBezTo>
                        <a:pt x="50" y="152"/>
                        <a:pt x="50" y="152"/>
                        <a:pt x="49" y="152"/>
                      </a:cubicBezTo>
                      <a:cubicBezTo>
                        <a:pt x="45" y="150"/>
                        <a:pt x="45" y="150"/>
                        <a:pt x="45" y="150"/>
                      </a:cubicBezTo>
                      <a:cubicBezTo>
                        <a:pt x="44" y="149"/>
                        <a:pt x="44" y="148"/>
                        <a:pt x="44" y="146"/>
                      </a:cubicBezTo>
                      <a:cubicBezTo>
                        <a:pt x="49" y="133"/>
                        <a:pt x="49" y="133"/>
                        <a:pt x="49" y="133"/>
                      </a:cubicBezTo>
                      <a:cubicBezTo>
                        <a:pt x="48" y="133"/>
                        <a:pt x="48" y="133"/>
                        <a:pt x="48" y="133"/>
                      </a:cubicBezTo>
                      <a:cubicBezTo>
                        <a:pt x="46" y="131"/>
                        <a:pt x="44" y="130"/>
                        <a:pt x="41" y="128"/>
                      </a:cubicBezTo>
                      <a:cubicBezTo>
                        <a:pt x="41" y="128"/>
                        <a:pt x="41" y="128"/>
                        <a:pt x="41" y="128"/>
                      </a:cubicBezTo>
                      <a:cubicBezTo>
                        <a:pt x="30" y="136"/>
                        <a:pt x="30" y="136"/>
                        <a:pt x="30" y="136"/>
                      </a:cubicBezTo>
                      <a:cubicBezTo>
                        <a:pt x="30" y="137"/>
                        <a:pt x="29" y="137"/>
                        <a:pt x="28" y="137"/>
                      </a:cubicBezTo>
                      <a:cubicBezTo>
                        <a:pt x="27" y="137"/>
                        <a:pt x="27" y="137"/>
                        <a:pt x="27" y="137"/>
                      </a:cubicBezTo>
                      <a:cubicBezTo>
                        <a:pt x="23" y="134"/>
                        <a:pt x="23" y="134"/>
                        <a:pt x="23" y="134"/>
                      </a:cubicBezTo>
                      <a:cubicBezTo>
                        <a:pt x="22" y="133"/>
                        <a:pt x="23" y="131"/>
                        <a:pt x="24" y="130"/>
                      </a:cubicBezTo>
                      <a:cubicBezTo>
                        <a:pt x="32" y="119"/>
                        <a:pt x="32" y="119"/>
                        <a:pt x="32" y="119"/>
                      </a:cubicBezTo>
                      <a:cubicBezTo>
                        <a:pt x="32" y="119"/>
                        <a:pt x="32" y="119"/>
                        <a:pt x="32" y="119"/>
                      </a:cubicBezTo>
                      <a:cubicBezTo>
                        <a:pt x="30" y="116"/>
                        <a:pt x="29" y="114"/>
                        <a:pt x="27" y="112"/>
                      </a:cubicBezTo>
                      <a:cubicBezTo>
                        <a:pt x="27" y="111"/>
                        <a:pt x="27" y="111"/>
                        <a:pt x="27" y="111"/>
                      </a:cubicBezTo>
                      <a:cubicBezTo>
                        <a:pt x="14" y="116"/>
                        <a:pt x="14" y="116"/>
                        <a:pt x="14" y="116"/>
                      </a:cubicBezTo>
                      <a:cubicBezTo>
                        <a:pt x="14" y="116"/>
                        <a:pt x="13" y="116"/>
                        <a:pt x="12" y="116"/>
                      </a:cubicBezTo>
                      <a:cubicBezTo>
                        <a:pt x="11" y="116"/>
                        <a:pt x="10" y="116"/>
                        <a:pt x="10" y="115"/>
                      </a:cubicBezTo>
                      <a:cubicBezTo>
                        <a:pt x="8" y="111"/>
                        <a:pt x="8" y="111"/>
                        <a:pt x="8" y="111"/>
                      </a:cubicBezTo>
                      <a:cubicBezTo>
                        <a:pt x="8" y="110"/>
                        <a:pt x="8" y="108"/>
                        <a:pt x="10" y="107"/>
                      </a:cubicBezTo>
                      <a:cubicBezTo>
                        <a:pt x="22" y="100"/>
                        <a:pt x="22" y="100"/>
                        <a:pt x="22" y="100"/>
                      </a:cubicBezTo>
                      <a:cubicBezTo>
                        <a:pt x="22" y="100"/>
                        <a:pt x="22" y="100"/>
                        <a:pt x="22" y="100"/>
                      </a:cubicBezTo>
                      <a:cubicBezTo>
                        <a:pt x="21" y="97"/>
                        <a:pt x="20" y="95"/>
                        <a:pt x="19" y="92"/>
                      </a:cubicBezTo>
                      <a:cubicBezTo>
                        <a:pt x="19" y="91"/>
                        <a:pt x="19" y="91"/>
                        <a:pt x="19" y="91"/>
                      </a:cubicBezTo>
                      <a:cubicBezTo>
                        <a:pt x="6" y="91"/>
                        <a:pt x="6" y="91"/>
                        <a:pt x="6" y="91"/>
                      </a:cubicBezTo>
                      <a:cubicBezTo>
                        <a:pt x="4" y="91"/>
                        <a:pt x="2" y="90"/>
                        <a:pt x="2" y="89"/>
                      </a:cubicBezTo>
                      <a:cubicBezTo>
                        <a:pt x="2" y="88"/>
                        <a:pt x="2" y="86"/>
                        <a:pt x="2" y="84"/>
                      </a:cubicBezTo>
                      <a:cubicBezTo>
                        <a:pt x="2" y="83"/>
                        <a:pt x="3" y="82"/>
                        <a:pt x="5" y="82"/>
                      </a:cubicBezTo>
                      <a:cubicBezTo>
                        <a:pt x="18" y="79"/>
                        <a:pt x="18" y="79"/>
                        <a:pt x="18" y="79"/>
                      </a:cubicBezTo>
                      <a:cubicBezTo>
                        <a:pt x="18" y="79"/>
                        <a:pt x="18" y="79"/>
                        <a:pt x="18" y="79"/>
                      </a:cubicBezTo>
                      <a:cubicBezTo>
                        <a:pt x="18" y="77"/>
                        <a:pt x="18" y="76"/>
                        <a:pt x="18" y="75"/>
                      </a:cubicBezTo>
                      <a:cubicBezTo>
                        <a:pt x="19" y="73"/>
                        <a:pt x="19" y="72"/>
                        <a:pt x="19" y="70"/>
                      </a:cubicBezTo>
                      <a:cubicBezTo>
                        <a:pt x="19" y="70"/>
                        <a:pt x="19" y="70"/>
                        <a:pt x="19" y="70"/>
                      </a:cubicBezTo>
                      <a:cubicBezTo>
                        <a:pt x="6" y="65"/>
                        <a:pt x="6" y="65"/>
                        <a:pt x="6" y="65"/>
                      </a:cubicBezTo>
                      <a:cubicBezTo>
                        <a:pt x="4" y="65"/>
                        <a:pt x="3" y="63"/>
                        <a:pt x="4" y="62"/>
                      </a:cubicBezTo>
                      <a:cubicBezTo>
                        <a:pt x="5" y="57"/>
                        <a:pt x="5" y="57"/>
                        <a:pt x="5" y="57"/>
                      </a:cubicBezTo>
                      <a:cubicBezTo>
                        <a:pt x="5" y="56"/>
                        <a:pt x="6" y="56"/>
                        <a:pt x="8" y="56"/>
                      </a:cubicBezTo>
                      <a:cubicBezTo>
                        <a:pt x="8" y="56"/>
                        <a:pt x="8" y="56"/>
                        <a:pt x="9" y="56"/>
                      </a:cubicBezTo>
                      <a:cubicBezTo>
                        <a:pt x="22" y="58"/>
                        <a:pt x="22" y="58"/>
                        <a:pt x="22" y="58"/>
                      </a:cubicBezTo>
                      <a:cubicBezTo>
                        <a:pt x="22" y="58"/>
                        <a:pt x="22" y="58"/>
                        <a:pt x="22" y="58"/>
                      </a:cubicBezTo>
                      <a:cubicBezTo>
                        <a:pt x="23" y="55"/>
                        <a:pt x="24" y="53"/>
                        <a:pt x="26" y="50"/>
                      </a:cubicBezTo>
                      <a:cubicBezTo>
                        <a:pt x="26" y="50"/>
                        <a:pt x="26" y="50"/>
                        <a:pt x="26" y="50"/>
                      </a:cubicBezTo>
                      <a:cubicBezTo>
                        <a:pt x="16" y="41"/>
                        <a:pt x="16" y="41"/>
                        <a:pt x="16" y="41"/>
                      </a:cubicBezTo>
                      <a:cubicBezTo>
                        <a:pt x="14" y="40"/>
                        <a:pt x="14" y="38"/>
                        <a:pt x="14" y="37"/>
                      </a:cubicBezTo>
                      <a:cubicBezTo>
                        <a:pt x="17" y="33"/>
                        <a:pt x="17" y="33"/>
                        <a:pt x="17" y="33"/>
                      </a:cubicBezTo>
                      <a:cubicBezTo>
                        <a:pt x="17" y="33"/>
                        <a:pt x="18" y="32"/>
                        <a:pt x="19" y="32"/>
                      </a:cubicBezTo>
                      <a:cubicBezTo>
                        <a:pt x="19" y="32"/>
                        <a:pt x="20" y="32"/>
                        <a:pt x="21" y="33"/>
                      </a:cubicBezTo>
                      <a:cubicBezTo>
                        <a:pt x="33" y="40"/>
                        <a:pt x="33" y="40"/>
                        <a:pt x="33" y="40"/>
                      </a:cubicBezTo>
                      <a:cubicBezTo>
                        <a:pt x="33" y="39"/>
                        <a:pt x="33" y="39"/>
                        <a:pt x="33" y="39"/>
                      </a:cubicBezTo>
                      <a:cubicBezTo>
                        <a:pt x="35" y="37"/>
                        <a:pt x="37" y="35"/>
                        <a:pt x="39" y="33"/>
                      </a:cubicBezTo>
                      <a:cubicBezTo>
                        <a:pt x="40" y="33"/>
                        <a:pt x="40" y="33"/>
                        <a:pt x="40" y="33"/>
                      </a:cubicBezTo>
                      <a:cubicBezTo>
                        <a:pt x="33" y="21"/>
                        <a:pt x="33" y="21"/>
                        <a:pt x="33" y="21"/>
                      </a:cubicBezTo>
                      <a:cubicBezTo>
                        <a:pt x="32" y="20"/>
                        <a:pt x="32" y="18"/>
                        <a:pt x="33" y="17"/>
                      </a:cubicBezTo>
                      <a:cubicBezTo>
                        <a:pt x="37" y="14"/>
                        <a:pt x="37" y="14"/>
                        <a:pt x="37" y="14"/>
                      </a:cubicBezTo>
                      <a:cubicBezTo>
                        <a:pt x="37" y="14"/>
                        <a:pt x="37" y="14"/>
                        <a:pt x="38" y="14"/>
                      </a:cubicBezTo>
                      <a:cubicBezTo>
                        <a:pt x="39" y="14"/>
                        <a:pt x="40" y="15"/>
                        <a:pt x="41" y="16"/>
                      </a:cubicBezTo>
                      <a:cubicBezTo>
                        <a:pt x="50" y="26"/>
                        <a:pt x="50" y="26"/>
                        <a:pt x="50" y="26"/>
                      </a:cubicBezTo>
                      <a:cubicBezTo>
                        <a:pt x="50" y="26"/>
                        <a:pt x="50" y="26"/>
                        <a:pt x="50" y="26"/>
                      </a:cubicBezTo>
                      <a:cubicBezTo>
                        <a:pt x="52" y="24"/>
                        <a:pt x="55" y="23"/>
                        <a:pt x="57" y="22"/>
                      </a:cubicBezTo>
                      <a:cubicBezTo>
                        <a:pt x="58" y="22"/>
                        <a:pt x="58" y="22"/>
                        <a:pt x="58" y="22"/>
                      </a:cubicBezTo>
                      <a:cubicBezTo>
                        <a:pt x="56" y="8"/>
                        <a:pt x="56" y="8"/>
                        <a:pt x="56" y="8"/>
                      </a:cubicBezTo>
                      <a:cubicBezTo>
                        <a:pt x="55" y="7"/>
                        <a:pt x="56" y="5"/>
                        <a:pt x="57" y="5"/>
                      </a:cubicBezTo>
                      <a:cubicBezTo>
                        <a:pt x="62" y="3"/>
                        <a:pt x="62" y="3"/>
                        <a:pt x="62" y="3"/>
                      </a:cubicBezTo>
                      <a:cubicBezTo>
                        <a:pt x="62" y="3"/>
                        <a:pt x="62" y="3"/>
                        <a:pt x="62" y="3"/>
                      </a:cubicBezTo>
                      <a:cubicBezTo>
                        <a:pt x="63" y="3"/>
                        <a:pt x="64" y="4"/>
                        <a:pt x="65" y="6"/>
                      </a:cubicBezTo>
                      <a:cubicBezTo>
                        <a:pt x="70" y="19"/>
                        <a:pt x="70" y="19"/>
                        <a:pt x="70" y="19"/>
                      </a:cubicBezTo>
                      <a:cubicBezTo>
                        <a:pt x="70" y="19"/>
                        <a:pt x="70" y="19"/>
                        <a:pt x="70" y="19"/>
                      </a:cubicBezTo>
                      <a:cubicBezTo>
                        <a:pt x="73" y="18"/>
                        <a:pt x="76" y="18"/>
                        <a:pt x="79" y="18"/>
                      </a:cubicBezTo>
                      <a:cubicBezTo>
                        <a:pt x="79" y="18"/>
                        <a:pt x="79" y="18"/>
                        <a:pt x="79" y="18"/>
                      </a:cubicBezTo>
                      <a:cubicBezTo>
                        <a:pt x="81" y="4"/>
                        <a:pt x="81" y="4"/>
                        <a:pt x="81" y="4"/>
                      </a:cubicBezTo>
                      <a:cubicBezTo>
                        <a:pt x="82" y="3"/>
                        <a:pt x="83" y="1"/>
                        <a:pt x="84" y="1"/>
                      </a:cubicBezTo>
                      <a:cubicBezTo>
                        <a:pt x="89" y="2"/>
                        <a:pt x="89" y="2"/>
                        <a:pt x="89" y="2"/>
                      </a:cubicBezTo>
                      <a:cubicBezTo>
                        <a:pt x="90" y="2"/>
                        <a:pt x="91" y="3"/>
                        <a:pt x="91" y="5"/>
                      </a:cubicBezTo>
                      <a:cubicBezTo>
                        <a:pt x="91" y="19"/>
                        <a:pt x="91" y="19"/>
                        <a:pt x="91" y="19"/>
                      </a:cubicBezTo>
                      <a:cubicBezTo>
                        <a:pt x="92" y="19"/>
                        <a:pt x="92" y="19"/>
                        <a:pt x="92" y="19"/>
                      </a:cubicBezTo>
                      <a:cubicBezTo>
                        <a:pt x="94" y="20"/>
                        <a:pt x="97" y="20"/>
                        <a:pt x="100" y="21"/>
                      </a:cubicBezTo>
                      <a:cubicBezTo>
                        <a:pt x="100" y="21"/>
                        <a:pt x="100" y="21"/>
                        <a:pt x="100" y="21"/>
                      </a:cubicBezTo>
                      <a:cubicBezTo>
                        <a:pt x="107" y="9"/>
                        <a:pt x="107" y="9"/>
                        <a:pt x="107" y="9"/>
                      </a:cubicBezTo>
                      <a:cubicBezTo>
                        <a:pt x="108" y="8"/>
                        <a:pt x="109" y="7"/>
                        <a:pt x="110" y="7"/>
                      </a:cubicBezTo>
                      <a:cubicBezTo>
                        <a:pt x="110" y="7"/>
                        <a:pt x="110" y="7"/>
                        <a:pt x="111" y="7"/>
                      </a:cubicBezTo>
                      <a:cubicBezTo>
                        <a:pt x="115" y="10"/>
                        <a:pt x="115" y="10"/>
                        <a:pt x="115" y="10"/>
                      </a:cubicBezTo>
                      <a:cubicBezTo>
                        <a:pt x="116" y="10"/>
                        <a:pt x="116" y="12"/>
                        <a:pt x="116" y="13"/>
                      </a:cubicBezTo>
                      <a:cubicBezTo>
                        <a:pt x="111" y="26"/>
                        <a:pt x="111" y="26"/>
                        <a:pt x="111" y="26"/>
                      </a:cubicBezTo>
                      <a:cubicBezTo>
                        <a:pt x="112" y="27"/>
                        <a:pt x="112" y="27"/>
                        <a:pt x="112" y="27"/>
                      </a:cubicBezTo>
                      <a:cubicBezTo>
                        <a:pt x="114" y="28"/>
                        <a:pt x="116" y="30"/>
                        <a:pt x="119" y="31"/>
                      </a:cubicBezTo>
                      <a:cubicBezTo>
                        <a:pt x="119" y="32"/>
                        <a:pt x="119" y="32"/>
                        <a:pt x="119" y="32"/>
                      </a:cubicBezTo>
                      <a:cubicBezTo>
                        <a:pt x="130" y="23"/>
                        <a:pt x="130" y="23"/>
                        <a:pt x="130" y="23"/>
                      </a:cubicBezTo>
                      <a:cubicBezTo>
                        <a:pt x="130" y="22"/>
                        <a:pt x="131" y="22"/>
                        <a:pt x="132" y="22"/>
                      </a:cubicBezTo>
                      <a:cubicBezTo>
                        <a:pt x="133" y="22"/>
                        <a:pt x="133" y="22"/>
                        <a:pt x="133" y="22"/>
                      </a:cubicBezTo>
                      <a:cubicBezTo>
                        <a:pt x="134" y="23"/>
                        <a:pt x="136" y="25"/>
                        <a:pt x="137" y="26"/>
                      </a:cubicBezTo>
                      <a:cubicBezTo>
                        <a:pt x="138" y="27"/>
                        <a:pt x="137" y="28"/>
                        <a:pt x="136" y="30"/>
                      </a:cubicBezTo>
                      <a:cubicBezTo>
                        <a:pt x="128" y="40"/>
                        <a:pt x="128" y="40"/>
                        <a:pt x="128" y="40"/>
                      </a:cubicBezTo>
                      <a:cubicBezTo>
                        <a:pt x="128" y="41"/>
                        <a:pt x="128" y="41"/>
                        <a:pt x="128" y="41"/>
                      </a:cubicBezTo>
                      <a:cubicBezTo>
                        <a:pt x="130" y="43"/>
                        <a:pt x="131" y="45"/>
                        <a:pt x="133" y="48"/>
                      </a:cubicBezTo>
                      <a:cubicBezTo>
                        <a:pt x="133" y="48"/>
                        <a:pt x="133" y="48"/>
                        <a:pt x="133" y="48"/>
                      </a:cubicBezTo>
                      <a:cubicBezTo>
                        <a:pt x="146" y="43"/>
                        <a:pt x="146" y="43"/>
                        <a:pt x="146" y="43"/>
                      </a:cubicBezTo>
                      <a:cubicBezTo>
                        <a:pt x="146" y="43"/>
                        <a:pt x="147" y="43"/>
                        <a:pt x="148" y="43"/>
                      </a:cubicBezTo>
                      <a:cubicBezTo>
                        <a:pt x="149" y="43"/>
                        <a:pt x="150" y="43"/>
                        <a:pt x="150" y="44"/>
                      </a:cubicBezTo>
                      <a:cubicBezTo>
                        <a:pt x="152" y="49"/>
                        <a:pt x="152" y="49"/>
                        <a:pt x="152" y="49"/>
                      </a:cubicBezTo>
                      <a:cubicBezTo>
                        <a:pt x="152" y="49"/>
                        <a:pt x="152" y="51"/>
                        <a:pt x="150" y="52"/>
                      </a:cubicBezTo>
                      <a:cubicBezTo>
                        <a:pt x="138" y="59"/>
                        <a:pt x="138" y="59"/>
                        <a:pt x="138" y="59"/>
                      </a:cubicBezTo>
                      <a:cubicBezTo>
                        <a:pt x="138" y="59"/>
                        <a:pt x="138" y="59"/>
                        <a:pt x="138" y="59"/>
                      </a:cubicBezTo>
                      <a:cubicBezTo>
                        <a:pt x="139" y="62"/>
                        <a:pt x="140" y="65"/>
                        <a:pt x="141" y="67"/>
                      </a:cubicBezTo>
                      <a:cubicBezTo>
                        <a:pt x="141" y="68"/>
                        <a:pt x="141" y="68"/>
                        <a:pt x="141" y="68"/>
                      </a:cubicBezTo>
                      <a:cubicBezTo>
                        <a:pt x="154" y="68"/>
                        <a:pt x="154" y="68"/>
                        <a:pt x="154" y="68"/>
                      </a:cubicBezTo>
                      <a:cubicBezTo>
                        <a:pt x="156" y="68"/>
                        <a:pt x="158" y="69"/>
                        <a:pt x="158" y="70"/>
                      </a:cubicBezTo>
                      <a:cubicBezTo>
                        <a:pt x="158" y="75"/>
                        <a:pt x="158" y="75"/>
                        <a:pt x="158" y="75"/>
                      </a:cubicBezTo>
                      <a:cubicBezTo>
                        <a:pt x="158" y="76"/>
                        <a:pt x="157" y="77"/>
                        <a:pt x="155" y="78"/>
                      </a:cubicBezTo>
                      <a:lnTo>
                        <a:pt x="142" y="8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74"/>
                <p:cNvSpPr>
                  <a:spLocks noEditPoints="1"/>
                </p:cNvSpPr>
                <p:nvPr/>
              </p:nvSpPr>
              <p:spPr bwMode="auto">
                <a:xfrm rot="14718710">
                  <a:off x="12049120" y="5358566"/>
                  <a:ext cx="945245" cy="893805"/>
                </a:xfrm>
                <a:custGeom>
                  <a:avLst/>
                  <a:gdLst>
                    <a:gd name="T0" fmla="*/ 10 w 40"/>
                    <a:gd name="T1" fmla="*/ 39 h 40"/>
                    <a:gd name="T2" fmla="*/ 10 w 40"/>
                    <a:gd name="T3" fmla="*/ 40 h 40"/>
                    <a:gd name="T4" fmla="*/ 40 w 40"/>
                    <a:gd name="T5" fmla="*/ 26 h 40"/>
                    <a:gd name="T6" fmla="*/ 39 w 40"/>
                    <a:gd name="T7" fmla="*/ 25 h 40"/>
                    <a:gd name="T8" fmla="*/ 3 w 40"/>
                    <a:gd name="T9" fmla="*/ 0 h 40"/>
                    <a:gd name="T10" fmla="*/ 2 w 40"/>
                    <a:gd name="T11" fmla="*/ 0 h 40"/>
                    <a:gd name="T12" fmla="*/ 0 w 40"/>
                    <a:gd name="T13" fmla="*/ 32 h 40"/>
                    <a:gd name="T14" fmla="*/ 0 w 40"/>
                    <a:gd name="T15" fmla="*/ 32 h 40"/>
                    <a:gd name="T16" fmla="*/ 10 w 40"/>
                    <a:gd name="T17" fmla="*/ 39 h 40"/>
                    <a:gd name="T18" fmla="*/ 38 w 40"/>
                    <a:gd name="T19" fmla="*/ 25 h 40"/>
                    <a:gd name="T20" fmla="*/ 11 w 40"/>
                    <a:gd name="T21" fmla="*/ 38 h 40"/>
                    <a:gd name="T22" fmla="*/ 1 w 40"/>
                    <a:gd name="T23" fmla="*/ 31 h 40"/>
                    <a:gd name="T24" fmla="*/ 3 w 40"/>
                    <a:gd name="T25" fmla="*/ 1 h 40"/>
                    <a:gd name="T26" fmla="*/ 38 w 40"/>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10" y="39"/>
                      </a:moveTo>
                      <a:cubicBezTo>
                        <a:pt x="10" y="40"/>
                        <a:pt x="10" y="40"/>
                        <a:pt x="10" y="40"/>
                      </a:cubicBezTo>
                      <a:cubicBezTo>
                        <a:pt x="40" y="26"/>
                        <a:pt x="40" y="26"/>
                        <a:pt x="40" y="26"/>
                      </a:cubicBezTo>
                      <a:cubicBezTo>
                        <a:pt x="39" y="25"/>
                        <a:pt x="39" y="25"/>
                        <a:pt x="39" y="25"/>
                      </a:cubicBezTo>
                      <a:cubicBezTo>
                        <a:pt x="31" y="12"/>
                        <a:pt x="18" y="3"/>
                        <a:pt x="3" y="0"/>
                      </a:cubicBezTo>
                      <a:cubicBezTo>
                        <a:pt x="2" y="0"/>
                        <a:pt x="2" y="0"/>
                        <a:pt x="2" y="0"/>
                      </a:cubicBezTo>
                      <a:cubicBezTo>
                        <a:pt x="0" y="32"/>
                        <a:pt x="0" y="32"/>
                        <a:pt x="0" y="32"/>
                      </a:cubicBezTo>
                      <a:cubicBezTo>
                        <a:pt x="0" y="32"/>
                        <a:pt x="0" y="32"/>
                        <a:pt x="0" y="32"/>
                      </a:cubicBezTo>
                      <a:cubicBezTo>
                        <a:pt x="4" y="33"/>
                        <a:pt x="8" y="36"/>
                        <a:pt x="10" y="39"/>
                      </a:cubicBezTo>
                      <a:close/>
                      <a:moveTo>
                        <a:pt x="38" y="25"/>
                      </a:moveTo>
                      <a:cubicBezTo>
                        <a:pt x="11" y="38"/>
                        <a:pt x="11" y="38"/>
                        <a:pt x="11" y="38"/>
                      </a:cubicBezTo>
                      <a:cubicBezTo>
                        <a:pt x="8" y="35"/>
                        <a:pt x="5" y="32"/>
                        <a:pt x="1" y="31"/>
                      </a:cubicBezTo>
                      <a:cubicBezTo>
                        <a:pt x="3" y="1"/>
                        <a:pt x="3" y="1"/>
                        <a:pt x="3" y="1"/>
                      </a:cubicBezTo>
                      <a:cubicBezTo>
                        <a:pt x="18" y="4"/>
                        <a:pt x="30" y="13"/>
                        <a:pt x="38" y="25"/>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75"/>
                <p:cNvSpPr>
                  <a:spLocks noEditPoints="1"/>
                </p:cNvSpPr>
                <p:nvPr/>
              </p:nvSpPr>
              <p:spPr bwMode="auto">
                <a:xfrm rot="14718710">
                  <a:off x="13108360" y="5792334"/>
                  <a:ext cx="617729" cy="558139"/>
                </a:xfrm>
                <a:custGeom>
                  <a:avLst/>
                  <a:gdLst>
                    <a:gd name="T0" fmla="*/ 26 w 26"/>
                    <a:gd name="T1" fmla="*/ 14 h 25"/>
                    <a:gd name="T2" fmla="*/ 14 w 26"/>
                    <a:gd name="T3" fmla="*/ 0 h 25"/>
                    <a:gd name="T4" fmla="*/ 13 w 26"/>
                    <a:gd name="T5" fmla="*/ 0 h 25"/>
                    <a:gd name="T6" fmla="*/ 0 w 26"/>
                    <a:gd name="T7" fmla="*/ 12 h 25"/>
                    <a:gd name="T8" fmla="*/ 3 w 26"/>
                    <a:gd name="T9" fmla="*/ 21 h 25"/>
                    <a:gd name="T10" fmla="*/ 12 w 26"/>
                    <a:gd name="T11" fmla="*/ 25 h 25"/>
                    <a:gd name="T12" fmla="*/ 13 w 26"/>
                    <a:gd name="T13" fmla="*/ 25 h 25"/>
                    <a:gd name="T14" fmla="*/ 26 w 26"/>
                    <a:gd name="T15" fmla="*/ 14 h 25"/>
                    <a:gd name="T16" fmla="*/ 12 w 26"/>
                    <a:gd name="T17" fmla="*/ 24 h 25"/>
                    <a:gd name="T18" fmla="*/ 4 w 26"/>
                    <a:gd name="T19" fmla="*/ 20 h 25"/>
                    <a:gd name="T20" fmla="*/ 2 w 26"/>
                    <a:gd name="T21" fmla="*/ 12 h 25"/>
                    <a:gd name="T22" fmla="*/ 13 w 26"/>
                    <a:gd name="T23" fmla="*/ 1 h 25"/>
                    <a:gd name="T24" fmla="*/ 14 w 26"/>
                    <a:gd name="T25" fmla="*/ 1 h 25"/>
                    <a:gd name="T26" fmla="*/ 24 w 26"/>
                    <a:gd name="T27" fmla="*/ 14 h 25"/>
                    <a:gd name="T28" fmla="*/ 13 w 26"/>
                    <a:gd name="T29" fmla="*/ 24 h 25"/>
                    <a:gd name="T30" fmla="*/ 12 w 26"/>
                    <a:gd name="T3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26" y="14"/>
                      </a:moveTo>
                      <a:cubicBezTo>
                        <a:pt x="26" y="7"/>
                        <a:pt x="21" y="1"/>
                        <a:pt x="14" y="0"/>
                      </a:cubicBezTo>
                      <a:cubicBezTo>
                        <a:pt x="14" y="0"/>
                        <a:pt x="13" y="0"/>
                        <a:pt x="13" y="0"/>
                      </a:cubicBezTo>
                      <a:cubicBezTo>
                        <a:pt x="6" y="0"/>
                        <a:pt x="1" y="5"/>
                        <a:pt x="0" y="12"/>
                      </a:cubicBezTo>
                      <a:cubicBezTo>
                        <a:pt x="0" y="15"/>
                        <a:pt x="1" y="18"/>
                        <a:pt x="3" y="21"/>
                      </a:cubicBezTo>
                      <a:cubicBezTo>
                        <a:pt x="6" y="23"/>
                        <a:pt x="9" y="25"/>
                        <a:pt x="12" y="25"/>
                      </a:cubicBezTo>
                      <a:cubicBezTo>
                        <a:pt x="12" y="25"/>
                        <a:pt x="13" y="25"/>
                        <a:pt x="13" y="25"/>
                      </a:cubicBezTo>
                      <a:cubicBezTo>
                        <a:pt x="20" y="25"/>
                        <a:pt x="25" y="20"/>
                        <a:pt x="26" y="14"/>
                      </a:cubicBezTo>
                      <a:close/>
                      <a:moveTo>
                        <a:pt x="12" y="24"/>
                      </a:moveTo>
                      <a:cubicBezTo>
                        <a:pt x="9" y="24"/>
                        <a:pt x="6" y="22"/>
                        <a:pt x="4" y="20"/>
                      </a:cubicBezTo>
                      <a:cubicBezTo>
                        <a:pt x="2" y="18"/>
                        <a:pt x="1" y="15"/>
                        <a:pt x="2" y="12"/>
                      </a:cubicBezTo>
                      <a:cubicBezTo>
                        <a:pt x="2" y="6"/>
                        <a:pt x="7" y="1"/>
                        <a:pt x="13" y="1"/>
                      </a:cubicBezTo>
                      <a:cubicBezTo>
                        <a:pt x="13" y="1"/>
                        <a:pt x="14" y="1"/>
                        <a:pt x="14" y="1"/>
                      </a:cubicBezTo>
                      <a:cubicBezTo>
                        <a:pt x="20" y="2"/>
                        <a:pt x="25" y="7"/>
                        <a:pt x="24" y="14"/>
                      </a:cubicBezTo>
                      <a:cubicBezTo>
                        <a:pt x="24" y="20"/>
                        <a:pt x="19" y="24"/>
                        <a:pt x="13" y="24"/>
                      </a:cubicBezTo>
                      <a:cubicBezTo>
                        <a:pt x="13" y="24"/>
                        <a:pt x="12" y="24"/>
                        <a:pt x="12" y="2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76"/>
                <p:cNvSpPr>
                  <a:spLocks noEditPoints="1"/>
                </p:cNvSpPr>
                <p:nvPr/>
              </p:nvSpPr>
              <p:spPr bwMode="auto">
                <a:xfrm rot="14718710">
                  <a:off x="13849515" y="5899142"/>
                  <a:ext cx="949393" cy="870384"/>
                </a:xfrm>
                <a:custGeom>
                  <a:avLst/>
                  <a:gdLst>
                    <a:gd name="T0" fmla="*/ 30 w 40"/>
                    <a:gd name="T1" fmla="*/ 0 h 39"/>
                    <a:gd name="T2" fmla="*/ 30 w 40"/>
                    <a:gd name="T3" fmla="*/ 0 h 39"/>
                    <a:gd name="T4" fmla="*/ 0 w 40"/>
                    <a:gd name="T5" fmla="*/ 13 h 39"/>
                    <a:gd name="T6" fmla="*/ 1 w 40"/>
                    <a:gd name="T7" fmla="*/ 14 h 39"/>
                    <a:gd name="T8" fmla="*/ 37 w 40"/>
                    <a:gd name="T9" fmla="*/ 39 h 39"/>
                    <a:gd name="T10" fmla="*/ 38 w 40"/>
                    <a:gd name="T11" fmla="*/ 39 h 39"/>
                    <a:gd name="T12" fmla="*/ 40 w 40"/>
                    <a:gd name="T13" fmla="*/ 7 h 39"/>
                    <a:gd name="T14" fmla="*/ 40 w 40"/>
                    <a:gd name="T15" fmla="*/ 7 h 39"/>
                    <a:gd name="T16" fmla="*/ 30 w 40"/>
                    <a:gd name="T17" fmla="*/ 0 h 39"/>
                    <a:gd name="T18" fmla="*/ 2 w 40"/>
                    <a:gd name="T19" fmla="*/ 14 h 39"/>
                    <a:gd name="T20" fmla="*/ 29 w 40"/>
                    <a:gd name="T21" fmla="*/ 1 h 39"/>
                    <a:gd name="T22" fmla="*/ 39 w 40"/>
                    <a:gd name="T23" fmla="*/ 8 h 39"/>
                    <a:gd name="T24" fmla="*/ 37 w 40"/>
                    <a:gd name="T25" fmla="*/ 38 h 39"/>
                    <a:gd name="T26" fmla="*/ 2 w 40"/>
                    <a:gd name="T27"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9">
                      <a:moveTo>
                        <a:pt x="30" y="0"/>
                      </a:moveTo>
                      <a:cubicBezTo>
                        <a:pt x="30" y="0"/>
                        <a:pt x="30" y="0"/>
                        <a:pt x="30" y="0"/>
                      </a:cubicBezTo>
                      <a:cubicBezTo>
                        <a:pt x="0" y="13"/>
                        <a:pt x="0" y="13"/>
                        <a:pt x="0" y="13"/>
                      </a:cubicBezTo>
                      <a:cubicBezTo>
                        <a:pt x="1" y="14"/>
                        <a:pt x="1" y="14"/>
                        <a:pt x="1" y="14"/>
                      </a:cubicBezTo>
                      <a:cubicBezTo>
                        <a:pt x="9" y="27"/>
                        <a:pt x="22" y="37"/>
                        <a:pt x="37" y="39"/>
                      </a:cubicBezTo>
                      <a:cubicBezTo>
                        <a:pt x="38" y="39"/>
                        <a:pt x="38" y="39"/>
                        <a:pt x="38" y="39"/>
                      </a:cubicBezTo>
                      <a:cubicBezTo>
                        <a:pt x="40" y="7"/>
                        <a:pt x="40" y="7"/>
                        <a:pt x="40" y="7"/>
                      </a:cubicBezTo>
                      <a:cubicBezTo>
                        <a:pt x="40" y="7"/>
                        <a:pt x="40" y="7"/>
                        <a:pt x="40" y="7"/>
                      </a:cubicBezTo>
                      <a:cubicBezTo>
                        <a:pt x="36" y="6"/>
                        <a:pt x="32" y="4"/>
                        <a:pt x="30" y="0"/>
                      </a:cubicBezTo>
                      <a:close/>
                      <a:moveTo>
                        <a:pt x="2" y="14"/>
                      </a:moveTo>
                      <a:cubicBezTo>
                        <a:pt x="29" y="1"/>
                        <a:pt x="29" y="1"/>
                        <a:pt x="29" y="1"/>
                      </a:cubicBezTo>
                      <a:cubicBezTo>
                        <a:pt x="32" y="4"/>
                        <a:pt x="35" y="7"/>
                        <a:pt x="39" y="8"/>
                      </a:cubicBezTo>
                      <a:cubicBezTo>
                        <a:pt x="37" y="38"/>
                        <a:pt x="37" y="38"/>
                        <a:pt x="37" y="38"/>
                      </a:cubicBezTo>
                      <a:cubicBezTo>
                        <a:pt x="22" y="35"/>
                        <a:pt x="10" y="27"/>
                        <a:pt x="2" y="1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77"/>
                <p:cNvSpPr>
                  <a:spLocks noEditPoints="1"/>
                </p:cNvSpPr>
                <p:nvPr/>
              </p:nvSpPr>
              <p:spPr bwMode="auto">
                <a:xfrm rot="14718710">
                  <a:off x="12740798" y="4758274"/>
                  <a:ext cx="804289" cy="1003089"/>
                </a:xfrm>
                <a:custGeom>
                  <a:avLst/>
                  <a:gdLst>
                    <a:gd name="T0" fmla="*/ 30 w 34"/>
                    <a:gd name="T1" fmla="*/ 0 h 45"/>
                    <a:gd name="T2" fmla="*/ 1 w 34"/>
                    <a:gd name="T3" fmla="*/ 14 h 45"/>
                    <a:gd name="T4" fmla="*/ 1 w 34"/>
                    <a:gd name="T5" fmla="*/ 14 h 45"/>
                    <a:gd name="T6" fmla="*/ 1 w 34"/>
                    <a:gd name="T7" fmla="*/ 20 h 45"/>
                    <a:gd name="T8" fmla="*/ 0 w 34"/>
                    <a:gd name="T9" fmla="*/ 27 h 45"/>
                    <a:gd name="T10" fmla="*/ 0 w 34"/>
                    <a:gd name="T11" fmla="*/ 27 h 45"/>
                    <a:gd name="T12" fmla="*/ 26 w 34"/>
                    <a:gd name="T13" fmla="*/ 45 h 45"/>
                    <a:gd name="T14" fmla="*/ 26 w 34"/>
                    <a:gd name="T15" fmla="*/ 45 h 45"/>
                    <a:gd name="T16" fmla="*/ 33 w 34"/>
                    <a:gd name="T17" fmla="*/ 23 h 45"/>
                    <a:gd name="T18" fmla="*/ 30 w 34"/>
                    <a:gd name="T19" fmla="*/ 1 h 45"/>
                    <a:gd name="T20" fmla="*/ 30 w 34"/>
                    <a:gd name="T21" fmla="*/ 0 h 45"/>
                    <a:gd name="T22" fmla="*/ 1 w 34"/>
                    <a:gd name="T23" fmla="*/ 27 h 45"/>
                    <a:gd name="T24" fmla="*/ 3 w 34"/>
                    <a:gd name="T25" fmla="*/ 20 h 45"/>
                    <a:gd name="T26" fmla="*/ 2 w 34"/>
                    <a:gd name="T27" fmla="*/ 14 h 45"/>
                    <a:gd name="T28" fmla="*/ 29 w 34"/>
                    <a:gd name="T29" fmla="*/ 2 h 45"/>
                    <a:gd name="T30" fmla="*/ 32 w 34"/>
                    <a:gd name="T31" fmla="*/ 23 h 45"/>
                    <a:gd name="T32" fmla="*/ 26 w 34"/>
                    <a:gd name="T33" fmla="*/ 44 h 45"/>
                    <a:gd name="T34" fmla="*/ 1 w 34"/>
                    <a:gd name="T3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0" y="0"/>
                      </a:moveTo>
                      <a:cubicBezTo>
                        <a:pt x="1" y="14"/>
                        <a:pt x="1" y="14"/>
                        <a:pt x="1" y="14"/>
                      </a:cubicBezTo>
                      <a:cubicBezTo>
                        <a:pt x="1" y="14"/>
                        <a:pt x="1" y="14"/>
                        <a:pt x="1" y="14"/>
                      </a:cubicBezTo>
                      <a:cubicBezTo>
                        <a:pt x="1" y="16"/>
                        <a:pt x="2" y="18"/>
                        <a:pt x="1" y="20"/>
                      </a:cubicBezTo>
                      <a:cubicBezTo>
                        <a:pt x="1" y="22"/>
                        <a:pt x="1" y="25"/>
                        <a:pt x="0" y="27"/>
                      </a:cubicBezTo>
                      <a:cubicBezTo>
                        <a:pt x="0" y="27"/>
                        <a:pt x="0" y="27"/>
                        <a:pt x="0" y="27"/>
                      </a:cubicBezTo>
                      <a:cubicBezTo>
                        <a:pt x="26" y="45"/>
                        <a:pt x="26" y="45"/>
                        <a:pt x="26" y="45"/>
                      </a:cubicBezTo>
                      <a:cubicBezTo>
                        <a:pt x="26" y="45"/>
                        <a:pt x="26" y="45"/>
                        <a:pt x="26" y="45"/>
                      </a:cubicBezTo>
                      <a:cubicBezTo>
                        <a:pt x="30" y="38"/>
                        <a:pt x="32" y="31"/>
                        <a:pt x="33" y="23"/>
                      </a:cubicBezTo>
                      <a:cubicBezTo>
                        <a:pt x="34" y="15"/>
                        <a:pt x="33" y="8"/>
                        <a:pt x="30" y="1"/>
                      </a:cubicBezTo>
                      <a:lnTo>
                        <a:pt x="30" y="0"/>
                      </a:lnTo>
                      <a:close/>
                      <a:moveTo>
                        <a:pt x="1" y="27"/>
                      </a:moveTo>
                      <a:cubicBezTo>
                        <a:pt x="2" y="25"/>
                        <a:pt x="2" y="23"/>
                        <a:pt x="3" y="20"/>
                      </a:cubicBezTo>
                      <a:cubicBezTo>
                        <a:pt x="3" y="18"/>
                        <a:pt x="3" y="16"/>
                        <a:pt x="2" y="14"/>
                      </a:cubicBezTo>
                      <a:cubicBezTo>
                        <a:pt x="29" y="2"/>
                        <a:pt x="29" y="2"/>
                        <a:pt x="29" y="2"/>
                      </a:cubicBezTo>
                      <a:cubicBezTo>
                        <a:pt x="32" y="8"/>
                        <a:pt x="33" y="16"/>
                        <a:pt x="32" y="23"/>
                      </a:cubicBezTo>
                      <a:cubicBezTo>
                        <a:pt x="31" y="30"/>
                        <a:pt x="29" y="37"/>
                        <a:pt x="26" y="44"/>
                      </a:cubicBezTo>
                      <a:lnTo>
                        <a:pt x="1" y="2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78"/>
                <p:cNvSpPr>
                  <a:spLocks noEditPoints="1"/>
                </p:cNvSpPr>
                <p:nvPr/>
              </p:nvSpPr>
              <p:spPr bwMode="auto">
                <a:xfrm rot="14718710">
                  <a:off x="13288156" y="6383331"/>
                  <a:ext cx="808436" cy="1003089"/>
                </a:xfrm>
                <a:custGeom>
                  <a:avLst/>
                  <a:gdLst>
                    <a:gd name="T0" fmla="*/ 33 w 34"/>
                    <a:gd name="T1" fmla="*/ 31 h 45"/>
                    <a:gd name="T2" fmla="*/ 33 w 34"/>
                    <a:gd name="T3" fmla="*/ 25 h 45"/>
                    <a:gd name="T4" fmla="*/ 34 w 34"/>
                    <a:gd name="T5" fmla="*/ 19 h 45"/>
                    <a:gd name="T6" fmla="*/ 34 w 34"/>
                    <a:gd name="T7" fmla="*/ 18 h 45"/>
                    <a:gd name="T8" fmla="*/ 8 w 34"/>
                    <a:gd name="T9" fmla="*/ 0 h 45"/>
                    <a:gd name="T10" fmla="*/ 8 w 34"/>
                    <a:gd name="T11" fmla="*/ 1 h 45"/>
                    <a:gd name="T12" fmla="*/ 1 w 34"/>
                    <a:gd name="T13" fmla="*/ 22 h 45"/>
                    <a:gd name="T14" fmla="*/ 4 w 34"/>
                    <a:gd name="T15" fmla="*/ 45 h 45"/>
                    <a:gd name="T16" fmla="*/ 4 w 34"/>
                    <a:gd name="T17" fmla="*/ 45 h 45"/>
                    <a:gd name="T18" fmla="*/ 33 w 34"/>
                    <a:gd name="T19" fmla="*/ 32 h 45"/>
                    <a:gd name="T20" fmla="*/ 33 w 34"/>
                    <a:gd name="T21" fmla="*/ 31 h 45"/>
                    <a:gd name="T22" fmla="*/ 33 w 34"/>
                    <a:gd name="T23" fmla="*/ 19 h 45"/>
                    <a:gd name="T24" fmla="*/ 31 w 34"/>
                    <a:gd name="T25" fmla="*/ 25 h 45"/>
                    <a:gd name="T26" fmla="*/ 32 w 34"/>
                    <a:gd name="T27" fmla="*/ 31 h 45"/>
                    <a:gd name="T28" fmla="*/ 5 w 34"/>
                    <a:gd name="T29" fmla="*/ 44 h 45"/>
                    <a:gd name="T30" fmla="*/ 2 w 34"/>
                    <a:gd name="T31" fmla="*/ 22 h 45"/>
                    <a:gd name="T32" fmla="*/ 8 w 34"/>
                    <a:gd name="T33" fmla="*/ 2 h 45"/>
                    <a:gd name="T34" fmla="*/ 33 w 34"/>
                    <a:gd name="T3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3" y="31"/>
                      </a:moveTo>
                      <a:cubicBezTo>
                        <a:pt x="33" y="29"/>
                        <a:pt x="32" y="27"/>
                        <a:pt x="33" y="25"/>
                      </a:cubicBezTo>
                      <a:cubicBezTo>
                        <a:pt x="33" y="23"/>
                        <a:pt x="33" y="21"/>
                        <a:pt x="34" y="19"/>
                      </a:cubicBezTo>
                      <a:cubicBezTo>
                        <a:pt x="34" y="18"/>
                        <a:pt x="34" y="18"/>
                        <a:pt x="34" y="18"/>
                      </a:cubicBezTo>
                      <a:cubicBezTo>
                        <a:pt x="8" y="0"/>
                        <a:pt x="8" y="0"/>
                        <a:pt x="8" y="0"/>
                      </a:cubicBezTo>
                      <a:cubicBezTo>
                        <a:pt x="8" y="1"/>
                        <a:pt x="8" y="1"/>
                        <a:pt x="8" y="1"/>
                      </a:cubicBezTo>
                      <a:cubicBezTo>
                        <a:pt x="4" y="7"/>
                        <a:pt x="2" y="15"/>
                        <a:pt x="1" y="22"/>
                      </a:cubicBezTo>
                      <a:cubicBezTo>
                        <a:pt x="0" y="30"/>
                        <a:pt x="1" y="38"/>
                        <a:pt x="4" y="45"/>
                      </a:cubicBezTo>
                      <a:cubicBezTo>
                        <a:pt x="4" y="45"/>
                        <a:pt x="4" y="45"/>
                        <a:pt x="4" y="45"/>
                      </a:cubicBezTo>
                      <a:cubicBezTo>
                        <a:pt x="33" y="32"/>
                        <a:pt x="33" y="32"/>
                        <a:pt x="33" y="32"/>
                      </a:cubicBezTo>
                      <a:lnTo>
                        <a:pt x="33" y="31"/>
                      </a:lnTo>
                      <a:close/>
                      <a:moveTo>
                        <a:pt x="33" y="19"/>
                      </a:moveTo>
                      <a:cubicBezTo>
                        <a:pt x="32" y="21"/>
                        <a:pt x="32" y="23"/>
                        <a:pt x="31" y="25"/>
                      </a:cubicBezTo>
                      <a:cubicBezTo>
                        <a:pt x="31" y="27"/>
                        <a:pt x="31" y="29"/>
                        <a:pt x="32" y="31"/>
                      </a:cubicBezTo>
                      <a:cubicBezTo>
                        <a:pt x="5" y="44"/>
                        <a:pt x="5" y="44"/>
                        <a:pt x="5" y="44"/>
                      </a:cubicBezTo>
                      <a:cubicBezTo>
                        <a:pt x="2" y="37"/>
                        <a:pt x="1" y="30"/>
                        <a:pt x="2" y="22"/>
                      </a:cubicBezTo>
                      <a:cubicBezTo>
                        <a:pt x="3" y="15"/>
                        <a:pt x="5" y="8"/>
                        <a:pt x="8" y="2"/>
                      </a:cubicBezTo>
                      <a:lnTo>
                        <a:pt x="33"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0" name="Group 79"/>
              <p:cNvGrpSpPr/>
              <p:nvPr/>
            </p:nvGrpSpPr>
            <p:grpSpPr>
              <a:xfrm>
                <a:off x="7156953" y="1428046"/>
                <a:ext cx="1780923" cy="1994479"/>
                <a:chOff x="8588894" y="2255520"/>
                <a:chExt cx="3013174" cy="3225446"/>
              </a:xfrm>
            </p:grpSpPr>
            <p:sp>
              <p:nvSpPr>
                <p:cNvPr id="81" name="Freeform 80"/>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81"/>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82"/>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83"/>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84"/>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86"/>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87"/>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89"/>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2" name="Group 91"/>
              <p:cNvGrpSpPr/>
              <p:nvPr/>
            </p:nvGrpSpPr>
            <p:grpSpPr>
              <a:xfrm rot="312052">
                <a:off x="9003746" y="2958669"/>
                <a:ext cx="1365191" cy="1528895"/>
                <a:chOff x="8588894" y="2255520"/>
                <a:chExt cx="3013174" cy="3225446"/>
              </a:xfrm>
            </p:grpSpPr>
            <p:sp>
              <p:nvSpPr>
                <p:cNvPr id="93" name="Freeform 92"/>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93"/>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94"/>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95"/>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99"/>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00"/>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101"/>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2"/>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4" name="Group 103"/>
              <p:cNvGrpSpPr/>
              <p:nvPr/>
            </p:nvGrpSpPr>
            <p:grpSpPr>
              <a:xfrm rot="312052">
                <a:off x="8861472" y="2004112"/>
                <a:ext cx="917011" cy="991809"/>
                <a:chOff x="8588894" y="2255520"/>
                <a:chExt cx="3013174" cy="3225446"/>
              </a:xfrm>
            </p:grpSpPr>
            <p:sp>
              <p:nvSpPr>
                <p:cNvPr id="106" name="Freeform 105"/>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7"/>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09"/>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110"/>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11"/>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12"/>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Freeform 114"/>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117"/>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9" name="Group 118"/>
              <p:cNvGrpSpPr/>
              <p:nvPr/>
            </p:nvGrpSpPr>
            <p:grpSpPr>
              <a:xfrm>
                <a:off x="2953650" y="3200133"/>
                <a:ext cx="2339975" cy="2685095"/>
                <a:chOff x="11643278" y="4174693"/>
                <a:chExt cx="3547895" cy="3793424"/>
              </a:xfrm>
            </p:grpSpPr>
            <p:sp>
              <p:nvSpPr>
                <p:cNvPr id="120" name="Freeform 119"/>
                <p:cNvSpPr>
                  <a:spLocks noEditPoints="1"/>
                </p:cNvSpPr>
                <p:nvPr/>
              </p:nvSpPr>
              <p:spPr bwMode="auto">
                <a:xfrm rot="14718710">
                  <a:off x="12456513" y="6400764"/>
                  <a:ext cx="970121" cy="850870"/>
                </a:xfrm>
                <a:custGeom>
                  <a:avLst/>
                  <a:gdLst>
                    <a:gd name="T0" fmla="*/ 27 w 41"/>
                    <a:gd name="T1" fmla="*/ 38 h 38"/>
                    <a:gd name="T2" fmla="*/ 38 w 41"/>
                    <a:gd name="T3" fmla="*/ 32 h 38"/>
                    <a:gd name="T4" fmla="*/ 39 w 41"/>
                    <a:gd name="T5" fmla="*/ 32 h 38"/>
                    <a:gd name="T6" fmla="*/ 41 w 41"/>
                    <a:gd name="T7" fmla="*/ 0 h 38"/>
                    <a:gd name="T8" fmla="*/ 41 w 41"/>
                    <a:gd name="T9" fmla="*/ 0 h 38"/>
                    <a:gd name="T10" fmla="*/ 1 w 41"/>
                    <a:gd name="T11" fmla="*/ 19 h 38"/>
                    <a:gd name="T12" fmla="*/ 0 w 41"/>
                    <a:gd name="T13" fmla="*/ 20 h 38"/>
                    <a:gd name="T14" fmla="*/ 27 w 41"/>
                    <a:gd name="T15" fmla="*/ 38 h 38"/>
                    <a:gd name="T16" fmla="*/ 2 w 41"/>
                    <a:gd name="T17" fmla="*/ 20 h 38"/>
                    <a:gd name="T18" fmla="*/ 40 w 41"/>
                    <a:gd name="T19" fmla="*/ 2 h 38"/>
                    <a:gd name="T20" fmla="*/ 38 w 41"/>
                    <a:gd name="T21" fmla="*/ 31 h 38"/>
                    <a:gd name="T22" fmla="*/ 27 w 41"/>
                    <a:gd name="T23" fmla="*/ 37 h 38"/>
                    <a:gd name="T24" fmla="*/ 2 w 41"/>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8">
                      <a:moveTo>
                        <a:pt x="27" y="38"/>
                      </a:moveTo>
                      <a:cubicBezTo>
                        <a:pt x="30" y="35"/>
                        <a:pt x="34" y="33"/>
                        <a:pt x="38" y="32"/>
                      </a:cubicBezTo>
                      <a:cubicBezTo>
                        <a:pt x="39" y="32"/>
                        <a:pt x="39" y="32"/>
                        <a:pt x="39" y="32"/>
                      </a:cubicBezTo>
                      <a:cubicBezTo>
                        <a:pt x="41" y="0"/>
                        <a:pt x="41" y="0"/>
                        <a:pt x="41" y="0"/>
                      </a:cubicBezTo>
                      <a:cubicBezTo>
                        <a:pt x="41" y="0"/>
                        <a:pt x="41" y="0"/>
                        <a:pt x="41" y="0"/>
                      </a:cubicBezTo>
                      <a:cubicBezTo>
                        <a:pt x="25" y="0"/>
                        <a:pt x="11" y="7"/>
                        <a:pt x="1" y="19"/>
                      </a:cubicBezTo>
                      <a:cubicBezTo>
                        <a:pt x="0" y="20"/>
                        <a:pt x="0" y="20"/>
                        <a:pt x="0" y="20"/>
                      </a:cubicBezTo>
                      <a:cubicBezTo>
                        <a:pt x="27" y="38"/>
                        <a:pt x="27" y="38"/>
                        <a:pt x="27" y="38"/>
                      </a:cubicBezTo>
                      <a:close/>
                      <a:moveTo>
                        <a:pt x="2" y="20"/>
                      </a:moveTo>
                      <a:cubicBezTo>
                        <a:pt x="12" y="8"/>
                        <a:pt x="26" y="2"/>
                        <a:pt x="40" y="2"/>
                      </a:cubicBezTo>
                      <a:cubicBezTo>
                        <a:pt x="38" y="31"/>
                        <a:pt x="38" y="31"/>
                        <a:pt x="38" y="31"/>
                      </a:cubicBezTo>
                      <a:cubicBezTo>
                        <a:pt x="34" y="32"/>
                        <a:pt x="30" y="34"/>
                        <a:pt x="27" y="37"/>
                      </a:cubicBezTo>
                      <a:lnTo>
                        <a:pt x="2" y="2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120"/>
                <p:cNvSpPr>
                  <a:spLocks noEditPoints="1"/>
                </p:cNvSpPr>
                <p:nvPr/>
              </p:nvSpPr>
              <p:spPr bwMode="auto">
                <a:xfrm rot="14718710">
                  <a:off x="13406609" y="4893055"/>
                  <a:ext cx="974268" cy="850870"/>
                </a:xfrm>
                <a:custGeom>
                  <a:avLst/>
                  <a:gdLst>
                    <a:gd name="T0" fmla="*/ 14 w 41"/>
                    <a:gd name="T1" fmla="*/ 1 h 38"/>
                    <a:gd name="T2" fmla="*/ 3 w 41"/>
                    <a:gd name="T3" fmla="*/ 6 h 38"/>
                    <a:gd name="T4" fmla="*/ 2 w 41"/>
                    <a:gd name="T5" fmla="*/ 6 h 38"/>
                    <a:gd name="T6" fmla="*/ 0 w 41"/>
                    <a:gd name="T7" fmla="*/ 38 h 38"/>
                    <a:gd name="T8" fmla="*/ 0 w 41"/>
                    <a:gd name="T9" fmla="*/ 38 h 38"/>
                    <a:gd name="T10" fmla="*/ 40 w 41"/>
                    <a:gd name="T11" fmla="*/ 19 h 38"/>
                    <a:gd name="T12" fmla="*/ 41 w 41"/>
                    <a:gd name="T13" fmla="*/ 19 h 38"/>
                    <a:gd name="T14" fmla="*/ 14 w 41"/>
                    <a:gd name="T15" fmla="*/ 0 h 38"/>
                    <a:gd name="T16" fmla="*/ 14 w 41"/>
                    <a:gd name="T17" fmla="*/ 1 h 38"/>
                    <a:gd name="T18" fmla="*/ 39 w 41"/>
                    <a:gd name="T19" fmla="*/ 19 h 38"/>
                    <a:gd name="T20" fmla="*/ 1 w 41"/>
                    <a:gd name="T21" fmla="*/ 37 h 38"/>
                    <a:gd name="T22" fmla="*/ 3 w 41"/>
                    <a:gd name="T23" fmla="*/ 7 h 38"/>
                    <a:gd name="T24" fmla="*/ 14 w 41"/>
                    <a:gd name="T25" fmla="*/ 2 h 38"/>
                    <a:gd name="T26" fmla="*/ 39 w 41"/>
                    <a:gd name="T2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14" y="1"/>
                      </a:moveTo>
                      <a:cubicBezTo>
                        <a:pt x="11" y="4"/>
                        <a:pt x="7" y="5"/>
                        <a:pt x="3" y="6"/>
                      </a:cubicBezTo>
                      <a:cubicBezTo>
                        <a:pt x="2" y="6"/>
                        <a:pt x="2" y="6"/>
                        <a:pt x="2" y="6"/>
                      </a:cubicBezTo>
                      <a:cubicBezTo>
                        <a:pt x="0" y="38"/>
                        <a:pt x="0" y="38"/>
                        <a:pt x="0" y="38"/>
                      </a:cubicBezTo>
                      <a:cubicBezTo>
                        <a:pt x="0" y="38"/>
                        <a:pt x="0" y="38"/>
                        <a:pt x="0" y="38"/>
                      </a:cubicBezTo>
                      <a:cubicBezTo>
                        <a:pt x="16" y="38"/>
                        <a:pt x="30" y="31"/>
                        <a:pt x="40" y="19"/>
                      </a:cubicBezTo>
                      <a:cubicBezTo>
                        <a:pt x="41" y="19"/>
                        <a:pt x="41" y="19"/>
                        <a:pt x="41" y="19"/>
                      </a:cubicBezTo>
                      <a:cubicBezTo>
                        <a:pt x="14" y="0"/>
                        <a:pt x="14" y="0"/>
                        <a:pt x="14" y="0"/>
                      </a:cubicBezTo>
                      <a:lnTo>
                        <a:pt x="14" y="1"/>
                      </a:lnTo>
                      <a:close/>
                      <a:moveTo>
                        <a:pt x="39" y="19"/>
                      </a:moveTo>
                      <a:cubicBezTo>
                        <a:pt x="29" y="30"/>
                        <a:pt x="15" y="37"/>
                        <a:pt x="1" y="37"/>
                      </a:cubicBezTo>
                      <a:cubicBezTo>
                        <a:pt x="3" y="7"/>
                        <a:pt x="3" y="7"/>
                        <a:pt x="3" y="7"/>
                      </a:cubicBezTo>
                      <a:cubicBezTo>
                        <a:pt x="7" y="6"/>
                        <a:pt x="11" y="5"/>
                        <a:pt x="14" y="2"/>
                      </a:cubicBezTo>
                      <a:lnTo>
                        <a:pt x="39"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121"/>
                <p:cNvSpPr>
                  <a:spLocks noEditPoints="1"/>
                </p:cNvSpPr>
                <p:nvPr/>
              </p:nvSpPr>
              <p:spPr bwMode="auto">
                <a:xfrm rot="14718710">
                  <a:off x="11520514" y="4297457"/>
                  <a:ext cx="3793424" cy="3547895"/>
                </a:xfrm>
                <a:custGeom>
                  <a:avLst/>
                  <a:gdLst>
                    <a:gd name="T0" fmla="*/ 154 w 160"/>
                    <a:gd name="T1" fmla="*/ 67 h 159"/>
                    <a:gd name="T2" fmla="*/ 151 w 160"/>
                    <a:gd name="T3" fmla="*/ 43 h 159"/>
                    <a:gd name="T4" fmla="*/ 137 w 160"/>
                    <a:gd name="T5" fmla="*/ 30 h 159"/>
                    <a:gd name="T6" fmla="*/ 119 w 160"/>
                    <a:gd name="T7" fmla="*/ 30 h 159"/>
                    <a:gd name="T8" fmla="*/ 110 w 160"/>
                    <a:gd name="T9" fmla="*/ 6 h 159"/>
                    <a:gd name="T10" fmla="*/ 89 w 160"/>
                    <a:gd name="T11" fmla="*/ 1 h 159"/>
                    <a:gd name="T12" fmla="*/ 71 w 160"/>
                    <a:gd name="T13" fmla="*/ 17 h 159"/>
                    <a:gd name="T14" fmla="*/ 54 w 160"/>
                    <a:gd name="T15" fmla="*/ 9 h 159"/>
                    <a:gd name="T16" fmla="*/ 36 w 160"/>
                    <a:gd name="T17" fmla="*/ 13 h 159"/>
                    <a:gd name="T18" fmla="*/ 22 w 160"/>
                    <a:gd name="T19" fmla="*/ 32 h 159"/>
                    <a:gd name="T20" fmla="*/ 25 w 160"/>
                    <a:gd name="T21" fmla="*/ 50 h 159"/>
                    <a:gd name="T22" fmla="*/ 2 w 160"/>
                    <a:gd name="T23" fmla="*/ 62 h 159"/>
                    <a:gd name="T24" fmla="*/ 4 w 160"/>
                    <a:gd name="T25" fmla="*/ 81 h 159"/>
                    <a:gd name="T26" fmla="*/ 20 w 160"/>
                    <a:gd name="T27" fmla="*/ 100 h 159"/>
                    <a:gd name="T28" fmla="*/ 14 w 160"/>
                    <a:gd name="T29" fmla="*/ 117 h 159"/>
                    <a:gd name="T30" fmla="*/ 26 w 160"/>
                    <a:gd name="T31" fmla="*/ 138 h 159"/>
                    <a:gd name="T32" fmla="*/ 43 w 160"/>
                    <a:gd name="T33" fmla="*/ 146 h 159"/>
                    <a:gd name="T34" fmla="*/ 60 w 160"/>
                    <a:gd name="T35" fmla="*/ 139 h 159"/>
                    <a:gd name="T36" fmla="*/ 76 w 160"/>
                    <a:gd name="T37" fmla="*/ 159 h 159"/>
                    <a:gd name="T38" fmla="*/ 98 w 160"/>
                    <a:gd name="T39" fmla="*/ 157 h 159"/>
                    <a:gd name="T40" fmla="*/ 110 w 160"/>
                    <a:gd name="T41" fmla="*/ 135 h 159"/>
                    <a:gd name="T42" fmla="*/ 128 w 160"/>
                    <a:gd name="T43" fmla="*/ 138 h 159"/>
                    <a:gd name="T44" fmla="*/ 144 w 160"/>
                    <a:gd name="T45" fmla="*/ 127 h 159"/>
                    <a:gd name="T46" fmla="*/ 151 w 160"/>
                    <a:gd name="T47" fmla="*/ 105 h 159"/>
                    <a:gd name="T48" fmla="*/ 142 w 160"/>
                    <a:gd name="T49" fmla="*/ 89 h 159"/>
                    <a:gd name="T50" fmla="*/ 142 w 160"/>
                    <a:gd name="T51" fmla="*/ 85 h 159"/>
                    <a:gd name="T52" fmla="*/ 155 w 160"/>
                    <a:gd name="T53" fmla="*/ 102 h 159"/>
                    <a:gd name="T54" fmla="*/ 134 w 160"/>
                    <a:gd name="T55" fmla="*/ 109 h 159"/>
                    <a:gd name="T56" fmla="*/ 141 w 160"/>
                    <a:gd name="T57" fmla="*/ 127 h 159"/>
                    <a:gd name="T58" fmla="*/ 120 w 160"/>
                    <a:gd name="T59" fmla="*/ 126 h 159"/>
                    <a:gd name="T60" fmla="*/ 119 w 160"/>
                    <a:gd name="T61" fmla="*/ 144 h 159"/>
                    <a:gd name="T62" fmla="*/ 104 w 160"/>
                    <a:gd name="T63" fmla="*/ 151 h 159"/>
                    <a:gd name="T64" fmla="*/ 90 w 160"/>
                    <a:gd name="T65" fmla="*/ 141 h 159"/>
                    <a:gd name="T66" fmla="*/ 76 w 160"/>
                    <a:gd name="T67" fmla="*/ 158 h 159"/>
                    <a:gd name="T68" fmla="*/ 60 w 160"/>
                    <a:gd name="T69" fmla="*/ 138 h 159"/>
                    <a:gd name="T70" fmla="*/ 45 w 160"/>
                    <a:gd name="T71" fmla="*/ 150 h 159"/>
                    <a:gd name="T72" fmla="*/ 41 w 160"/>
                    <a:gd name="T73" fmla="*/ 128 h 159"/>
                    <a:gd name="T74" fmla="*/ 24 w 160"/>
                    <a:gd name="T75" fmla="*/ 130 h 159"/>
                    <a:gd name="T76" fmla="*/ 14 w 160"/>
                    <a:gd name="T77" fmla="*/ 116 h 159"/>
                    <a:gd name="T78" fmla="*/ 22 w 160"/>
                    <a:gd name="T79" fmla="*/ 100 h 159"/>
                    <a:gd name="T80" fmla="*/ 2 w 160"/>
                    <a:gd name="T81" fmla="*/ 89 h 159"/>
                    <a:gd name="T82" fmla="*/ 18 w 160"/>
                    <a:gd name="T83" fmla="*/ 75 h 159"/>
                    <a:gd name="T84" fmla="*/ 5 w 160"/>
                    <a:gd name="T85" fmla="*/ 57 h 159"/>
                    <a:gd name="T86" fmla="*/ 26 w 160"/>
                    <a:gd name="T87" fmla="*/ 50 h 159"/>
                    <a:gd name="T88" fmla="*/ 19 w 160"/>
                    <a:gd name="T89" fmla="*/ 32 h 159"/>
                    <a:gd name="T90" fmla="*/ 40 w 160"/>
                    <a:gd name="T91" fmla="*/ 33 h 159"/>
                    <a:gd name="T92" fmla="*/ 41 w 160"/>
                    <a:gd name="T93" fmla="*/ 16 h 159"/>
                    <a:gd name="T94" fmla="*/ 56 w 160"/>
                    <a:gd name="T95" fmla="*/ 8 h 159"/>
                    <a:gd name="T96" fmla="*/ 70 w 160"/>
                    <a:gd name="T97" fmla="*/ 19 h 159"/>
                    <a:gd name="T98" fmla="*/ 84 w 160"/>
                    <a:gd name="T99" fmla="*/ 1 h 159"/>
                    <a:gd name="T100" fmla="*/ 100 w 160"/>
                    <a:gd name="T101" fmla="*/ 21 h 159"/>
                    <a:gd name="T102" fmla="*/ 115 w 160"/>
                    <a:gd name="T103" fmla="*/ 10 h 159"/>
                    <a:gd name="T104" fmla="*/ 119 w 160"/>
                    <a:gd name="T105" fmla="*/ 32 h 159"/>
                    <a:gd name="T106" fmla="*/ 136 w 160"/>
                    <a:gd name="T107" fmla="*/ 30 h 159"/>
                    <a:gd name="T108" fmla="*/ 146 w 160"/>
                    <a:gd name="T109" fmla="*/ 43 h 159"/>
                    <a:gd name="T110" fmla="*/ 138 w 160"/>
                    <a:gd name="T111" fmla="*/ 59 h 159"/>
                    <a:gd name="T112" fmla="*/ 158 w 160"/>
                    <a:gd name="T113"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143" y="81"/>
                      </a:moveTo>
                      <a:cubicBezTo>
                        <a:pt x="156" y="79"/>
                        <a:pt x="156" y="79"/>
                        <a:pt x="156" y="79"/>
                      </a:cubicBezTo>
                      <a:cubicBezTo>
                        <a:pt x="158" y="78"/>
                        <a:pt x="160" y="77"/>
                        <a:pt x="159" y="75"/>
                      </a:cubicBezTo>
                      <a:cubicBezTo>
                        <a:pt x="159" y="70"/>
                        <a:pt x="159" y="70"/>
                        <a:pt x="159" y="70"/>
                      </a:cubicBezTo>
                      <a:cubicBezTo>
                        <a:pt x="159" y="68"/>
                        <a:pt x="157" y="67"/>
                        <a:pt x="154" y="67"/>
                      </a:cubicBezTo>
                      <a:cubicBezTo>
                        <a:pt x="142" y="67"/>
                        <a:pt x="142" y="67"/>
                        <a:pt x="142" y="67"/>
                      </a:cubicBezTo>
                      <a:cubicBezTo>
                        <a:pt x="141" y="64"/>
                        <a:pt x="140" y="62"/>
                        <a:pt x="140" y="60"/>
                      </a:cubicBezTo>
                      <a:cubicBezTo>
                        <a:pt x="151" y="53"/>
                        <a:pt x="151" y="53"/>
                        <a:pt x="151" y="53"/>
                      </a:cubicBezTo>
                      <a:cubicBezTo>
                        <a:pt x="153" y="52"/>
                        <a:pt x="154" y="50"/>
                        <a:pt x="153" y="48"/>
                      </a:cubicBezTo>
                      <a:cubicBezTo>
                        <a:pt x="151" y="43"/>
                        <a:pt x="151" y="43"/>
                        <a:pt x="151" y="43"/>
                      </a:cubicBezTo>
                      <a:cubicBezTo>
                        <a:pt x="150" y="42"/>
                        <a:pt x="149" y="42"/>
                        <a:pt x="148" y="42"/>
                      </a:cubicBezTo>
                      <a:cubicBezTo>
                        <a:pt x="147" y="42"/>
                        <a:pt x="146" y="42"/>
                        <a:pt x="146" y="42"/>
                      </a:cubicBezTo>
                      <a:cubicBezTo>
                        <a:pt x="133" y="46"/>
                        <a:pt x="133" y="46"/>
                        <a:pt x="133" y="46"/>
                      </a:cubicBezTo>
                      <a:cubicBezTo>
                        <a:pt x="132" y="44"/>
                        <a:pt x="131" y="42"/>
                        <a:pt x="129" y="40"/>
                      </a:cubicBezTo>
                      <a:cubicBezTo>
                        <a:pt x="137" y="30"/>
                        <a:pt x="137" y="30"/>
                        <a:pt x="137" y="30"/>
                      </a:cubicBezTo>
                      <a:cubicBezTo>
                        <a:pt x="139" y="29"/>
                        <a:pt x="139" y="26"/>
                        <a:pt x="138" y="25"/>
                      </a:cubicBezTo>
                      <a:cubicBezTo>
                        <a:pt x="137" y="24"/>
                        <a:pt x="135" y="22"/>
                        <a:pt x="134" y="21"/>
                      </a:cubicBezTo>
                      <a:cubicBezTo>
                        <a:pt x="134" y="21"/>
                        <a:pt x="133" y="21"/>
                        <a:pt x="132" y="21"/>
                      </a:cubicBezTo>
                      <a:cubicBezTo>
                        <a:pt x="131" y="21"/>
                        <a:pt x="130" y="21"/>
                        <a:pt x="129" y="22"/>
                      </a:cubicBezTo>
                      <a:cubicBezTo>
                        <a:pt x="119" y="30"/>
                        <a:pt x="119" y="30"/>
                        <a:pt x="119" y="30"/>
                      </a:cubicBezTo>
                      <a:cubicBezTo>
                        <a:pt x="117" y="29"/>
                        <a:pt x="115" y="27"/>
                        <a:pt x="113" y="26"/>
                      </a:cubicBezTo>
                      <a:cubicBezTo>
                        <a:pt x="117" y="14"/>
                        <a:pt x="117" y="14"/>
                        <a:pt x="117" y="14"/>
                      </a:cubicBezTo>
                      <a:cubicBezTo>
                        <a:pt x="118" y="12"/>
                        <a:pt x="117" y="9"/>
                        <a:pt x="116" y="8"/>
                      </a:cubicBezTo>
                      <a:cubicBezTo>
                        <a:pt x="114" y="8"/>
                        <a:pt x="112" y="7"/>
                        <a:pt x="111" y="6"/>
                      </a:cubicBezTo>
                      <a:cubicBezTo>
                        <a:pt x="111" y="6"/>
                        <a:pt x="110" y="6"/>
                        <a:pt x="110" y="6"/>
                      </a:cubicBezTo>
                      <a:cubicBezTo>
                        <a:pt x="109" y="6"/>
                        <a:pt x="107" y="7"/>
                        <a:pt x="106" y="9"/>
                      </a:cubicBezTo>
                      <a:cubicBezTo>
                        <a:pt x="100" y="20"/>
                        <a:pt x="100" y="20"/>
                        <a:pt x="100" y="20"/>
                      </a:cubicBezTo>
                      <a:cubicBezTo>
                        <a:pt x="97" y="19"/>
                        <a:pt x="95" y="18"/>
                        <a:pt x="92" y="18"/>
                      </a:cubicBezTo>
                      <a:cubicBezTo>
                        <a:pt x="92" y="5"/>
                        <a:pt x="92" y="5"/>
                        <a:pt x="92" y="5"/>
                      </a:cubicBezTo>
                      <a:cubicBezTo>
                        <a:pt x="92" y="3"/>
                        <a:pt x="91" y="1"/>
                        <a:pt x="89" y="1"/>
                      </a:cubicBezTo>
                      <a:cubicBezTo>
                        <a:pt x="84" y="0"/>
                        <a:pt x="84" y="0"/>
                        <a:pt x="84" y="0"/>
                      </a:cubicBezTo>
                      <a:cubicBezTo>
                        <a:pt x="84" y="0"/>
                        <a:pt x="84" y="0"/>
                        <a:pt x="84" y="0"/>
                      </a:cubicBezTo>
                      <a:cubicBezTo>
                        <a:pt x="82" y="0"/>
                        <a:pt x="81" y="2"/>
                        <a:pt x="80" y="4"/>
                      </a:cubicBezTo>
                      <a:cubicBezTo>
                        <a:pt x="78" y="17"/>
                        <a:pt x="78" y="17"/>
                        <a:pt x="78" y="17"/>
                      </a:cubicBezTo>
                      <a:cubicBezTo>
                        <a:pt x="75" y="17"/>
                        <a:pt x="73" y="17"/>
                        <a:pt x="71" y="17"/>
                      </a:cubicBezTo>
                      <a:cubicBezTo>
                        <a:pt x="66" y="5"/>
                        <a:pt x="66" y="5"/>
                        <a:pt x="66" y="5"/>
                      </a:cubicBezTo>
                      <a:cubicBezTo>
                        <a:pt x="65" y="4"/>
                        <a:pt x="64" y="2"/>
                        <a:pt x="62" y="2"/>
                      </a:cubicBezTo>
                      <a:cubicBezTo>
                        <a:pt x="62" y="2"/>
                        <a:pt x="62" y="2"/>
                        <a:pt x="61" y="2"/>
                      </a:cubicBezTo>
                      <a:cubicBezTo>
                        <a:pt x="57" y="4"/>
                        <a:pt x="57" y="4"/>
                        <a:pt x="57" y="4"/>
                      </a:cubicBezTo>
                      <a:cubicBezTo>
                        <a:pt x="55" y="4"/>
                        <a:pt x="54" y="6"/>
                        <a:pt x="54" y="9"/>
                      </a:cubicBezTo>
                      <a:cubicBezTo>
                        <a:pt x="57" y="21"/>
                        <a:pt x="57" y="21"/>
                        <a:pt x="57" y="21"/>
                      </a:cubicBezTo>
                      <a:cubicBezTo>
                        <a:pt x="54" y="22"/>
                        <a:pt x="52" y="23"/>
                        <a:pt x="50" y="24"/>
                      </a:cubicBezTo>
                      <a:cubicBezTo>
                        <a:pt x="41" y="15"/>
                        <a:pt x="41" y="15"/>
                        <a:pt x="41" y="15"/>
                      </a:cubicBezTo>
                      <a:cubicBezTo>
                        <a:pt x="40" y="14"/>
                        <a:pt x="39" y="13"/>
                        <a:pt x="38" y="13"/>
                      </a:cubicBezTo>
                      <a:cubicBezTo>
                        <a:pt x="37" y="13"/>
                        <a:pt x="37" y="13"/>
                        <a:pt x="36" y="13"/>
                      </a:cubicBezTo>
                      <a:cubicBezTo>
                        <a:pt x="32" y="16"/>
                        <a:pt x="32" y="16"/>
                        <a:pt x="32" y="16"/>
                      </a:cubicBezTo>
                      <a:cubicBezTo>
                        <a:pt x="31" y="17"/>
                        <a:pt x="31" y="20"/>
                        <a:pt x="32" y="22"/>
                      </a:cubicBezTo>
                      <a:cubicBezTo>
                        <a:pt x="38" y="33"/>
                        <a:pt x="38" y="33"/>
                        <a:pt x="38" y="33"/>
                      </a:cubicBezTo>
                      <a:cubicBezTo>
                        <a:pt x="36" y="34"/>
                        <a:pt x="34" y="36"/>
                        <a:pt x="33" y="38"/>
                      </a:cubicBezTo>
                      <a:cubicBezTo>
                        <a:pt x="22" y="32"/>
                        <a:pt x="22" y="32"/>
                        <a:pt x="22" y="32"/>
                      </a:cubicBezTo>
                      <a:cubicBezTo>
                        <a:pt x="21" y="31"/>
                        <a:pt x="20" y="31"/>
                        <a:pt x="19" y="31"/>
                      </a:cubicBezTo>
                      <a:cubicBezTo>
                        <a:pt x="18" y="31"/>
                        <a:pt x="17" y="32"/>
                        <a:pt x="16" y="32"/>
                      </a:cubicBezTo>
                      <a:cubicBezTo>
                        <a:pt x="13" y="36"/>
                        <a:pt x="13" y="36"/>
                        <a:pt x="13" y="36"/>
                      </a:cubicBezTo>
                      <a:cubicBezTo>
                        <a:pt x="12" y="38"/>
                        <a:pt x="13" y="40"/>
                        <a:pt x="15" y="42"/>
                      </a:cubicBezTo>
                      <a:cubicBezTo>
                        <a:pt x="25" y="50"/>
                        <a:pt x="25" y="50"/>
                        <a:pt x="25" y="50"/>
                      </a:cubicBezTo>
                      <a:cubicBezTo>
                        <a:pt x="23" y="52"/>
                        <a:pt x="22" y="55"/>
                        <a:pt x="21" y="57"/>
                      </a:cubicBezTo>
                      <a:cubicBezTo>
                        <a:pt x="9" y="55"/>
                        <a:pt x="9" y="55"/>
                        <a:pt x="9" y="55"/>
                      </a:cubicBezTo>
                      <a:cubicBezTo>
                        <a:pt x="8" y="55"/>
                        <a:pt x="8" y="55"/>
                        <a:pt x="8" y="55"/>
                      </a:cubicBezTo>
                      <a:cubicBezTo>
                        <a:pt x="6" y="55"/>
                        <a:pt x="4" y="56"/>
                        <a:pt x="4" y="57"/>
                      </a:cubicBezTo>
                      <a:cubicBezTo>
                        <a:pt x="2" y="62"/>
                        <a:pt x="2" y="62"/>
                        <a:pt x="2" y="62"/>
                      </a:cubicBezTo>
                      <a:cubicBezTo>
                        <a:pt x="2" y="63"/>
                        <a:pt x="3" y="65"/>
                        <a:pt x="6" y="66"/>
                      </a:cubicBezTo>
                      <a:cubicBezTo>
                        <a:pt x="18" y="71"/>
                        <a:pt x="18" y="71"/>
                        <a:pt x="18" y="71"/>
                      </a:cubicBezTo>
                      <a:cubicBezTo>
                        <a:pt x="18" y="72"/>
                        <a:pt x="17" y="73"/>
                        <a:pt x="17" y="74"/>
                      </a:cubicBezTo>
                      <a:cubicBezTo>
                        <a:pt x="17" y="76"/>
                        <a:pt x="17" y="77"/>
                        <a:pt x="17" y="78"/>
                      </a:cubicBezTo>
                      <a:cubicBezTo>
                        <a:pt x="4" y="81"/>
                        <a:pt x="4" y="81"/>
                        <a:pt x="4" y="81"/>
                      </a:cubicBezTo>
                      <a:cubicBezTo>
                        <a:pt x="2" y="81"/>
                        <a:pt x="0" y="83"/>
                        <a:pt x="1" y="84"/>
                      </a:cubicBezTo>
                      <a:cubicBezTo>
                        <a:pt x="1" y="86"/>
                        <a:pt x="1" y="88"/>
                        <a:pt x="1" y="89"/>
                      </a:cubicBezTo>
                      <a:cubicBezTo>
                        <a:pt x="1" y="91"/>
                        <a:pt x="3" y="92"/>
                        <a:pt x="6" y="92"/>
                      </a:cubicBezTo>
                      <a:cubicBezTo>
                        <a:pt x="18" y="93"/>
                        <a:pt x="18" y="93"/>
                        <a:pt x="18" y="93"/>
                      </a:cubicBezTo>
                      <a:cubicBezTo>
                        <a:pt x="19" y="95"/>
                        <a:pt x="20" y="98"/>
                        <a:pt x="20" y="100"/>
                      </a:cubicBezTo>
                      <a:cubicBezTo>
                        <a:pt x="9" y="106"/>
                        <a:pt x="9" y="106"/>
                        <a:pt x="9" y="106"/>
                      </a:cubicBezTo>
                      <a:cubicBezTo>
                        <a:pt x="7" y="108"/>
                        <a:pt x="6" y="110"/>
                        <a:pt x="7" y="111"/>
                      </a:cubicBezTo>
                      <a:cubicBezTo>
                        <a:pt x="9" y="116"/>
                        <a:pt x="9" y="116"/>
                        <a:pt x="9" y="116"/>
                      </a:cubicBezTo>
                      <a:cubicBezTo>
                        <a:pt x="10" y="117"/>
                        <a:pt x="11" y="118"/>
                        <a:pt x="12" y="118"/>
                      </a:cubicBezTo>
                      <a:cubicBezTo>
                        <a:pt x="13" y="118"/>
                        <a:pt x="14" y="117"/>
                        <a:pt x="14" y="117"/>
                      </a:cubicBezTo>
                      <a:cubicBezTo>
                        <a:pt x="27" y="113"/>
                        <a:pt x="27" y="113"/>
                        <a:pt x="27" y="113"/>
                      </a:cubicBezTo>
                      <a:cubicBezTo>
                        <a:pt x="28" y="115"/>
                        <a:pt x="29" y="117"/>
                        <a:pt x="31" y="119"/>
                      </a:cubicBezTo>
                      <a:cubicBezTo>
                        <a:pt x="23" y="129"/>
                        <a:pt x="23" y="129"/>
                        <a:pt x="23" y="129"/>
                      </a:cubicBezTo>
                      <a:cubicBezTo>
                        <a:pt x="21" y="131"/>
                        <a:pt x="21" y="133"/>
                        <a:pt x="22" y="134"/>
                      </a:cubicBezTo>
                      <a:cubicBezTo>
                        <a:pt x="26" y="138"/>
                        <a:pt x="26" y="138"/>
                        <a:pt x="26" y="138"/>
                      </a:cubicBezTo>
                      <a:cubicBezTo>
                        <a:pt x="26" y="138"/>
                        <a:pt x="27" y="139"/>
                        <a:pt x="28" y="139"/>
                      </a:cubicBezTo>
                      <a:cubicBezTo>
                        <a:pt x="29" y="139"/>
                        <a:pt x="30" y="138"/>
                        <a:pt x="31" y="137"/>
                      </a:cubicBezTo>
                      <a:cubicBezTo>
                        <a:pt x="41" y="129"/>
                        <a:pt x="41" y="129"/>
                        <a:pt x="41" y="129"/>
                      </a:cubicBezTo>
                      <a:cubicBezTo>
                        <a:pt x="43" y="131"/>
                        <a:pt x="45" y="132"/>
                        <a:pt x="47" y="133"/>
                      </a:cubicBezTo>
                      <a:cubicBezTo>
                        <a:pt x="43" y="146"/>
                        <a:pt x="43" y="146"/>
                        <a:pt x="43" y="146"/>
                      </a:cubicBezTo>
                      <a:cubicBezTo>
                        <a:pt x="42" y="148"/>
                        <a:pt x="43" y="150"/>
                        <a:pt x="44" y="151"/>
                      </a:cubicBezTo>
                      <a:cubicBezTo>
                        <a:pt x="49" y="153"/>
                        <a:pt x="49" y="153"/>
                        <a:pt x="49" y="153"/>
                      </a:cubicBezTo>
                      <a:cubicBezTo>
                        <a:pt x="49" y="153"/>
                        <a:pt x="50" y="153"/>
                        <a:pt x="50" y="153"/>
                      </a:cubicBezTo>
                      <a:cubicBezTo>
                        <a:pt x="51" y="153"/>
                        <a:pt x="53" y="152"/>
                        <a:pt x="54" y="151"/>
                      </a:cubicBezTo>
                      <a:cubicBezTo>
                        <a:pt x="60" y="139"/>
                        <a:pt x="60" y="139"/>
                        <a:pt x="60" y="139"/>
                      </a:cubicBezTo>
                      <a:cubicBezTo>
                        <a:pt x="63" y="140"/>
                        <a:pt x="65" y="141"/>
                        <a:pt x="68" y="141"/>
                      </a:cubicBezTo>
                      <a:cubicBezTo>
                        <a:pt x="68" y="154"/>
                        <a:pt x="68" y="154"/>
                        <a:pt x="68" y="154"/>
                      </a:cubicBezTo>
                      <a:cubicBezTo>
                        <a:pt x="68" y="157"/>
                        <a:pt x="69" y="159"/>
                        <a:pt x="71" y="159"/>
                      </a:cubicBezTo>
                      <a:cubicBezTo>
                        <a:pt x="76" y="159"/>
                        <a:pt x="76" y="159"/>
                        <a:pt x="76" y="159"/>
                      </a:cubicBezTo>
                      <a:cubicBezTo>
                        <a:pt x="76" y="159"/>
                        <a:pt x="76" y="159"/>
                        <a:pt x="76" y="159"/>
                      </a:cubicBezTo>
                      <a:cubicBezTo>
                        <a:pt x="78" y="159"/>
                        <a:pt x="79" y="157"/>
                        <a:pt x="80" y="155"/>
                      </a:cubicBezTo>
                      <a:cubicBezTo>
                        <a:pt x="82" y="143"/>
                        <a:pt x="82" y="143"/>
                        <a:pt x="82" y="143"/>
                      </a:cubicBezTo>
                      <a:cubicBezTo>
                        <a:pt x="85" y="142"/>
                        <a:pt x="87" y="142"/>
                        <a:pt x="89" y="142"/>
                      </a:cubicBezTo>
                      <a:cubicBezTo>
                        <a:pt x="94" y="154"/>
                        <a:pt x="94" y="154"/>
                        <a:pt x="94" y="154"/>
                      </a:cubicBezTo>
                      <a:cubicBezTo>
                        <a:pt x="95" y="156"/>
                        <a:pt x="96" y="157"/>
                        <a:pt x="98" y="157"/>
                      </a:cubicBezTo>
                      <a:cubicBezTo>
                        <a:pt x="98" y="157"/>
                        <a:pt x="98" y="157"/>
                        <a:pt x="99" y="157"/>
                      </a:cubicBezTo>
                      <a:cubicBezTo>
                        <a:pt x="103" y="156"/>
                        <a:pt x="103" y="156"/>
                        <a:pt x="103" y="156"/>
                      </a:cubicBezTo>
                      <a:cubicBezTo>
                        <a:pt x="105" y="155"/>
                        <a:pt x="106" y="153"/>
                        <a:pt x="106" y="151"/>
                      </a:cubicBezTo>
                      <a:cubicBezTo>
                        <a:pt x="103" y="138"/>
                        <a:pt x="103" y="138"/>
                        <a:pt x="103" y="138"/>
                      </a:cubicBezTo>
                      <a:cubicBezTo>
                        <a:pt x="106" y="137"/>
                        <a:pt x="108" y="136"/>
                        <a:pt x="110" y="135"/>
                      </a:cubicBezTo>
                      <a:cubicBezTo>
                        <a:pt x="119" y="145"/>
                        <a:pt x="119" y="145"/>
                        <a:pt x="119" y="145"/>
                      </a:cubicBezTo>
                      <a:cubicBezTo>
                        <a:pt x="120" y="146"/>
                        <a:pt x="121" y="147"/>
                        <a:pt x="122" y="147"/>
                      </a:cubicBezTo>
                      <a:cubicBezTo>
                        <a:pt x="123" y="147"/>
                        <a:pt x="123" y="146"/>
                        <a:pt x="124" y="146"/>
                      </a:cubicBezTo>
                      <a:cubicBezTo>
                        <a:pt x="128" y="143"/>
                        <a:pt x="128" y="143"/>
                        <a:pt x="128" y="143"/>
                      </a:cubicBezTo>
                      <a:cubicBezTo>
                        <a:pt x="129" y="142"/>
                        <a:pt x="129" y="140"/>
                        <a:pt x="128" y="138"/>
                      </a:cubicBezTo>
                      <a:cubicBezTo>
                        <a:pt x="122" y="127"/>
                        <a:pt x="122" y="127"/>
                        <a:pt x="122" y="127"/>
                      </a:cubicBezTo>
                      <a:cubicBezTo>
                        <a:pt x="124" y="125"/>
                        <a:pt x="126" y="123"/>
                        <a:pt x="127" y="121"/>
                      </a:cubicBezTo>
                      <a:cubicBezTo>
                        <a:pt x="138" y="127"/>
                        <a:pt x="138" y="127"/>
                        <a:pt x="138" y="127"/>
                      </a:cubicBezTo>
                      <a:cubicBezTo>
                        <a:pt x="139" y="128"/>
                        <a:pt x="140" y="128"/>
                        <a:pt x="141" y="128"/>
                      </a:cubicBezTo>
                      <a:cubicBezTo>
                        <a:pt x="142" y="128"/>
                        <a:pt x="143" y="128"/>
                        <a:pt x="144" y="127"/>
                      </a:cubicBezTo>
                      <a:cubicBezTo>
                        <a:pt x="147" y="123"/>
                        <a:pt x="147" y="123"/>
                        <a:pt x="147" y="123"/>
                      </a:cubicBezTo>
                      <a:cubicBezTo>
                        <a:pt x="148" y="122"/>
                        <a:pt x="147" y="119"/>
                        <a:pt x="145" y="118"/>
                      </a:cubicBezTo>
                      <a:cubicBezTo>
                        <a:pt x="135" y="109"/>
                        <a:pt x="135" y="109"/>
                        <a:pt x="135" y="109"/>
                      </a:cubicBezTo>
                      <a:cubicBezTo>
                        <a:pt x="137" y="107"/>
                        <a:pt x="138" y="105"/>
                        <a:pt x="139" y="103"/>
                      </a:cubicBezTo>
                      <a:cubicBezTo>
                        <a:pt x="151" y="105"/>
                        <a:pt x="151" y="105"/>
                        <a:pt x="151" y="105"/>
                      </a:cubicBezTo>
                      <a:cubicBezTo>
                        <a:pt x="152" y="105"/>
                        <a:pt x="152" y="105"/>
                        <a:pt x="152" y="105"/>
                      </a:cubicBezTo>
                      <a:cubicBezTo>
                        <a:pt x="154" y="105"/>
                        <a:pt x="156" y="104"/>
                        <a:pt x="156" y="102"/>
                      </a:cubicBezTo>
                      <a:cubicBezTo>
                        <a:pt x="158" y="98"/>
                        <a:pt x="158" y="98"/>
                        <a:pt x="158" y="98"/>
                      </a:cubicBezTo>
                      <a:cubicBezTo>
                        <a:pt x="158" y="96"/>
                        <a:pt x="157" y="94"/>
                        <a:pt x="154" y="93"/>
                      </a:cubicBezTo>
                      <a:cubicBezTo>
                        <a:pt x="142" y="89"/>
                        <a:pt x="142" y="89"/>
                        <a:pt x="142" y="89"/>
                      </a:cubicBezTo>
                      <a:cubicBezTo>
                        <a:pt x="142" y="87"/>
                        <a:pt x="143" y="86"/>
                        <a:pt x="143" y="85"/>
                      </a:cubicBezTo>
                      <a:cubicBezTo>
                        <a:pt x="143" y="84"/>
                        <a:pt x="143" y="83"/>
                        <a:pt x="143" y="81"/>
                      </a:cubicBezTo>
                      <a:close/>
                      <a:moveTo>
                        <a:pt x="142" y="80"/>
                      </a:moveTo>
                      <a:cubicBezTo>
                        <a:pt x="142" y="81"/>
                        <a:pt x="142" y="81"/>
                        <a:pt x="142" y="81"/>
                      </a:cubicBezTo>
                      <a:cubicBezTo>
                        <a:pt x="142" y="82"/>
                        <a:pt x="142" y="84"/>
                        <a:pt x="142" y="85"/>
                      </a:cubicBezTo>
                      <a:cubicBezTo>
                        <a:pt x="141" y="86"/>
                        <a:pt x="141" y="87"/>
                        <a:pt x="141" y="89"/>
                      </a:cubicBezTo>
                      <a:cubicBezTo>
                        <a:pt x="141" y="89"/>
                        <a:pt x="141" y="89"/>
                        <a:pt x="141" y="89"/>
                      </a:cubicBezTo>
                      <a:cubicBezTo>
                        <a:pt x="154" y="94"/>
                        <a:pt x="154" y="94"/>
                        <a:pt x="154" y="94"/>
                      </a:cubicBezTo>
                      <a:cubicBezTo>
                        <a:pt x="156" y="95"/>
                        <a:pt x="157" y="96"/>
                        <a:pt x="156" y="97"/>
                      </a:cubicBezTo>
                      <a:cubicBezTo>
                        <a:pt x="155" y="102"/>
                        <a:pt x="155" y="102"/>
                        <a:pt x="155" y="102"/>
                      </a:cubicBezTo>
                      <a:cubicBezTo>
                        <a:pt x="155" y="103"/>
                        <a:pt x="154" y="104"/>
                        <a:pt x="152" y="104"/>
                      </a:cubicBezTo>
                      <a:cubicBezTo>
                        <a:pt x="152" y="104"/>
                        <a:pt x="152" y="103"/>
                        <a:pt x="151" y="103"/>
                      </a:cubicBezTo>
                      <a:cubicBezTo>
                        <a:pt x="138" y="101"/>
                        <a:pt x="138" y="101"/>
                        <a:pt x="138" y="101"/>
                      </a:cubicBezTo>
                      <a:cubicBezTo>
                        <a:pt x="138" y="102"/>
                        <a:pt x="138" y="102"/>
                        <a:pt x="138" y="102"/>
                      </a:cubicBezTo>
                      <a:cubicBezTo>
                        <a:pt x="137" y="104"/>
                        <a:pt x="136" y="107"/>
                        <a:pt x="134" y="109"/>
                      </a:cubicBezTo>
                      <a:cubicBezTo>
                        <a:pt x="134" y="110"/>
                        <a:pt x="134" y="110"/>
                        <a:pt x="134" y="110"/>
                      </a:cubicBezTo>
                      <a:cubicBezTo>
                        <a:pt x="144" y="119"/>
                        <a:pt x="144" y="119"/>
                        <a:pt x="144" y="119"/>
                      </a:cubicBezTo>
                      <a:cubicBezTo>
                        <a:pt x="146" y="120"/>
                        <a:pt x="146" y="121"/>
                        <a:pt x="146" y="122"/>
                      </a:cubicBezTo>
                      <a:cubicBezTo>
                        <a:pt x="143" y="126"/>
                        <a:pt x="143" y="126"/>
                        <a:pt x="143" y="126"/>
                      </a:cubicBezTo>
                      <a:cubicBezTo>
                        <a:pt x="143" y="127"/>
                        <a:pt x="142" y="127"/>
                        <a:pt x="141" y="127"/>
                      </a:cubicBezTo>
                      <a:cubicBezTo>
                        <a:pt x="141" y="127"/>
                        <a:pt x="140" y="127"/>
                        <a:pt x="139" y="126"/>
                      </a:cubicBezTo>
                      <a:cubicBezTo>
                        <a:pt x="127" y="120"/>
                        <a:pt x="127" y="120"/>
                        <a:pt x="127" y="120"/>
                      </a:cubicBezTo>
                      <a:cubicBezTo>
                        <a:pt x="127" y="120"/>
                        <a:pt x="127" y="120"/>
                        <a:pt x="127" y="120"/>
                      </a:cubicBezTo>
                      <a:cubicBezTo>
                        <a:pt x="125" y="122"/>
                        <a:pt x="123" y="124"/>
                        <a:pt x="121" y="126"/>
                      </a:cubicBezTo>
                      <a:cubicBezTo>
                        <a:pt x="120" y="126"/>
                        <a:pt x="120" y="126"/>
                        <a:pt x="120" y="126"/>
                      </a:cubicBezTo>
                      <a:cubicBezTo>
                        <a:pt x="127" y="138"/>
                        <a:pt x="127" y="138"/>
                        <a:pt x="127" y="138"/>
                      </a:cubicBezTo>
                      <a:cubicBezTo>
                        <a:pt x="128" y="140"/>
                        <a:pt x="128" y="142"/>
                        <a:pt x="127" y="142"/>
                      </a:cubicBezTo>
                      <a:cubicBezTo>
                        <a:pt x="123" y="145"/>
                        <a:pt x="123" y="145"/>
                        <a:pt x="123" y="145"/>
                      </a:cubicBezTo>
                      <a:cubicBezTo>
                        <a:pt x="123" y="145"/>
                        <a:pt x="123" y="145"/>
                        <a:pt x="122" y="145"/>
                      </a:cubicBezTo>
                      <a:cubicBezTo>
                        <a:pt x="121" y="145"/>
                        <a:pt x="120" y="145"/>
                        <a:pt x="119" y="144"/>
                      </a:cubicBezTo>
                      <a:cubicBezTo>
                        <a:pt x="110" y="133"/>
                        <a:pt x="110" y="133"/>
                        <a:pt x="110" y="133"/>
                      </a:cubicBezTo>
                      <a:cubicBezTo>
                        <a:pt x="110" y="134"/>
                        <a:pt x="110" y="134"/>
                        <a:pt x="110" y="134"/>
                      </a:cubicBezTo>
                      <a:cubicBezTo>
                        <a:pt x="108" y="135"/>
                        <a:pt x="105" y="136"/>
                        <a:pt x="103" y="137"/>
                      </a:cubicBezTo>
                      <a:cubicBezTo>
                        <a:pt x="102" y="137"/>
                        <a:pt x="102" y="137"/>
                        <a:pt x="102" y="137"/>
                      </a:cubicBezTo>
                      <a:cubicBezTo>
                        <a:pt x="104" y="151"/>
                        <a:pt x="104" y="151"/>
                        <a:pt x="104" y="151"/>
                      </a:cubicBezTo>
                      <a:cubicBezTo>
                        <a:pt x="105" y="153"/>
                        <a:pt x="104" y="154"/>
                        <a:pt x="103" y="155"/>
                      </a:cubicBezTo>
                      <a:cubicBezTo>
                        <a:pt x="98" y="156"/>
                        <a:pt x="98" y="156"/>
                        <a:pt x="98" y="156"/>
                      </a:cubicBezTo>
                      <a:cubicBezTo>
                        <a:pt x="98" y="156"/>
                        <a:pt x="98" y="156"/>
                        <a:pt x="98" y="156"/>
                      </a:cubicBezTo>
                      <a:cubicBezTo>
                        <a:pt x="97" y="156"/>
                        <a:pt x="96" y="155"/>
                        <a:pt x="95" y="153"/>
                      </a:cubicBezTo>
                      <a:cubicBezTo>
                        <a:pt x="90" y="141"/>
                        <a:pt x="90" y="141"/>
                        <a:pt x="90" y="141"/>
                      </a:cubicBezTo>
                      <a:cubicBezTo>
                        <a:pt x="90" y="141"/>
                        <a:pt x="90" y="141"/>
                        <a:pt x="90" y="141"/>
                      </a:cubicBezTo>
                      <a:cubicBezTo>
                        <a:pt x="87" y="141"/>
                        <a:pt x="84" y="141"/>
                        <a:pt x="82" y="141"/>
                      </a:cubicBezTo>
                      <a:cubicBezTo>
                        <a:pt x="81" y="141"/>
                        <a:pt x="81" y="141"/>
                        <a:pt x="81" y="141"/>
                      </a:cubicBezTo>
                      <a:cubicBezTo>
                        <a:pt x="79" y="155"/>
                        <a:pt x="79" y="155"/>
                        <a:pt x="79" y="155"/>
                      </a:cubicBezTo>
                      <a:cubicBezTo>
                        <a:pt x="78" y="157"/>
                        <a:pt x="77" y="158"/>
                        <a:pt x="76" y="158"/>
                      </a:cubicBezTo>
                      <a:cubicBezTo>
                        <a:pt x="71" y="158"/>
                        <a:pt x="71" y="158"/>
                        <a:pt x="71" y="158"/>
                      </a:cubicBezTo>
                      <a:cubicBezTo>
                        <a:pt x="70" y="158"/>
                        <a:pt x="69" y="156"/>
                        <a:pt x="69" y="154"/>
                      </a:cubicBezTo>
                      <a:cubicBezTo>
                        <a:pt x="69" y="140"/>
                        <a:pt x="69" y="140"/>
                        <a:pt x="69" y="140"/>
                      </a:cubicBezTo>
                      <a:cubicBezTo>
                        <a:pt x="68" y="140"/>
                        <a:pt x="68" y="140"/>
                        <a:pt x="68" y="140"/>
                      </a:cubicBezTo>
                      <a:cubicBezTo>
                        <a:pt x="66" y="140"/>
                        <a:pt x="63" y="139"/>
                        <a:pt x="60" y="138"/>
                      </a:cubicBezTo>
                      <a:cubicBezTo>
                        <a:pt x="60" y="138"/>
                        <a:pt x="60" y="138"/>
                        <a:pt x="60" y="138"/>
                      </a:cubicBezTo>
                      <a:cubicBezTo>
                        <a:pt x="53" y="150"/>
                        <a:pt x="53" y="150"/>
                        <a:pt x="53" y="150"/>
                      </a:cubicBezTo>
                      <a:cubicBezTo>
                        <a:pt x="52" y="151"/>
                        <a:pt x="51" y="152"/>
                        <a:pt x="50" y="152"/>
                      </a:cubicBezTo>
                      <a:cubicBezTo>
                        <a:pt x="50" y="152"/>
                        <a:pt x="50" y="152"/>
                        <a:pt x="49" y="152"/>
                      </a:cubicBezTo>
                      <a:cubicBezTo>
                        <a:pt x="45" y="150"/>
                        <a:pt x="45" y="150"/>
                        <a:pt x="45" y="150"/>
                      </a:cubicBezTo>
                      <a:cubicBezTo>
                        <a:pt x="44" y="149"/>
                        <a:pt x="44" y="148"/>
                        <a:pt x="44" y="146"/>
                      </a:cubicBezTo>
                      <a:cubicBezTo>
                        <a:pt x="49" y="133"/>
                        <a:pt x="49" y="133"/>
                        <a:pt x="49" y="133"/>
                      </a:cubicBezTo>
                      <a:cubicBezTo>
                        <a:pt x="48" y="133"/>
                        <a:pt x="48" y="133"/>
                        <a:pt x="48" y="133"/>
                      </a:cubicBezTo>
                      <a:cubicBezTo>
                        <a:pt x="46" y="131"/>
                        <a:pt x="44" y="130"/>
                        <a:pt x="41" y="128"/>
                      </a:cubicBezTo>
                      <a:cubicBezTo>
                        <a:pt x="41" y="128"/>
                        <a:pt x="41" y="128"/>
                        <a:pt x="41" y="128"/>
                      </a:cubicBezTo>
                      <a:cubicBezTo>
                        <a:pt x="30" y="136"/>
                        <a:pt x="30" y="136"/>
                        <a:pt x="30" y="136"/>
                      </a:cubicBezTo>
                      <a:cubicBezTo>
                        <a:pt x="30" y="137"/>
                        <a:pt x="29" y="137"/>
                        <a:pt x="28" y="137"/>
                      </a:cubicBezTo>
                      <a:cubicBezTo>
                        <a:pt x="27" y="137"/>
                        <a:pt x="27" y="137"/>
                        <a:pt x="27" y="137"/>
                      </a:cubicBezTo>
                      <a:cubicBezTo>
                        <a:pt x="23" y="134"/>
                        <a:pt x="23" y="134"/>
                        <a:pt x="23" y="134"/>
                      </a:cubicBezTo>
                      <a:cubicBezTo>
                        <a:pt x="22" y="133"/>
                        <a:pt x="23" y="131"/>
                        <a:pt x="24" y="130"/>
                      </a:cubicBezTo>
                      <a:cubicBezTo>
                        <a:pt x="32" y="119"/>
                        <a:pt x="32" y="119"/>
                        <a:pt x="32" y="119"/>
                      </a:cubicBezTo>
                      <a:cubicBezTo>
                        <a:pt x="32" y="119"/>
                        <a:pt x="32" y="119"/>
                        <a:pt x="32" y="119"/>
                      </a:cubicBezTo>
                      <a:cubicBezTo>
                        <a:pt x="30" y="116"/>
                        <a:pt x="29" y="114"/>
                        <a:pt x="27" y="112"/>
                      </a:cubicBezTo>
                      <a:cubicBezTo>
                        <a:pt x="27" y="111"/>
                        <a:pt x="27" y="111"/>
                        <a:pt x="27" y="111"/>
                      </a:cubicBezTo>
                      <a:cubicBezTo>
                        <a:pt x="14" y="116"/>
                        <a:pt x="14" y="116"/>
                        <a:pt x="14" y="116"/>
                      </a:cubicBezTo>
                      <a:cubicBezTo>
                        <a:pt x="14" y="116"/>
                        <a:pt x="13" y="116"/>
                        <a:pt x="12" y="116"/>
                      </a:cubicBezTo>
                      <a:cubicBezTo>
                        <a:pt x="11" y="116"/>
                        <a:pt x="10" y="116"/>
                        <a:pt x="10" y="115"/>
                      </a:cubicBezTo>
                      <a:cubicBezTo>
                        <a:pt x="8" y="111"/>
                        <a:pt x="8" y="111"/>
                        <a:pt x="8" y="111"/>
                      </a:cubicBezTo>
                      <a:cubicBezTo>
                        <a:pt x="8" y="110"/>
                        <a:pt x="8" y="108"/>
                        <a:pt x="10" y="107"/>
                      </a:cubicBezTo>
                      <a:cubicBezTo>
                        <a:pt x="22" y="100"/>
                        <a:pt x="22" y="100"/>
                        <a:pt x="22" y="100"/>
                      </a:cubicBezTo>
                      <a:cubicBezTo>
                        <a:pt x="22" y="100"/>
                        <a:pt x="22" y="100"/>
                        <a:pt x="22" y="100"/>
                      </a:cubicBezTo>
                      <a:cubicBezTo>
                        <a:pt x="21" y="97"/>
                        <a:pt x="20" y="95"/>
                        <a:pt x="19" y="92"/>
                      </a:cubicBezTo>
                      <a:cubicBezTo>
                        <a:pt x="19" y="91"/>
                        <a:pt x="19" y="91"/>
                        <a:pt x="19" y="91"/>
                      </a:cubicBezTo>
                      <a:cubicBezTo>
                        <a:pt x="6" y="91"/>
                        <a:pt x="6" y="91"/>
                        <a:pt x="6" y="91"/>
                      </a:cubicBezTo>
                      <a:cubicBezTo>
                        <a:pt x="4" y="91"/>
                        <a:pt x="2" y="90"/>
                        <a:pt x="2" y="89"/>
                      </a:cubicBezTo>
                      <a:cubicBezTo>
                        <a:pt x="2" y="88"/>
                        <a:pt x="2" y="86"/>
                        <a:pt x="2" y="84"/>
                      </a:cubicBezTo>
                      <a:cubicBezTo>
                        <a:pt x="2" y="83"/>
                        <a:pt x="3" y="82"/>
                        <a:pt x="5" y="82"/>
                      </a:cubicBezTo>
                      <a:cubicBezTo>
                        <a:pt x="18" y="79"/>
                        <a:pt x="18" y="79"/>
                        <a:pt x="18" y="79"/>
                      </a:cubicBezTo>
                      <a:cubicBezTo>
                        <a:pt x="18" y="79"/>
                        <a:pt x="18" y="79"/>
                        <a:pt x="18" y="79"/>
                      </a:cubicBezTo>
                      <a:cubicBezTo>
                        <a:pt x="18" y="77"/>
                        <a:pt x="18" y="76"/>
                        <a:pt x="18" y="75"/>
                      </a:cubicBezTo>
                      <a:cubicBezTo>
                        <a:pt x="19" y="73"/>
                        <a:pt x="19" y="72"/>
                        <a:pt x="19" y="70"/>
                      </a:cubicBezTo>
                      <a:cubicBezTo>
                        <a:pt x="19" y="70"/>
                        <a:pt x="19" y="70"/>
                        <a:pt x="19" y="70"/>
                      </a:cubicBezTo>
                      <a:cubicBezTo>
                        <a:pt x="6" y="65"/>
                        <a:pt x="6" y="65"/>
                        <a:pt x="6" y="65"/>
                      </a:cubicBezTo>
                      <a:cubicBezTo>
                        <a:pt x="4" y="65"/>
                        <a:pt x="3" y="63"/>
                        <a:pt x="4" y="62"/>
                      </a:cubicBezTo>
                      <a:cubicBezTo>
                        <a:pt x="5" y="57"/>
                        <a:pt x="5" y="57"/>
                        <a:pt x="5" y="57"/>
                      </a:cubicBezTo>
                      <a:cubicBezTo>
                        <a:pt x="5" y="56"/>
                        <a:pt x="6" y="56"/>
                        <a:pt x="8" y="56"/>
                      </a:cubicBezTo>
                      <a:cubicBezTo>
                        <a:pt x="8" y="56"/>
                        <a:pt x="8" y="56"/>
                        <a:pt x="9" y="56"/>
                      </a:cubicBezTo>
                      <a:cubicBezTo>
                        <a:pt x="22" y="58"/>
                        <a:pt x="22" y="58"/>
                        <a:pt x="22" y="58"/>
                      </a:cubicBezTo>
                      <a:cubicBezTo>
                        <a:pt x="22" y="58"/>
                        <a:pt x="22" y="58"/>
                        <a:pt x="22" y="58"/>
                      </a:cubicBezTo>
                      <a:cubicBezTo>
                        <a:pt x="23" y="55"/>
                        <a:pt x="24" y="53"/>
                        <a:pt x="26" y="50"/>
                      </a:cubicBezTo>
                      <a:cubicBezTo>
                        <a:pt x="26" y="50"/>
                        <a:pt x="26" y="50"/>
                        <a:pt x="26" y="50"/>
                      </a:cubicBezTo>
                      <a:cubicBezTo>
                        <a:pt x="16" y="41"/>
                        <a:pt x="16" y="41"/>
                        <a:pt x="16" y="41"/>
                      </a:cubicBezTo>
                      <a:cubicBezTo>
                        <a:pt x="14" y="40"/>
                        <a:pt x="14" y="38"/>
                        <a:pt x="14" y="37"/>
                      </a:cubicBezTo>
                      <a:cubicBezTo>
                        <a:pt x="17" y="33"/>
                        <a:pt x="17" y="33"/>
                        <a:pt x="17" y="33"/>
                      </a:cubicBezTo>
                      <a:cubicBezTo>
                        <a:pt x="17" y="33"/>
                        <a:pt x="18" y="32"/>
                        <a:pt x="19" y="32"/>
                      </a:cubicBezTo>
                      <a:cubicBezTo>
                        <a:pt x="19" y="32"/>
                        <a:pt x="20" y="32"/>
                        <a:pt x="21" y="33"/>
                      </a:cubicBezTo>
                      <a:cubicBezTo>
                        <a:pt x="33" y="40"/>
                        <a:pt x="33" y="40"/>
                        <a:pt x="33" y="40"/>
                      </a:cubicBezTo>
                      <a:cubicBezTo>
                        <a:pt x="33" y="39"/>
                        <a:pt x="33" y="39"/>
                        <a:pt x="33" y="39"/>
                      </a:cubicBezTo>
                      <a:cubicBezTo>
                        <a:pt x="35" y="37"/>
                        <a:pt x="37" y="35"/>
                        <a:pt x="39" y="33"/>
                      </a:cubicBezTo>
                      <a:cubicBezTo>
                        <a:pt x="40" y="33"/>
                        <a:pt x="40" y="33"/>
                        <a:pt x="40" y="33"/>
                      </a:cubicBezTo>
                      <a:cubicBezTo>
                        <a:pt x="33" y="21"/>
                        <a:pt x="33" y="21"/>
                        <a:pt x="33" y="21"/>
                      </a:cubicBezTo>
                      <a:cubicBezTo>
                        <a:pt x="32" y="20"/>
                        <a:pt x="32" y="18"/>
                        <a:pt x="33" y="17"/>
                      </a:cubicBezTo>
                      <a:cubicBezTo>
                        <a:pt x="37" y="14"/>
                        <a:pt x="37" y="14"/>
                        <a:pt x="37" y="14"/>
                      </a:cubicBezTo>
                      <a:cubicBezTo>
                        <a:pt x="37" y="14"/>
                        <a:pt x="37" y="14"/>
                        <a:pt x="38" y="14"/>
                      </a:cubicBezTo>
                      <a:cubicBezTo>
                        <a:pt x="39" y="14"/>
                        <a:pt x="40" y="15"/>
                        <a:pt x="41" y="16"/>
                      </a:cubicBezTo>
                      <a:cubicBezTo>
                        <a:pt x="50" y="26"/>
                        <a:pt x="50" y="26"/>
                        <a:pt x="50" y="26"/>
                      </a:cubicBezTo>
                      <a:cubicBezTo>
                        <a:pt x="50" y="26"/>
                        <a:pt x="50" y="26"/>
                        <a:pt x="50" y="26"/>
                      </a:cubicBezTo>
                      <a:cubicBezTo>
                        <a:pt x="52" y="24"/>
                        <a:pt x="55" y="23"/>
                        <a:pt x="57" y="22"/>
                      </a:cubicBezTo>
                      <a:cubicBezTo>
                        <a:pt x="58" y="22"/>
                        <a:pt x="58" y="22"/>
                        <a:pt x="58" y="22"/>
                      </a:cubicBezTo>
                      <a:cubicBezTo>
                        <a:pt x="56" y="8"/>
                        <a:pt x="56" y="8"/>
                        <a:pt x="56" y="8"/>
                      </a:cubicBezTo>
                      <a:cubicBezTo>
                        <a:pt x="55" y="7"/>
                        <a:pt x="56" y="5"/>
                        <a:pt x="57" y="5"/>
                      </a:cubicBezTo>
                      <a:cubicBezTo>
                        <a:pt x="62" y="3"/>
                        <a:pt x="62" y="3"/>
                        <a:pt x="62" y="3"/>
                      </a:cubicBezTo>
                      <a:cubicBezTo>
                        <a:pt x="62" y="3"/>
                        <a:pt x="62" y="3"/>
                        <a:pt x="62" y="3"/>
                      </a:cubicBezTo>
                      <a:cubicBezTo>
                        <a:pt x="63" y="3"/>
                        <a:pt x="64" y="4"/>
                        <a:pt x="65" y="6"/>
                      </a:cubicBezTo>
                      <a:cubicBezTo>
                        <a:pt x="70" y="19"/>
                        <a:pt x="70" y="19"/>
                        <a:pt x="70" y="19"/>
                      </a:cubicBezTo>
                      <a:cubicBezTo>
                        <a:pt x="70" y="19"/>
                        <a:pt x="70" y="19"/>
                        <a:pt x="70" y="19"/>
                      </a:cubicBezTo>
                      <a:cubicBezTo>
                        <a:pt x="73" y="18"/>
                        <a:pt x="76" y="18"/>
                        <a:pt x="79" y="18"/>
                      </a:cubicBezTo>
                      <a:cubicBezTo>
                        <a:pt x="79" y="18"/>
                        <a:pt x="79" y="18"/>
                        <a:pt x="79" y="18"/>
                      </a:cubicBezTo>
                      <a:cubicBezTo>
                        <a:pt x="81" y="4"/>
                        <a:pt x="81" y="4"/>
                        <a:pt x="81" y="4"/>
                      </a:cubicBezTo>
                      <a:cubicBezTo>
                        <a:pt x="82" y="3"/>
                        <a:pt x="83" y="1"/>
                        <a:pt x="84" y="1"/>
                      </a:cubicBezTo>
                      <a:cubicBezTo>
                        <a:pt x="89" y="2"/>
                        <a:pt x="89" y="2"/>
                        <a:pt x="89" y="2"/>
                      </a:cubicBezTo>
                      <a:cubicBezTo>
                        <a:pt x="90" y="2"/>
                        <a:pt x="91" y="3"/>
                        <a:pt x="91" y="5"/>
                      </a:cubicBezTo>
                      <a:cubicBezTo>
                        <a:pt x="91" y="19"/>
                        <a:pt x="91" y="19"/>
                        <a:pt x="91" y="19"/>
                      </a:cubicBezTo>
                      <a:cubicBezTo>
                        <a:pt x="92" y="19"/>
                        <a:pt x="92" y="19"/>
                        <a:pt x="92" y="19"/>
                      </a:cubicBezTo>
                      <a:cubicBezTo>
                        <a:pt x="94" y="20"/>
                        <a:pt x="97" y="20"/>
                        <a:pt x="100" y="21"/>
                      </a:cubicBezTo>
                      <a:cubicBezTo>
                        <a:pt x="100" y="21"/>
                        <a:pt x="100" y="21"/>
                        <a:pt x="100" y="21"/>
                      </a:cubicBezTo>
                      <a:cubicBezTo>
                        <a:pt x="107" y="9"/>
                        <a:pt x="107" y="9"/>
                        <a:pt x="107" y="9"/>
                      </a:cubicBezTo>
                      <a:cubicBezTo>
                        <a:pt x="108" y="8"/>
                        <a:pt x="109" y="7"/>
                        <a:pt x="110" y="7"/>
                      </a:cubicBezTo>
                      <a:cubicBezTo>
                        <a:pt x="110" y="7"/>
                        <a:pt x="110" y="7"/>
                        <a:pt x="111" y="7"/>
                      </a:cubicBezTo>
                      <a:cubicBezTo>
                        <a:pt x="115" y="10"/>
                        <a:pt x="115" y="10"/>
                        <a:pt x="115" y="10"/>
                      </a:cubicBezTo>
                      <a:cubicBezTo>
                        <a:pt x="116" y="10"/>
                        <a:pt x="116" y="12"/>
                        <a:pt x="116" y="13"/>
                      </a:cubicBezTo>
                      <a:cubicBezTo>
                        <a:pt x="111" y="26"/>
                        <a:pt x="111" y="26"/>
                        <a:pt x="111" y="26"/>
                      </a:cubicBezTo>
                      <a:cubicBezTo>
                        <a:pt x="112" y="27"/>
                        <a:pt x="112" y="27"/>
                        <a:pt x="112" y="27"/>
                      </a:cubicBezTo>
                      <a:cubicBezTo>
                        <a:pt x="114" y="28"/>
                        <a:pt x="116" y="30"/>
                        <a:pt x="119" y="31"/>
                      </a:cubicBezTo>
                      <a:cubicBezTo>
                        <a:pt x="119" y="32"/>
                        <a:pt x="119" y="32"/>
                        <a:pt x="119" y="32"/>
                      </a:cubicBezTo>
                      <a:cubicBezTo>
                        <a:pt x="130" y="23"/>
                        <a:pt x="130" y="23"/>
                        <a:pt x="130" y="23"/>
                      </a:cubicBezTo>
                      <a:cubicBezTo>
                        <a:pt x="130" y="22"/>
                        <a:pt x="131" y="22"/>
                        <a:pt x="132" y="22"/>
                      </a:cubicBezTo>
                      <a:cubicBezTo>
                        <a:pt x="133" y="22"/>
                        <a:pt x="133" y="22"/>
                        <a:pt x="133" y="22"/>
                      </a:cubicBezTo>
                      <a:cubicBezTo>
                        <a:pt x="134" y="23"/>
                        <a:pt x="136" y="25"/>
                        <a:pt x="137" y="26"/>
                      </a:cubicBezTo>
                      <a:cubicBezTo>
                        <a:pt x="138" y="27"/>
                        <a:pt x="137" y="28"/>
                        <a:pt x="136" y="30"/>
                      </a:cubicBezTo>
                      <a:cubicBezTo>
                        <a:pt x="128" y="40"/>
                        <a:pt x="128" y="40"/>
                        <a:pt x="128" y="40"/>
                      </a:cubicBezTo>
                      <a:cubicBezTo>
                        <a:pt x="128" y="41"/>
                        <a:pt x="128" y="41"/>
                        <a:pt x="128" y="41"/>
                      </a:cubicBezTo>
                      <a:cubicBezTo>
                        <a:pt x="130" y="43"/>
                        <a:pt x="131" y="45"/>
                        <a:pt x="133" y="48"/>
                      </a:cubicBezTo>
                      <a:cubicBezTo>
                        <a:pt x="133" y="48"/>
                        <a:pt x="133" y="48"/>
                        <a:pt x="133" y="48"/>
                      </a:cubicBezTo>
                      <a:cubicBezTo>
                        <a:pt x="146" y="43"/>
                        <a:pt x="146" y="43"/>
                        <a:pt x="146" y="43"/>
                      </a:cubicBezTo>
                      <a:cubicBezTo>
                        <a:pt x="146" y="43"/>
                        <a:pt x="147" y="43"/>
                        <a:pt x="148" y="43"/>
                      </a:cubicBezTo>
                      <a:cubicBezTo>
                        <a:pt x="149" y="43"/>
                        <a:pt x="150" y="43"/>
                        <a:pt x="150" y="44"/>
                      </a:cubicBezTo>
                      <a:cubicBezTo>
                        <a:pt x="152" y="49"/>
                        <a:pt x="152" y="49"/>
                        <a:pt x="152" y="49"/>
                      </a:cubicBezTo>
                      <a:cubicBezTo>
                        <a:pt x="152" y="49"/>
                        <a:pt x="152" y="51"/>
                        <a:pt x="150" y="52"/>
                      </a:cubicBezTo>
                      <a:cubicBezTo>
                        <a:pt x="138" y="59"/>
                        <a:pt x="138" y="59"/>
                        <a:pt x="138" y="59"/>
                      </a:cubicBezTo>
                      <a:cubicBezTo>
                        <a:pt x="138" y="59"/>
                        <a:pt x="138" y="59"/>
                        <a:pt x="138" y="59"/>
                      </a:cubicBezTo>
                      <a:cubicBezTo>
                        <a:pt x="139" y="62"/>
                        <a:pt x="140" y="65"/>
                        <a:pt x="141" y="67"/>
                      </a:cubicBezTo>
                      <a:cubicBezTo>
                        <a:pt x="141" y="68"/>
                        <a:pt x="141" y="68"/>
                        <a:pt x="141" y="68"/>
                      </a:cubicBezTo>
                      <a:cubicBezTo>
                        <a:pt x="154" y="68"/>
                        <a:pt x="154" y="68"/>
                        <a:pt x="154" y="68"/>
                      </a:cubicBezTo>
                      <a:cubicBezTo>
                        <a:pt x="156" y="68"/>
                        <a:pt x="158" y="69"/>
                        <a:pt x="158" y="70"/>
                      </a:cubicBezTo>
                      <a:cubicBezTo>
                        <a:pt x="158" y="75"/>
                        <a:pt x="158" y="75"/>
                        <a:pt x="158" y="75"/>
                      </a:cubicBezTo>
                      <a:cubicBezTo>
                        <a:pt x="158" y="76"/>
                        <a:pt x="157" y="77"/>
                        <a:pt x="155" y="78"/>
                      </a:cubicBezTo>
                      <a:lnTo>
                        <a:pt x="142" y="8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122"/>
                <p:cNvSpPr>
                  <a:spLocks noEditPoints="1"/>
                </p:cNvSpPr>
                <p:nvPr/>
              </p:nvSpPr>
              <p:spPr bwMode="auto">
                <a:xfrm rot="14718710">
                  <a:off x="12049120" y="5358566"/>
                  <a:ext cx="945245" cy="893805"/>
                </a:xfrm>
                <a:custGeom>
                  <a:avLst/>
                  <a:gdLst>
                    <a:gd name="T0" fmla="*/ 10 w 40"/>
                    <a:gd name="T1" fmla="*/ 39 h 40"/>
                    <a:gd name="T2" fmla="*/ 10 w 40"/>
                    <a:gd name="T3" fmla="*/ 40 h 40"/>
                    <a:gd name="T4" fmla="*/ 40 w 40"/>
                    <a:gd name="T5" fmla="*/ 26 h 40"/>
                    <a:gd name="T6" fmla="*/ 39 w 40"/>
                    <a:gd name="T7" fmla="*/ 25 h 40"/>
                    <a:gd name="T8" fmla="*/ 3 w 40"/>
                    <a:gd name="T9" fmla="*/ 0 h 40"/>
                    <a:gd name="T10" fmla="*/ 2 w 40"/>
                    <a:gd name="T11" fmla="*/ 0 h 40"/>
                    <a:gd name="T12" fmla="*/ 0 w 40"/>
                    <a:gd name="T13" fmla="*/ 32 h 40"/>
                    <a:gd name="T14" fmla="*/ 0 w 40"/>
                    <a:gd name="T15" fmla="*/ 32 h 40"/>
                    <a:gd name="T16" fmla="*/ 10 w 40"/>
                    <a:gd name="T17" fmla="*/ 39 h 40"/>
                    <a:gd name="T18" fmla="*/ 38 w 40"/>
                    <a:gd name="T19" fmla="*/ 25 h 40"/>
                    <a:gd name="T20" fmla="*/ 11 w 40"/>
                    <a:gd name="T21" fmla="*/ 38 h 40"/>
                    <a:gd name="T22" fmla="*/ 1 w 40"/>
                    <a:gd name="T23" fmla="*/ 31 h 40"/>
                    <a:gd name="T24" fmla="*/ 3 w 40"/>
                    <a:gd name="T25" fmla="*/ 1 h 40"/>
                    <a:gd name="T26" fmla="*/ 38 w 40"/>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10" y="39"/>
                      </a:moveTo>
                      <a:cubicBezTo>
                        <a:pt x="10" y="40"/>
                        <a:pt x="10" y="40"/>
                        <a:pt x="10" y="40"/>
                      </a:cubicBezTo>
                      <a:cubicBezTo>
                        <a:pt x="40" y="26"/>
                        <a:pt x="40" y="26"/>
                        <a:pt x="40" y="26"/>
                      </a:cubicBezTo>
                      <a:cubicBezTo>
                        <a:pt x="39" y="25"/>
                        <a:pt x="39" y="25"/>
                        <a:pt x="39" y="25"/>
                      </a:cubicBezTo>
                      <a:cubicBezTo>
                        <a:pt x="31" y="12"/>
                        <a:pt x="18" y="3"/>
                        <a:pt x="3" y="0"/>
                      </a:cubicBezTo>
                      <a:cubicBezTo>
                        <a:pt x="2" y="0"/>
                        <a:pt x="2" y="0"/>
                        <a:pt x="2" y="0"/>
                      </a:cubicBezTo>
                      <a:cubicBezTo>
                        <a:pt x="0" y="32"/>
                        <a:pt x="0" y="32"/>
                        <a:pt x="0" y="32"/>
                      </a:cubicBezTo>
                      <a:cubicBezTo>
                        <a:pt x="0" y="32"/>
                        <a:pt x="0" y="32"/>
                        <a:pt x="0" y="32"/>
                      </a:cubicBezTo>
                      <a:cubicBezTo>
                        <a:pt x="4" y="33"/>
                        <a:pt x="8" y="36"/>
                        <a:pt x="10" y="39"/>
                      </a:cubicBezTo>
                      <a:close/>
                      <a:moveTo>
                        <a:pt x="38" y="25"/>
                      </a:moveTo>
                      <a:cubicBezTo>
                        <a:pt x="11" y="38"/>
                        <a:pt x="11" y="38"/>
                        <a:pt x="11" y="38"/>
                      </a:cubicBezTo>
                      <a:cubicBezTo>
                        <a:pt x="8" y="35"/>
                        <a:pt x="5" y="32"/>
                        <a:pt x="1" y="31"/>
                      </a:cubicBezTo>
                      <a:cubicBezTo>
                        <a:pt x="3" y="1"/>
                        <a:pt x="3" y="1"/>
                        <a:pt x="3" y="1"/>
                      </a:cubicBezTo>
                      <a:cubicBezTo>
                        <a:pt x="18" y="4"/>
                        <a:pt x="30" y="13"/>
                        <a:pt x="38" y="25"/>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23"/>
                <p:cNvSpPr>
                  <a:spLocks noEditPoints="1"/>
                </p:cNvSpPr>
                <p:nvPr/>
              </p:nvSpPr>
              <p:spPr bwMode="auto">
                <a:xfrm rot="14718710">
                  <a:off x="13108360" y="5792334"/>
                  <a:ext cx="617729" cy="558139"/>
                </a:xfrm>
                <a:custGeom>
                  <a:avLst/>
                  <a:gdLst>
                    <a:gd name="T0" fmla="*/ 26 w 26"/>
                    <a:gd name="T1" fmla="*/ 14 h 25"/>
                    <a:gd name="T2" fmla="*/ 14 w 26"/>
                    <a:gd name="T3" fmla="*/ 0 h 25"/>
                    <a:gd name="T4" fmla="*/ 13 w 26"/>
                    <a:gd name="T5" fmla="*/ 0 h 25"/>
                    <a:gd name="T6" fmla="*/ 0 w 26"/>
                    <a:gd name="T7" fmla="*/ 12 h 25"/>
                    <a:gd name="T8" fmla="*/ 3 w 26"/>
                    <a:gd name="T9" fmla="*/ 21 h 25"/>
                    <a:gd name="T10" fmla="*/ 12 w 26"/>
                    <a:gd name="T11" fmla="*/ 25 h 25"/>
                    <a:gd name="T12" fmla="*/ 13 w 26"/>
                    <a:gd name="T13" fmla="*/ 25 h 25"/>
                    <a:gd name="T14" fmla="*/ 26 w 26"/>
                    <a:gd name="T15" fmla="*/ 14 h 25"/>
                    <a:gd name="T16" fmla="*/ 12 w 26"/>
                    <a:gd name="T17" fmla="*/ 24 h 25"/>
                    <a:gd name="T18" fmla="*/ 4 w 26"/>
                    <a:gd name="T19" fmla="*/ 20 h 25"/>
                    <a:gd name="T20" fmla="*/ 2 w 26"/>
                    <a:gd name="T21" fmla="*/ 12 h 25"/>
                    <a:gd name="T22" fmla="*/ 13 w 26"/>
                    <a:gd name="T23" fmla="*/ 1 h 25"/>
                    <a:gd name="T24" fmla="*/ 14 w 26"/>
                    <a:gd name="T25" fmla="*/ 1 h 25"/>
                    <a:gd name="T26" fmla="*/ 24 w 26"/>
                    <a:gd name="T27" fmla="*/ 14 h 25"/>
                    <a:gd name="T28" fmla="*/ 13 w 26"/>
                    <a:gd name="T29" fmla="*/ 24 h 25"/>
                    <a:gd name="T30" fmla="*/ 12 w 26"/>
                    <a:gd name="T3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26" y="14"/>
                      </a:moveTo>
                      <a:cubicBezTo>
                        <a:pt x="26" y="7"/>
                        <a:pt x="21" y="1"/>
                        <a:pt x="14" y="0"/>
                      </a:cubicBezTo>
                      <a:cubicBezTo>
                        <a:pt x="14" y="0"/>
                        <a:pt x="13" y="0"/>
                        <a:pt x="13" y="0"/>
                      </a:cubicBezTo>
                      <a:cubicBezTo>
                        <a:pt x="6" y="0"/>
                        <a:pt x="1" y="5"/>
                        <a:pt x="0" y="12"/>
                      </a:cubicBezTo>
                      <a:cubicBezTo>
                        <a:pt x="0" y="15"/>
                        <a:pt x="1" y="18"/>
                        <a:pt x="3" y="21"/>
                      </a:cubicBezTo>
                      <a:cubicBezTo>
                        <a:pt x="6" y="23"/>
                        <a:pt x="9" y="25"/>
                        <a:pt x="12" y="25"/>
                      </a:cubicBezTo>
                      <a:cubicBezTo>
                        <a:pt x="12" y="25"/>
                        <a:pt x="13" y="25"/>
                        <a:pt x="13" y="25"/>
                      </a:cubicBezTo>
                      <a:cubicBezTo>
                        <a:pt x="20" y="25"/>
                        <a:pt x="25" y="20"/>
                        <a:pt x="26" y="14"/>
                      </a:cubicBezTo>
                      <a:close/>
                      <a:moveTo>
                        <a:pt x="12" y="24"/>
                      </a:moveTo>
                      <a:cubicBezTo>
                        <a:pt x="9" y="24"/>
                        <a:pt x="6" y="22"/>
                        <a:pt x="4" y="20"/>
                      </a:cubicBezTo>
                      <a:cubicBezTo>
                        <a:pt x="2" y="18"/>
                        <a:pt x="1" y="15"/>
                        <a:pt x="2" y="12"/>
                      </a:cubicBezTo>
                      <a:cubicBezTo>
                        <a:pt x="2" y="6"/>
                        <a:pt x="7" y="1"/>
                        <a:pt x="13" y="1"/>
                      </a:cubicBezTo>
                      <a:cubicBezTo>
                        <a:pt x="13" y="1"/>
                        <a:pt x="14" y="1"/>
                        <a:pt x="14" y="1"/>
                      </a:cubicBezTo>
                      <a:cubicBezTo>
                        <a:pt x="20" y="2"/>
                        <a:pt x="25" y="7"/>
                        <a:pt x="24" y="14"/>
                      </a:cubicBezTo>
                      <a:cubicBezTo>
                        <a:pt x="24" y="20"/>
                        <a:pt x="19" y="24"/>
                        <a:pt x="13" y="24"/>
                      </a:cubicBezTo>
                      <a:cubicBezTo>
                        <a:pt x="13" y="24"/>
                        <a:pt x="12" y="24"/>
                        <a:pt x="12" y="2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124"/>
                <p:cNvSpPr>
                  <a:spLocks noEditPoints="1"/>
                </p:cNvSpPr>
                <p:nvPr/>
              </p:nvSpPr>
              <p:spPr bwMode="auto">
                <a:xfrm rot="14718710">
                  <a:off x="13849515" y="5899142"/>
                  <a:ext cx="949393" cy="870384"/>
                </a:xfrm>
                <a:custGeom>
                  <a:avLst/>
                  <a:gdLst>
                    <a:gd name="T0" fmla="*/ 30 w 40"/>
                    <a:gd name="T1" fmla="*/ 0 h 39"/>
                    <a:gd name="T2" fmla="*/ 30 w 40"/>
                    <a:gd name="T3" fmla="*/ 0 h 39"/>
                    <a:gd name="T4" fmla="*/ 0 w 40"/>
                    <a:gd name="T5" fmla="*/ 13 h 39"/>
                    <a:gd name="T6" fmla="*/ 1 w 40"/>
                    <a:gd name="T7" fmla="*/ 14 h 39"/>
                    <a:gd name="T8" fmla="*/ 37 w 40"/>
                    <a:gd name="T9" fmla="*/ 39 h 39"/>
                    <a:gd name="T10" fmla="*/ 38 w 40"/>
                    <a:gd name="T11" fmla="*/ 39 h 39"/>
                    <a:gd name="T12" fmla="*/ 40 w 40"/>
                    <a:gd name="T13" fmla="*/ 7 h 39"/>
                    <a:gd name="T14" fmla="*/ 40 w 40"/>
                    <a:gd name="T15" fmla="*/ 7 h 39"/>
                    <a:gd name="T16" fmla="*/ 30 w 40"/>
                    <a:gd name="T17" fmla="*/ 0 h 39"/>
                    <a:gd name="T18" fmla="*/ 2 w 40"/>
                    <a:gd name="T19" fmla="*/ 14 h 39"/>
                    <a:gd name="T20" fmla="*/ 29 w 40"/>
                    <a:gd name="T21" fmla="*/ 1 h 39"/>
                    <a:gd name="T22" fmla="*/ 39 w 40"/>
                    <a:gd name="T23" fmla="*/ 8 h 39"/>
                    <a:gd name="T24" fmla="*/ 37 w 40"/>
                    <a:gd name="T25" fmla="*/ 38 h 39"/>
                    <a:gd name="T26" fmla="*/ 2 w 40"/>
                    <a:gd name="T27"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9">
                      <a:moveTo>
                        <a:pt x="30" y="0"/>
                      </a:moveTo>
                      <a:cubicBezTo>
                        <a:pt x="30" y="0"/>
                        <a:pt x="30" y="0"/>
                        <a:pt x="30" y="0"/>
                      </a:cubicBezTo>
                      <a:cubicBezTo>
                        <a:pt x="0" y="13"/>
                        <a:pt x="0" y="13"/>
                        <a:pt x="0" y="13"/>
                      </a:cubicBezTo>
                      <a:cubicBezTo>
                        <a:pt x="1" y="14"/>
                        <a:pt x="1" y="14"/>
                        <a:pt x="1" y="14"/>
                      </a:cubicBezTo>
                      <a:cubicBezTo>
                        <a:pt x="9" y="27"/>
                        <a:pt x="22" y="37"/>
                        <a:pt x="37" y="39"/>
                      </a:cubicBezTo>
                      <a:cubicBezTo>
                        <a:pt x="38" y="39"/>
                        <a:pt x="38" y="39"/>
                        <a:pt x="38" y="39"/>
                      </a:cubicBezTo>
                      <a:cubicBezTo>
                        <a:pt x="40" y="7"/>
                        <a:pt x="40" y="7"/>
                        <a:pt x="40" y="7"/>
                      </a:cubicBezTo>
                      <a:cubicBezTo>
                        <a:pt x="40" y="7"/>
                        <a:pt x="40" y="7"/>
                        <a:pt x="40" y="7"/>
                      </a:cubicBezTo>
                      <a:cubicBezTo>
                        <a:pt x="36" y="6"/>
                        <a:pt x="32" y="4"/>
                        <a:pt x="30" y="0"/>
                      </a:cubicBezTo>
                      <a:close/>
                      <a:moveTo>
                        <a:pt x="2" y="14"/>
                      </a:moveTo>
                      <a:cubicBezTo>
                        <a:pt x="29" y="1"/>
                        <a:pt x="29" y="1"/>
                        <a:pt x="29" y="1"/>
                      </a:cubicBezTo>
                      <a:cubicBezTo>
                        <a:pt x="32" y="4"/>
                        <a:pt x="35" y="7"/>
                        <a:pt x="39" y="8"/>
                      </a:cubicBezTo>
                      <a:cubicBezTo>
                        <a:pt x="37" y="38"/>
                        <a:pt x="37" y="38"/>
                        <a:pt x="37" y="38"/>
                      </a:cubicBezTo>
                      <a:cubicBezTo>
                        <a:pt x="22" y="35"/>
                        <a:pt x="10" y="27"/>
                        <a:pt x="2" y="1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125"/>
                <p:cNvSpPr>
                  <a:spLocks noEditPoints="1"/>
                </p:cNvSpPr>
                <p:nvPr/>
              </p:nvSpPr>
              <p:spPr bwMode="auto">
                <a:xfrm rot="14718710">
                  <a:off x="12740798" y="4758274"/>
                  <a:ext cx="804289" cy="1003089"/>
                </a:xfrm>
                <a:custGeom>
                  <a:avLst/>
                  <a:gdLst>
                    <a:gd name="T0" fmla="*/ 30 w 34"/>
                    <a:gd name="T1" fmla="*/ 0 h 45"/>
                    <a:gd name="T2" fmla="*/ 1 w 34"/>
                    <a:gd name="T3" fmla="*/ 14 h 45"/>
                    <a:gd name="T4" fmla="*/ 1 w 34"/>
                    <a:gd name="T5" fmla="*/ 14 h 45"/>
                    <a:gd name="T6" fmla="*/ 1 w 34"/>
                    <a:gd name="T7" fmla="*/ 20 h 45"/>
                    <a:gd name="T8" fmla="*/ 0 w 34"/>
                    <a:gd name="T9" fmla="*/ 27 h 45"/>
                    <a:gd name="T10" fmla="*/ 0 w 34"/>
                    <a:gd name="T11" fmla="*/ 27 h 45"/>
                    <a:gd name="T12" fmla="*/ 26 w 34"/>
                    <a:gd name="T13" fmla="*/ 45 h 45"/>
                    <a:gd name="T14" fmla="*/ 26 w 34"/>
                    <a:gd name="T15" fmla="*/ 45 h 45"/>
                    <a:gd name="T16" fmla="*/ 33 w 34"/>
                    <a:gd name="T17" fmla="*/ 23 h 45"/>
                    <a:gd name="T18" fmla="*/ 30 w 34"/>
                    <a:gd name="T19" fmla="*/ 1 h 45"/>
                    <a:gd name="T20" fmla="*/ 30 w 34"/>
                    <a:gd name="T21" fmla="*/ 0 h 45"/>
                    <a:gd name="T22" fmla="*/ 1 w 34"/>
                    <a:gd name="T23" fmla="*/ 27 h 45"/>
                    <a:gd name="T24" fmla="*/ 3 w 34"/>
                    <a:gd name="T25" fmla="*/ 20 h 45"/>
                    <a:gd name="T26" fmla="*/ 2 w 34"/>
                    <a:gd name="T27" fmla="*/ 14 h 45"/>
                    <a:gd name="T28" fmla="*/ 29 w 34"/>
                    <a:gd name="T29" fmla="*/ 2 h 45"/>
                    <a:gd name="T30" fmla="*/ 32 w 34"/>
                    <a:gd name="T31" fmla="*/ 23 h 45"/>
                    <a:gd name="T32" fmla="*/ 26 w 34"/>
                    <a:gd name="T33" fmla="*/ 44 h 45"/>
                    <a:gd name="T34" fmla="*/ 1 w 34"/>
                    <a:gd name="T3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0" y="0"/>
                      </a:moveTo>
                      <a:cubicBezTo>
                        <a:pt x="1" y="14"/>
                        <a:pt x="1" y="14"/>
                        <a:pt x="1" y="14"/>
                      </a:cubicBezTo>
                      <a:cubicBezTo>
                        <a:pt x="1" y="14"/>
                        <a:pt x="1" y="14"/>
                        <a:pt x="1" y="14"/>
                      </a:cubicBezTo>
                      <a:cubicBezTo>
                        <a:pt x="1" y="16"/>
                        <a:pt x="2" y="18"/>
                        <a:pt x="1" y="20"/>
                      </a:cubicBezTo>
                      <a:cubicBezTo>
                        <a:pt x="1" y="22"/>
                        <a:pt x="1" y="25"/>
                        <a:pt x="0" y="27"/>
                      </a:cubicBezTo>
                      <a:cubicBezTo>
                        <a:pt x="0" y="27"/>
                        <a:pt x="0" y="27"/>
                        <a:pt x="0" y="27"/>
                      </a:cubicBezTo>
                      <a:cubicBezTo>
                        <a:pt x="26" y="45"/>
                        <a:pt x="26" y="45"/>
                        <a:pt x="26" y="45"/>
                      </a:cubicBezTo>
                      <a:cubicBezTo>
                        <a:pt x="26" y="45"/>
                        <a:pt x="26" y="45"/>
                        <a:pt x="26" y="45"/>
                      </a:cubicBezTo>
                      <a:cubicBezTo>
                        <a:pt x="30" y="38"/>
                        <a:pt x="32" y="31"/>
                        <a:pt x="33" y="23"/>
                      </a:cubicBezTo>
                      <a:cubicBezTo>
                        <a:pt x="34" y="15"/>
                        <a:pt x="33" y="8"/>
                        <a:pt x="30" y="1"/>
                      </a:cubicBezTo>
                      <a:lnTo>
                        <a:pt x="30" y="0"/>
                      </a:lnTo>
                      <a:close/>
                      <a:moveTo>
                        <a:pt x="1" y="27"/>
                      </a:moveTo>
                      <a:cubicBezTo>
                        <a:pt x="2" y="25"/>
                        <a:pt x="2" y="23"/>
                        <a:pt x="3" y="20"/>
                      </a:cubicBezTo>
                      <a:cubicBezTo>
                        <a:pt x="3" y="18"/>
                        <a:pt x="3" y="16"/>
                        <a:pt x="2" y="14"/>
                      </a:cubicBezTo>
                      <a:cubicBezTo>
                        <a:pt x="29" y="2"/>
                        <a:pt x="29" y="2"/>
                        <a:pt x="29" y="2"/>
                      </a:cubicBezTo>
                      <a:cubicBezTo>
                        <a:pt x="32" y="8"/>
                        <a:pt x="33" y="16"/>
                        <a:pt x="32" y="23"/>
                      </a:cubicBezTo>
                      <a:cubicBezTo>
                        <a:pt x="31" y="30"/>
                        <a:pt x="29" y="37"/>
                        <a:pt x="26" y="44"/>
                      </a:cubicBezTo>
                      <a:lnTo>
                        <a:pt x="1" y="2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26"/>
                <p:cNvSpPr>
                  <a:spLocks noEditPoints="1"/>
                </p:cNvSpPr>
                <p:nvPr/>
              </p:nvSpPr>
              <p:spPr bwMode="auto">
                <a:xfrm rot="14718710">
                  <a:off x="13288156" y="6383331"/>
                  <a:ext cx="808436" cy="1003089"/>
                </a:xfrm>
                <a:custGeom>
                  <a:avLst/>
                  <a:gdLst>
                    <a:gd name="T0" fmla="*/ 33 w 34"/>
                    <a:gd name="T1" fmla="*/ 31 h 45"/>
                    <a:gd name="T2" fmla="*/ 33 w 34"/>
                    <a:gd name="T3" fmla="*/ 25 h 45"/>
                    <a:gd name="T4" fmla="*/ 34 w 34"/>
                    <a:gd name="T5" fmla="*/ 19 h 45"/>
                    <a:gd name="T6" fmla="*/ 34 w 34"/>
                    <a:gd name="T7" fmla="*/ 18 h 45"/>
                    <a:gd name="T8" fmla="*/ 8 w 34"/>
                    <a:gd name="T9" fmla="*/ 0 h 45"/>
                    <a:gd name="T10" fmla="*/ 8 w 34"/>
                    <a:gd name="T11" fmla="*/ 1 h 45"/>
                    <a:gd name="T12" fmla="*/ 1 w 34"/>
                    <a:gd name="T13" fmla="*/ 22 h 45"/>
                    <a:gd name="T14" fmla="*/ 4 w 34"/>
                    <a:gd name="T15" fmla="*/ 45 h 45"/>
                    <a:gd name="T16" fmla="*/ 4 w 34"/>
                    <a:gd name="T17" fmla="*/ 45 h 45"/>
                    <a:gd name="T18" fmla="*/ 33 w 34"/>
                    <a:gd name="T19" fmla="*/ 32 h 45"/>
                    <a:gd name="T20" fmla="*/ 33 w 34"/>
                    <a:gd name="T21" fmla="*/ 31 h 45"/>
                    <a:gd name="T22" fmla="*/ 33 w 34"/>
                    <a:gd name="T23" fmla="*/ 19 h 45"/>
                    <a:gd name="T24" fmla="*/ 31 w 34"/>
                    <a:gd name="T25" fmla="*/ 25 h 45"/>
                    <a:gd name="T26" fmla="*/ 32 w 34"/>
                    <a:gd name="T27" fmla="*/ 31 h 45"/>
                    <a:gd name="T28" fmla="*/ 5 w 34"/>
                    <a:gd name="T29" fmla="*/ 44 h 45"/>
                    <a:gd name="T30" fmla="*/ 2 w 34"/>
                    <a:gd name="T31" fmla="*/ 22 h 45"/>
                    <a:gd name="T32" fmla="*/ 8 w 34"/>
                    <a:gd name="T33" fmla="*/ 2 h 45"/>
                    <a:gd name="T34" fmla="*/ 33 w 34"/>
                    <a:gd name="T3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3" y="31"/>
                      </a:moveTo>
                      <a:cubicBezTo>
                        <a:pt x="33" y="29"/>
                        <a:pt x="32" y="27"/>
                        <a:pt x="33" y="25"/>
                      </a:cubicBezTo>
                      <a:cubicBezTo>
                        <a:pt x="33" y="23"/>
                        <a:pt x="33" y="21"/>
                        <a:pt x="34" y="19"/>
                      </a:cubicBezTo>
                      <a:cubicBezTo>
                        <a:pt x="34" y="18"/>
                        <a:pt x="34" y="18"/>
                        <a:pt x="34" y="18"/>
                      </a:cubicBezTo>
                      <a:cubicBezTo>
                        <a:pt x="8" y="0"/>
                        <a:pt x="8" y="0"/>
                        <a:pt x="8" y="0"/>
                      </a:cubicBezTo>
                      <a:cubicBezTo>
                        <a:pt x="8" y="1"/>
                        <a:pt x="8" y="1"/>
                        <a:pt x="8" y="1"/>
                      </a:cubicBezTo>
                      <a:cubicBezTo>
                        <a:pt x="4" y="7"/>
                        <a:pt x="2" y="15"/>
                        <a:pt x="1" y="22"/>
                      </a:cubicBezTo>
                      <a:cubicBezTo>
                        <a:pt x="0" y="30"/>
                        <a:pt x="1" y="38"/>
                        <a:pt x="4" y="45"/>
                      </a:cubicBezTo>
                      <a:cubicBezTo>
                        <a:pt x="4" y="45"/>
                        <a:pt x="4" y="45"/>
                        <a:pt x="4" y="45"/>
                      </a:cubicBezTo>
                      <a:cubicBezTo>
                        <a:pt x="33" y="32"/>
                        <a:pt x="33" y="32"/>
                        <a:pt x="33" y="32"/>
                      </a:cubicBezTo>
                      <a:lnTo>
                        <a:pt x="33" y="31"/>
                      </a:lnTo>
                      <a:close/>
                      <a:moveTo>
                        <a:pt x="33" y="19"/>
                      </a:moveTo>
                      <a:cubicBezTo>
                        <a:pt x="32" y="21"/>
                        <a:pt x="32" y="23"/>
                        <a:pt x="31" y="25"/>
                      </a:cubicBezTo>
                      <a:cubicBezTo>
                        <a:pt x="31" y="27"/>
                        <a:pt x="31" y="29"/>
                        <a:pt x="32" y="31"/>
                      </a:cubicBezTo>
                      <a:cubicBezTo>
                        <a:pt x="5" y="44"/>
                        <a:pt x="5" y="44"/>
                        <a:pt x="5" y="44"/>
                      </a:cubicBezTo>
                      <a:cubicBezTo>
                        <a:pt x="2" y="37"/>
                        <a:pt x="1" y="30"/>
                        <a:pt x="2" y="22"/>
                      </a:cubicBezTo>
                      <a:cubicBezTo>
                        <a:pt x="3" y="15"/>
                        <a:pt x="5" y="8"/>
                        <a:pt x="8" y="2"/>
                      </a:cubicBezTo>
                      <a:lnTo>
                        <a:pt x="33"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8" name="Group 127"/>
              <p:cNvGrpSpPr/>
              <p:nvPr/>
            </p:nvGrpSpPr>
            <p:grpSpPr>
              <a:xfrm>
                <a:off x="794343" y="2094489"/>
                <a:ext cx="2339975" cy="2685095"/>
                <a:chOff x="11643278" y="4174693"/>
                <a:chExt cx="3547895" cy="3793424"/>
              </a:xfrm>
            </p:grpSpPr>
            <p:sp>
              <p:nvSpPr>
                <p:cNvPr id="129" name="Freeform 128"/>
                <p:cNvSpPr>
                  <a:spLocks noEditPoints="1"/>
                </p:cNvSpPr>
                <p:nvPr/>
              </p:nvSpPr>
              <p:spPr bwMode="auto">
                <a:xfrm rot="14718710">
                  <a:off x="12456513" y="6400764"/>
                  <a:ext cx="970121" cy="850870"/>
                </a:xfrm>
                <a:custGeom>
                  <a:avLst/>
                  <a:gdLst>
                    <a:gd name="T0" fmla="*/ 27 w 41"/>
                    <a:gd name="T1" fmla="*/ 38 h 38"/>
                    <a:gd name="T2" fmla="*/ 38 w 41"/>
                    <a:gd name="T3" fmla="*/ 32 h 38"/>
                    <a:gd name="T4" fmla="*/ 39 w 41"/>
                    <a:gd name="T5" fmla="*/ 32 h 38"/>
                    <a:gd name="T6" fmla="*/ 41 w 41"/>
                    <a:gd name="T7" fmla="*/ 0 h 38"/>
                    <a:gd name="T8" fmla="*/ 41 w 41"/>
                    <a:gd name="T9" fmla="*/ 0 h 38"/>
                    <a:gd name="T10" fmla="*/ 1 w 41"/>
                    <a:gd name="T11" fmla="*/ 19 h 38"/>
                    <a:gd name="T12" fmla="*/ 0 w 41"/>
                    <a:gd name="T13" fmla="*/ 20 h 38"/>
                    <a:gd name="T14" fmla="*/ 27 w 41"/>
                    <a:gd name="T15" fmla="*/ 38 h 38"/>
                    <a:gd name="T16" fmla="*/ 2 w 41"/>
                    <a:gd name="T17" fmla="*/ 20 h 38"/>
                    <a:gd name="T18" fmla="*/ 40 w 41"/>
                    <a:gd name="T19" fmla="*/ 2 h 38"/>
                    <a:gd name="T20" fmla="*/ 38 w 41"/>
                    <a:gd name="T21" fmla="*/ 31 h 38"/>
                    <a:gd name="T22" fmla="*/ 27 w 41"/>
                    <a:gd name="T23" fmla="*/ 37 h 38"/>
                    <a:gd name="T24" fmla="*/ 2 w 41"/>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8">
                      <a:moveTo>
                        <a:pt x="27" y="38"/>
                      </a:moveTo>
                      <a:cubicBezTo>
                        <a:pt x="30" y="35"/>
                        <a:pt x="34" y="33"/>
                        <a:pt x="38" y="32"/>
                      </a:cubicBezTo>
                      <a:cubicBezTo>
                        <a:pt x="39" y="32"/>
                        <a:pt x="39" y="32"/>
                        <a:pt x="39" y="32"/>
                      </a:cubicBezTo>
                      <a:cubicBezTo>
                        <a:pt x="41" y="0"/>
                        <a:pt x="41" y="0"/>
                        <a:pt x="41" y="0"/>
                      </a:cubicBezTo>
                      <a:cubicBezTo>
                        <a:pt x="41" y="0"/>
                        <a:pt x="41" y="0"/>
                        <a:pt x="41" y="0"/>
                      </a:cubicBezTo>
                      <a:cubicBezTo>
                        <a:pt x="25" y="0"/>
                        <a:pt x="11" y="7"/>
                        <a:pt x="1" y="19"/>
                      </a:cubicBezTo>
                      <a:cubicBezTo>
                        <a:pt x="0" y="20"/>
                        <a:pt x="0" y="20"/>
                        <a:pt x="0" y="20"/>
                      </a:cubicBezTo>
                      <a:cubicBezTo>
                        <a:pt x="27" y="38"/>
                        <a:pt x="27" y="38"/>
                        <a:pt x="27" y="38"/>
                      </a:cubicBezTo>
                      <a:close/>
                      <a:moveTo>
                        <a:pt x="2" y="20"/>
                      </a:moveTo>
                      <a:cubicBezTo>
                        <a:pt x="12" y="8"/>
                        <a:pt x="26" y="2"/>
                        <a:pt x="40" y="2"/>
                      </a:cubicBezTo>
                      <a:cubicBezTo>
                        <a:pt x="38" y="31"/>
                        <a:pt x="38" y="31"/>
                        <a:pt x="38" y="31"/>
                      </a:cubicBezTo>
                      <a:cubicBezTo>
                        <a:pt x="34" y="32"/>
                        <a:pt x="30" y="34"/>
                        <a:pt x="27" y="37"/>
                      </a:cubicBezTo>
                      <a:lnTo>
                        <a:pt x="2" y="2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129"/>
                <p:cNvSpPr>
                  <a:spLocks noEditPoints="1"/>
                </p:cNvSpPr>
                <p:nvPr/>
              </p:nvSpPr>
              <p:spPr bwMode="auto">
                <a:xfrm rot="14718710">
                  <a:off x="13406609" y="4893055"/>
                  <a:ext cx="974268" cy="850870"/>
                </a:xfrm>
                <a:custGeom>
                  <a:avLst/>
                  <a:gdLst>
                    <a:gd name="T0" fmla="*/ 14 w 41"/>
                    <a:gd name="T1" fmla="*/ 1 h 38"/>
                    <a:gd name="T2" fmla="*/ 3 w 41"/>
                    <a:gd name="T3" fmla="*/ 6 h 38"/>
                    <a:gd name="T4" fmla="*/ 2 w 41"/>
                    <a:gd name="T5" fmla="*/ 6 h 38"/>
                    <a:gd name="T6" fmla="*/ 0 w 41"/>
                    <a:gd name="T7" fmla="*/ 38 h 38"/>
                    <a:gd name="T8" fmla="*/ 0 w 41"/>
                    <a:gd name="T9" fmla="*/ 38 h 38"/>
                    <a:gd name="T10" fmla="*/ 40 w 41"/>
                    <a:gd name="T11" fmla="*/ 19 h 38"/>
                    <a:gd name="T12" fmla="*/ 41 w 41"/>
                    <a:gd name="T13" fmla="*/ 19 h 38"/>
                    <a:gd name="T14" fmla="*/ 14 w 41"/>
                    <a:gd name="T15" fmla="*/ 0 h 38"/>
                    <a:gd name="T16" fmla="*/ 14 w 41"/>
                    <a:gd name="T17" fmla="*/ 1 h 38"/>
                    <a:gd name="T18" fmla="*/ 39 w 41"/>
                    <a:gd name="T19" fmla="*/ 19 h 38"/>
                    <a:gd name="T20" fmla="*/ 1 w 41"/>
                    <a:gd name="T21" fmla="*/ 37 h 38"/>
                    <a:gd name="T22" fmla="*/ 3 w 41"/>
                    <a:gd name="T23" fmla="*/ 7 h 38"/>
                    <a:gd name="T24" fmla="*/ 14 w 41"/>
                    <a:gd name="T25" fmla="*/ 2 h 38"/>
                    <a:gd name="T26" fmla="*/ 39 w 41"/>
                    <a:gd name="T2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14" y="1"/>
                      </a:moveTo>
                      <a:cubicBezTo>
                        <a:pt x="11" y="4"/>
                        <a:pt x="7" y="5"/>
                        <a:pt x="3" y="6"/>
                      </a:cubicBezTo>
                      <a:cubicBezTo>
                        <a:pt x="2" y="6"/>
                        <a:pt x="2" y="6"/>
                        <a:pt x="2" y="6"/>
                      </a:cubicBezTo>
                      <a:cubicBezTo>
                        <a:pt x="0" y="38"/>
                        <a:pt x="0" y="38"/>
                        <a:pt x="0" y="38"/>
                      </a:cubicBezTo>
                      <a:cubicBezTo>
                        <a:pt x="0" y="38"/>
                        <a:pt x="0" y="38"/>
                        <a:pt x="0" y="38"/>
                      </a:cubicBezTo>
                      <a:cubicBezTo>
                        <a:pt x="16" y="38"/>
                        <a:pt x="30" y="31"/>
                        <a:pt x="40" y="19"/>
                      </a:cubicBezTo>
                      <a:cubicBezTo>
                        <a:pt x="41" y="19"/>
                        <a:pt x="41" y="19"/>
                        <a:pt x="41" y="19"/>
                      </a:cubicBezTo>
                      <a:cubicBezTo>
                        <a:pt x="14" y="0"/>
                        <a:pt x="14" y="0"/>
                        <a:pt x="14" y="0"/>
                      </a:cubicBezTo>
                      <a:lnTo>
                        <a:pt x="14" y="1"/>
                      </a:lnTo>
                      <a:close/>
                      <a:moveTo>
                        <a:pt x="39" y="19"/>
                      </a:moveTo>
                      <a:cubicBezTo>
                        <a:pt x="29" y="30"/>
                        <a:pt x="15" y="37"/>
                        <a:pt x="1" y="37"/>
                      </a:cubicBezTo>
                      <a:cubicBezTo>
                        <a:pt x="3" y="7"/>
                        <a:pt x="3" y="7"/>
                        <a:pt x="3" y="7"/>
                      </a:cubicBezTo>
                      <a:cubicBezTo>
                        <a:pt x="7" y="6"/>
                        <a:pt x="11" y="5"/>
                        <a:pt x="14" y="2"/>
                      </a:cubicBezTo>
                      <a:lnTo>
                        <a:pt x="39"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130"/>
                <p:cNvSpPr>
                  <a:spLocks noEditPoints="1"/>
                </p:cNvSpPr>
                <p:nvPr/>
              </p:nvSpPr>
              <p:spPr bwMode="auto">
                <a:xfrm rot="14718710">
                  <a:off x="11520514" y="4297457"/>
                  <a:ext cx="3793424" cy="3547895"/>
                </a:xfrm>
                <a:custGeom>
                  <a:avLst/>
                  <a:gdLst>
                    <a:gd name="T0" fmla="*/ 154 w 160"/>
                    <a:gd name="T1" fmla="*/ 67 h 159"/>
                    <a:gd name="T2" fmla="*/ 151 w 160"/>
                    <a:gd name="T3" fmla="*/ 43 h 159"/>
                    <a:gd name="T4" fmla="*/ 137 w 160"/>
                    <a:gd name="T5" fmla="*/ 30 h 159"/>
                    <a:gd name="T6" fmla="*/ 119 w 160"/>
                    <a:gd name="T7" fmla="*/ 30 h 159"/>
                    <a:gd name="T8" fmla="*/ 110 w 160"/>
                    <a:gd name="T9" fmla="*/ 6 h 159"/>
                    <a:gd name="T10" fmla="*/ 89 w 160"/>
                    <a:gd name="T11" fmla="*/ 1 h 159"/>
                    <a:gd name="T12" fmla="*/ 71 w 160"/>
                    <a:gd name="T13" fmla="*/ 17 h 159"/>
                    <a:gd name="T14" fmla="*/ 54 w 160"/>
                    <a:gd name="T15" fmla="*/ 9 h 159"/>
                    <a:gd name="T16" fmla="*/ 36 w 160"/>
                    <a:gd name="T17" fmla="*/ 13 h 159"/>
                    <a:gd name="T18" fmla="*/ 22 w 160"/>
                    <a:gd name="T19" fmla="*/ 32 h 159"/>
                    <a:gd name="T20" fmla="*/ 25 w 160"/>
                    <a:gd name="T21" fmla="*/ 50 h 159"/>
                    <a:gd name="T22" fmla="*/ 2 w 160"/>
                    <a:gd name="T23" fmla="*/ 62 h 159"/>
                    <a:gd name="T24" fmla="*/ 4 w 160"/>
                    <a:gd name="T25" fmla="*/ 81 h 159"/>
                    <a:gd name="T26" fmla="*/ 20 w 160"/>
                    <a:gd name="T27" fmla="*/ 100 h 159"/>
                    <a:gd name="T28" fmla="*/ 14 w 160"/>
                    <a:gd name="T29" fmla="*/ 117 h 159"/>
                    <a:gd name="T30" fmla="*/ 26 w 160"/>
                    <a:gd name="T31" fmla="*/ 138 h 159"/>
                    <a:gd name="T32" fmla="*/ 43 w 160"/>
                    <a:gd name="T33" fmla="*/ 146 h 159"/>
                    <a:gd name="T34" fmla="*/ 60 w 160"/>
                    <a:gd name="T35" fmla="*/ 139 h 159"/>
                    <a:gd name="T36" fmla="*/ 76 w 160"/>
                    <a:gd name="T37" fmla="*/ 159 h 159"/>
                    <a:gd name="T38" fmla="*/ 98 w 160"/>
                    <a:gd name="T39" fmla="*/ 157 h 159"/>
                    <a:gd name="T40" fmla="*/ 110 w 160"/>
                    <a:gd name="T41" fmla="*/ 135 h 159"/>
                    <a:gd name="T42" fmla="*/ 128 w 160"/>
                    <a:gd name="T43" fmla="*/ 138 h 159"/>
                    <a:gd name="T44" fmla="*/ 144 w 160"/>
                    <a:gd name="T45" fmla="*/ 127 h 159"/>
                    <a:gd name="T46" fmla="*/ 151 w 160"/>
                    <a:gd name="T47" fmla="*/ 105 h 159"/>
                    <a:gd name="T48" fmla="*/ 142 w 160"/>
                    <a:gd name="T49" fmla="*/ 89 h 159"/>
                    <a:gd name="T50" fmla="*/ 142 w 160"/>
                    <a:gd name="T51" fmla="*/ 85 h 159"/>
                    <a:gd name="T52" fmla="*/ 155 w 160"/>
                    <a:gd name="T53" fmla="*/ 102 h 159"/>
                    <a:gd name="T54" fmla="*/ 134 w 160"/>
                    <a:gd name="T55" fmla="*/ 109 h 159"/>
                    <a:gd name="T56" fmla="*/ 141 w 160"/>
                    <a:gd name="T57" fmla="*/ 127 h 159"/>
                    <a:gd name="T58" fmla="*/ 120 w 160"/>
                    <a:gd name="T59" fmla="*/ 126 h 159"/>
                    <a:gd name="T60" fmla="*/ 119 w 160"/>
                    <a:gd name="T61" fmla="*/ 144 h 159"/>
                    <a:gd name="T62" fmla="*/ 104 w 160"/>
                    <a:gd name="T63" fmla="*/ 151 h 159"/>
                    <a:gd name="T64" fmla="*/ 90 w 160"/>
                    <a:gd name="T65" fmla="*/ 141 h 159"/>
                    <a:gd name="T66" fmla="*/ 76 w 160"/>
                    <a:gd name="T67" fmla="*/ 158 h 159"/>
                    <a:gd name="T68" fmla="*/ 60 w 160"/>
                    <a:gd name="T69" fmla="*/ 138 h 159"/>
                    <a:gd name="T70" fmla="*/ 45 w 160"/>
                    <a:gd name="T71" fmla="*/ 150 h 159"/>
                    <a:gd name="T72" fmla="*/ 41 w 160"/>
                    <a:gd name="T73" fmla="*/ 128 h 159"/>
                    <a:gd name="T74" fmla="*/ 24 w 160"/>
                    <a:gd name="T75" fmla="*/ 130 h 159"/>
                    <a:gd name="T76" fmla="*/ 14 w 160"/>
                    <a:gd name="T77" fmla="*/ 116 h 159"/>
                    <a:gd name="T78" fmla="*/ 22 w 160"/>
                    <a:gd name="T79" fmla="*/ 100 h 159"/>
                    <a:gd name="T80" fmla="*/ 2 w 160"/>
                    <a:gd name="T81" fmla="*/ 89 h 159"/>
                    <a:gd name="T82" fmla="*/ 18 w 160"/>
                    <a:gd name="T83" fmla="*/ 75 h 159"/>
                    <a:gd name="T84" fmla="*/ 5 w 160"/>
                    <a:gd name="T85" fmla="*/ 57 h 159"/>
                    <a:gd name="T86" fmla="*/ 26 w 160"/>
                    <a:gd name="T87" fmla="*/ 50 h 159"/>
                    <a:gd name="T88" fmla="*/ 19 w 160"/>
                    <a:gd name="T89" fmla="*/ 32 h 159"/>
                    <a:gd name="T90" fmla="*/ 40 w 160"/>
                    <a:gd name="T91" fmla="*/ 33 h 159"/>
                    <a:gd name="T92" fmla="*/ 41 w 160"/>
                    <a:gd name="T93" fmla="*/ 16 h 159"/>
                    <a:gd name="T94" fmla="*/ 56 w 160"/>
                    <a:gd name="T95" fmla="*/ 8 h 159"/>
                    <a:gd name="T96" fmla="*/ 70 w 160"/>
                    <a:gd name="T97" fmla="*/ 19 h 159"/>
                    <a:gd name="T98" fmla="*/ 84 w 160"/>
                    <a:gd name="T99" fmla="*/ 1 h 159"/>
                    <a:gd name="T100" fmla="*/ 100 w 160"/>
                    <a:gd name="T101" fmla="*/ 21 h 159"/>
                    <a:gd name="T102" fmla="*/ 115 w 160"/>
                    <a:gd name="T103" fmla="*/ 10 h 159"/>
                    <a:gd name="T104" fmla="*/ 119 w 160"/>
                    <a:gd name="T105" fmla="*/ 32 h 159"/>
                    <a:gd name="T106" fmla="*/ 136 w 160"/>
                    <a:gd name="T107" fmla="*/ 30 h 159"/>
                    <a:gd name="T108" fmla="*/ 146 w 160"/>
                    <a:gd name="T109" fmla="*/ 43 h 159"/>
                    <a:gd name="T110" fmla="*/ 138 w 160"/>
                    <a:gd name="T111" fmla="*/ 59 h 159"/>
                    <a:gd name="T112" fmla="*/ 158 w 160"/>
                    <a:gd name="T113"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143" y="81"/>
                      </a:moveTo>
                      <a:cubicBezTo>
                        <a:pt x="156" y="79"/>
                        <a:pt x="156" y="79"/>
                        <a:pt x="156" y="79"/>
                      </a:cubicBezTo>
                      <a:cubicBezTo>
                        <a:pt x="158" y="78"/>
                        <a:pt x="160" y="77"/>
                        <a:pt x="159" y="75"/>
                      </a:cubicBezTo>
                      <a:cubicBezTo>
                        <a:pt x="159" y="70"/>
                        <a:pt x="159" y="70"/>
                        <a:pt x="159" y="70"/>
                      </a:cubicBezTo>
                      <a:cubicBezTo>
                        <a:pt x="159" y="68"/>
                        <a:pt x="157" y="67"/>
                        <a:pt x="154" y="67"/>
                      </a:cubicBezTo>
                      <a:cubicBezTo>
                        <a:pt x="142" y="67"/>
                        <a:pt x="142" y="67"/>
                        <a:pt x="142" y="67"/>
                      </a:cubicBezTo>
                      <a:cubicBezTo>
                        <a:pt x="141" y="64"/>
                        <a:pt x="140" y="62"/>
                        <a:pt x="140" y="60"/>
                      </a:cubicBezTo>
                      <a:cubicBezTo>
                        <a:pt x="151" y="53"/>
                        <a:pt x="151" y="53"/>
                        <a:pt x="151" y="53"/>
                      </a:cubicBezTo>
                      <a:cubicBezTo>
                        <a:pt x="153" y="52"/>
                        <a:pt x="154" y="50"/>
                        <a:pt x="153" y="48"/>
                      </a:cubicBezTo>
                      <a:cubicBezTo>
                        <a:pt x="151" y="43"/>
                        <a:pt x="151" y="43"/>
                        <a:pt x="151" y="43"/>
                      </a:cubicBezTo>
                      <a:cubicBezTo>
                        <a:pt x="150" y="42"/>
                        <a:pt x="149" y="42"/>
                        <a:pt x="148" y="42"/>
                      </a:cubicBezTo>
                      <a:cubicBezTo>
                        <a:pt x="147" y="42"/>
                        <a:pt x="146" y="42"/>
                        <a:pt x="146" y="42"/>
                      </a:cubicBezTo>
                      <a:cubicBezTo>
                        <a:pt x="133" y="46"/>
                        <a:pt x="133" y="46"/>
                        <a:pt x="133" y="46"/>
                      </a:cubicBezTo>
                      <a:cubicBezTo>
                        <a:pt x="132" y="44"/>
                        <a:pt x="131" y="42"/>
                        <a:pt x="129" y="40"/>
                      </a:cubicBezTo>
                      <a:cubicBezTo>
                        <a:pt x="137" y="30"/>
                        <a:pt x="137" y="30"/>
                        <a:pt x="137" y="30"/>
                      </a:cubicBezTo>
                      <a:cubicBezTo>
                        <a:pt x="139" y="29"/>
                        <a:pt x="139" y="26"/>
                        <a:pt x="138" y="25"/>
                      </a:cubicBezTo>
                      <a:cubicBezTo>
                        <a:pt x="137" y="24"/>
                        <a:pt x="135" y="22"/>
                        <a:pt x="134" y="21"/>
                      </a:cubicBezTo>
                      <a:cubicBezTo>
                        <a:pt x="134" y="21"/>
                        <a:pt x="133" y="21"/>
                        <a:pt x="132" y="21"/>
                      </a:cubicBezTo>
                      <a:cubicBezTo>
                        <a:pt x="131" y="21"/>
                        <a:pt x="130" y="21"/>
                        <a:pt x="129" y="22"/>
                      </a:cubicBezTo>
                      <a:cubicBezTo>
                        <a:pt x="119" y="30"/>
                        <a:pt x="119" y="30"/>
                        <a:pt x="119" y="30"/>
                      </a:cubicBezTo>
                      <a:cubicBezTo>
                        <a:pt x="117" y="29"/>
                        <a:pt x="115" y="27"/>
                        <a:pt x="113" y="26"/>
                      </a:cubicBezTo>
                      <a:cubicBezTo>
                        <a:pt x="117" y="14"/>
                        <a:pt x="117" y="14"/>
                        <a:pt x="117" y="14"/>
                      </a:cubicBezTo>
                      <a:cubicBezTo>
                        <a:pt x="118" y="12"/>
                        <a:pt x="117" y="9"/>
                        <a:pt x="116" y="8"/>
                      </a:cubicBezTo>
                      <a:cubicBezTo>
                        <a:pt x="114" y="8"/>
                        <a:pt x="112" y="7"/>
                        <a:pt x="111" y="6"/>
                      </a:cubicBezTo>
                      <a:cubicBezTo>
                        <a:pt x="111" y="6"/>
                        <a:pt x="110" y="6"/>
                        <a:pt x="110" y="6"/>
                      </a:cubicBezTo>
                      <a:cubicBezTo>
                        <a:pt x="109" y="6"/>
                        <a:pt x="107" y="7"/>
                        <a:pt x="106" y="9"/>
                      </a:cubicBezTo>
                      <a:cubicBezTo>
                        <a:pt x="100" y="20"/>
                        <a:pt x="100" y="20"/>
                        <a:pt x="100" y="20"/>
                      </a:cubicBezTo>
                      <a:cubicBezTo>
                        <a:pt x="97" y="19"/>
                        <a:pt x="95" y="18"/>
                        <a:pt x="92" y="18"/>
                      </a:cubicBezTo>
                      <a:cubicBezTo>
                        <a:pt x="92" y="5"/>
                        <a:pt x="92" y="5"/>
                        <a:pt x="92" y="5"/>
                      </a:cubicBezTo>
                      <a:cubicBezTo>
                        <a:pt x="92" y="3"/>
                        <a:pt x="91" y="1"/>
                        <a:pt x="89" y="1"/>
                      </a:cubicBezTo>
                      <a:cubicBezTo>
                        <a:pt x="84" y="0"/>
                        <a:pt x="84" y="0"/>
                        <a:pt x="84" y="0"/>
                      </a:cubicBezTo>
                      <a:cubicBezTo>
                        <a:pt x="84" y="0"/>
                        <a:pt x="84" y="0"/>
                        <a:pt x="84" y="0"/>
                      </a:cubicBezTo>
                      <a:cubicBezTo>
                        <a:pt x="82" y="0"/>
                        <a:pt x="81" y="2"/>
                        <a:pt x="80" y="4"/>
                      </a:cubicBezTo>
                      <a:cubicBezTo>
                        <a:pt x="78" y="17"/>
                        <a:pt x="78" y="17"/>
                        <a:pt x="78" y="17"/>
                      </a:cubicBezTo>
                      <a:cubicBezTo>
                        <a:pt x="75" y="17"/>
                        <a:pt x="73" y="17"/>
                        <a:pt x="71" y="17"/>
                      </a:cubicBezTo>
                      <a:cubicBezTo>
                        <a:pt x="66" y="5"/>
                        <a:pt x="66" y="5"/>
                        <a:pt x="66" y="5"/>
                      </a:cubicBezTo>
                      <a:cubicBezTo>
                        <a:pt x="65" y="4"/>
                        <a:pt x="64" y="2"/>
                        <a:pt x="62" y="2"/>
                      </a:cubicBezTo>
                      <a:cubicBezTo>
                        <a:pt x="62" y="2"/>
                        <a:pt x="62" y="2"/>
                        <a:pt x="61" y="2"/>
                      </a:cubicBezTo>
                      <a:cubicBezTo>
                        <a:pt x="57" y="4"/>
                        <a:pt x="57" y="4"/>
                        <a:pt x="57" y="4"/>
                      </a:cubicBezTo>
                      <a:cubicBezTo>
                        <a:pt x="55" y="4"/>
                        <a:pt x="54" y="6"/>
                        <a:pt x="54" y="9"/>
                      </a:cubicBezTo>
                      <a:cubicBezTo>
                        <a:pt x="57" y="21"/>
                        <a:pt x="57" y="21"/>
                        <a:pt x="57" y="21"/>
                      </a:cubicBezTo>
                      <a:cubicBezTo>
                        <a:pt x="54" y="22"/>
                        <a:pt x="52" y="23"/>
                        <a:pt x="50" y="24"/>
                      </a:cubicBezTo>
                      <a:cubicBezTo>
                        <a:pt x="41" y="15"/>
                        <a:pt x="41" y="15"/>
                        <a:pt x="41" y="15"/>
                      </a:cubicBezTo>
                      <a:cubicBezTo>
                        <a:pt x="40" y="14"/>
                        <a:pt x="39" y="13"/>
                        <a:pt x="38" y="13"/>
                      </a:cubicBezTo>
                      <a:cubicBezTo>
                        <a:pt x="37" y="13"/>
                        <a:pt x="37" y="13"/>
                        <a:pt x="36" y="13"/>
                      </a:cubicBezTo>
                      <a:cubicBezTo>
                        <a:pt x="32" y="16"/>
                        <a:pt x="32" y="16"/>
                        <a:pt x="32" y="16"/>
                      </a:cubicBezTo>
                      <a:cubicBezTo>
                        <a:pt x="31" y="17"/>
                        <a:pt x="31" y="20"/>
                        <a:pt x="32" y="22"/>
                      </a:cubicBezTo>
                      <a:cubicBezTo>
                        <a:pt x="38" y="33"/>
                        <a:pt x="38" y="33"/>
                        <a:pt x="38" y="33"/>
                      </a:cubicBezTo>
                      <a:cubicBezTo>
                        <a:pt x="36" y="34"/>
                        <a:pt x="34" y="36"/>
                        <a:pt x="33" y="38"/>
                      </a:cubicBezTo>
                      <a:cubicBezTo>
                        <a:pt x="22" y="32"/>
                        <a:pt x="22" y="32"/>
                        <a:pt x="22" y="32"/>
                      </a:cubicBezTo>
                      <a:cubicBezTo>
                        <a:pt x="21" y="31"/>
                        <a:pt x="20" y="31"/>
                        <a:pt x="19" y="31"/>
                      </a:cubicBezTo>
                      <a:cubicBezTo>
                        <a:pt x="18" y="31"/>
                        <a:pt x="17" y="32"/>
                        <a:pt x="16" y="32"/>
                      </a:cubicBezTo>
                      <a:cubicBezTo>
                        <a:pt x="13" y="36"/>
                        <a:pt x="13" y="36"/>
                        <a:pt x="13" y="36"/>
                      </a:cubicBezTo>
                      <a:cubicBezTo>
                        <a:pt x="12" y="38"/>
                        <a:pt x="13" y="40"/>
                        <a:pt x="15" y="42"/>
                      </a:cubicBezTo>
                      <a:cubicBezTo>
                        <a:pt x="25" y="50"/>
                        <a:pt x="25" y="50"/>
                        <a:pt x="25" y="50"/>
                      </a:cubicBezTo>
                      <a:cubicBezTo>
                        <a:pt x="23" y="52"/>
                        <a:pt x="22" y="55"/>
                        <a:pt x="21" y="57"/>
                      </a:cubicBezTo>
                      <a:cubicBezTo>
                        <a:pt x="9" y="55"/>
                        <a:pt x="9" y="55"/>
                        <a:pt x="9" y="55"/>
                      </a:cubicBezTo>
                      <a:cubicBezTo>
                        <a:pt x="8" y="55"/>
                        <a:pt x="8" y="55"/>
                        <a:pt x="8" y="55"/>
                      </a:cubicBezTo>
                      <a:cubicBezTo>
                        <a:pt x="6" y="55"/>
                        <a:pt x="4" y="56"/>
                        <a:pt x="4" y="57"/>
                      </a:cubicBezTo>
                      <a:cubicBezTo>
                        <a:pt x="2" y="62"/>
                        <a:pt x="2" y="62"/>
                        <a:pt x="2" y="62"/>
                      </a:cubicBezTo>
                      <a:cubicBezTo>
                        <a:pt x="2" y="63"/>
                        <a:pt x="3" y="65"/>
                        <a:pt x="6" y="66"/>
                      </a:cubicBezTo>
                      <a:cubicBezTo>
                        <a:pt x="18" y="71"/>
                        <a:pt x="18" y="71"/>
                        <a:pt x="18" y="71"/>
                      </a:cubicBezTo>
                      <a:cubicBezTo>
                        <a:pt x="18" y="72"/>
                        <a:pt x="17" y="73"/>
                        <a:pt x="17" y="74"/>
                      </a:cubicBezTo>
                      <a:cubicBezTo>
                        <a:pt x="17" y="76"/>
                        <a:pt x="17" y="77"/>
                        <a:pt x="17" y="78"/>
                      </a:cubicBezTo>
                      <a:cubicBezTo>
                        <a:pt x="4" y="81"/>
                        <a:pt x="4" y="81"/>
                        <a:pt x="4" y="81"/>
                      </a:cubicBezTo>
                      <a:cubicBezTo>
                        <a:pt x="2" y="81"/>
                        <a:pt x="0" y="83"/>
                        <a:pt x="1" y="84"/>
                      </a:cubicBezTo>
                      <a:cubicBezTo>
                        <a:pt x="1" y="86"/>
                        <a:pt x="1" y="88"/>
                        <a:pt x="1" y="89"/>
                      </a:cubicBezTo>
                      <a:cubicBezTo>
                        <a:pt x="1" y="91"/>
                        <a:pt x="3" y="92"/>
                        <a:pt x="6" y="92"/>
                      </a:cubicBezTo>
                      <a:cubicBezTo>
                        <a:pt x="18" y="93"/>
                        <a:pt x="18" y="93"/>
                        <a:pt x="18" y="93"/>
                      </a:cubicBezTo>
                      <a:cubicBezTo>
                        <a:pt x="19" y="95"/>
                        <a:pt x="20" y="98"/>
                        <a:pt x="20" y="100"/>
                      </a:cubicBezTo>
                      <a:cubicBezTo>
                        <a:pt x="9" y="106"/>
                        <a:pt x="9" y="106"/>
                        <a:pt x="9" y="106"/>
                      </a:cubicBezTo>
                      <a:cubicBezTo>
                        <a:pt x="7" y="108"/>
                        <a:pt x="6" y="110"/>
                        <a:pt x="7" y="111"/>
                      </a:cubicBezTo>
                      <a:cubicBezTo>
                        <a:pt x="9" y="116"/>
                        <a:pt x="9" y="116"/>
                        <a:pt x="9" y="116"/>
                      </a:cubicBezTo>
                      <a:cubicBezTo>
                        <a:pt x="10" y="117"/>
                        <a:pt x="11" y="118"/>
                        <a:pt x="12" y="118"/>
                      </a:cubicBezTo>
                      <a:cubicBezTo>
                        <a:pt x="13" y="118"/>
                        <a:pt x="14" y="117"/>
                        <a:pt x="14" y="117"/>
                      </a:cubicBezTo>
                      <a:cubicBezTo>
                        <a:pt x="27" y="113"/>
                        <a:pt x="27" y="113"/>
                        <a:pt x="27" y="113"/>
                      </a:cubicBezTo>
                      <a:cubicBezTo>
                        <a:pt x="28" y="115"/>
                        <a:pt x="29" y="117"/>
                        <a:pt x="31" y="119"/>
                      </a:cubicBezTo>
                      <a:cubicBezTo>
                        <a:pt x="23" y="129"/>
                        <a:pt x="23" y="129"/>
                        <a:pt x="23" y="129"/>
                      </a:cubicBezTo>
                      <a:cubicBezTo>
                        <a:pt x="21" y="131"/>
                        <a:pt x="21" y="133"/>
                        <a:pt x="22" y="134"/>
                      </a:cubicBezTo>
                      <a:cubicBezTo>
                        <a:pt x="26" y="138"/>
                        <a:pt x="26" y="138"/>
                        <a:pt x="26" y="138"/>
                      </a:cubicBezTo>
                      <a:cubicBezTo>
                        <a:pt x="26" y="138"/>
                        <a:pt x="27" y="139"/>
                        <a:pt x="28" y="139"/>
                      </a:cubicBezTo>
                      <a:cubicBezTo>
                        <a:pt x="29" y="139"/>
                        <a:pt x="30" y="138"/>
                        <a:pt x="31" y="137"/>
                      </a:cubicBezTo>
                      <a:cubicBezTo>
                        <a:pt x="41" y="129"/>
                        <a:pt x="41" y="129"/>
                        <a:pt x="41" y="129"/>
                      </a:cubicBezTo>
                      <a:cubicBezTo>
                        <a:pt x="43" y="131"/>
                        <a:pt x="45" y="132"/>
                        <a:pt x="47" y="133"/>
                      </a:cubicBezTo>
                      <a:cubicBezTo>
                        <a:pt x="43" y="146"/>
                        <a:pt x="43" y="146"/>
                        <a:pt x="43" y="146"/>
                      </a:cubicBezTo>
                      <a:cubicBezTo>
                        <a:pt x="42" y="148"/>
                        <a:pt x="43" y="150"/>
                        <a:pt x="44" y="151"/>
                      </a:cubicBezTo>
                      <a:cubicBezTo>
                        <a:pt x="49" y="153"/>
                        <a:pt x="49" y="153"/>
                        <a:pt x="49" y="153"/>
                      </a:cubicBezTo>
                      <a:cubicBezTo>
                        <a:pt x="49" y="153"/>
                        <a:pt x="50" y="153"/>
                        <a:pt x="50" y="153"/>
                      </a:cubicBezTo>
                      <a:cubicBezTo>
                        <a:pt x="51" y="153"/>
                        <a:pt x="53" y="152"/>
                        <a:pt x="54" y="151"/>
                      </a:cubicBezTo>
                      <a:cubicBezTo>
                        <a:pt x="60" y="139"/>
                        <a:pt x="60" y="139"/>
                        <a:pt x="60" y="139"/>
                      </a:cubicBezTo>
                      <a:cubicBezTo>
                        <a:pt x="63" y="140"/>
                        <a:pt x="65" y="141"/>
                        <a:pt x="68" y="141"/>
                      </a:cubicBezTo>
                      <a:cubicBezTo>
                        <a:pt x="68" y="154"/>
                        <a:pt x="68" y="154"/>
                        <a:pt x="68" y="154"/>
                      </a:cubicBezTo>
                      <a:cubicBezTo>
                        <a:pt x="68" y="157"/>
                        <a:pt x="69" y="159"/>
                        <a:pt x="71" y="159"/>
                      </a:cubicBezTo>
                      <a:cubicBezTo>
                        <a:pt x="76" y="159"/>
                        <a:pt x="76" y="159"/>
                        <a:pt x="76" y="159"/>
                      </a:cubicBezTo>
                      <a:cubicBezTo>
                        <a:pt x="76" y="159"/>
                        <a:pt x="76" y="159"/>
                        <a:pt x="76" y="159"/>
                      </a:cubicBezTo>
                      <a:cubicBezTo>
                        <a:pt x="78" y="159"/>
                        <a:pt x="79" y="157"/>
                        <a:pt x="80" y="155"/>
                      </a:cubicBezTo>
                      <a:cubicBezTo>
                        <a:pt x="82" y="143"/>
                        <a:pt x="82" y="143"/>
                        <a:pt x="82" y="143"/>
                      </a:cubicBezTo>
                      <a:cubicBezTo>
                        <a:pt x="85" y="142"/>
                        <a:pt x="87" y="142"/>
                        <a:pt x="89" y="142"/>
                      </a:cubicBezTo>
                      <a:cubicBezTo>
                        <a:pt x="94" y="154"/>
                        <a:pt x="94" y="154"/>
                        <a:pt x="94" y="154"/>
                      </a:cubicBezTo>
                      <a:cubicBezTo>
                        <a:pt x="95" y="156"/>
                        <a:pt x="96" y="157"/>
                        <a:pt x="98" y="157"/>
                      </a:cubicBezTo>
                      <a:cubicBezTo>
                        <a:pt x="98" y="157"/>
                        <a:pt x="98" y="157"/>
                        <a:pt x="99" y="157"/>
                      </a:cubicBezTo>
                      <a:cubicBezTo>
                        <a:pt x="103" y="156"/>
                        <a:pt x="103" y="156"/>
                        <a:pt x="103" y="156"/>
                      </a:cubicBezTo>
                      <a:cubicBezTo>
                        <a:pt x="105" y="155"/>
                        <a:pt x="106" y="153"/>
                        <a:pt x="106" y="151"/>
                      </a:cubicBezTo>
                      <a:cubicBezTo>
                        <a:pt x="103" y="138"/>
                        <a:pt x="103" y="138"/>
                        <a:pt x="103" y="138"/>
                      </a:cubicBezTo>
                      <a:cubicBezTo>
                        <a:pt x="106" y="137"/>
                        <a:pt x="108" y="136"/>
                        <a:pt x="110" y="135"/>
                      </a:cubicBezTo>
                      <a:cubicBezTo>
                        <a:pt x="119" y="145"/>
                        <a:pt x="119" y="145"/>
                        <a:pt x="119" y="145"/>
                      </a:cubicBezTo>
                      <a:cubicBezTo>
                        <a:pt x="120" y="146"/>
                        <a:pt x="121" y="147"/>
                        <a:pt x="122" y="147"/>
                      </a:cubicBezTo>
                      <a:cubicBezTo>
                        <a:pt x="123" y="147"/>
                        <a:pt x="123" y="146"/>
                        <a:pt x="124" y="146"/>
                      </a:cubicBezTo>
                      <a:cubicBezTo>
                        <a:pt x="128" y="143"/>
                        <a:pt x="128" y="143"/>
                        <a:pt x="128" y="143"/>
                      </a:cubicBezTo>
                      <a:cubicBezTo>
                        <a:pt x="129" y="142"/>
                        <a:pt x="129" y="140"/>
                        <a:pt x="128" y="138"/>
                      </a:cubicBezTo>
                      <a:cubicBezTo>
                        <a:pt x="122" y="127"/>
                        <a:pt x="122" y="127"/>
                        <a:pt x="122" y="127"/>
                      </a:cubicBezTo>
                      <a:cubicBezTo>
                        <a:pt x="124" y="125"/>
                        <a:pt x="126" y="123"/>
                        <a:pt x="127" y="121"/>
                      </a:cubicBezTo>
                      <a:cubicBezTo>
                        <a:pt x="138" y="127"/>
                        <a:pt x="138" y="127"/>
                        <a:pt x="138" y="127"/>
                      </a:cubicBezTo>
                      <a:cubicBezTo>
                        <a:pt x="139" y="128"/>
                        <a:pt x="140" y="128"/>
                        <a:pt x="141" y="128"/>
                      </a:cubicBezTo>
                      <a:cubicBezTo>
                        <a:pt x="142" y="128"/>
                        <a:pt x="143" y="128"/>
                        <a:pt x="144" y="127"/>
                      </a:cubicBezTo>
                      <a:cubicBezTo>
                        <a:pt x="147" y="123"/>
                        <a:pt x="147" y="123"/>
                        <a:pt x="147" y="123"/>
                      </a:cubicBezTo>
                      <a:cubicBezTo>
                        <a:pt x="148" y="122"/>
                        <a:pt x="147" y="119"/>
                        <a:pt x="145" y="118"/>
                      </a:cubicBezTo>
                      <a:cubicBezTo>
                        <a:pt x="135" y="109"/>
                        <a:pt x="135" y="109"/>
                        <a:pt x="135" y="109"/>
                      </a:cubicBezTo>
                      <a:cubicBezTo>
                        <a:pt x="137" y="107"/>
                        <a:pt x="138" y="105"/>
                        <a:pt x="139" y="103"/>
                      </a:cubicBezTo>
                      <a:cubicBezTo>
                        <a:pt x="151" y="105"/>
                        <a:pt x="151" y="105"/>
                        <a:pt x="151" y="105"/>
                      </a:cubicBezTo>
                      <a:cubicBezTo>
                        <a:pt x="152" y="105"/>
                        <a:pt x="152" y="105"/>
                        <a:pt x="152" y="105"/>
                      </a:cubicBezTo>
                      <a:cubicBezTo>
                        <a:pt x="154" y="105"/>
                        <a:pt x="156" y="104"/>
                        <a:pt x="156" y="102"/>
                      </a:cubicBezTo>
                      <a:cubicBezTo>
                        <a:pt x="158" y="98"/>
                        <a:pt x="158" y="98"/>
                        <a:pt x="158" y="98"/>
                      </a:cubicBezTo>
                      <a:cubicBezTo>
                        <a:pt x="158" y="96"/>
                        <a:pt x="157" y="94"/>
                        <a:pt x="154" y="93"/>
                      </a:cubicBezTo>
                      <a:cubicBezTo>
                        <a:pt x="142" y="89"/>
                        <a:pt x="142" y="89"/>
                        <a:pt x="142" y="89"/>
                      </a:cubicBezTo>
                      <a:cubicBezTo>
                        <a:pt x="142" y="87"/>
                        <a:pt x="143" y="86"/>
                        <a:pt x="143" y="85"/>
                      </a:cubicBezTo>
                      <a:cubicBezTo>
                        <a:pt x="143" y="84"/>
                        <a:pt x="143" y="83"/>
                        <a:pt x="143" y="81"/>
                      </a:cubicBezTo>
                      <a:close/>
                      <a:moveTo>
                        <a:pt x="142" y="80"/>
                      </a:moveTo>
                      <a:cubicBezTo>
                        <a:pt x="142" y="81"/>
                        <a:pt x="142" y="81"/>
                        <a:pt x="142" y="81"/>
                      </a:cubicBezTo>
                      <a:cubicBezTo>
                        <a:pt x="142" y="82"/>
                        <a:pt x="142" y="84"/>
                        <a:pt x="142" y="85"/>
                      </a:cubicBezTo>
                      <a:cubicBezTo>
                        <a:pt x="141" y="86"/>
                        <a:pt x="141" y="87"/>
                        <a:pt x="141" y="89"/>
                      </a:cubicBezTo>
                      <a:cubicBezTo>
                        <a:pt x="141" y="89"/>
                        <a:pt x="141" y="89"/>
                        <a:pt x="141" y="89"/>
                      </a:cubicBezTo>
                      <a:cubicBezTo>
                        <a:pt x="154" y="94"/>
                        <a:pt x="154" y="94"/>
                        <a:pt x="154" y="94"/>
                      </a:cubicBezTo>
                      <a:cubicBezTo>
                        <a:pt x="156" y="95"/>
                        <a:pt x="157" y="96"/>
                        <a:pt x="156" y="97"/>
                      </a:cubicBezTo>
                      <a:cubicBezTo>
                        <a:pt x="155" y="102"/>
                        <a:pt x="155" y="102"/>
                        <a:pt x="155" y="102"/>
                      </a:cubicBezTo>
                      <a:cubicBezTo>
                        <a:pt x="155" y="103"/>
                        <a:pt x="154" y="104"/>
                        <a:pt x="152" y="104"/>
                      </a:cubicBezTo>
                      <a:cubicBezTo>
                        <a:pt x="152" y="104"/>
                        <a:pt x="152" y="103"/>
                        <a:pt x="151" y="103"/>
                      </a:cubicBezTo>
                      <a:cubicBezTo>
                        <a:pt x="138" y="101"/>
                        <a:pt x="138" y="101"/>
                        <a:pt x="138" y="101"/>
                      </a:cubicBezTo>
                      <a:cubicBezTo>
                        <a:pt x="138" y="102"/>
                        <a:pt x="138" y="102"/>
                        <a:pt x="138" y="102"/>
                      </a:cubicBezTo>
                      <a:cubicBezTo>
                        <a:pt x="137" y="104"/>
                        <a:pt x="136" y="107"/>
                        <a:pt x="134" y="109"/>
                      </a:cubicBezTo>
                      <a:cubicBezTo>
                        <a:pt x="134" y="110"/>
                        <a:pt x="134" y="110"/>
                        <a:pt x="134" y="110"/>
                      </a:cubicBezTo>
                      <a:cubicBezTo>
                        <a:pt x="144" y="119"/>
                        <a:pt x="144" y="119"/>
                        <a:pt x="144" y="119"/>
                      </a:cubicBezTo>
                      <a:cubicBezTo>
                        <a:pt x="146" y="120"/>
                        <a:pt x="146" y="121"/>
                        <a:pt x="146" y="122"/>
                      </a:cubicBezTo>
                      <a:cubicBezTo>
                        <a:pt x="143" y="126"/>
                        <a:pt x="143" y="126"/>
                        <a:pt x="143" y="126"/>
                      </a:cubicBezTo>
                      <a:cubicBezTo>
                        <a:pt x="143" y="127"/>
                        <a:pt x="142" y="127"/>
                        <a:pt x="141" y="127"/>
                      </a:cubicBezTo>
                      <a:cubicBezTo>
                        <a:pt x="141" y="127"/>
                        <a:pt x="140" y="127"/>
                        <a:pt x="139" y="126"/>
                      </a:cubicBezTo>
                      <a:cubicBezTo>
                        <a:pt x="127" y="120"/>
                        <a:pt x="127" y="120"/>
                        <a:pt x="127" y="120"/>
                      </a:cubicBezTo>
                      <a:cubicBezTo>
                        <a:pt x="127" y="120"/>
                        <a:pt x="127" y="120"/>
                        <a:pt x="127" y="120"/>
                      </a:cubicBezTo>
                      <a:cubicBezTo>
                        <a:pt x="125" y="122"/>
                        <a:pt x="123" y="124"/>
                        <a:pt x="121" y="126"/>
                      </a:cubicBezTo>
                      <a:cubicBezTo>
                        <a:pt x="120" y="126"/>
                        <a:pt x="120" y="126"/>
                        <a:pt x="120" y="126"/>
                      </a:cubicBezTo>
                      <a:cubicBezTo>
                        <a:pt x="127" y="138"/>
                        <a:pt x="127" y="138"/>
                        <a:pt x="127" y="138"/>
                      </a:cubicBezTo>
                      <a:cubicBezTo>
                        <a:pt x="128" y="140"/>
                        <a:pt x="128" y="142"/>
                        <a:pt x="127" y="142"/>
                      </a:cubicBezTo>
                      <a:cubicBezTo>
                        <a:pt x="123" y="145"/>
                        <a:pt x="123" y="145"/>
                        <a:pt x="123" y="145"/>
                      </a:cubicBezTo>
                      <a:cubicBezTo>
                        <a:pt x="123" y="145"/>
                        <a:pt x="123" y="145"/>
                        <a:pt x="122" y="145"/>
                      </a:cubicBezTo>
                      <a:cubicBezTo>
                        <a:pt x="121" y="145"/>
                        <a:pt x="120" y="145"/>
                        <a:pt x="119" y="144"/>
                      </a:cubicBezTo>
                      <a:cubicBezTo>
                        <a:pt x="110" y="133"/>
                        <a:pt x="110" y="133"/>
                        <a:pt x="110" y="133"/>
                      </a:cubicBezTo>
                      <a:cubicBezTo>
                        <a:pt x="110" y="134"/>
                        <a:pt x="110" y="134"/>
                        <a:pt x="110" y="134"/>
                      </a:cubicBezTo>
                      <a:cubicBezTo>
                        <a:pt x="108" y="135"/>
                        <a:pt x="105" y="136"/>
                        <a:pt x="103" y="137"/>
                      </a:cubicBezTo>
                      <a:cubicBezTo>
                        <a:pt x="102" y="137"/>
                        <a:pt x="102" y="137"/>
                        <a:pt x="102" y="137"/>
                      </a:cubicBezTo>
                      <a:cubicBezTo>
                        <a:pt x="104" y="151"/>
                        <a:pt x="104" y="151"/>
                        <a:pt x="104" y="151"/>
                      </a:cubicBezTo>
                      <a:cubicBezTo>
                        <a:pt x="105" y="153"/>
                        <a:pt x="104" y="154"/>
                        <a:pt x="103" y="155"/>
                      </a:cubicBezTo>
                      <a:cubicBezTo>
                        <a:pt x="98" y="156"/>
                        <a:pt x="98" y="156"/>
                        <a:pt x="98" y="156"/>
                      </a:cubicBezTo>
                      <a:cubicBezTo>
                        <a:pt x="98" y="156"/>
                        <a:pt x="98" y="156"/>
                        <a:pt x="98" y="156"/>
                      </a:cubicBezTo>
                      <a:cubicBezTo>
                        <a:pt x="97" y="156"/>
                        <a:pt x="96" y="155"/>
                        <a:pt x="95" y="153"/>
                      </a:cubicBezTo>
                      <a:cubicBezTo>
                        <a:pt x="90" y="141"/>
                        <a:pt x="90" y="141"/>
                        <a:pt x="90" y="141"/>
                      </a:cubicBezTo>
                      <a:cubicBezTo>
                        <a:pt x="90" y="141"/>
                        <a:pt x="90" y="141"/>
                        <a:pt x="90" y="141"/>
                      </a:cubicBezTo>
                      <a:cubicBezTo>
                        <a:pt x="87" y="141"/>
                        <a:pt x="84" y="141"/>
                        <a:pt x="82" y="141"/>
                      </a:cubicBezTo>
                      <a:cubicBezTo>
                        <a:pt x="81" y="141"/>
                        <a:pt x="81" y="141"/>
                        <a:pt x="81" y="141"/>
                      </a:cubicBezTo>
                      <a:cubicBezTo>
                        <a:pt x="79" y="155"/>
                        <a:pt x="79" y="155"/>
                        <a:pt x="79" y="155"/>
                      </a:cubicBezTo>
                      <a:cubicBezTo>
                        <a:pt x="78" y="157"/>
                        <a:pt x="77" y="158"/>
                        <a:pt x="76" y="158"/>
                      </a:cubicBezTo>
                      <a:cubicBezTo>
                        <a:pt x="71" y="158"/>
                        <a:pt x="71" y="158"/>
                        <a:pt x="71" y="158"/>
                      </a:cubicBezTo>
                      <a:cubicBezTo>
                        <a:pt x="70" y="158"/>
                        <a:pt x="69" y="156"/>
                        <a:pt x="69" y="154"/>
                      </a:cubicBezTo>
                      <a:cubicBezTo>
                        <a:pt x="69" y="140"/>
                        <a:pt x="69" y="140"/>
                        <a:pt x="69" y="140"/>
                      </a:cubicBezTo>
                      <a:cubicBezTo>
                        <a:pt x="68" y="140"/>
                        <a:pt x="68" y="140"/>
                        <a:pt x="68" y="140"/>
                      </a:cubicBezTo>
                      <a:cubicBezTo>
                        <a:pt x="66" y="140"/>
                        <a:pt x="63" y="139"/>
                        <a:pt x="60" y="138"/>
                      </a:cubicBezTo>
                      <a:cubicBezTo>
                        <a:pt x="60" y="138"/>
                        <a:pt x="60" y="138"/>
                        <a:pt x="60" y="138"/>
                      </a:cubicBezTo>
                      <a:cubicBezTo>
                        <a:pt x="53" y="150"/>
                        <a:pt x="53" y="150"/>
                        <a:pt x="53" y="150"/>
                      </a:cubicBezTo>
                      <a:cubicBezTo>
                        <a:pt x="52" y="151"/>
                        <a:pt x="51" y="152"/>
                        <a:pt x="50" y="152"/>
                      </a:cubicBezTo>
                      <a:cubicBezTo>
                        <a:pt x="50" y="152"/>
                        <a:pt x="50" y="152"/>
                        <a:pt x="49" y="152"/>
                      </a:cubicBezTo>
                      <a:cubicBezTo>
                        <a:pt x="45" y="150"/>
                        <a:pt x="45" y="150"/>
                        <a:pt x="45" y="150"/>
                      </a:cubicBezTo>
                      <a:cubicBezTo>
                        <a:pt x="44" y="149"/>
                        <a:pt x="44" y="148"/>
                        <a:pt x="44" y="146"/>
                      </a:cubicBezTo>
                      <a:cubicBezTo>
                        <a:pt x="49" y="133"/>
                        <a:pt x="49" y="133"/>
                        <a:pt x="49" y="133"/>
                      </a:cubicBezTo>
                      <a:cubicBezTo>
                        <a:pt x="48" y="133"/>
                        <a:pt x="48" y="133"/>
                        <a:pt x="48" y="133"/>
                      </a:cubicBezTo>
                      <a:cubicBezTo>
                        <a:pt x="46" y="131"/>
                        <a:pt x="44" y="130"/>
                        <a:pt x="41" y="128"/>
                      </a:cubicBezTo>
                      <a:cubicBezTo>
                        <a:pt x="41" y="128"/>
                        <a:pt x="41" y="128"/>
                        <a:pt x="41" y="128"/>
                      </a:cubicBezTo>
                      <a:cubicBezTo>
                        <a:pt x="30" y="136"/>
                        <a:pt x="30" y="136"/>
                        <a:pt x="30" y="136"/>
                      </a:cubicBezTo>
                      <a:cubicBezTo>
                        <a:pt x="30" y="137"/>
                        <a:pt x="29" y="137"/>
                        <a:pt x="28" y="137"/>
                      </a:cubicBezTo>
                      <a:cubicBezTo>
                        <a:pt x="27" y="137"/>
                        <a:pt x="27" y="137"/>
                        <a:pt x="27" y="137"/>
                      </a:cubicBezTo>
                      <a:cubicBezTo>
                        <a:pt x="23" y="134"/>
                        <a:pt x="23" y="134"/>
                        <a:pt x="23" y="134"/>
                      </a:cubicBezTo>
                      <a:cubicBezTo>
                        <a:pt x="22" y="133"/>
                        <a:pt x="23" y="131"/>
                        <a:pt x="24" y="130"/>
                      </a:cubicBezTo>
                      <a:cubicBezTo>
                        <a:pt x="32" y="119"/>
                        <a:pt x="32" y="119"/>
                        <a:pt x="32" y="119"/>
                      </a:cubicBezTo>
                      <a:cubicBezTo>
                        <a:pt x="32" y="119"/>
                        <a:pt x="32" y="119"/>
                        <a:pt x="32" y="119"/>
                      </a:cubicBezTo>
                      <a:cubicBezTo>
                        <a:pt x="30" y="116"/>
                        <a:pt x="29" y="114"/>
                        <a:pt x="27" y="112"/>
                      </a:cubicBezTo>
                      <a:cubicBezTo>
                        <a:pt x="27" y="111"/>
                        <a:pt x="27" y="111"/>
                        <a:pt x="27" y="111"/>
                      </a:cubicBezTo>
                      <a:cubicBezTo>
                        <a:pt x="14" y="116"/>
                        <a:pt x="14" y="116"/>
                        <a:pt x="14" y="116"/>
                      </a:cubicBezTo>
                      <a:cubicBezTo>
                        <a:pt x="14" y="116"/>
                        <a:pt x="13" y="116"/>
                        <a:pt x="12" y="116"/>
                      </a:cubicBezTo>
                      <a:cubicBezTo>
                        <a:pt x="11" y="116"/>
                        <a:pt x="10" y="116"/>
                        <a:pt x="10" y="115"/>
                      </a:cubicBezTo>
                      <a:cubicBezTo>
                        <a:pt x="8" y="111"/>
                        <a:pt x="8" y="111"/>
                        <a:pt x="8" y="111"/>
                      </a:cubicBezTo>
                      <a:cubicBezTo>
                        <a:pt x="8" y="110"/>
                        <a:pt x="8" y="108"/>
                        <a:pt x="10" y="107"/>
                      </a:cubicBezTo>
                      <a:cubicBezTo>
                        <a:pt x="22" y="100"/>
                        <a:pt x="22" y="100"/>
                        <a:pt x="22" y="100"/>
                      </a:cubicBezTo>
                      <a:cubicBezTo>
                        <a:pt x="22" y="100"/>
                        <a:pt x="22" y="100"/>
                        <a:pt x="22" y="100"/>
                      </a:cubicBezTo>
                      <a:cubicBezTo>
                        <a:pt x="21" y="97"/>
                        <a:pt x="20" y="95"/>
                        <a:pt x="19" y="92"/>
                      </a:cubicBezTo>
                      <a:cubicBezTo>
                        <a:pt x="19" y="91"/>
                        <a:pt x="19" y="91"/>
                        <a:pt x="19" y="91"/>
                      </a:cubicBezTo>
                      <a:cubicBezTo>
                        <a:pt x="6" y="91"/>
                        <a:pt x="6" y="91"/>
                        <a:pt x="6" y="91"/>
                      </a:cubicBezTo>
                      <a:cubicBezTo>
                        <a:pt x="4" y="91"/>
                        <a:pt x="2" y="90"/>
                        <a:pt x="2" y="89"/>
                      </a:cubicBezTo>
                      <a:cubicBezTo>
                        <a:pt x="2" y="88"/>
                        <a:pt x="2" y="86"/>
                        <a:pt x="2" y="84"/>
                      </a:cubicBezTo>
                      <a:cubicBezTo>
                        <a:pt x="2" y="83"/>
                        <a:pt x="3" y="82"/>
                        <a:pt x="5" y="82"/>
                      </a:cubicBezTo>
                      <a:cubicBezTo>
                        <a:pt x="18" y="79"/>
                        <a:pt x="18" y="79"/>
                        <a:pt x="18" y="79"/>
                      </a:cubicBezTo>
                      <a:cubicBezTo>
                        <a:pt x="18" y="79"/>
                        <a:pt x="18" y="79"/>
                        <a:pt x="18" y="79"/>
                      </a:cubicBezTo>
                      <a:cubicBezTo>
                        <a:pt x="18" y="77"/>
                        <a:pt x="18" y="76"/>
                        <a:pt x="18" y="75"/>
                      </a:cubicBezTo>
                      <a:cubicBezTo>
                        <a:pt x="19" y="73"/>
                        <a:pt x="19" y="72"/>
                        <a:pt x="19" y="70"/>
                      </a:cubicBezTo>
                      <a:cubicBezTo>
                        <a:pt x="19" y="70"/>
                        <a:pt x="19" y="70"/>
                        <a:pt x="19" y="70"/>
                      </a:cubicBezTo>
                      <a:cubicBezTo>
                        <a:pt x="6" y="65"/>
                        <a:pt x="6" y="65"/>
                        <a:pt x="6" y="65"/>
                      </a:cubicBezTo>
                      <a:cubicBezTo>
                        <a:pt x="4" y="65"/>
                        <a:pt x="3" y="63"/>
                        <a:pt x="4" y="62"/>
                      </a:cubicBezTo>
                      <a:cubicBezTo>
                        <a:pt x="5" y="57"/>
                        <a:pt x="5" y="57"/>
                        <a:pt x="5" y="57"/>
                      </a:cubicBezTo>
                      <a:cubicBezTo>
                        <a:pt x="5" y="56"/>
                        <a:pt x="6" y="56"/>
                        <a:pt x="8" y="56"/>
                      </a:cubicBezTo>
                      <a:cubicBezTo>
                        <a:pt x="8" y="56"/>
                        <a:pt x="8" y="56"/>
                        <a:pt x="9" y="56"/>
                      </a:cubicBezTo>
                      <a:cubicBezTo>
                        <a:pt x="22" y="58"/>
                        <a:pt x="22" y="58"/>
                        <a:pt x="22" y="58"/>
                      </a:cubicBezTo>
                      <a:cubicBezTo>
                        <a:pt x="22" y="58"/>
                        <a:pt x="22" y="58"/>
                        <a:pt x="22" y="58"/>
                      </a:cubicBezTo>
                      <a:cubicBezTo>
                        <a:pt x="23" y="55"/>
                        <a:pt x="24" y="53"/>
                        <a:pt x="26" y="50"/>
                      </a:cubicBezTo>
                      <a:cubicBezTo>
                        <a:pt x="26" y="50"/>
                        <a:pt x="26" y="50"/>
                        <a:pt x="26" y="50"/>
                      </a:cubicBezTo>
                      <a:cubicBezTo>
                        <a:pt x="16" y="41"/>
                        <a:pt x="16" y="41"/>
                        <a:pt x="16" y="41"/>
                      </a:cubicBezTo>
                      <a:cubicBezTo>
                        <a:pt x="14" y="40"/>
                        <a:pt x="14" y="38"/>
                        <a:pt x="14" y="37"/>
                      </a:cubicBezTo>
                      <a:cubicBezTo>
                        <a:pt x="17" y="33"/>
                        <a:pt x="17" y="33"/>
                        <a:pt x="17" y="33"/>
                      </a:cubicBezTo>
                      <a:cubicBezTo>
                        <a:pt x="17" y="33"/>
                        <a:pt x="18" y="32"/>
                        <a:pt x="19" y="32"/>
                      </a:cubicBezTo>
                      <a:cubicBezTo>
                        <a:pt x="19" y="32"/>
                        <a:pt x="20" y="32"/>
                        <a:pt x="21" y="33"/>
                      </a:cubicBezTo>
                      <a:cubicBezTo>
                        <a:pt x="33" y="40"/>
                        <a:pt x="33" y="40"/>
                        <a:pt x="33" y="40"/>
                      </a:cubicBezTo>
                      <a:cubicBezTo>
                        <a:pt x="33" y="39"/>
                        <a:pt x="33" y="39"/>
                        <a:pt x="33" y="39"/>
                      </a:cubicBezTo>
                      <a:cubicBezTo>
                        <a:pt x="35" y="37"/>
                        <a:pt x="37" y="35"/>
                        <a:pt x="39" y="33"/>
                      </a:cubicBezTo>
                      <a:cubicBezTo>
                        <a:pt x="40" y="33"/>
                        <a:pt x="40" y="33"/>
                        <a:pt x="40" y="33"/>
                      </a:cubicBezTo>
                      <a:cubicBezTo>
                        <a:pt x="33" y="21"/>
                        <a:pt x="33" y="21"/>
                        <a:pt x="33" y="21"/>
                      </a:cubicBezTo>
                      <a:cubicBezTo>
                        <a:pt x="32" y="20"/>
                        <a:pt x="32" y="18"/>
                        <a:pt x="33" y="17"/>
                      </a:cubicBezTo>
                      <a:cubicBezTo>
                        <a:pt x="37" y="14"/>
                        <a:pt x="37" y="14"/>
                        <a:pt x="37" y="14"/>
                      </a:cubicBezTo>
                      <a:cubicBezTo>
                        <a:pt x="37" y="14"/>
                        <a:pt x="37" y="14"/>
                        <a:pt x="38" y="14"/>
                      </a:cubicBezTo>
                      <a:cubicBezTo>
                        <a:pt x="39" y="14"/>
                        <a:pt x="40" y="15"/>
                        <a:pt x="41" y="16"/>
                      </a:cubicBezTo>
                      <a:cubicBezTo>
                        <a:pt x="50" y="26"/>
                        <a:pt x="50" y="26"/>
                        <a:pt x="50" y="26"/>
                      </a:cubicBezTo>
                      <a:cubicBezTo>
                        <a:pt x="50" y="26"/>
                        <a:pt x="50" y="26"/>
                        <a:pt x="50" y="26"/>
                      </a:cubicBezTo>
                      <a:cubicBezTo>
                        <a:pt x="52" y="24"/>
                        <a:pt x="55" y="23"/>
                        <a:pt x="57" y="22"/>
                      </a:cubicBezTo>
                      <a:cubicBezTo>
                        <a:pt x="58" y="22"/>
                        <a:pt x="58" y="22"/>
                        <a:pt x="58" y="22"/>
                      </a:cubicBezTo>
                      <a:cubicBezTo>
                        <a:pt x="56" y="8"/>
                        <a:pt x="56" y="8"/>
                        <a:pt x="56" y="8"/>
                      </a:cubicBezTo>
                      <a:cubicBezTo>
                        <a:pt x="55" y="7"/>
                        <a:pt x="56" y="5"/>
                        <a:pt x="57" y="5"/>
                      </a:cubicBezTo>
                      <a:cubicBezTo>
                        <a:pt x="62" y="3"/>
                        <a:pt x="62" y="3"/>
                        <a:pt x="62" y="3"/>
                      </a:cubicBezTo>
                      <a:cubicBezTo>
                        <a:pt x="62" y="3"/>
                        <a:pt x="62" y="3"/>
                        <a:pt x="62" y="3"/>
                      </a:cubicBezTo>
                      <a:cubicBezTo>
                        <a:pt x="63" y="3"/>
                        <a:pt x="64" y="4"/>
                        <a:pt x="65" y="6"/>
                      </a:cubicBezTo>
                      <a:cubicBezTo>
                        <a:pt x="70" y="19"/>
                        <a:pt x="70" y="19"/>
                        <a:pt x="70" y="19"/>
                      </a:cubicBezTo>
                      <a:cubicBezTo>
                        <a:pt x="70" y="19"/>
                        <a:pt x="70" y="19"/>
                        <a:pt x="70" y="19"/>
                      </a:cubicBezTo>
                      <a:cubicBezTo>
                        <a:pt x="73" y="18"/>
                        <a:pt x="76" y="18"/>
                        <a:pt x="79" y="18"/>
                      </a:cubicBezTo>
                      <a:cubicBezTo>
                        <a:pt x="79" y="18"/>
                        <a:pt x="79" y="18"/>
                        <a:pt x="79" y="18"/>
                      </a:cubicBezTo>
                      <a:cubicBezTo>
                        <a:pt x="81" y="4"/>
                        <a:pt x="81" y="4"/>
                        <a:pt x="81" y="4"/>
                      </a:cubicBezTo>
                      <a:cubicBezTo>
                        <a:pt x="82" y="3"/>
                        <a:pt x="83" y="1"/>
                        <a:pt x="84" y="1"/>
                      </a:cubicBezTo>
                      <a:cubicBezTo>
                        <a:pt x="89" y="2"/>
                        <a:pt x="89" y="2"/>
                        <a:pt x="89" y="2"/>
                      </a:cubicBezTo>
                      <a:cubicBezTo>
                        <a:pt x="90" y="2"/>
                        <a:pt x="91" y="3"/>
                        <a:pt x="91" y="5"/>
                      </a:cubicBezTo>
                      <a:cubicBezTo>
                        <a:pt x="91" y="19"/>
                        <a:pt x="91" y="19"/>
                        <a:pt x="91" y="19"/>
                      </a:cubicBezTo>
                      <a:cubicBezTo>
                        <a:pt x="92" y="19"/>
                        <a:pt x="92" y="19"/>
                        <a:pt x="92" y="19"/>
                      </a:cubicBezTo>
                      <a:cubicBezTo>
                        <a:pt x="94" y="20"/>
                        <a:pt x="97" y="20"/>
                        <a:pt x="100" y="21"/>
                      </a:cubicBezTo>
                      <a:cubicBezTo>
                        <a:pt x="100" y="21"/>
                        <a:pt x="100" y="21"/>
                        <a:pt x="100" y="21"/>
                      </a:cubicBezTo>
                      <a:cubicBezTo>
                        <a:pt x="107" y="9"/>
                        <a:pt x="107" y="9"/>
                        <a:pt x="107" y="9"/>
                      </a:cubicBezTo>
                      <a:cubicBezTo>
                        <a:pt x="108" y="8"/>
                        <a:pt x="109" y="7"/>
                        <a:pt x="110" y="7"/>
                      </a:cubicBezTo>
                      <a:cubicBezTo>
                        <a:pt x="110" y="7"/>
                        <a:pt x="110" y="7"/>
                        <a:pt x="111" y="7"/>
                      </a:cubicBezTo>
                      <a:cubicBezTo>
                        <a:pt x="115" y="10"/>
                        <a:pt x="115" y="10"/>
                        <a:pt x="115" y="10"/>
                      </a:cubicBezTo>
                      <a:cubicBezTo>
                        <a:pt x="116" y="10"/>
                        <a:pt x="116" y="12"/>
                        <a:pt x="116" y="13"/>
                      </a:cubicBezTo>
                      <a:cubicBezTo>
                        <a:pt x="111" y="26"/>
                        <a:pt x="111" y="26"/>
                        <a:pt x="111" y="26"/>
                      </a:cubicBezTo>
                      <a:cubicBezTo>
                        <a:pt x="112" y="27"/>
                        <a:pt x="112" y="27"/>
                        <a:pt x="112" y="27"/>
                      </a:cubicBezTo>
                      <a:cubicBezTo>
                        <a:pt x="114" y="28"/>
                        <a:pt x="116" y="30"/>
                        <a:pt x="119" y="31"/>
                      </a:cubicBezTo>
                      <a:cubicBezTo>
                        <a:pt x="119" y="32"/>
                        <a:pt x="119" y="32"/>
                        <a:pt x="119" y="32"/>
                      </a:cubicBezTo>
                      <a:cubicBezTo>
                        <a:pt x="130" y="23"/>
                        <a:pt x="130" y="23"/>
                        <a:pt x="130" y="23"/>
                      </a:cubicBezTo>
                      <a:cubicBezTo>
                        <a:pt x="130" y="22"/>
                        <a:pt x="131" y="22"/>
                        <a:pt x="132" y="22"/>
                      </a:cubicBezTo>
                      <a:cubicBezTo>
                        <a:pt x="133" y="22"/>
                        <a:pt x="133" y="22"/>
                        <a:pt x="133" y="22"/>
                      </a:cubicBezTo>
                      <a:cubicBezTo>
                        <a:pt x="134" y="23"/>
                        <a:pt x="136" y="25"/>
                        <a:pt x="137" y="26"/>
                      </a:cubicBezTo>
                      <a:cubicBezTo>
                        <a:pt x="138" y="27"/>
                        <a:pt x="137" y="28"/>
                        <a:pt x="136" y="30"/>
                      </a:cubicBezTo>
                      <a:cubicBezTo>
                        <a:pt x="128" y="40"/>
                        <a:pt x="128" y="40"/>
                        <a:pt x="128" y="40"/>
                      </a:cubicBezTo>
                      <a:cubicBezTo>
                        <a:pt x="128" y="41"/>
                        <a:pt x="128" y="41"/>
                        <a:pt x="128" y="41"/>
                      </a:cubicBezTo>
                      <a:cubicBezTo>
                        <a:pt x="130" y="43"/>
                        <a:pt x="131" y="45"/>
                        <a:pt x="133" y="48"/>
                      </a:cubicBezTo>
                      <a:cubicBezTo>
                        <a:pt x="133" y="48"/>
                        <a:pt x="133" y="48"/>
                        <a:pt x="133" y="48"/>
                      </a:cubicBezTo>
                      <a:cubicBezTo>
                        <a:pt x="146" y="43"/>
                        <a:pt x="146" y="43"/>
                        <a:pt x="146" y="43"/>
                      </a:cubicBezTo>
                      <a:cubicBezTo>
                        <a:pt x="146" y="43"/>
                        <a:pt x="147" y="43"/>
                        <a:pt x="148" y="43"/>
                      </a:cubicBezTo>
                      <a:cubicBezTo>
                        <a:pt x="149" y="43"/>
                        <a:pt x="150" y="43"/>
                        <a:pt x="150" y="44"/>
                      </a:cubicBezTo>
                      <a:cubicBezTo>
                        <a:pt x="152" y="49"/>
                        <a:pt x="152" y="49"/>
                        <a:pt x="152" y="49"/>
                      </a:cubicBezTo>
                      <a:cubicBezTo>
                        <a:pt x="152" y="49"/>
                        <a:pt x="152" y="51"/>
                        <a:pt x="150" y="52"/>
                      </a:cubicBezTo>
                      <a:cubicBezTo>
                        <a:pt x="138" y="59"/>
                        <a:pt x="138" y="59"/>
                        <a:pt x="138" y="59"/>
                      </a:cubicBezTo>
                      <a:cubicBezTo>
                        <a:pt x="138" y="59"/>
                        <a:pt x="138" y="59"/>
                        <a:pt x="138" y="59"/>
                      </a:cubicBezTo>
                      <a:cubicBezTo>
                        <a:pt x="139" y="62"/>
                        <a:pt x="140" y="65"/>
                        <a:pt x="141" y="67"/>
                      </a:cubicBezTo>
                      <a:cubicBezTo>
                        <a:pt x="141" y="68"/>
                        <a:pt x="141" y="68"/>
                        <a:pt x="141" y="68"/>
                      </a:cubicBezTo>
                      <a:cubicBezTo>
                        <a:pt x="154" y="68"/>
                        <a:pt x="154" y="68"/>
                        <a:pt x="154" y="68"/>
                      </a:cubicBezTo>
                      <a:cubicBezTo>
                        <a:pt x="156" y="68"/>
                        <a:pt x="158" y="69"/>
                        <a:pt x="158" y="70"/>
                      </a:cubicBezTo>
                      <a:cubicBezTo>
                        <a:pt x="158" y="75"/>
                        <a:pt x="158" y="75"/>
                        <a:pt x="158" y="75"/>
                      </a:cubicBezTo>
                      <a:cubicBezTo>
                        <a:pt x="158" y="76"/>
                        <a:pt x="157" y="77"/>
                        <a:pt x="155" y="78"/>
                      </a:cubicBezTo>
                      <a:lnTo>
                        <a:pt x="142" y="8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131"/>
                <p:cNvSpPr>
                  <a:spLocks noEditPoints="1"/>
                </p:cNvSpPr>
                <p:nvPr/>
              </p:nvSpPr>
              <p:spPr bwMode="auto">
                <a:xfrm rot="14718710">
                  <a:off x="12049120" y="5358566"/>
                  <a:ext cx="945245" cy="893805"/>
                </a:xfrm>
                <a:custGeom>
                  <a:avLst/>
                  <a:gdLst>
                    <a:gd name="T0" fmla="*/ 10 w 40"/>
                    <a:gd name="T1" fmla="*/ 39 h 40"/>
                    <a:gd name="T2" fmla="*/ 10 w 40"/>
                    <a:gd name="T3" fmla="*/ 40 h 40"/>
                    <a:gd name="T4" fmla="*/ 40 w 40"/>
                    <a:gd name="T5" fmla="*/ 26 h 40"/>
                    <a:gd name="T6" fmla="*/ 39 w 40"/>
                    <a:gd name="T7" fmla="*/ 25 h 40"/>
                    <a:gd name="T8" fmla="*/ 3 w 40"/>
                    <a:gd name="T9" fmla="*/ 0 h 40"/>
                    <a:gd name="T10" fmla="*/ 2 w 40"/>
                    <a:gd name="T11" fmla="*/ 0 h 40"/>
                    <a:gd name="T12" fmla="*/ 0 w 40"/>
                    <a:gd name="T13" fmla="*/ 32 h 40"/>
                    <a:gd name="T14" fmla="*/ 0 w 40"/>
                    <a:gd name="T15" fmla="*/ 32 h 40"/>
                    <a:gd name="T16" fmla="*/ 10 w 40"/>
                    <a:gd name="T17" fmla="*/ 39 h 40"/>
                    <a:gd name="T18" fmla="*/ 38 w 40"/>
                    <a:gd name="T19" fmla="*/ 25 h 40"/>
                    <a:gd name="T20" fmla="*/ 11 w 40"/>
                    <a:gd name="T21" fmla="*/ 38 h 40"/>
                    <a:gd name="T22" fmla="*/ 1 w 40"/>
                    <a:gd name="T23" fmla="*/ 31 h 40"/>
                    <a:gd name="T24" fmla="*/ 3 w 40"/>
                    <a:gd name="T25" fmla="*/ 1 h 40"/>
                    <a:gd name="T26" fmla="*/ 38 w 40"/>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10" y="39"/>
                      </a:moveTo>
                      <a:cubicBezTo>
                        <a:pt x="10" y="40"/>
                        <a:pt x="10" y="40"/>
                        <a:pt x="10" y="40"/>
                      </a:cubicBezTo>
                      <a:cubicBezTo>
                        <a:pt x="40" y="26"/>
                        <a:pt x="40" y="26"/>
                        <a:pt x="40" y="26"/>
                      </a:cubicBezTo>
                      <a:cubicBezTo>
                        <a:pt x="39" y="25"/>
                        <a:pt x="39" y="25"/>
                        <a:pt x="39" y="25"/>
                      </a:cubicBezTo>
                      <a:cubicBezTo>
                        <a:pt x="31" y="12"/>
                        <a:pt x="18" y="3"/>
                        <a:pt x="3" y="0"/>
                      </a:cubicBezTo>
                      <a:cubicBezTo>
                        <a:pt x="2" y="0"/>
                        <a:pt x="2" y="0"/>
                        <a:pt x="2" y="0"/>
                      </a:cubicBezTo>
                      <a:cubicBezTo>
                        <a:pt x="0" y="32"/>
                        <a:pt x="0" y="32"/>
                        <a:pt x="0" y="32"/>
                      </a:cubicBezTo>
                      <a:cubicBezTo>
                        <a:pt x="0" y="32"/>
                        <a:pt x="0" y="32"/>
                        <a:pt x="0" y="32"/>
                      </a:cubicBezTo>
                      <a:cubicBezTo>
                        <a:pt x="4" y="33"/>
                        <a:pt x="8" y="36"/>
                        <a:pt x="10" y="39"/>
                      </a:cubicBezTo>
                      <a:close/>
                      <a:moveTo>
                        <a:pt x="38" y="25"/>
                      </a:moveTo>
                      <a:cubicBezTo>
                        <a:pt x="11" y="38"/>
                        <a:pt x="11" y="38"/>
                        <a:pt x="11" y="38"/>
                      </a:cubicBezTo>
                      <a:cubicBezTo>
                        <a:pt x="8" y="35"/>
                        <a:pt x="5" y="32"/>
                        <a:pt x="1" y="31"/>
                      </a:cubicBezTo>
                      <a:cubicBezTo>
                        <a:pt x="3" y="1"/>
                        <a:pt x="3" y="1"/>
                        <a:pt x="3" y="1"/>
                      </a:cubicBezTo>
                      <a:cubicBezTo>
                        <a:pt x="18" y="4"/>
                        <a:pt x="30" y="13"/>
                        <a:pt x="38" y="25"/>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132"/>
                <p:cNvSpPr>
                  <a:spLocks noEditPoints="1"/>
                </p:cNvSpPr>
                <p:nvPr/>
              </p:nvSpPr>
              <p:spPr bwMode="auto">
                <a:xfrm rot="14718710">
                  <a:off x="13108360" y="5792334"/>
                  <a:ext cx="617729" cy="558139"/>
                </a:xfrm>
                <a:custGeom>
                  <a:avLst/>
                  <a:gdLst>
                    <a:gd name="T0" fmla="*/ 26 w 26"/>
                    <a:gd name="T1" fmla="*/ 14 h 25"/>
                    <a:gd name="T2" fmla="*/ 14 w 26"/>
                    <a:gd name="T3" fmla="*/ 0 h 25"/>
                    <a:gd name="T4" fmla="*/ 13 w 26"/>
                    <a:gd name="T5" fmla="*/ 0 h 25"/>
                    <a:gd name="T6" fmla="*/ 0 w 26"/>
                    <a:gd name="T7" fmla="*/ 12 h 25"/>
                    <a:gd name="T8" fmla="*/ 3 w 26"/>
                    <a:gd name="T9" fmla="*/ 21 h 25"/>
                    <a:gd name="T10" fmla="*/ 12 w 26"/>
                    <a:gd name="T11" fmla="*/ 25 h 25"/>
                    <a:gd name="T12" fmla="*/ 13 w 26"/>
                    <a:gd name="T13" fmla="*/ 25 h 25"/>
                    <a:gd name="T14" fmla="*/ 26 w 26"/>
                    <a:gd name="T15" fmla="*/ 14 h 25"/>
                    <a:gd name="T16" fmla="*/ 12 w 26"/>
                    <a:gd name="T17" fmla="*/ 24 h 25"/>
                    <a:gd name="T18" fmla="*/ 4 w 26"/>
                    <a:gd name="T19" fmla="*/ 20 h 25"/>
                    <a:gd name="T20" fmla="*/ 2 w 26"/>
                    <a:gd name="T21" fmla="*/ 12 h 25"/>
                    <a:gd name="T22" fmla="*/ 13 w 26"/>
                    <a:gd name="T23" fmla="*/ 1 h 25"/>
                    <a:gd name="T24" fmla="*/ 14 w 26"/>
                    <a:gd name="T25" fmla="*/ 1 h 25"/>
                    <a:gd name="T26" fmla="*/ 24 w 26"/>
                    <a:gd name="T27" fmla="*/ 14 h 25"/>
                    <a:gd name="T28" fmla="*/ 13 w 26"/>
                    <a:gd name="T29" fmla="*/ 24 h 25"/>
                    <a:gd name="T30" fmla="*/ 12 w 26"/>
                    <a:gd name="T3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26" y="14"/>
                      </a:moveTo>
                      <a:cubicBezTo>
                        <a:pt x="26" y="7"/>
                        <a:pt x="21" y="1"/>
                        <a:pt x="14" y="0"/>
                      </a:cubicBezTo>
                      <a:cubicBezTo>
                        <a:pt x="14" y="0"/>
                        <a:pt x="13" y="0"/>
                        <a:pt x="13" y="0"/>
                      </a:cubicBezTo>
                      <a:cubicBezTo>
                        <a:pt x="6" y="0"/>
                        <a:pt x="1" y="5"/>
                        <a:pt x="0" y="12"/>
                      </a:cubicBezTo>
                      <a:cubicBezTo>
                        <a:pt x="0" y="15"/>
                        <a:pt x="1" y="18"/>
                        <a:pt x="3" y="21"/>
                      </a:cubicBezTo>
                      <a:cubicBezTo>
                        <a:pt x="6" y="23"/>
                        <a:pt x="9" y="25"/>
                        <a:pt x="12" y="25"/>
                      </a:cubicBezTo>
                      <a:cubicBezTo>
                        <a:pt x="12" y="25"/>
                        <a:pt x="13" y="25"/>
                        <a:pt x="13" y="25"/>
                      </a:cubicBezTo>
                      <a:cubicBezTo>
                        <a:pt x="20" y="25"/>
                        <a:pt x="25" y="20"/>
                        <a:pt x="26" y="14"/>
                      </a:cubicBezTo>
                      <a:close/>
                      <a:moveTo>
                        <a:pt x="12" y="24"/>
                      </a:moveTo>
                      <a:cubicBezTo>
                        <a:pt x="9" y="24"/>
                        <a:pt x="6" y="22"/>
                        <a:pt x="4" y="20"/>
                      </a:cubicBezTo>
                      <a:cubicBezTo>
                        <a:pt x="2" y="18"/>
                        <a:pt x="1" y="15"/>
                        <a:pt x="2" y="12"/>
                      </a:cubicBezTo>
                      <a:cubicBezTo>
                        <a:pt x="2" y="6"/>
                        <a:pt x="7" y="1"/>
                        <a:pt x="13" y="1"/>
                      </a:cubicBezTo>
                      <a:cubicBezTo>
                        <a:pt x="13" y="1"/>
                        <a:pt x="14" y="1"/>
                        <a:pt x="14" y="1"/>
                      </a:cubicBezTo>
                      <a:cubicBezTo>
                        <a:pt x="20" y="2"/>
                        <a:pt x="25" y="7"/>
                        <a:pt x="24" y="14"/>
                      </a:cubicBezTo>
                      <a:cubicBezTo>
                        <a:pt x="24" y="20"/>
                        <a:pt x="19" y="24"/>
                        <a:pt x="13" y="24"/>
                      </a:cubicBezTo>
                      <a:cubicBezTo>
                        <a:pt x="13" y="24"/>
                        <a:pt x="12" y="24"/>
                        <a:pt x="12" y="2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133"/>
                <p:cNvSpPr>
                  <a:spLocks noEditPoints="1"/>
                </p:cNvSpPr>
                <p:nvPr/>
              </p:nvSpPr>
              <p:spPr bwMode="auto">
                <a:xfrm rot="14718710">
                  <a:off x="13849515" y="5899142"/>
                  <a:ext cx="949393" cy="870384"/>
                </a:xfrm>
                <a:custGeom>
                  <a:avLst/>
                  <a:gdLst>
                    <a:gd name="T0" fmla="*/ 30 w 40"/>
                    <a:gd name="T1" fmla="*/ 0 h 39"/>
                    <a:gd name="T2" fmla="*/ 30 w 40"/>
                    <a:gd name="T3" fmla="*/ 0 h 39"/>
                    <a:gd name="T4" fmla="*/ 0 w 40"/>
                    <a:gd name="T5" fmla="*/ 13 h 39"/>
                    <a:gd name="T6" fmla="*/ 1 w 40"/>
                    <a:gd name="T7" fmla="*/ 14 h 39"/>
                    <a:gd name="T8" fmla="*/ 37 w 40"/>
                    <a:gd name="T9" fmla="*/ 39 h 39"/>
                    <a:gd name="T10" fmla="*/ 38 w 40"/>
                    <a:gd name="T11" fmla="*/ 39 h 39"/>
                    <a:gd name="T12" fmla="*/ 40 w 40"/>
                    <a:gd name="T13" fmla="*/ 7 h 39"/>
                    <a:gd name="T14" fmla="*/ 40 w 40"/>
                    <a:gd name="T15" fmla="*/ 7 h 39"/>
                    <a:gd name="T16" fmla="*/ 30 w 40"/>
                    <a:gd name="T17" fmla="*/ 0 h 39"/>
                    <a:gd name="T18" fmla="*/ 2 w 40"/>
                    <a:gd name="T19" fmla="*/ 14 h 39"/>
                    <a:gd name="T20" fmla="*/ 29 w 40"/>
                    <a:gd name="T21" fmla="*/ 1 h 39"/>
                    <a:gd name="T22" fmla="*/ 39 w 40"/>
                    <a:gd name="T23" fmla="*/ 8 h 39"/>
                    <a:gd name="T24" fmla="*/ 37 w 40"/>
                    <a:gd name="T25" fmla="*/ 38 h 39"/>
                    <a:gd name="T26" fmla="*/ 2 w 40"/>
                    <a:gd name="T27"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9">
                      <a:moveTo>
                        <a:pt x="30" y="0"/>
                      </a:moveTo>
                      <a:cubicBezTo>
                        <a:pt x="30" y="0"/>
                        <a:pt x="30" y="0"/>
                        <a:pt x="30" y="0"/>
                      </a:cubicBezTo>
                      <a:cubicBezTo>
                        <a:pt x="0" y="13"/>
                        <a:pt x="0" y="13"/>
                        <a:pt x="0" y="13"/>
                      </a:cubicBezTo>
                      <a:cubicBezTo>
                        <a:pt x="1" y="14"/>
                        <a:pt x="1" y="14"/>
                        <a:pt x="1" y="14"/>
                      </a:cubicBezTo>
                      <a:cubicBezTo>
                        <a:pt x="9" y="27"/>
                        <a:pt x="22" y="37"/>
                        <a:pt x="37" y="39"/>
                      </a:cubicBezTo>
                      <a:cubicBezTo>
                        <a:pt x="38" y="39"/>
                        <a:pt x="38" y="39"/>
                        <a:pt x="38" y="39"/>
                      </a:cubicBezTo>
                      <a:cubicBezTo>
                        <a:pt x="40" y="7"/>
                        <a:pt x="40" y="7"/>
                        <a:pt x="40" y="7"/>
                      </a:cubicBezTo>
                      <a:cubicBezTo>
                        <a:pt x="40" y="7"/>
                        <a:pt x="40" y="7"/>
                        <a:pt x="40" y="7"/>
                      </a:cubicBezTo>
                      <a:cubicBezTo>
                        <a:pt x="36" y="6"/>
                        <a:pt x="32" y="4"/>
                        <a:pt x="30" y="0"/>
                      </a:cubicBezTo>
                      <a:close/>
                      <a:moveTo>
                        <a:pt x="2" y="14"/>
                      </a:moveTo>
                      <a:cubicBezTo>
                        <a:pt x="29" y="1"/>
                        <a:pt x="29" y="1"/>
                        <a:pt x="29" y="1"/>
                      </a:cubicBezTo>
                      <a:cubicBezTo>
                        <a:pt x="32" y="4"/>
                        <a:pt x="35" y="7"/>
                        <a:pt x="39" y="8"/>
                      </a:cubicBezTo>
                      <a:cubicBezTo>
                        <a:pt x="37" y="38"/>
                        <a:pt x="37" y="38"/>
                        <a:pt x="37" y="38"/>
                      </a:cubicBezTo>
                      <a:cubicBezTo>
                        <a:pt x="22" y="35"/>
                        <a:pt x="10" y="27"/>
                        <a:pt x="2" y="1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134"/>
                <p:cNvSpPr>
                  <a:spLocks noEditPoints="1"/>
                </p:cNvSpPr>
                <p:nvPr/>
              </p:nvSpPr>
              <p:spPr bwMode="auto">
                <a:xfrm rot="14718710">
                  <a:off x="12740798" y="4758274"/>
                  <a:ext cx="804289" cy="1003089"/>
                </a:xfrm>
                <a:custGeom>
                  <a:avLst/>
                  <a:gdLst>
                    <a:gd name="T0" fmla="*/ 30 w 34"/>
                    <a:gd name="T1" fmla="*/ 0 h 45"/>
                    <a:gd name="T2" fmla="*/ 1 w 34"/>
                    <a:gd name="T3" fmla="*/ 14 h 45"/>
                    <a:gd name="T4" fmla="*/ 1 w 34"/>
                    <a:gd name="T5" fmla="*/ 14 h 45"/>
                    <a:gd name="T6" fmla="*/ 1 w 34"/>
                    <a:gd name="T7" fmla="*/ 20 h 45"/>
                    <a:gd name="T8" fmla="*/ 0 w 34"/>
                    <a:gd name="T9" fmla="*/ 27 h 45"/>
                    <a:gd name="T10" fmla="*/ 0 w 34"/>
                    <a:gd name="T11" fmla="*/ 27 h 45"/>
                    <a:gd name="T12" fmla="*/ 26 w 34"/>
                    <a:gd name="T13" fmla="*/ 45 h 45"/>
                    <a:gd name="T14" fmla="*/ 26 w 34"/>
                    <a:gd name="T15" fmla="*/ 45 h 45"/>
                    <a:gd name="T16" fmla="*/ 33 w 34"/>
                    <a:gd name="T17" fmla="*/ 23 h 45"/>
                    <a:gd name="T18" fmla="*/ 30 w 34"/>
                    <a:gd name="T19" fmla="*/ 1 h 45"/>
                    <a:gd name="T20" fmla="*/ 30 w 34"/>
                    <a:gd name="T21" fmla="*/ 0 h 45"/>
                    <a:gd name="T22" fmla="*/ 1 w 34"/>
                    <a:gd name="T23" fmla="*/ 27 h 45"/>
                    <a:gd name="T24" fmla="*/ 3 w 34"/>
                    <a:gd name="T25" fmla="*/ 20 h 45"/>
                    <a:gd name="T26" fmla="*/ 2 w 34"/>
                    <a:gd name="T27" fmla="*/ 14 h 45"/>
                    <a:gd name="T28" fmla="*/ 29 w 34"/>
                    <a:gd name="T29" fmla="*/ 2 h 45"/>
                    <a:gd name="T30" fmla="*/ 32 w 34"/>
                    <a:gd name="T31" fmla="*/ 23 h 45"/>
                    <a:gd name="T32" fmla="*/ 26 w 34"/>
                    <a:gd name="T33" fmla="*/ 44 h 45"/>
                    <a:gd name="T34" fmla="*/ 1 w 34"/>
                    <a:gd name="T3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0" y="0"/>
                      </a:moveTo>
                      <a:cubicBezTo>
                        <a:pt x="1" y="14"/>
                        <a:pt x="1" y="14"/>
                        <a:pt x="1" y="14"/>
                      </a:cubicBezTo>
                      <a:cubicBezTo>
                        <a:pt x="1" y="14"/>
                        <a:pt x="1" y="14"/>
                        <a:pt x="1" y="14"/>
                      </a:cubicBezTo>
                      <a:cubicBezTo>
                        <a:pt x="1" y="16"/>
                        <a:pt x="2" y="18"/>
                        <a:pt x="1" y="20"/>
                      </a:cubicBezTo>
                      <a:cubicBezTo>
                        <a:pt x="1" y="22"/>
                        <a:pt x="1" y="25"/>
                        <a:pt x="0" y="27"/>
                      </a:cubicBezTo>
                      <a:cubicBezTo>
                        <a:pt x="0" y="27"/>
                        <a:pt x="0" y="27"/>
                        <a:pt x="0" y="27"/>
                      </a:cubicBezTo>
                      <a:cubicBezTo>
                        <a:pt x="26" y="45"/>
                        <a:pt x="26" y="45"/>
                        <a:pt x="26" y="45"/>
                      </a:cubicBezTo>
                      <a:cubicBezTo>
                        <a:pt x="26" y="45"/>
                        <a:pt x="26" y="45"/>
                        <a:pt x="26" y="45"/>
                      </a:cubicBezTo>
                      <a:cubicBezTo>
                        <a:pt x="30" y="38"/>
                        <a:pt x="32" y="31"/>
                        <a:pt x="33" y="23"/>
                      </a:cubicBezTo>
                      <a:cubicBezTo>
                        <a:pt x="34" y="15"/>
                        <a:pt x="33" y="8"/>
                        <a:pt x="30" y="1"/>
                      </a:cubicBezTo>
                      <a:lnTo>
                        <a:pt x="30" y="0"/>
                      </a:lnTo>
                      <a:close/>
                      <a:moveTo>
                        <a:pt x="1" y="27"/>
                      </a:moveTo>
                      <a:cubicBezTo>
                        <a:pt x="2" y="25"/>
                        <a:pt x="2" y="23"/>
                        <a:pt x="3" y="20"/>
                      </a:cubicBezTo>
                      <a:cubicBezTo>
                        <a:pt x="3" y="18"/>
                        <a:pt x="3" y="16"/>
                        <a:pt x="2" y="14"/>
                      </a:cubicBezTo>
                      <a:cubicBezTo>
                        <a:pt x="29" y="2"/>
                        <a:pt x="29" y="2"/>
                        <a:pt x="29" y="2"/>
                      </a:cubicBezTo>
                      <a:cubicBezTo>
                        <a:pt x="32" y="8"/>
                        <a:pt x="33" y="16"/>
                        <a:pt x="32" y="23"/>
                      </a:cubicBezTo>
                      <a:cubicBezTo>
                        <a:pt x="31" y="30"/>
                        <a:pt x="29" y="37"/>
                        <a:pt x="26" y="44"/>
                      </a:cubicBezTo>
                      <a:lnTo>
                        <a:pt x="1" y="2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135"/>
                <p:cNvSpPr>
                  <a:spLocks noEditPoints="1"/>
                </p:cNvSpPr>
                <p:nvPr/>
              </p:nvSpPr>
              <p:spPr bwMode="auto">
                <a:xfrm rot="14718710">
                  <a:off x="13288156" y="6383331"/>
                  <a:ext cx="808436" cy="1003089"/>
                </a:xfrm>
                <a:custGeom>
                  <a:avLst/>
                  <a:gdLst>
                    <a:gd name="T0" fmla="*/ 33 w 34"/>
                    <a:gd name="T1" fmla="*/ 31 h 45"/>
                    <a:gd name="T2" fmla="*/ 33 w 34"/>
                    <a:gd name="T3" fmla="*/ 25 h 45"/>
                    <a:gd name="T4" fmla="*/ 34 w 34"/>
                    <a:gd name="T5" fmla="*/ 19 h 45"/>
                    <a:gd name="T6" fmla="*/ 34 w 34"/>
                    <a:gd name="T7" fmla="*/ 18 h 45"/>
                    <a:gd name="T8" fmla="*/ 8 w 34"/>
                    <a:gd name="T9" fmla="*/ 0 h 45"/>
                    <a:gd name="T10" fmla="*/ 8 w 34"/>
                    <a:gd name="T11" fmla="*/ 1 h 45"/>
                    <a:gd name="T12" fmla="*/ 1 w 34"/>
                    <a:gd name="T13" fmla="*/ 22 h 45"/>
                    <a:gd name="T14" fmla="*/ 4 w 34"/>
                    <a:gd name="T15" fmla="*/ 45 h 45"/>
                    <a:gd name="T16" fmla="*/ 4 w 34"/>
                    <a:gd name="T17" fmla="*/ 45 h 45"/>
                    <a:gd name="T18" fmla="*/ 33 w 34"/>
                    <a:gd name="T19" fmla="*/ 32 h 45"/>
                    <a:gd name="T20" fmla="*/ 33 w 34"/>
                    <a:gd name="T21" fmla="*/ 31 h 45"/>
                    <a:gd name="T22" fmla="*/ 33 w 34"/>
                    <a:gd name="T23" fmla="*/ 19 h 45"/>
                    <a:gd name="T24" fmla="*/ 31 w 34"/>
                    <a:gd name="T25" fmla="*/ 25 h 45"/>
                    <a:gd name="T26" fmla="*/ 32 w 34"/>
                    <a:gd name="T27" fmla="*/ 31 h 45"/>
                    <a:gd name="T28" fmla="*/ 5 w 34"/>
                    <a:gd name="T29" fmla="*/ 44 h 45"/>
                    <a:gd name="T30" fmla="*/ 2 w 34"/>
                    <a:gd name="T31" fmla="*/ 22 h 45"/>
                    <a:gd name="T32" fmla="*/ 8 w 34"/>
                    <a:gd name="T33" fmla="*/ 2 h 45"/>
                    <a:gd name="T34" fmla="*/ 33 w 34"/>
                    <a:gd name="T3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3" y="31"/>
                      </a:moveTo>
                      <a:cubicBezTo>
                        <a:pt x="33" y="29"/>
                        <a:pt x="32" y="27"/>
                        <a:pt x="33" y="25"/>
                      </a:cubicBezTo>
                      <a:cubicBezTo>
                        <a:pt x="33" y="23"/>
                        <a:pt x="33" y="21"/>
                        <a:pt x="34" y="19"/>
                      </a:cubicBezTo>
                      <a:cubicBezTo>
                        <a:pt x="34" y="18"/>
                        <a:pt x="34" y="18"/>
                        <a:pt x="34" y="18"/>
                      </a:cubicBezTo>
                      <a:cubicBezTo>
                        <a:pt x="8" y="0"/>
                        <a:pt x="8" y="0"/>
                        <a:pt x="8" y="0"/>
                      </a:cubicBezTo>
                      <a:cubicBezTo>
                        <a:pt x="8" y="1"/>
                        <a:pt x="8" y="1"/>
                        <a:pt x="8" y="1"/>
                      </a:cubicBezTo>
                      <a:cubicBezTo>
                        <a:pt x="4" y="7"/>
                        <a:pt x="2" y="15"/>
                        <a:pt x="1" y="22"/>
                      </a:cubicBezTo>
                      <a:cubicBezTo>
                        <a:pt x="0" y="30"/>
                        <a:pt x="1" y="38"/>
                        <a:pt x="4" y="45"/>
                      </a:cubicBezTo>
                      <a:cubicBezTo>
                        <a:pt x="4" y="45"/>
                        <a:pt x="4" y="45"/>
                        <a:pt x="4" y="45"/>
                      </a:cubicBezTo>
                      <a:cubicBezTo>
                        <a:pt x="33" y="32"/>
                        <a:pt x="33" y="32"/>
                        <a:pt x="33" y="32"/>
                      </a:cubicBezTo>
                      <a:lnTo>
                        <a:pt x="33" y="31"/>
                      </a:lnTo>
                      <a:close/>
                      <a:moveTo>
                        <a:pt x="33" y="19"/>
                      </a:moveTo>
                      <a:cubicBezTo>
                        <a:pt x="32" y="21"/>
                        <a:pt x="32" y="23"/>
                        <a:pt x="31" y="25"/>
                      </a:cubicBezTo>
                      <a:cubicBezTo>
                        <a:pt x="31" y="27"/>
                        <a:pt x="31" y="29"/>
                        <a:pt x="32" y="31"/>
                      </a:cubicBezTo>
                      <a:cubicBezTo>
                        <a:pt x="5" y="44"/>
                        <a:pt x="5" y="44"/>
                        <a:pt x="5" y="44"/>
                      </a:cubicBezTo>
                      <a:cubicBezTo>
                        <a:pt x="2" y="37"/>
                        <a:pt x="1" y="30"/>
                        <a:pt x="2" y="22"/>
                      </a:cubicBezTo>
                      <a:cubicBezTo>
                        <a:pt x="3" y="15"/>
                        <a:pt x="5" y="8"/>
                        <a:pt x="8" y="2"/>
                      </a:cubicBezTo>
                      <a:lnTo>
                        <a:pt x="33"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7" name="Group 136"/>
              <p:cNvGrpSpPr/>
              <p:nvPr/>
            </p:nvGrpSpPr>
            <p:grpSpPr>
              <a:xfrm rot="312052">
                <a:off x="6087227" y="1244249"/>
                <a:ext cx="917011" cy="991809"/>
                <a:chOff x="8588894" y="2255520"/>
                <a:chExt cx="3013174" cy="3225446"/>
              </a:xfrm>
            </p:grpSpPr>
            <p:sp>
              <p:nvSpPr>
                <p:cNvPr id="138" name="Freeform 137"/>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138"/>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139"/>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141"/>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142"/>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143"/>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144"/>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145"/>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7" name="Group 146"/>
              <p:cNvGrpSpPr/>
              <p:nvPr/>
            </p:nvGrpSpPr>
            <p:grpSpPr>
              <a:xfrm rot="20341649">
                <a:off x="3392135" y="1224755"/>
                <a:ext cx="1780923" cy="1994479"/>
                <a:chOff x="8588894" y="2255520"/>
                <a:chExt cx="3013174" cy="3225446"/>
              </a:xfrm>
            </p:grpSpPr>
            <p:sp>
              <p:nvSpPr>
                <p:cNvPr id="149" name="Freeform 148"/>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49"/>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50"/>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151"/>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152"/>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153"/>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156"/>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158"/>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2" name="Rectangle 187"/>
              <p:cNvSpPr>
                <a:spLocks noChangeArrowheads="1"/>
              </p:cNvSpPr>
              <p:nvPr/>
            </p:nvSpPr>
            <p:spPr bwMode="auto">
              <a:xfrm>
                <a:off x="712341" y="954413"/>
                <a:ext cx="743075" cy="73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Rectangle 186"/>
              <p:cNvSpPr>
                <a:spLocks noChangeArrowheads="1"/>
              </p:cNvSpPr>
              <p:nvPr/>
            </p:nvSpPr>
            <p:spPr bwMode="auto">
              <a:xfrm>
                <a:off x="628579" y="1053528"/>
                <a:ext cx="743075" cy="234379"/>
              </a:xfrm>
              <a:prstGeom prst="rect">
                <a:avLst/>
              </a:prstGeom>
              <a:solidFill>
                <a:schemeClr val="bg1">
                  <a:lumMod val="50000"/>
                </a:schemeClr>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Rectangle 188"/>
              <p:cNvSpPr>
                <a:spLocks noChangeArrowheads="1"/>
              </p:cNvSpPr>
              <p:nvPr/>
            </p:nvSpPr>
            <p:spPr bwMode="auto">
              <a:xfrm>
                <a:off x="628579" y="1318952"/>
                <a:ext cx="743075" cy="636085"/>
              </a:xfrm>
              <a:prstGeom prst="rect">
                <a:avLst/>
              </a:prstGeom>
              <a:solidFill>
                <a:schemeClr val="tx1"/>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Rectangle 192"/>
              <p:cNvSpPr>
                <a:spLocks noChangeArrowheads="1"/>
              </p:cNvSpPr>
              <p:nvPr/>
            </p:nvSpPr>
            <p:spPr bwMode="auto">
              <a:xfrm>
                <a:off x="3253479" y="4771465"/>
                <a:ext cx="951103" cy="611415"/>
              </a:xfrm>
              <a:prstGeom prst="rect">
                <a:avLst/>
              </a:pr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Rectangle 193"/>
              <p:cNvSpPr>
                <a:spLocks noChangeArrowheads="1"/>
              </p:cNvSpPr>
              <p:nvPr/>
            </p:nvSpPr>
            <p:spPr bwMode="auto">
              <a:xfrm>
                <a:off x="4240048" y="4771465"/>
                <a:ext cx="2068867" cy="611415"/>
              </a:xfrm>
              <a:prstGeom prst="rect">
                <a:avLst/>
              </a:pr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Rectangle 195"/>
              <p:cNvSpPr>
                <a:spLocks noChangeArrowheads="1"/>
              </p:cNvSpPr>
              <p:nvPr/>
            </p:nvSpPr>
            <p:spPr bwMode="auto">
              <a:xfrm>
                <a:off x="3325099" y="3637155"/>
                <a:ext cx="861123" cy="670447"/>
              </a:xfrm>
              <a:prstGeom prst="rect">
                <a:avLst/>
              </a:prstGeom>
              <a:solidFill>
                <a:srgbClr val="00000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96"/>
              <p:cNvSpPr>
                <a:spLocks/>
              </p:cNvSpPr>
              <p:nvPr/>
            </p:nvSpPr>
            <p:spPr bwMode="auto">
              <a:xfrm>
                <a:off x="628584" y="1995394"/>
                <a:ext cx="977121" cy="815220"/>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197"/>
              <p:cNvSpPr>
                <a:spLocks/>
              </p:cNvSpPr>
              <p:nvPr/>
            </p:nvSpPr>
            <p:spPr bwMode="auto">
              <a:xfrm>
                <a:off x="4233751" y="2202288"/>
                <a:ext cx="1001571" cy="817277"/>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Lst>
                <a:ahLst/>
                <a:cxnLst>
                  <a:cxn ang="0">
                    <a:pos x="T0" y="T1"/>
                  </a:cxn>
                  <a:cxn ang="0">
                    <a:pos x="T2" y="T3"/>
                  </a:cxn>
                  <a:cxn ang="0">
                    <a:pos x="T4" y="T5"/>
                  </a:cxn>
                  <a:cxn ang="0">
                    <a:pos x="T6" y="T7"/>
                  </a:cxn>
                  <a:cxn ang="0">
                    <a:pos x="T8" y="T9"/>
                  </a:cxn>
                  <a:cxn ang="0">
                    <a:pos x="T10" y="T11"/>
                  </a:cxn>
                  <a:cxn ang="0">
                    <a:pos x="T12" y="T13"/>
                  </a:cxn>
                </a:cxnLst>
                <a:rect l="0" t="0" r="r" b="b"/>
                <a:pathLst>
                  <a:path w="481" h="489">
                    <a:moveTo>
                      <a:pt x="0" y="366"/>
                    </a:moveTo>
                    <a:cubicBezTo>
                      <a:pt x="64" y="368"/>
                      <a:pt x="115" y="420"/>
                      <a:pt x="115" y="485"/>
                    </a:cubicBezTo>
                    <a:cubicBezTo>
                      <a:pt x="115" y="486"/>
                      <a:pt x="115" y="487"/>
                      <a:pt x="115" y="489"/>
                    </a:cubicBezTo>
                    <a:cubicBezTo>
                      <a:pt x="481" y="489"/>
                      <a:pt x="481" y="489"/>
                      <a:pt x="481" y="489"/>
                    </a:cubicBezTo>
                    <a:cubicBezTo>
                      <a:pt x="481" y="487"/>
                      <a:pt x="481" y="486"/>
                      <a:pt x="481" y="485"/>
                    </a:cubicBezTo>
                    <a:cubicBezTo>
                      <a:pt x="481" y="218"/>
                      <a:pt x="266" y="2"/>
                      <a:pt x="0" y="0"/>
                    </a:cubicBezTo>
                    <a:lnTo>
                      <a:pt x="0" y="366"/>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198"/>
              <p:cNvSpPr>
                <a:spLocks/>
              </p:cNvSpPr>
              <p:nvPr/>
            </p:nvSpPr>
            <p:spPr bwMode="auto">
              <a:xfrm>
                <a:off x="4223263" y="3426308"/>
                <a:ext cx="1012059" cy="876563"/>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489" h="481">
                    <a:moveTo>
                      <a:pt x="123" y="0"/>
                    </a:moveTo>
                    <a:cubicBezTo>
                      <a:pt x="121" y="64"/>
                      <a:pt x="69" y="115"/>
                      <a:pt x="4" y="115"/>
                    </a:cubicBezTo>
                    <a:cubicBezTo>
                      <a:pt x="3" y="115"/>
                      <a:pt x="2" y="115"/>
                      <a:pt x="0" y="115"/>
                    </a:cubicBezTo>
                    <a:cubicBezTo>
                      <a:pt x="0" y="481"/>
                      <a:pt x="0" y="481"/>
                      <a:pt x="0" y="481"/>
                    </a:cubicBezTo>
                    <a:cubicBezTo>
                      <a:pt x="2" y="481"/>
                      <a:pt x="3" y="481"/>
                      <a:pt x="4" y="481"/>
                    </a:cubicBezTo>
                    <a:cubicBezTo>
                      <a:pt x="271" y="481"/>
                      <a:pt x="487" y="266"/>
                      <a:pt x="489" y="0"/>
                    </a:cubicBezTo>
                    <a:lnTo>
                      <a:pt x="123" y="0"/>
                    </a:lnTo>
                    <a:close/>
                  </a:path>
                </a:pathLst>
              </a:cu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199"/>
              <p:cNvSpPr>
                <a:spLocks/>
              </p:cNvSpPr>
              <p:nvPr/>
            </p:nvSpPr>
            <p:spPr bwMode="auto">
              <a:xfrm>
                <a:off x="2430709" y="4566630"/>
                <a:ext cx="846913" cy="816249"/>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Lst>
                <a:ahLst/>
                <a:cxnLst>
                  <a:cxn ang="0">
                    <a:pos x="T0" y="T1"/>
                  </a:cxn>
                  <a:cxn ang="0">
                    <a:pos x="T2" y="T3"/>
                  </a:cxn>
                  <a:cxn ang="0">
                    <a:pos x="T4" y="T5"/>
                  </a:cxn>
                  <a:cxn ang="0">
                    <a:pos x="T6" y="T7"/>
                  </a:cxn>
                  <a:cxn ang="0">
                    <a:pos x="T8" y="T9"/>
                  </a:cxn>
                  <a:cxn ang="0">
                    <a:pos x="T10" y="T11"/>
                  </a:cxn>
                  <a:cxn ang="0">
                    <a:pos x="T12" y="T13"/>
                  </a:cxn>
                </a:cxnLst>
                <a:rect l="0" t="0" r="r" b="b"/>
                <a:pathLst>
                  <a:path w="480" h="489">
                    <a:moveTo>
                      <a:pt x="480" y="123"/>
                    </a:moveTo>
                    <a:cubicBezTo>
                      <a:pt x="417" y="121"/>
                      <a:pt x="366" y="68"/>
                      <a:pt x="366" y="4"/>
                    </a:cubicBezTo>
                    <a:cubicBezTo>
                      <a:pt x="366" y="3"/>
                      <a:pt x="366" y="1"/>
                      <a:pt x="366" y="0"/>
                    </a:cubicBezTo>
                    <a:cubicBezTo>
                      <a:pt x="0" y="0"/>
                      <a:pt x="0" y="0"/>
                      <a:pt x="0" y="0"/>
                    </a:cubicBezTo>
                    <a:cubicBezTo>
                      <a:pt x="0" y="1"/>
                      <a:pt x="0" y="3"/>
                      <a:pt x="0" y="4"/>
                    </a:cubicBezTo>
                    <a:cubicBezTo>
                      <a:pt x="0" y="270"/>
                      <a:pt x="215" y="487"/>
                      <a:pt x="480" y="489"/>
                    </a:cubicBezTo>
                    <a:lnTo>
                      <a:pt x="480" y="123"/>
                    </a:lnTo>
                    <a:close/>
                  </a:path>
                </a:pathLst>
              </a:cu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0"/>
              <p:cNvSpPr>
                <a:spLocks/>
              </p:cNvSpPr>
              <p:nvPr/>
            </p:nvSpPr>
            <p:spPr bwMode="auto">
              <a:xfrm>
                <a:off x="2430708" y="3637157"/>
                <a:ext cx="855309" cy="882129"/>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rgbClr val="2D8F3B"/>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Rectangle 235"/>
              <p:cNvSpPr>
                <a:spLocks noChangeArrowheads="1"/>
              </p:cNvSpPr>
              <p:nvPr/>
            </p:nvSpPr>
            <p:spPr bwMode="auto">
              <a:xfrm>
                <a:off x="883207" y="2191743"/>
                <a:ext cx="6331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Create </a:t>
                </a: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 Backlog </a:t>
                </a:r>
                <a:endPar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8" name="Rectangle 235"/>
              <p:cNvSpPr>
                <a:spLocks noChangeArrowheads="1"/>
              </p:cNvSpPr>
              <p:nvPr/>
            </p:nvSpPr>
            <p:spPr bwMode="auto">
              <a:xfrm>
                <a:off x="4346117" y="2553604"/>
                <a:ext cx="7261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Identify </a:t>
                </a: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Automated Test Scripts</a:t>
                </a:r>
              </a:p>
            </p:txBody>
          </p:sp>
          <p:sp>
            <p:nvSpPr>
              <p:cNvPr id="180" name="Rectangle 235"/>
              <p:cNvSpPr>
                <a:spLocks noChangeArrowheads="1"/>
              </p:cNvSpPr>
              <p:nvPr/>
            </p:nvSpPr>
            <p:spPr bwMode="auto">
              <a:xfrm>
                <a:off x="2401998" y="4117543"/>
                <a:ext cx="8309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Code </a:t>
                </a: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Fix</a:t>
                </a:r>
                <a:endPar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1" name="Group 180"/>
              <p:cNvGrpSpPr/>
              <p:nvPr/>
            </p:nvGrpSpPr>
            <p:grpSpPr>
              <a:xfrm>
                <a:off x="873545" y="1354640"/>
                <a:ext cx="247061" cy="246804"/>
                <a:chOff x="1761659" y="2098289"/>
                <a:chExt cx="668337" cy="668341"/>
              </a:xfrm>
            </p:grpSpPr>
            <p:sp>
              <p:nvSpPr>
                <p:cNvPr id="183" name="Oval 182"/>
                <p:cNvSpPr/>
                <p:nvPr/>
              </p:nvSpPr>
              <p:spPr>
                <a:xfrm>
                  <a:off x="1761659" y="2098289"/>
                  <a:ext cx="668337" cy="668341"/>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4" name="Rectangle 222"/>
                <p:cNvSpPr>
                  <a:spLocks noChangeArrowheads="1"/>
                </p:cNvSpPr>
                <p:nvPr/>
              </p:nvSpPr>
              <p:spPr bwMode="auto">
                <a:xfrm>
                  <a:off x="1979194" y="2130831"/>
                  <a:ext cx="234163" cy="555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1</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185" name="Rectangle 235"/>
              <p:cNvSpPr>
                <a:spLocks noChangeArrowheads="1"/>
              </p:cNvSpPr>
              <p:nvPr/>
            </p:nvSpPr>
            <p:spPr bwMode="auto">
              <a:xfrm>
                <a:off x="818378" y="1647503"/>
                <a:ext cx="395941"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933" b="0" i="0" u="none" strike="noStrike" kern="1200" cap="none" spc="0" normalizeH="0" baseline="0" noProof="0" dirty="0" smtClean="0">
                    <a:ln>
                      <a:noFill/>
                    </a:ln>
                    <a:solidFill>
                      <a:prstClr val="white"/>
                    </a:solidFill>
                    <a:effectLst/>
                    <a:uLnTx/>
                    <a:uFillTx/>
                    <a:latin typeface="Calibri" panose="020F0502020204030204"/>
                    <a:ea typeface="+mn-ea"/>
                    <a:cs typeface="+mn-cs"/>
                  </a:rPr>
                  <a:t>Request</a:t>
                </a:r>
                <a:endParaRPr kumimoji="0" lang="en-US" altLang="en-US" sz="106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6" name="Group 185"/>
              <p:cNvGrpSpPr/>
              <p:nvPr/>
            </p:nvGrpSpPr>
            <p:grpSpPr>
              <a:xfrm>
                <a:off x="3649500" y="3689182"/>
                <a:ext cx="247061" cy="250966"/>
                <a:chOff x="1744663" y="2023106"/>
                <a:chExt cx="668337" cy="679614"/>
              </a:xfrm>
            </p:grpSpPr>
            <p:sp>
              <p:nvSpPr>
                <p:cNvPr id="187" name="Oval 186"/>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8" name="Rectangle 222"/>
                <p:cNvSpPr>
                  <a:spLocks noChangeArrowheads="1"/>
                </p:cNvSpPr>
                <p:nvPr/>
              </p:nvSpPr>
              <p:spPr bwMode="auto">
                <a:xfrm>
                  <a:off x="1962198" y="2023106"/>
                  <a:ext cx="234163" cy="55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2</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189" name="Rectangle 235"/>
              <p:cNvSpPr>
                <a:spLocks noChangeArrowheads="1"/>
              </p:cNvSpPr>
              <p:nvPr/>
            </p:nvSpPr>
            <p:spPr bwMode="auto">
              <a:xfrm>
                <a:off x="3452606" y="3978975"/>
                <a:ext cx="662543"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33" b="0" i="0" u="none" strike="noStrike" kern="1200" cap="none" spc="0" normalizeH="0" baseline="0" noProof="0" dirty="0">
                    <a:ln>
                      <a:noFill/>
                    </a:ln>
                    <a:solidFill>
                      <a:prstClr val="white"/>
                    </a:solidFill>
                    <a:effectLst/>
                    <a:uLnTx/>
                    <a:uFillTx/>
                    <a:latin typeface="Calibri" panose="020F0502020204030204"/>
                    <a:ea typeface="+mn-ea"/>
                    <a:cs typeface="+mn-cs"/>
                  </a:rPr>
                  <a:t>Code</a:t>
                </a:r>
                <a:endParaRPr kumimoji="0" lang="en-US" altLang="en-US" sz="106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1" name="Rectangle 235"/>
              <p:cNvSpPr>
                <a:spLocks noChangeArrowheads="1"/>
              </p:cNvSpPr>
              <p:nvPr/>
            </p:nvSpPr>
            <p:spPr bwMode="auto">
              <a:xfrm>
                <a:off x="2934252" y="5011506"/>
                <a:ext cx="1143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Continuous Delivery to  DEV</a:t>
                </a:r>
              </a:p>
            </p:txBody>
          </p:sp>
          <p:sp>
            <p:nvSpPr>
              <p:cNvPr id="193" name="Rectangle 235"/>
              <p:cNvSpPr>
                <a:spLocks noChangeArrowheads="1"/>
              </p:cNvSpPr>
              <p:nvPr/>
            </p:nvSpPr>
            <p:spPr bwMode="auto">
              <a:xfrm>
                <a:off x="4790403" y="5031791"/>
                <a:ext cx="114660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Deployment Validation</a:t>
                </a:r>
              </a:p>
            </p:txBody>
          </p:sp>
          <p:sp>
            <p:nvSpPr>
              <p:cNvPr id="195" name="Freeform 199"/>
              <p:cNvSpPr>
                <a:spLocks/>
              </p:cNvSpPr>
              <p:nvPr/>
            </p:nvSpPr>
            <p:spPr bwMode="auto">
              <a:xfrm flipH="1">
                <a:off x="6358545" y="4566629"/>
                <a:ext cx="970043" cy="816575"/>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4">
                    <a:moveTo>
                      <a:pt x="10000" y="2515"/>
                    </a:moveTo>
                    <a:cubicBezTo>
                      <a:pt x="8688" y="2474"/>
                      <a:pt x="7625" y="1391"/>
                      <a:pt x="7625" y="82"/>
                    </a:cubicBezTo>
                    <a:lnTo>
                      <a:pt x="7625" y="0"/>
                    </a:lnTo>
                    <a:lnTo>
                      <a:pt x="0" y="0"/>
                    </a:lnTo>
                    <a:lnTo>
                      <a:pt x="0" y="82"/>
                    </a:lnTo>
                    <a:cubicBezTo>
                      <a:pt x="291" y="6099"/>
                      <a:pt x="2125" y="10165"/>
                      <a:pt x="10000" y="10000"/>
                    </a:cubicBezTo>
                    <a:lnTo>
                      <a:pt x="10000" y="2515"/>
                    </a:lnTo>
                    <a:close/>
                  </a:path>
                </a:pathLst>
              </a:custGeom>
              <a:solidFill>
                <a:srgbClr val="00000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96" name="Group 195"/>
              <p:cNvGrpSpPr/>
              <p:nvPr/>
            </p:nvGrpSpPr>
            <p:grpSpPr>
              <a:xfrm>
                <a:off x="6651380" y="4679542"/>
                <a:ext cx="247061" cy="256359"/>
                <a:chOff x="1744663" y="2008500"/>
                <a:chExt cx="668337" cy="694220"/>
              </a:xfrm>
            </p:grpSpPr>
            <p:sp>
              <p:nvSpPr>
                <p:cNvPr id="197" name="Oval 196"/>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8" name="Rectangle 222"/>
                <p:cNvSpPr>
                  <a:spLocks noChangeArrowheads="1"/>
                </p:cNvSpPr>
                <p:nvPr/>
              </p:nvSpPr>
              <p:spPr bwMode="auto">
                <a:xfrm>
                  <a:off x="1962198" y="2008500"/>
                  <a:ext cx="234163" cy="55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3</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200" name="Rectangle 235"/>
              <p:cNvSpPr>
                <a:spLocks noChangeArrowheads="1"/>
              </p:cNvSpPr>
              <p:nvPr/>
            </p:nvSpPr>
            <p:spPr bwMode="auto">
              <a:xfrm>
                <a:off x="6643560" y="5015737"/>
                <a:ext cx="203582"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33" b="0" i="0" u="none" strike="noStrike" kern="1200" cap="none" spc="0" normalizeH="0" baseline="0" noProof="0" dirty="0">
                    <a:ln>
                      <a:noFill/>
                    </a:ln>
                    <a:solidFill>
                      <a:prstClr val="white"/>
                    </a:solidFill>
                    <a:effectLst/>
                    <a:uLnTx/>
                    <a:uFillTx/>
                    <a:latin typeface="Calibri" panose="020F0502020204030204"/>
                    <a:ea typeface="+mn-ea"/>
                    <a:cs typeface="+mn-cs"/>
                  </a:rPr>
                  <a:t>Test</a:t>
                </a:r>
                <a:endParaRPr kumimoji="0" lang="en-US" altLang="en-US" sz="106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1" name="Rectangle 186"/>
              <p:cNvSpPr>
                <a:spLocks noChangeArrowheads="1"/>
              </p:cNvSpPr>
              <p:nvPr/>
            </p:nvSpPr>
            <p:spPr bwMode="auto">
              <a:xfrm>
                <a:off x="6587771" y="2736358"/>
                <a:ext cx="743075" cy="859583"/>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Rectangle 188"/>
              <p:cNvSpPr>
                <a:spLocks noChangeArrowheads="1"/>
              </p:cNvSpPr>
              <p:nvPr/>
            </p:nvSpPr>
            <p:spPr bwMode="auto">
              <a:xfrm>
                <a:off x="6587771" y="3634122"/>
                <a:ext cx="743075" cy="89508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Rectangle 235"/>
              <p:cNvSpPr>
                <a:spLocks noChangeArrowheads="1"/>
              </p:cNvSpPr>
              <p:nvPr/>
            </p:nvSpPr>
            <p:spPr bwMode="auto">
              <a:xfrm>
                <a:off x="6541538" y="4015145"/>
                <a:ext cx="7992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Regression Tests</a:t>
                </a: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Automated)</a:t>
                </a:r>
              </a:p>
            </p:txBody>
          </p:sp>
          <p:sp>
            <p:nvSpPr>
              <p:cNvPr id="204" name="Rectangle 235"/>
              <p:cNvSpPr>
                <a:spLocks noChangeArrowheads="1"/>
              </p:cNvSpPr>
              <p:nvPr/>
            </p:nvSpPr>
            <p:spPr bwMode="auto">
              <a:xfrm>
                <a:off x="6541538" y="3096105"/>
                <a:ext cx="7992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Continuous Testing</a:t>
                </a:r>
              </a:p>
            </p:txBody>
          </p:sp>
          <p:sp>
            <p:nvSpPr>
              <p:cNvPr id="206" name="Freeform 196"/>
              <p:cNvSpPr>
                <a:spLocks/>
              </p:cNvSpPr>
              <p:nvPr/>
            </p:nvSpPr>
            <p:spPr bwMode="auto">
              <a:xfrm flipV="1">
                <a:off x="6588293" y="1884247"/>
                <a:ext cx="977121" cy="815220"/>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Rectangle 235"/>
              <p:cNvSpPr>
                <a:spLocks noChangeArrowheads="1"/>
              </p:cNvSpPr>
              <p:nvPr/>
            </p:nvSpPr>
            <p:spPr bwMode="auto">
              <a:xfrm>
                <a:off x="6628473" y="2239189"/>
                <a:ext cx="7992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Defect </a:t>
                </a: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management</a:t>
                </a:r>
              </a:p>
            </p:txBody>
          </p:sp>
          <p:sp>
            <p:nvSpPr>
              <p:cNvPr id="208" name="Rectangle 189"/>
              <p:cNvSpPr>
                <a:spLocks noChangeArrowheads="1"/>
              </p:cNvSpPr>
              <p:nvPr/>
            </p:nvSpPr>
            <p:spPr bwMode="auto">
              <a:xfrm>
                <a:off x="7592182" y="1898549"/>
                <a:ext cx="1574045" cy="60761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Rectangle 191"/>
              <p:cNvSpPr>
                <a:spLocks noChangeArrowheads="1"/>
              </p:cNvSpPr>
              <p:nvPr/>
            </p:nvSpPr>
            <p:spPr bwMode="auto">
              <a:xfrm>
                <a:off x="9215512" y="1886287"/>
                <a:ext cx="1254411" cy="607619"/>
              </a:xfrm>
              <a:prstGeom prst="rect">
                <a:avLst/>
              </a:pr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Rectangle 235"/>
              <p:cNvSpPr>
                <a:spLocks noChangeArrowheads="1"/>
              </p:cNvSpPr>
              <p:nvPr/>
            </p:nvSpPr>
            <p:spPr bwMode="auto">
              <a:xfrm>
                <a:off x="7709652" y="1992833"/>
                <a:ext cx="118226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Review Test Results </a:t>
                </a: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with Business, UAT</a:t>
                </a:r>
                <a:endPar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amp; provide </a:t>
                </a:r>
              </a:p>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Continuous feedback</a:t>
                </a:r>
              </a:p>
            </p:txBody>
          </p:sp>
          <p:sp>
            <p:nvSpPr>
              <p:cNvPr id="211" name="Rectangle 235"/>
              <p:cNvSpPr>
                <a:spLocks noChangeArrowheads="1"/>
              </p:cNvSpPr>
              <p:nvPr/>
            </p:nvSpPr>
            <p:spPr bwMode="auto">
              <a:xfrm>
                <a:off x="9296149" y="2054709"/>
                <a:ext cx="7542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Continuous Delivery</a:t>
                </a:r>
              </a:p>
            </p:txBody>
          </p:sp>
          <p:sp>
            <p:nvSpPr>
              <p:cNvPr id="214" name="Freeform 197"/>
              <p:cNvSpPr>
                <a:spLocks/>
              </p:cNvSpPr>
              <p:nvPr/>
            </p:nvSpPr>
            <p:spPr bwMode="auto">
              <a:xfrm>
                <a:off x="10512718" y="1886056"/>
                <a:ext cx="1173135" cy="817277"/>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 name="connsiteX0" fmla="*/ 0 w 10000"/>
                  <a:gd name="connsiteY0" fmla="*/ 7485 h 10000"/>
                  <a:gd name="connsiteX1" fmla="*/ 2391 w 10000"/>
                  <a:gd name="connsiteY1" fmla="*/ 9918 h 10000"/>
                  <a:gd name="connsiteX2" fmla="*/ 2391 w 10000"/>
                  <a:gd name="connsiteY2" fmla="*/ 10000 h 10000"/>
                  <a:gd name="connsiteX3" fmla="*/ 10000 w 10000"/>
                  <a:gd name="connsiteY3" fmla="*/ 10000 h 10000"/>
                  <a:gd name="connsiteX4" fmla="*/ 10000 w 10000"/>
                  <a:gd name="connsiteY4" fmla="*/ 9918 h 10000"/>
                  <a:gd name="connsiteX5" fmla="*/ 0 w 10000"/>
                  <a:gd name="connsiteY5" fmla="*/ 0 h 10000"/>
                  <a:gd name="connsiteX6" fmla="*/ 0 w 10000"/>
                  <a:gd name="connsiteY6" fmla="*/ 74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7485"/>
                    </a:moveTo>
                    <a:cubicBezTo>
                      <a:pt x="1331" y="7526"/>
                      <a:pt x="2391" y="8589"/>
                      <a:pt x="2391" y="9918"/>
                    </a:cubicBezTo>
                    <a:lnTo>
                      <a:pt x="2391" y="10000"/>
                    </a:lnTo>
                    <a:lnTo>
                      <a:pt x="10000" y="10000"/>
                    </a:lnTo>
                    <a:lnTo>
                      <a:pt x="10000" y="9918"/>
                    </a:lnTo>
                    <a:cubicBezTo>
                      <a:pt x="9958" y="1752"/>
                      <a:pt x="5530" y="41"/>
                      <a:pt x="0" y="0"/>
                    </a:cubicBezTo>
                    <a:lnTo>
                      <a:pt x="0" y="7485"/>
                    </a:lnTo>
                    <a:close/>
                  </a:path>
                </a:pathLst>
              </a:custGeom>
              <a:solidFill>
                <a:srgbClr val="F7B30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198"/>
              <p:cNvSpPr>
                <a:spLocks/>
              </p:cNvSpPr>
              <p:nvPr/>
            </p:nvSpPr>
            <p:spPr bwMode="auto">
              <a:xfrm>
                <a:off x="10481767" y="2761080"/>
                <a:ext cx="1204085" cy="866409"/>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 name="connsiteX0" fmla="*/ 2515 w 10000"/>
                  <a:gd name="connsiteY0" fmla="*/ 0 h 10000"/>
                  <a:gd name="connsiteX1" fmla="*/ 82 w 10000"/>
                  <a:gd name="connsiteY1" fmla="*/ 2391 h 10000"/>
                  <a:gd name="connsiteX2" fmla="*/ 0 w 10000"/>
                  <a:gd name="connsiteY2" fmla="*/ 2391 h 10000"/>
                  <a:gd name="connsiteX3" fmla="*/ 0 w 10000"/>
                  <a:gd name="connsiteY3" fmla="*/ 10000 h 10000"/>
                  <a:gd name="connsiteX4" fmla="*/ 82 w 10000"/>
                  <a:gd name="connsiteY4" fmla="*/ 10000 h 10000"/>
                  <a:gd name="connsiteX5" fmla="*/ 10000 w 10000"/>
                  <a:gd name="connsiteY5" fmla="*/ 0 h 10000"/>
                  <a:gd name="connsiteX6" fmla="*/ 2515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2515" y="0"/>
                    </a:moveTo>
                    <a:cubicBezTo>
                      <a:pt x="2474" y="1331"/>
                      <a:pt x="1411" y="2391"/>
                      <a:pt x="82" y="2391"/>
                    </a:cubicBezTo>
                    <a:lnTo>
                      <a:pt x="0" y="2391"/>
                    </a:lnTo>
                    <a:lnTo>
                      <a:pt x="0" y="10000"/>
                    </a:lnTo>
                    <a:lnTo>
                      <a:pt x="82" y="10000"/>
                    </a:lnTo>
                    <a:cubicBezTo>
                      <a:pt x="5542" y="10000"/>
                      <a:pt x="10054" y="8292"/>
                      <a:pt x="10000" y="0"/>
                    </a:cubicBezTo>
                    <a:lnTo>
                      <a:pt x="2515" y="0"/>
                    </a:lnTo>
                    <a:close/>
                  </a:path>
                </a:pathLst>
              </a:custGeom>
              <a:solidFill>
                <a:srgbClr val="00000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Rectangle 195"/>
              <p:cNvSpPr>
                <a:spLocks noChangeArrowheads="1"/>
              </p:cNvSpPr>
              <p:nvPr/>
            </p:nvSpPr>
            <p:spPr bwMode="auto">
              <a:xfrm>
                <a:off x="9656783" y="2968969"/>
                <a:ext cx="787239" cy="656539"/>
              </a:xfrm>
              <a:prstGeom prst="rect">
                <a:avLst/>
              </a:prstGeom>
              <a:solidFill>
                <a:srgbClr val="000000"/>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200"/>
              <p:cNvSpPr>
                <a:spLocks/>
              </p:cNvSpPr>
              <p:nvPr/>
            </p:nvSpPr>
            <p:spPr bwMode="auto">
              <a:xfrm>
                <a:off x="8632383" y="2968970"/>
                <a:ext cx="988527" cy="860703"/>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rgbClr val="046B76"/>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Rectangle 235"/>
              <p:cNvSpPr>
                <a:spLocks noChangeArrowheads="1"/>
              </p:cNvSpPr>
              <p:nvPr/>
            </p:nvSpPr>
            <p:spPr bwMode="auto">
              <a:xfrm>
                <a:off x="9706018" y="3102856"/>
                <a:ext cx="6572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Deploy the code to production</a:t>
                </a:r>
              </a:p>
            </p:txBody>
          </p:sp>
          <p:sp>
            <p:nvSpPr>
              <p:cNvPr id="219" name="Rectangle 235"/>
              <p:cNvSpPr>
                <a:spLocks noChangeArrowheads="1"/>
              </p:cNvSpPr>
              <p:nvPr/>
            </p:nvSpPr>
            <p:spPr bwMode="auto">
              <a:xfrm>
                <a:off x="8749363" y="3414011"/>
                <a:ext cx="8353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Automated Build Verification</a:t>
                </a:r>
              </a:p>
            </p:txBody>
          </p:sp>
          <p:sp>
            <p:nvSpPr>
              <p:cNvPr id="220" name="Rounded Rectangle 219"/>
              <p:cNvSpPr/>
              <p:nvPr/>
            </p:nvSpPr>
            <p:spPr bwMode="auto">
              <a:xfrm>
                <a:off x="1687441" y="1557375"/>
                <a:ext cx="1080607" cy="415992"/>
              </a:xfrm>
              <a:prstGeom prst="roundRect">
                <a:avLst/>
              </a:prstGeom>
              <a:solidFill>
                <a:schemeClr val="bg1">
                  <a:lumMod val="85000"/>
                </a:schemeClr>
              </a:solidFill>
              <a:ln>
                <a:no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88053" tIns="88053" rIns="88053" bIns="88053" rtlCol="0" anchor="ctr"/>
              <a:lstStyle/>
              <a:p>
                <a:pPr marL="165117" marR="0" lvl="0" indent="-165117" algn="ctr" defTabSz="880626"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29" name="TextBox 228"/>
              <p:cNvSpPr txBox="1"/>
              <p:nvPr/>
            </p:nvSpPr>
            <p:spPr bwMode="auto">
              <a:xfrm>
                <a:off x="1727739" y="1561561"/>
                <a:ext cx="962148" cy="461665"/>
              </a:xfrm>
              <a:prstGeom prst="rect">
                <a:avLst/>
              </a:prstGeom>
              <a:noFill/>
              <a:ln w="9525">
                <a:noFill/>
                <a:miter lim="800000"/>
                <a:headEnd/>
                <a:tailEnd/>
              </a:ln>
            </p:spPr>
            <p:txBody>
              <a:bodyPr wrap="square" lIns="91440" tIns="45720" rIns="91440" bIns="45720" rtlCol="0">
                <a:prstTxWarp prst="textNoShape">
                  <a:avLst/>
                </a:prstTxWarp>
                <a:spAutoFit/>
              </a:bodyPr>
              <a:lstStyle/>
              <a:p>
                <a:pPr marL="0" marR="0" lvl="0" indent="0" algn="ctr" defTabSz="880626"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rPr>
                  <a:t>Review </a:t>
                </a:r>
                <a:r>
                  <a:rPr kumimoji="0" lang="en-US" sz="800" b="1" i="0" u="none" strike="noStrike" kern="1200" cap="none" spc="0" normalizeH="0" baseline="0" noProof="0" dirty="0" smtClean="0">
                    <a:ln>
                      <a:noFill/>
                    </a:ln>
                    <a:solidFill>
                      <a:prstClr val="black"/>
                    </a:solidFill>
                    <a:effectLst/>
                    <a:uLnTx/>
                    <a:uFillTx/>
                    <a:latin typeface="Calibri" panose="020F0502020204030204"/>
                    <a:ea typeface="Roboto" pitchFamily="2" charset="0"/>
                    <a:cs typeface="Arial" panose="020B0604020202020204" pitchFamily="34" charset="0"/>
                  </a:rPr>
                  <a:t>Backlog and Prioritize Fix/Enhancement </a:t>
                </a:r>
                <a:endPar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endParaRPr>
              </a:p>
            </p:txBody>
          </p:sp>
          <p:sp>
            <p:nvSpPr>
              <p:cNvPr id="230" name="TextBox 229"/>
              <p:cNvSpPr txBox="1"/>
              <p:nvPr/>
            </p:nvSpPr>
            <p:spPr bwMode="auto">
              <a:xfrm>
                <a:off x="3031812" y="2899119"/>
                <a:ext cx="1385251" cy="646986"/>
              </a:xfrm>
              <a:prstGeom prst="roundRect">
                <a:avLst/>
              </a:prstGeom>
              <a:solidFill>
                <a:schemeClr val="bg1">
                  <a:lumMod val="85000"/>
                </a:schemeClr>
              </a:solidFill>
              <a:ln w="9525">
                <a:noFill/>
                <a:miter lim="800000"/>
                <a:headEnd/>
                <a:tailEnd/>
              </a:ln>
            </p:spPr>
            <p:txBody>
              <a:bodyPr wrap="square" lIns="274320" tIns="45720" rIns="91440" bIns="45720" rtlCol="0">
                <a:prstTxWarp prst="textNoShape">
                  <a:avLst/>
                </a:prstTxWarp>
                <a:spAutoFit/>
              </a:bodyPr>
              <a:lstStyle/>
              <a:p>
                <a:pPr marL="0" marR="0" lvl="0" indent="0" algn="ctr" defTabSz="880626"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Roboto" pitchFamily="2" charset="0"/>
                    <a:cs typeface="Arial" panose="020B0604020202020204" pitchFamily="34" charset="0"/>
                  </a:rPr>
                  <a:t>Select System</a:t>
                </a:r>
                <a:r>
                  <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rPr>
                  <a:t>, Integration &amp; Regression Test </a:t>
                </a:r>
                <a:r>
                  <a:rPr kumimoji="0" lang="en-US" sz="800" b="1" i="0" u="none" strike="noStrike" kern="1200" cap="none" spc="0" normalizeH="0" baseline="0" noProof="0" dirty="0" smtClean="0">
                    <a:ln>
                      <a:noFill/>
                    </a:ln>
                    <a:solidFill>
                      <a:prstClr val="black"/>
                    </a:solidFill>
                    <a:effectLst/>
                    <a:uLnTx/>
                    <a:uFillTx/>
                    <a:latin typeface="Calibri" panose="020F0502020204030204"/>
                    <a:ea typeface="Roboto" pitchFamily="2" charset="0"/>
                    <a:cs typeface="Arial" panose="020B0604020202020204" pitchFamily="34" charset="0"/>
                  </a:rPr>
                  <a:t>cases for Fix </a:t>
                </a:r>
                <a:endPar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endParaRPr>
              </a:p>
            </p:txBody>
          </p:sp>
          <p:sp>
            <p:nvSpPr>
              <p:cNvPr id="231" name="Rectangle 188"/>
              <p:cNvSpPr>
                <a:spLocks noChangeArrowheads="1"/>
              </p:cNvSpPr>
              <p:nvPr/>
            </p:nvSpPr>
            <p:spPr bwMode="auto">
              <a:xfrm>
                <a:off x="4474172" y="3053481"/>
                <a:ext cx="761149" cy="401660"/>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Rectangle 191"/>
              <p:cNvSpPr>
                <a:spLocks noChangeArrowheads="1"/>
              </p:cNvSpPr>
              <p:nvPr/>
            </p:nvSpPr>
            <p:spPr bwMode="auto">
              <a:xfrm>
                <a:off x="2903802" y="2202290"/>
                <a:ext cx="1290583" cy="611415"/>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Rectangle 235"/>
              <p:cNvSpPr>
                <a:spLocks noChangeArrowheads="1"/>
              </p:cNvSpPr>
              <p:nvPr/>
            </p:nvSpPr>
            <p:spPr bwMode="auto">
              <a:xfrm>
                <a:off x="2989955" y="2332156"/>
                <a:ext cx="854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Understand  request and  review </a:t>
                </a:r>
              </a:p>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 code fix</a:t>
                </a:r>
                <a:endPar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5" name="Rounded Rectangle 234"/>
              <p:cNvSpPr/>
              <p:nvPr/>
            </p:nvSpPr>
            <p:spPr>
              <a:xfrm>
                <a:off x="6533092" y="2734023"/>
                <a:ext cx="846656" cy="1808192"/>
              </a:xfrm>
              <a:prstGeom prst="roundRect">
                <a:avLst>
                  <a:gd name="adj" fmla="val 6154"/>
                </a:avLst>
              </a:prstGeom>
              <a:noFill/>
              <a:ln w="19050">
                <a:solidFill>
                  <a:srgbClr val="4FA4B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6" name="Rounded Rectangle 235"/>
              <p:cNvSpPr/>
              <p:nvPr/>
            </p:nvSpPr>
            <p:spPr bwMode="auto">
              <a:xfrm>
                <a:off x="310894" y="3970748"/>
                <a:ext cx="1533100" cy="415992"/>
              </a:xfrm>
              <a:prstGeom prst="roundRect">
                <a:avLst/>
              </a:prstGeom>
              <a:solidFill>
                <a:schemeClr val="bg1">
                  <a:lumMod val="85000"/>
                </a:schemeClr>
              </a:solidFill>
              <a:ln>
                <a:solidFill>
                  <a:srgbClr val="4FA4B2"/>
                </a:solid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88053" tIns="88053" rIns="88053" bIns="88053" rtlCol="0" anchor="ctr"/>
              <a:lstStyle/>
              <a:p>
                <a:pPr marL="165117" marR="0" lvl="0" indent="-165117" algn="ctr" defTabSz="880626"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37" name="TextBox 236"/>
              <p:cNvSpPr txBox="1"/>
              <p:nvPr/>
            </p:nvSpPr>
            <p:spPr bwMode="auto">
              <a:xfrm>
                <a:off x="335250" y="3957519"/>
                <a:ext cx="1115428" cy="461665"/>
              </a:xfrm>
              <a:prstGeom prst="rect">
                <a:avLst/>
              </a:prstGeom>
              <a:noFill/>
              <a:ln w="9525">
                <a:noFill/>
                <a:miter lim="800000"/>
                <a:headEnd/>
                <a:tailEnd/>
              </a:ln>
            </p:spPr>
            <p:txBody>
              <a:bodyPr wrap="square" lIns="91440" tIns="45720" rIns="91440" bIns="45720" rtlCol="0" anchor="ctr">
                <a:prstTxWarp prst="textNoShape">
                  <a:avLst/>
                </a:prstTxWarp>
                <a:spAutoFit/>
              </a:bodyPr>
              <a:lstStyle/>
              <a:p>
                <a:pPr marL="0" marR="0" lvl="0" indent="0" algn="l" defTabSz="880626"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rPr>
                  <a:t>Automated Unit Test &amp; Code </a:t>
                </a:r>
                <a:r>
                  <a:rPr kumimoji="0" lang="en-US" sz="800" b="1" i="0" u="none" strike="noStrike" kern="1200" cap="none" spc="0" normalizeH="0" baseline="0" noProof="0" dirty="0" smtClean="0">
                    <a:ln>
                      <a:noFill/>
                    </a:ln>
                    <a:solidFill>
                      <a:prstClr val="black"/>
                    </a:solidFill>
                    <a:effectLst/>
                    <a:uLnTx/>
                    <a:uFillTx/>
                    <a:latin typeface="Calibri" panose="020F0502020204030204"/>
                    <a:ea typeface="Roboto" pitchFamily="2" charset="0"/>
                    <a:cs typeface="Arial" panose="020B0604020202020204" pitchFamily="34" charset="0"/>
                  </a:rPr>
                  <a:t>Coverage for changed code</a:t>
                </a:r>
                <a:endPar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endParaRPr>
              </a:p>
            </p:txBody>
          </p:sp>
          <p:sp>
            <p:nvSpPr>
              <p:cNvPr id="238" name="Rounded Rectangle 237"/>
              <p:cNvSpPr/>
              <p:nvPr/>
            </p:nvSpPr>
            <p:spPr>
              <a:xfrm>
                <a:off x="7402369" y="3759342"/>
                <a:ext cx="677131" cy="363263"/>
              </a:xfrm>
              <a:prstGeom prst="roundRect">
                <a:avLst>
                  <a:gd name="adj" fmla="val 9866"/>
                </a:avLst>
              </a:prstGeom>
              <a:solidFill>
                <a:schemeClr val="bg1">
                  <a:lumMod val="85000"/>
                </a:schemeClr>
              </a:solidFill>
              <a:ln>
                <a:solidFill>
                  <a:srgbClr val="4FA4B2"/>
                </a:solid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88053" tIns="88053" rIns="88053" bIns="88053" rtlCol="0" anchor="ctr"/>
              <a:lstStyle/>
              <a:p>
                <a:pPr marL="165117" marR="0" lvl="0" indent="-165117" algn="ctr" defTabSz="880626"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39" name="Rectangle 238"/>
              <p:cNvSpPr/>
              <p:nvPr/>
            </p:nvSpPr>
            <p:spPr>
              <a:xfrm>
                <a:off x="7310921" y="3838805"/>
                <a:ext cx="888343" cy="215444"/>
              </a:xfrm>
              <a:prstGeom prst="rect">
                <a:avLst/>
              </a:prstGeom>
            </p:spPr>
            <p:txBody>
              <a:bodyPr wrap="square" lIns="91440" tIns="45720" rIns="91440" bIns="45720">
                <a:spAutoFit/>
              </a:bodyPr>
              <a:lstStyle/>
              <a:p>
                <a:pPr marL="0" marR="0" lvl="0" indent="0" algn="ctr" defTabSz="677291"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a:ea typeface="Roboto Cn" pitchFamily="2" charset="0"/>
                    <a:cs typeface="+mn-cs"/>
                  </a:rPr>
                  <a:t>Fix Defects</a:t>
                </a:r>
              </a:p>
            </p:txBody>
          </p:sp>
          <p:sp>
            <p:nvSpPr>
              <p:cNvPr id="240" name="Freeform 494"/>
              <p:cNvSpPr>
                <a:spLocks/>
              </p:cNvSpPr>
              <p:nvPr/>
            </p:nvSpPr>
            <p:spPr bwMode="auto">
              <a:xfrm rot="5400000">
                <a:off x="904063" y="1086603"/>
                <a:ext cx="167119" cy="179748"/>
              </a:xfrm>
              <a:custGeom>
                <a:avLst/>
                <a:gdLst>
                  <a:gd name="T0" fmla="*/ 201 w 394"/>
                  <a:gd name="T1" fmla="*/ 0 h 391"/>
                  <a:gd name="T2" fmla="*/ 145 w 394"/>
                  <a:gd name="T3" fmla="*/ 58 h 391"/>
                  <a:gd name="T4" fmla="*/ 226 w 394"/>
                  <a:gd name="T5" fmla="*/ 141 h 391"/>
                  <a:gd name="T6" fmla="*/ 0 w 394"/>
                  <a:gd name="T7" fmla="*/ 141 h 391"/>
                  <a:gd name="T8" fmla="*/ 0 w 394"/>
                  <a:gd name="T9" fmla="*/ 250 h 391"/>
                  <a:gd name="T10" fmla="*/ 226 w 394"/>
                  <a:gd name="T11" fmla="*/ 250 h 391"/>
                  <a:gd name="T12" fmla="*/ 145 w 394"/>
                  <a:gd name="T13" fmla="*/ 333 h 391"/>
                  <a:gd name="T14" fmla="*/ 201 w 394"/>
                  <a:gd name="T15" fmla="*/ 391 h 391"/>
                  <a:gd name="T16" fmla="*/ 394 w 394"/>
                  <a:gd name="T17" fmla="*/ 195 h 391"/>
                  <a:gd name="T18" fmla="*/ 201 w 394"/>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1">
                    <a:moveTo>
                      <a:pt x="201" y="0"/>
                    </a:moveTo>
                    <a:lnTo>
                      <a:pt x="145" y="58"/>
                    </a:lnTo>
                    <a:lnTo>
                      <a:pt x="226" y="141"/>
                    </a:lnTo>
                    <a:lnTo>
                      <a:pt x="0" y="141"/>
                    </a:lnTo>
                    <a:lnTo>
                      <a:pt x="0" y="250"/>
                    </a:lnTo>
                    <a:lnTo>
                      <a:pt x="226" y="250"/>
                    </a:lnTo>
                    <a:lnTo>
                      <a:pt x="145" y="333"/>
                    </a:lnTo>
                    <a:lnTo>
                      <a:pt x="201" y="391"/>
                    </a:lnTo>
                    <a:lnTo>
                      <a:pt x="394" y="195"/>
                    </a:lnTo>
                    <a:lnTo>
                      <a:pt x="201" y="0"/>
                    </a:lnTo>
                    <a:close/>
                  </a:path>
                </a:pathLst>
              </a:custGeom>
              <a:solidFill>
                <a:schemeClr val="bg1">
                  <a:lumMod val="85000"/>
                </a:schemeClr>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40"/>
              <p:cNvSpPr/>
              <p:nvPr/>
            </p:nvSpPr>
            <p:spPr>
              <a:xfrm>
                <a:off x="6843016" y="3760042"/>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2"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839623" y="3754843"/>
                <a:ext cx="283796" cy="291323"/>
              </a:xfrm>
              <a:prstGeom prst="rect">
                <a:avLst/>
              </a:prstGeom>
              <a:noFill/>
              <a:ln>
                <a:noFill/>
              </a:ln>
            </p:spPr>
          </p:pic>
          <p:sp>
            <p:nvSpPr>
              <p:cNvPr id="243" name="Freeform 242"/>
              <p:cNvSpPr/>
              <p:nvPr/>
            </p:nvSpPr>
            <p:spPr>
              <a:xfrm>
                <a:off x="7239617" y="1991294"/>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4"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7232037" y="1979350"/>
                <a:ext cx="283796" cy="291324"/>
              </a:xfrm>
              <a:prstGeom prst="rect">
                <a:avLst/>
              </a:prstGeom>
              <a:noFill/>
              <a:ln>
                <a:noFill/>
              </a:ln>
            </p:spPr>
          </p:pic>
          <p:sp>
            <p:nvSpPr>
              <p:cNvPr id="245" name="Freeform 244"/>
              <p:cNvSpPr/>
              <p:nvPr/>
            </p:nvSpPr>
            <p:spPr>
              <a:xfrm>
                <a:off x="10152340" y="1950826"/>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6"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144757" y="1938884"/>
                <a:ext cx="283796" cy="291323"/>
              </a:xfrm>
              <a:prstGeom prst="rect">
                <a:avLst/>
              </a:prstGeom>
              <a:noFill/>
              <a:ln>
                <a:noFill/>
              </a:ln>
            </p:spPr>
          </p:pic>
          <p:sp>
            <p:nvSpPr>
              <p:cNvPr id="247" name="Freeform 246"/>
              <p:cNvSpPr/>
              <p:nvPr/>
            </p:nvSpPr>
            <p:spPr>
              <a:xfrm>
                <a:off x="2919956" y="3824714"/>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8" name="Picture 24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5996" y="3739753"/>
                <a:ext cx="374763" cy="419187"/>
              </a:xfrm>
              <a:prstGeom prst="rect">
                <a:avLst/>
              </a:prstGeom>
            </p:spPr>
          </p:pic>
          <p:sp>
            <p:nvSpPr>
              <p:cNvPr id="249" name="Freeform 248"/>
              <p:cNvSpPr/>
              <p:nvPr/>
            </p:nvSpPr>
            <p:spPr>
              <a:xfrm>
                <a:off x="1465287" y="4086245"/>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0" name="Picture 24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1325" y="4001285"/>
                <a:ext cx="374763" cy="419187"/>
              </a:xfrm>
              <a:prstGeom prst="rect">
                <a:avLst/>
              </a:prstGeom>
            </p:spPr>
          </p:pic>
          <p:sp>
            <p:nvSpPr>
              <p:cNvPr id="257" name="Freeform 256"/>
              <p:cNvSpPr/>
              <p:nvPr/>
            </p:nvSpPr>
            <p:spPr>
              <a:xfrm>
                <a:off x="3846185" y="2274370"/>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8" name="Picture 25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03841" y="2189856"/>
                <a:ext cx="374763" cy="419187"/>
              </a:xfrm>
              <a:prstGeom prst="rect">
                <a:avLst/>
              </a:prstGeom>
            </p:spPr>
          </p:pic>
          <p:sp>
            <p:nvSpPr>
              <p:cNvPr id="259" name="Freeform 258"/>
              <p:cNvSpPr/>
              <p:nvPr/>
            </p:nvSpPr>
            <p:spPr>
              <a:xfrm>
                <a:off x="4857764" y="3223130"/>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0" name="Picture 25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23805" y="3138169"/>
                <a:ext cx="374763" cy="419187"/>
              </a:xfrm>
              <a:prstGeom prst="rect">
                <a:avLst/>
              </a:prstGeom>
            </p:spPr>
          </p:pic>
          <p:sp>
            <p:nvSpPr>
              <p:cNvPr id="262" name="Rectangle 189"/>
              <p:cNvSpPr>
                <a:spLocks noChangeArrowheads="1"/>
              </p:cNvSpPr>
              <p:nvPr/>
            </p:nvSpPr>
            <p:spPr bwMode="auto">
              <a:xfrm rot="5400000">
                <a:off x="8831259" y="3653710"/>
                <a:ext cx="333408" cy="747777"/>
              </a:xfrm>
              <a:prstGeom prst="rect">
                <a:avLst/>
              </a:prstGeom>
              <a:solidFill>
                <a:srgbClr val="7F7F7F"/>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494"/>
              <p:cNvSpPr>
                <a:spLocks/>
              </p:cNvSpPr>
              <p:nvPr/>
            </p:nvSpPr>
            <p:spPr bwMode="auto">
              <a:xfrm rot="5400000">
                <a:off x="8887591" y="3917977"/>
                <a:ext cx="215552" cy="200420"/>
              </a:xfrm>
              <a:custGeom>
                <a:avLst/>
                <a:gdLst>
                  <a:gd name="T0" fmla="*/ 201 w 394"/>
                  <a:gd name="T1" fmla="*/ 0 h 391"/>
                  <a:gd name="T2" fmla="*/ 145 w 394"/>
                  <a:gd name="T3" fmla="*/ 58 h 391"/>
                  <a:gd name="T4" fmla="*/ 226 w 394"/>
                  <a:gd name="T5" fmla="*/ 141 h 391"/>
                  <a:gd name="T6" fmla="*/ 0 w 394"/>
                  <a:gd name="T7" fmla="*/ 141 h 391"/>
                  <a:gd name="T8" fmla="*/ 0 w 394"/>
                  <a:gd name="T9" fmla="*/ 250 h 391"/>
                  <a:gd name="T10" fmla="*/ 226 w 394"/>
                  <a:gd name="T11" fmla="*/ 250 h 391"/>
                  <a:gd name="T12" fmla="*/ 145 w 394"/>
                  <a:gd name="T13" fmla="*/ 333 h 391"/>
                  <a:gd name="T14" fmla="*/ 201 w 394"/>
                  <a:gd name="T15" fmla="*/ 391 h 391"/>
                  <a:gd name="T16" fmla="*/ 394 w 394"/>
                  <a:gd name="T17" fmla="*/ 195 h 391"/>
                  <a:gd name="T18" fmla="*/ 201 w 394"/>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1">
                    <a:moveTo>
                      <a:pt x="201" y="0"/>
                    </a:moveTo>
                    <a:lnTo>
                      <a:pt x="145" y="58"/>
                    </a:lnTo>
                    <a:lnTo>
                      <a:pt x="226" y="141"/>
                    </a:lnTo>
                    <a:lnTo>
                      <a:pt x="0" y="141"/>
                    </a:lnTo>
                    <a:lnTo>
                      <a:pt x="0" y="250"/>
                    </a:lnTo>
                    <a:lnTo>
                      <a:pt x="226" y="250"/>
                    </a:lnTo>
                    <a:lnTo>
                      <a:pt x="145" y="333"/>
                    </a:lnTo>
                    <a:lnTo>
                      <a:pt x="201" y="391"/>
                    </a:lnTo>
                    <a:lnTo>
                      <a:pt x="394" y="195"/>
                    </a:lnTo>
                    <a:lnTo>
                      <a:pt x="201" y="0"/>
                    </a:lnTo>
                    <a:close/>
                  </a:path>
                </a:pathLst>
              </a:custGeom>
              <a:solidFill>
                <a:schemeClr val="bg1">
                  <a:lumMod val="85000"/>
                </a:schemeClr>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63"/>
              <p:cNvSpPr/>
              <p:nvPr/>
            </p:nvSpPr>
            <p:spPr>
              <a:xfrm>
                <a:off x="7012557" y="2793138"/>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5"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7004977" y="2781193"/>
                <a:ext cx="283796" cy="291324"/>
              </a:xfrm>
              <a:prstGeom prst="rect">
                <a:avLst/>
              </a:prstGeom>
              <a:noFill/>
              <a:ln>
                <a:noFill/>
              </a:ln>
            </p:spPr>
          </p:pic>
          <p:sp>
            <p:nvSpPr>
              <p:cNvPr id="266" name="Freeform 265"/>
              <p:cNvSpPr/>
              <p:nvPr/>
            </p:nvSpPr>
            <p:spPr>
              <a:xfrm>
                <a:off x="4297831" y="2274370"/>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7" name="Picture 26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3871" y="2189411"/>
                <a:ext cx="374763" cy="419187"/>
              </a:xfrm>
              <a:prstGeom prst="rect">
                <a:avLst/>
              </a:prstGeom>
            </p:spPr>
          </p:pic>
          <p:cxnSp>
            <p:nvCxnSpPr>
              <p:cNvPr id="268" name="Straight Arrow Connector 267"/>
              <p:cNvCxnSpPr/>
              <p:nvPr/>
            </p:nvCxnSpPr>
            <p:spPr>
              <a:xfrm>
                <a:off x="1500079" y="1738415"/>
                <a:ext cx="184935"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9" name="Straight Arrow Connector 268"/>
              <p:cNvCxnSpPr/>
              <p:nvPr/>
            </p:nvCxnSpPr>
            <p:spPr>
              <a:xfrm>
                <a:off x="1500077" y="1719773"/>
                <a:ext cx="0" cy="443227"/>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p:nvPr/>
            </p:nvCxnSpPr>
            <p:spPr>
              <a:xfrm rot="16200000">
                <a:off x="1456032" y="4566783"/>
                <a:ext cx="368923" cy="0"/>
              </a:xfrm>
              <a:prstGeom prst="straightConnector1">
                <a:avLst/>
              </a:prstGeom>
              <a:ln w="38100">
                <a:solidFill>
                  <a:schemeClr val="tx1">
                    <a:lumMod val="50000"/>
                    <a:lumOff val="50000"/>
                  </a:schemeClr>
                </a:solidFill>
                <a:headE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Straight Arrow Connector 270"/>
              <p:cNvCxnSpPr/>
              <p:nvPr/>
            </p:nvCxnSpPr>
            <p:spPr>
              <a:xfrm>
                <a:off x="1627607" y="4751243"/>
                <a:ext cx="801476"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2" name="Straight Arrow Connector 271"/>
              <p:cNvCxnSpPr>
                <a:stCxn id="236" idx="3"/>
              </p:cNvCxnSpPr>
              <p:nvPr/>
            </p:nvCxnSpPr>
            <p:spPr>
              <a:xfrm>
                <a:off x="1843994" y="4178744"/>
                <a:ext cx="630631" cy="0"/>
              </a:xfrm>
              <a:prstGeom prst="straightConnector1">
                <a:avLst/>
              </a:prstGeom>
              <a:ln w="38100">
                <a:solidFill>
                  <a:schemeClr val="tx1">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p:nvPr/>
            </p:nvCxnSpPr>
            <p:spPr>
              <a:xfrm rot="16200000">
                <a:off x="524045" y="4968723"/>
                <a:ext cx="1171168"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a:off x="1120293" y="5543071"/>
                <a:ext cx="6681079" cy="0"/>
              </a:xfrm>
              <a:prstGeom prst="straightConnector1">
                <a:avLst/>
              </a:prstGeom>
              <a:ln w="38100">
                <a:solidFill>
                  <a:schemeClr val="tx1">
                    <a:lumMod val="50000"/>
                    <a:lumOff val="50000"/>
                  </a:schemeClr>
                </a:solidFill>
                <a:headE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p:nvPr/>
            </p:nvCxnSpPr>
            <p:spPr>
              <a:xfrm flipV="1">
                <a:off x="7798711" y="4109986"/>
                <a:ext cx="0" cy="1446007"/>
              </a:xfrm>
              <a:prstGeom prst="straightConnector1">
                <a:avLst/>
              </a:prstGeom>
              <a:ln w="38100">
                <a:solidFill>
                  <a:schemeClr val="tx1">
                    <a:lumMod val="50000"/>
                    <a:lumOff val="50000"/>
                  </a:schemeClr>
                </a:solidFill>
                <a:headE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6" name="Straight Arrow Connector 275"/>
              <p:cNvCxnSpPr/>
              <p:nvPr/>
            </p:nvCxnSpPr>
            <p:spPr>
              <a:xfrm>
                <a:off x="6195333" y="3693872"/>
                <a:ext cx="393879"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6195331" y="3681569"/>
                <a:ext cx="0" cy="1096903"/>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8" name="Straight Arrow Connector 277"/>
              <p:cNvCxnSpPr/>
              <p:nvPr/>
            </p:nvCxnSpPr>
            <p:spPr>
              <a:xfrm flipH="1">
                <a:off x="7361457" y="2598483"/>
                <a:ext cx="442617"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9" name="Straight Arrow Connector 278"/>
              <p:cNvCxnSpPr/>
              <p:nvPr/>
            </p:nvCxnSpPr>
            <p:spPr>
              <a:xfrm flipH="1">
                <a:off x="7804075" y="2588586"/>
                <a:ext cx="0" cy="1191151"/>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6" name="Rectangle 235"/>
              <p:cNvSpPr>
                <a:spLocks noChangeArrowheads="1"/>
              </p:cNvSpPr>
              <p:nvPr/>
            </p:nvSpPr>
            <p:spPr bwMode="auto">
              <a:xfrm>
                <a:off x="10670441" y="2170028"/>
                <a:ext cx="8892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Demo &amp; </a:t>
                </a:r>
                <a:b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Sign off on the change</a:t>
                </a:r>
              </a:p>
            </p:txBody>
          </p:sp>
          <p:grpSp>
            <p:nvGrpSpPr>
              <p:cNvPr id="287" name="Group 286"/>
              <p:cNvGrpSpPr/>
              <p:nvPr/>
            </p:nvGrpSpPr>
            <p:grpSpPr>
              <a:xfrm>
                <a:off x="10913320" y="2914226"/>
                <a:ext cx="247061" cy="246799"/>
                <a:chOff x="1744663" y="2095243"/>
                <a:chExt cx="668337" cy="668336"/>
              </a:xfrm>
            </p:grpSpPr>
            <p:sp>
              <p:nvSpPr>
                <p:cNvPr id="288" name="Oval 287"/>
                <p:cNvSpPr/>
                <p:nvPr/>
              </p:nvSpPr>
              <p:spPr>
                <a:xfrm>
                  <a:off x="1744663" y="2095243"/>
                  <a:ext cx="668337" cy="668336"/>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9" name="Rectangle 222"/>
                <p:cNvSpPr>
                  <a:spLocks noChangeArrowheads="1"/>
                </p:cNvSpPr>
                <p:nvPr/>
              </p:nvSpPr>
              <p:spPr bwMode="auto">
                <a:xfrm>
                  <a:off x="1962198" y="2127785"/>
                  <a:ext cx="234163" cy="555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1333" b="1" i="0" u="none" strike="noStrike" kern="1200" cap="none" spc="0" normalizeH="0" baseline="0" noProof="0" dirty="0">
                      <a:ln>
                        <a:noFill/>
                      </a:ln>
                      <a:solidFill>
                        <a:srgbClr val="FFFFFF"/>
                      </a:solidFill>
                      <a:effectLst/>
                      <a:uLnTx/>
                      <a:uFillTx/>
                      <a:latin typeface="Calibri" panose="020F0502020204030204"/>
                      <a:ea typeface="Roboto Cn" pitchFamily="2" charset="0"/>
                      <a:cs typeface="+mn-cs"/>
                    </a:rPr>
                    <a:t>4</a:t>
                  </a:r>
                  <a:endParaRPr kumimoji="0" lang="en-US" altLang="en-US" sz="933" b="1" i="0" u="none" strike="noStrike" kern="1200" cap="none" spc="0" normalizeH="0" baseline="0" noProof="0" dirty="0">
                    <a:ln>
                      <a:noFill/>
                    </a:ln>
                    <a:solidFill>
                      <a:prstClr val="black"/>
                    </a:solidFill>
                    <a:effectLst/>
                    <a:uLnTx/>
                    <a:uFillTx/>
                    <a:latin typeface="Calibri" panose="020F0502020204030204"/>
                    <a:ea typeface="Roboto Cn" pitchFamily="2" charset="0"/>
                    <a:cs typeface="+mn-cs"/>
                  </a:endParaRPr>
                </a:p>
              </p:txBody>
            </p:sp>
          </p:grpSp>
          <p:sp>
            <p:nvSpPr>
              <p:cNvPr id="290" name="Rectangle 235"/>
              <p:cNvSpPr>
                <a:spLocks noChangeArrowheads="1"/>
              </p:cNvSpPr>
              <p:nvPr/>
            </p:nvSpPr>
            <p:spPr bwMode="auto">
              <a:xfrm>
                <a:off x="10825405" y="3241581"/>
                <a:ext cx="339837"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933" b="0" i="0" u="none" strike="noStrike" kern="1200" cap="none" spc="0" normalizeH="0" baseline="0" noProof="0" dirty="0">
                    <a:ln>
                      <a:noFill/>
                    </a:ln>
                    <a:solidFill>
                      <a:prstClr val="white"/>
                    </a:solidFill>
                    <a:effectLst/>
                    <a:uLnTx/>
                    <a:uFillTx/>
                    <a:latin typeface="Calibri" panose="020F0502020204030204"/>
                    <a:ea typeface="+mn-ea"/>
                    <a:cs typeface="+mn-cs"/>
                  </a:rPr>
                  <a:t>Deploy</a:t>
                </a:r>
              </a:p>
            </p:txBody>
          </p:sp>
          <p:grpSp>
            <p:nvGrpSpPr>
              <p:cNvPr id="291" name="Group 290"/>
              <p:cNvGrpSpPr/>
              <p:nvPr/>
            </p:nvGrpSpPr>
            <p:grpSpPr>
              <a:xfrm>
                <a:off x="3400176" y="5668355"/>
                <a:ext cx="4865895" cy="423014"/>
                <a:chOff x="2428625" y="5668349"/>
                <a:chExt cx="4865895" cy="423013"/>
              </a:xfrm>
            </p:grpSpPr>
            <p:sp>
              <p:nvSpPr>
                <p:cNvPr id="292" name="Rounded Rectangle 291"/>
                <p:cNvSpPr/>
                <p:nvPr/>
              </p:nvSpPr>
              <p:spPr>
                <a:xfrm>
                  <a:off x="2459737" y="5668349"/>
                  <a:ext cx="4834783" cy="342632"/>
                </a:xfrm>
                <a:prstGeom prst="roundRect">
                  <a:avLst>
                    <a:gd name="adj" fmla="val 43504"/>
                  </a:avLst>
                </a:prstGeom>
                <a:solidFill>
                  <a:srgbClr val="E7E6E6"/>
                </a:solidFill>
                <a:ln w="9525" cap="flat" cmpd="sng" algn="ctr">
                  <a:noFill/>
                  <a:prstDash val="solid"/>
                </a:ln>
                <a:effectLst/>
              </p:spPr>
              <p:txBody>
                <a:bodyPr rtlCol="0" anchor="ctr"/>
                <a:lstStyle/>
                <a:p>
                  <a:pPr marL="0" marR="0" lvl="0" indent="0" algn="ctr" defTabSz="677291"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a:ea typeface="Roboto" pitchFamily="2" charset="0"/>
                    <a:cs typeface="+mn-cs"/>
                  </a:endParaRPr>
                </a:p>
              </p:txBody>
            </p:sp>
            <p:sp>
              <p:nvSpPr>
                <p:cNvPr id="293" name="Rectangle 292"/>
                <p:cNvSpPr/>
                <p:nvPr/>
              </p:nvSpPr>
              <p:spPr>
                <a:xfrm>
                  <a:off x="5397626" y="5752809"/>
                  <a:ext cx="593759" cy="215443"/>
                </a:xfrm>
                <a:prstGeom prst="rect">
                  <a:avLst/>
                </a:prstGeom>
              </p:spPr>
              <p:txBody>
                <a:bodyPr wrap="square">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a:ea typeface="Roboto" pitchFamily="2" charset="0"/>
                      <a:cs typeface="+mn-cs"/>
                    </a:rPr>
                    <a:t>QA</a:t>
                  </a:r>
                </a:p>
              </p:txBody>
            </p:sp>
            <p:sp>
              <p:nvSpPr>
                <p:cNvPr id="294" name="Rectangle 293"/>
                <p:cNvSpPr/>
                <p:nvPr/>
              </p:nvSpPr>
              <p:spPr>
                <a:xfrm>
                  <a:off x="6032683" y="5701035"/>
                  <a:ext cx="1088191" cy="230831"/>
                </a:xfrm>
                <a:prstGeom prst="rect">
                  <a:avLst/>
                </a:prstGeom>
              </p:spPr>
              <p:txBody>
                <a:bodyPr wrap="square" anchor="ctr">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B282E"/>
                      </a:solidFill>
                      <a:effectLst/>
                      <a:uLnTx/>
                      <a:uFillTx/>
                      <a:latin typeface="Calibri" panose="020F0502020204030204"/>
                      <a:ea typeface="+mn-ea"/>
                      <a:cs typeface="+mn-cs"/>
                    </a:rPr>
                    <a:t>Cognizant Tools</a:t>
                  </a:r>
                </a:p>
              </p:txBody>
            </p:sp>
            <p:sp>
              <p:nvSpPr>
                <p:cNvPr id="295" name="Rectangle 294"/>
                <p:cNvSpPr/>
                <p:nvPr/>
              </p:nvSpPr>
              <p:spPr>
                <a:xfrm>
                  <a:off x="4920935" y="5752809"/>
                  <a:ext cx="593759" cy="215443"/>
                </a:xfrm>
                <a:prstGeom prst="rect">
                  <a:avLst/>
                </a:prstGeom>
              </p:spPr>
              <p:txBody>
                <a:bodyPr wrap="square">
                  <a:spAutoFit/>
                </a:bodyPr>
                <a:lstStyle/>
                <a:p>
                  <a:pPr marL="0" marR="0" lvl="0" indent="0" algn="l" defTabSz="50806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a:ea typeface="Roboto" pitchFamily="2" charset="0"/>
                      <a:cs typeface="+mn-cs"/>
                    </a:rPr>
                    <a:t>Dev</a:t>
                  </a:r>
                </a:p>
              </p:txBody>
            </p:sp>
            <p:sp>
              <p:nvSpPr>
                <p:cNvPr id="296" name="Rectangle 295"/>
                <p:cNvSpPr/>
                <p:nvPr/>
              </p:nvSpPr>
              <p:spPr>
                <a:xfrm>
                  <a:off x="3395764" y="5752809"/>
                  <a:ext cx="593759" cy="338553"/>
                </a:xfrm>
                <a:prstGeom prst="rect">
                  <a:avLst/>
                </a:prstGeom>
              </p:spPr>
              <p:txBody>
                <a:bodyPr wrap="square">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prstClr val="black"/>
                      </a:solidFill>
                      <a:effectLst/>
                      <a:uLnTx/>
                      <a:uFillTx/>
                      <a:latin typeface="Calibri" panose="020F0502020204030204"/>
                      <a:ea typeface="Roboto" pitchFamily="2" charset="0"/>
                      <a:cs typeface="+mn-cs"/>
                    </a:rPr>
                    <a:t>Marriott Tools</a:t>
                  </a:r>
                  <a:endParaRPr kumimoji="0" lang="en-US" sz="800" b="1" i="0" u="none" strike="noStrike" kern="0" cap="none" spc="0" normalizeH="0" baseline="0" noProof="0" dirty="0">
                    <a:ln>
                      <a:noFill/>
                    </a:ln>
                    <a:solidFill>
                      <a:prstClr val="black"/>
                    </a:solidFill>
                    <a:effectLst/>
                    <a:uLnTx/>
                    <a:uFillTx/>
                    <a:latin typeface="Calibri" panose="020F0502020204030204"/>
                    <a:ea typeface="Roboto" pitchFamily="2" charset="0"/>
                    <a:cs typeface="+mn-cs"/>
                  </a:endParaRPr>
                </a:p>
              </p:txBody>
            </p:sp>
            <p:sp>
              <p:nvSpPr>
                <p:cNvPr id="297" name="Rectangle 296"/>
                <p:cNvSpPr/>
                <p:nvPr/>
              </p:nvSpPr>
              <p:spPr>
                <a:xfrm>
                  <a:off x="2428625" y="5741001"/>
                  <a:ext cx="890612" cy="215443"/>
                </a:xfrm>
                <a:prstGeom prst="rect">
                  <a:avLst/>
                </a:prstGeom>
              </p:spPr>
              <p:txBody>
                <a:bodyPr wrap="square">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a:ea typeface="Roboto" pitchFamily="2" charset="0"/>
                      <a:cs typeface="+mn-cs"/>
                    </a:rPr>
                    <a:t>Legends</a:t>
                  </a:r>
                </a:p>
              </p:txBody>
            </p:sp>
            <p:sp>
              <p:nvSpPr>
                <p:cNvPr id="298" name="Freeform 297"/>
                <p:cNvSpPr/>
                <p:nvPr/>
              </p:nvSpPr>
              <p:spPr>
                <a:xfrm>
                  <a:off x="5356328" y="5750786"/>
                  <a:ext cx="159771" cy="166967"/>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9" name="Picture 2" descr="C:\Users\Admin\Desktop\email-features-4.pn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5337364" y="5736301"/>
                  <a:ext cx="236532" cy="235884"/>
                </a:xfrm>
                <a:prstGeom prst="rect">
                  <a:avLst/>
                </a:prstGeom>
                <a:noFill/>
                <a:ln>
                  <a:noFill/>
                </a:ln>
              </p:spPr>
            </p:pic>
            <p:grpSp>
              <p:nvGrpSpPr>
                <p:cNvPr id="300" name="Group 299"/>
                <p:cNvGrpSpPr/>
                <p:nvPr/>
              </p:nvGrpSpPr>
              <p:grpSpPr>
                <a:xfrm>
                  <a:off x="4692267" y="5708578"/>
                  <a:ext cx="305099" cy="338337"/>
                  <a:chOff x="9522354" y="8001078"/>
                  <a:chExt cx="568215" cy="592214"/>
                </a:xfrm>
              </p:grpSpPr>
              <p:sp>
                <p:nvSpPr>
                  <p:cNvPr id="309" name="Freeform 308"/>
                  <p:cNvSpPr/>
                  <p:nvPr/>
                </p:nvSpPr>
                <p:spPr>
                  <a:xfrm>
                    <a:off x="9603463" y="8121104"/>
                    <a:ext cx="395288" cy="271463"/>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10" name="Picture 30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2354" y="8001078"/>
                    <a:ext cx="568215" cy="592214"/>
                  </a:xfrm>
                  <a:prstGeom prst="rect">
                    <a:avLst/>
                  </a:prstGeom>
                </p:spPr>
              </p:pic>
            </p:grpSp>
            <p:pic>
              <p:nvPicPr>
                <p:cNvPr id="301" name="Picture 300"/>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276585" y="5682118"/>
                  <a:ext cx="272180" cy="292109"/>
                </a:xfrm>
                <a:prstGeom prst="rect">
                  <a:avLst/>
                </a:prstGeom>
              </p:spPr>
            </p:pic>
            <p:sp>
              <p:nvSpPr>
                <p:cNvPr id="302" name="Rectangle 301"/>
                <p:cNvSpPr/>
                <p:nvPr/>
              </p:nvSpPr>
              <p:spPr>
                <a:xfrm>
                  <a:off x="4081240" y="5692954"/>
                  <a:ext cx="593759" cy="338553"/>
                </a:xfrm>
                <a:prstGeom prst="rect">
                  <a:avLst/>
                </a:prstGeom>
              </p:spPr>
              <p:txBody>
                <a:bodyPr wrap="square">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a:ea typeface="Roboto" pitchFamily="2" charset="0"/>
                      <a:cs typeface="+mn-cs"/>
                    </a:rPr>
                    <a:t>Product Owner</a:t>
                  </a:r>
                </a:p>
              </p:txBody>
            </p:sp>
            <p:pic>
              <p:nvPicPr>
                <p:cNvPr id="303" name="Picture 4" descr="C:\Users\Admin\Desktop\icon-associat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3935240" y="5728413"/>
                  <a:ext cx="234728" cy="243771"/>
                </a:xfrm>
                <a:prstGeom prst="rect">
                  <a:avLst/>
                </a:prstGeom>
                <a:noFill/>
                <a:ln>
                  <a:noFill/>
                </a:ln>
              </p:spPr>
            </p:pic>
          </p:grpSp>
          <p:sp>
            <p:nvSpPr>
              <p:cNvPr id="311" name="Rectangle 189"/>
              <p:cNvSpPr>
                <a:spLocks noChangeArrowheads="1"/>
              </p:cNvSpPr>
              <p:nvPr/>
            </p:nvSpPr>
            <p:spPr bwMode="auto">
              <a:xfrm>
                <a:off x="1638687" y="2202290"/>
                <a:ext cx="1232131" cy="611415"/>
              </a:xfrm>
              <a:prstGeom prst="rect">
                <a:avLst/>
              </a:prstGeom>
              <a:solidFill>
                <a:srgbClr val="1E6B9A"/>
              </a:solidFill>
              <a:ln>
                <a:noFill/>
              </a:ln>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Rectangle 235"/>
              <p:cNvSpPr>
                <a:spLocks noChangeArrowheads="1"/>
              </p:cNvSpPr>
              <p:nvPr/>
            </p:nvSpPr>
            <p:spPr bwMode="auto">
              <a:xfrm>
                <a:off x="1755446" y="2332156"/>
                <a:ext cx="8203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Breakdown request  </a:t>
                </a:r>
                <a:r>
                  <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rPr>
                  <a:t>into </a:t>
                </a: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tasks</a:t>
                </a:r>
              </a:p>
            </p:txBody>
          </p:sp>
          <p:sp>
            <p:nvSpPr>
              <p:cNvPr id="324" name="Freeform 323"/>
              <p:cNvSpPr/>
              <p:nvPr/>
            </p:nvSpPr>
            <p:spPr>
              <a:xfrm>
                <a:off x="2556261" y="2400222"/>
                <a:ext cx="260707" cy="192151"/>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5" name="Picture 32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30677" y="2315263"/>
                <a:ext cx="374763" cy="419187"/>
              </a:xfrm>
              <a:prstGeom prst="rect">
                <a:avLst/>
              </a:prstGeom>
            </p:spPr>
          </p:pic>
          <p:sp>
            <p:nvSpPr>
              <p:cNvPr id="326" name="Freeform 325"/>
              <p:cNvSpPr/>
              <p:nvPr/>
            </p:nvSpPr>
            <p:spPr>
              <a:xfrm>
                <a:off x="3076533" y="3142203"/>
                <a:ext cx="190555" cy="221399"/>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7"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099739" y="3060888"/>
                <a:ext cx="283796" cy="291324"/>
              </a:xfrm>
              <a:prstGeom prst="rect">
                <a:avLst/>
              </a:prstGeom>
              <a:noFill/>
              <a:ln>
                <a:noFill/>
              </a:ln>
            </p:spPr>
          </p:pic>
          <p:cxnSp>
            <p:nvCxnSpPr>
              <p:cNvPr id="328" name="Straight Arrow Connector 327"/>
              <p:cNvCxnSpPr/>
              <p:nvPr/>
            </p:nvCxnSpPr>
            <p:spPr>
              <a:xfrm rot="16200000">
                <a:off x="2050739" y="2993635"/>
                <a:ext cx="368923" cy="0"/>
              </a:xfrm>
              <a:prstGeom prst="straightConnector1">
                <a:avLst/>
              </a:prstGeom>
              <a:ln w="38100">
                <a:solidFill>
                  <a:schemeClr val="tx1">
                    <a:lumMod val="50000"/>
                    <a:lumOff val="50000"/>
                  </a:schemeClr>
                </a:solidFill>
                <a:headE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9" name="Straight Arrow Connector 328"/>
              <p:cNvCxnSpPr/>
              <p:nvPr/>
            </p:nvCxnSpPr>
            <p:spPr>
              <a:xfrm>
                <a:off x="2222315" y="3178095"/>
                <a:ext cx="801476"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0" name="Group 329"/>
              <p:cNvGrpSpPr/>
              <p:nvPr/>
            </p:nvGrpSpPr>
            <p:grpSpPr>
              <a:xfrm>
                <a:off x="2802158" y="4675654"/>
                <a:ext cx="265057" cy="290001"/>
                <a:chOff x="5382885" y="3531712"/>
                <a:chExt cx="813925" cy="777763"/>
              </a:xfrm>
              <a:solidFill>
                <a:srgbClr val="D96219"/>
              </a:solidFill>
            </p:grpSpPr>
            <p:sp>
              <p:nvSpPr>
                <p:cNvPr id="331" name="Freeform 64"/>
                <p:cNvSpPr>
                  <a:spLocks/>
                </p:cNvSpPr>
                <p:nvPr/>
              </p:nvSpPr>
              <p:spPr bwMode="auto">
                <a:xfrm>
                  <a:off x="5615471" y="3777456"/>
                  <a:ext cx="282253" cy="336544"/>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8"/>
                <p:cNvSpPr>
                  <a:spLocks noEditPoints="1"/>
                </p:cNvSpPr>
                <p:nvPr/>
              </p:nvSpPr>
              <p:spPr bwMode="auto">
                <a:xfrm>
                  <a:off x="5382885" y="3531712"/>
                  <a:ext cx="813925" cy="777763"/>
                </a:xfrm>
                <a:custGeom>
                  <a:avLst/>
                  <a:gdLst>
                    <a:gd name="T0" fmla="*/ 80 w 80"/>
                    <a:gd name="T1" fmla="*/ 45 h 80"/>
                    <a:gd name="T2" fmla="*/ 80 w 80"/>
                    <a:gd name="T3" fmla="*/ 35 h 80"/>
                    <a:gd name="T4" fmla="*/ 68 w 80"/>
                    <a:gd name="T5" fmla="*/ 33 h 80"/>
                    <a:gd name="T6" fmla="*/ 65 w 80"/>
                    <a:gd name="T7" fmla="*/ 25 h 80"/>
                    <a:gd name="T8" fmla="*/ 72 w 80"/>
                    <a:gd name="T9" fmla="*/ 15 h 80"/>
                    <a:gd name="T10" fmla="*/ 65 w 80"/>
                    <a:gd name="T11" fmla="*/ 8 h 80"/>
                    <a:gd name="T12" fmla="*/ 55 w 80"/>
                    <a:gd name="T13" fmla="*/ 15 h 80"/>
                    <a:gd name="T14" fmla="*/ 47 w 80"/>
                    <a:gd name="T15" fmla="*/ 12 h 80"/>
                    <a:gd name="T16" fmla="*/ 45 w 80"/>
                    <a:gd name="T17" fmla="*/ 0 h 80"/>
                    <a:gd name="T18" fmla="*/ 35 w 80"/>
                    <a:gd name="T19" fmla="*/ 0 h 80"/>
                    <a:gd name="T20" fmla="*/ 33 w 80"/>
                    <a:gd name="T21" fmla="*/ 12 h 80"/>
                    <a:gd name="T22" fmla="*/ 25 w 80"/>
                    <a:gd name="T23" fmla="*/ 15 h 80"/>
                    <a:gd name="T24" fmla="*/ 15 w 80"/>
                    <a:gd name="T25" fmla="*/ 8 h 80"/>
                    <a:gd name="T26" fmla="*/ 8 w 80"/>
                    <a:gd name="T27" fmla="*/ 15 h 80"/>
                    <a:gd name="T28" fmla="*/ 15 w 80"/>
                    <a:gd name="T29" fmla="*/ 25 h 80"/>
                    <a:gd name="T30" fmla="*/ 12 w 80"/>
                    <a:gd name="T31" fmla="*/ 33 h 80"/>
                    <a:gd name="T32" fmla="*/ 0 w 80"/>
                    <a:gd name="T33" fmla="*/ 35 h 80"/>
                    <a:gd name="T34" fmla="*/ 0 w 80"/>
                    <a:gd name="T35" fmla="*/ 45 h 80"/>
                    <a:gd name="T36" fmla="*/ 12 w 80"/>
                    <a:gd name="T37" fmla="*/ 47 h 80"/>
                    <a:gd name="T38" fmla="*/ 15 w 80"/>
                    <a:gd name="T39" fmla="*/ 55 h 80"/>
                    <a:gd name="T40" fmla="*/ 8 w 80"/>
                    <a:gd name="T41" fmla="*/ 65 h 80"/>
                    <a:gd name="T42" fmla="*/ 15 w 80"/>
                    <a:gd name="T43" fmla="*/ 72 h 80"/>
                    <a:gd name="T44" fmla="*/ 25 w 80"/>
                    <a:gd name="T45" fmla="*/ 65 h 80"/>
                    <a:gd name="T46" fmla="*/ 33 w 80"/>
                    <a:gd name="T47" fmla="*/ 68 h 80"/>
                    <a:gd name="T48" fmla="*/ 35 w 80"/>
                    <a:gd name="T49" fmla="*/ 80 h 80"/>
                    <a:gd name="T50" fmla="*/ 45 w 80"/>
                    <a:gd name="T51" fmla="*/ 80 h 80"/>
                    <a:gd name="T52" fmla="*/ 47 w 80"/>
                    <a:gd name="T53" fmla="*/ 68 h 80"/>
                    <a:gd name="T54" fmla="*/ 55 w 80"/>
                    <a:gd name="T55" fmla="*/ 65 h 80"/>
                    <a:gd name="T56" fmla="*/ 65 w 80"/>
                    <a:gd name="T57" fmla="*/ 72 h 80"/>
                    <a:gd name="T58" fmla="*/ 72 w 80"/>
                    <a:gd name="T59" fmla="*/ 65 h 80"/>
                    <a:gd name="T60" fmla="*/ 65 w 80"/>
                    <a:gd name="T61" fmla="*/ 55 h 80"/>
                    <a:gd name="T62" fmla="*/ 68 w 80"/>
                    <a:gd name="T63" fmla="*/ 47 h 80"/>
                    <a:gd name="T64" fmla="*/ 80 w 80"/>
                    <a:gd name="T65" fmla="*/ 45 h 80"/>
                    <a:gd name="T66" fmla="*/ 40 w 80"/>
                    <a:gd name="T67" fmla="*/ 54 h 80"/>
                    <a:gd name="T68" fmla="*/ 26 w 80"/>
                    <a:gd name="T69" fmla="*/ 40 h 80"/>
                    <a:gd name="T70" fmla="*/ 40 w 80"/>
                    <a:gd name="T71" fmla="*/ 26 h 80"/>
                    <a:gd name="T72" fmla="*/ 54 w 80"/>
                    <a:gd name="T73" fmla="*/ 40 h 80"/>
                    <a:gd name="T74" fmla="*/ 40 w 80"/>
                    <a:gd name="T7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5"/>
                      </a:moveTo>
                      <a:cubicBezTo>
                        <a:pt x="80" y="35"/>
                        <a:pt x="80" y="35"/>
                        <a:pt x="80" y="35"/>
                      </a:cubicBezTo>
                      <a:cubicBezTo>
                        <a:pt x="68" y="33"/>
                        <a:pt x="68" y="33"/>
                        <a:pt x="68" y="33"/>
                      </a:cubicBezTo>
                      <a:cubicBezTo>
                        <a:pt x="67" y="30"/>
                        <a:pt x="66" y="28"/>
                        <a:pt x="65" y="25"/>
                      </a:cubicBezTo>
                      <a:cubicBezTo>
                        <a:pt x="72" y="15"/>
                        <a:pt x="72" y="15"/>
                        <a:pt x="72" y="15"/>
                      </a:cubicBezTo>
                      <a:cubicBezTo>
                        <a:pt x="65" y="8"/>
                        <a:pt x="65" y="8"/>
                        <a:pt x="65" y="8"/>
                      </a:cubicBezTo>
                      <a:cubicBezTo>
                        <a:pt x="55" y="15"/>
                        <a:pt x="55" y="15"/>
                        <a:pt x="55" y="15"/>
                      </a:cubicBezTo>
                      <a:cubicBezTo>
                        <a:pt x="52" y="14"/>
                        <a:pt x="50" y="13"/>
                        <a:pt x="47" y="12"/>
                      </a:cubicBezTo>
                      <a:cubicBezTo>
                        <a:pt x="45" y="0"/>
                        <a:pt x="45" y="0"/>
                        <a:pt x="45" y="0"/>
                      </a:cubicBezTo>
                      <a:cubicBezTo>
                        <a:pt x="35" y="0"/>
                        <a:pt x="35" y="0"/>
                        <a:pt x="35" y="0"/>
                      </a:cubicBezTo>
                      <a:cubicBezTo>
                        <a:pt x="33" y="12"/>
                        <a:pt x="33" y="12"/>
                        <a:pt x="33" y="12"/>
                      </a:cubicBezTo>
                      <a:cubicBezTo>
                        <a:pt x="30" y="13"/>
                        <a:pt x="28" y="14"/>
                        <a:pt x="25" y="15"/>
                      </a:cubicBezTo>
                      <a:cubicBezTo>
                        <a:pt x="15" y="8"/>
                        <a:pt x="15" y="8"/>
                        <a:pt x="15" y="8"/>
                      </a:cubicBezTo>
                      <a:cubicBezTo>
                        <a:pt x="8" y="15"/>
                        <a:pt x="8" y="15"/>
                        <a:pt x="8" y="15"/>
                      </a:cubicBezTo>
                      <a:cubicBezTo>
                        <a:pt x="15" y="25"/>
                        <a:pt x="15" y="25"/>
                        <a:pt x="15" y="25"/>
                      </a:cubicBezTo>
                      <a:cubicBezTo>
                        <a:pt x="14" y="28"/>
                        <a:pt x="13" y="30"/>
                        <a:pt x="12" y="33"/>
                      </a:cubicBezTo>
                      <a:cubicBezTo>
                        <a:pt x="0" y="35"/>
                        <a:pt x="0" y="35"/>
                        <a:pt x="0" y="35"/>
                      </a:cubicBezTo>
                      <a:cubicBezTo>
                        <a:pt x="0" y="45"/>
                        <a:pt x="0" y="45"/>
                        <a:pt x="0" y="45"/>
                      </a:cubicBezTo>
                      <a:cubicBezTo>
                        <a:pt x="12" y="47"/>
                        <a:pt x="12" y="47"/>
                        <a:pt x="12" y="47"/>
                      </a:cubicBezTo>
                      <a:cubicBezTo>
                        <a:pt x="13" y="50"/>
                        <a:pt x="14" y="52"/>
                        <a:pt x="15" y="55"/>
                      </a:cubicBezTo>
                      <a:cubicBezTo>
                        <a:pt x="8" y="65"/>
                        <a:pt x="8" y="65"/>
                        <a:pt x="8" y="65"/>
                      </a:cubicBezTo>
                      <a:cubicBezTo>
                        <a:pt x="15" y="72"/>
                        <a:pt x="15" y="72"/>
                        <a:pt x="15" y="72"/>
                      </a:cubicBezTo>
                      <a:cubicBezTo>
                        <a:pt x="25" y="65"/>
                        <a:pt x="25" y="65"/>
                        <a:pt x="25" y="65"/>
                      </a:cubicBezTo>
                      <a:cubicBezTo>
                        <a:pt x="28" y="66"/>
                        <a:pt x="30" y="67"/>
                        <a:pt x="33" y="68"/>
                      </a:cubicBezTo>
                      <a:cubicBezTo>
                        <a:pt x="35" y="80"/>
                        <a:pt x="35" y="80"/>
                        <a:pt x="35" y="80"/>
                      </a:cubicBezTo>
                      <a:cubicBezTo>
                        <a:pt x="45" y="80"/>
                        <a:pt x="45" y="80"/>
                        <a:pt x="45" y="80"/>
                      </a:cubicBezTo>
                      <a:cubicBezTo>
                        <a:pt x="47" y="68"/>
                        <a:pt x="47" y="68"/>
                        <a:pt x="47" y="68"/>
                      </a:cubicBezTo>
                      <a:cubicBezTo>
                        <a:pt x="50" y="67"/>
                        <a:pt x="52" y="66"/>
                        <a:pt x="55" y="65"/>
                      </a:cubicBezTo>
                      <a:cubicBezTo>
                        <a:pt x="65" y="72"/>
                        <a:pt x="65" y="72"/>
                        <a:pt x="65" y="72"/>
                      </a:cubicBezTo>
                      <a:cubicBezTo>
                        <a:pt x="72" y="65"/>
                        <a:pt x="72" y="65"/>
                        <a:pt x="72" y="65"/>
                      </a:cubicBezTo>
                      <a:cubicBezTo>
                        <a:pt x="65" y="55"/>
                        <a:pt x="65" y="55"/>
                        <a:pt x="65" y="55"/>
                      </a:cubicBezTo>
                      <a:cubicBezTo>
                        <a:pt x="66" y="52"/>
                        <a:pt x="67" y="50"/>
                        <a:pt x="68" y="47"/>
                      </a:cubicBezTo>
                      <a:lnTo>
                        <a:pt x="80" y="45"/>
                      </a:lnTo>
                      <a:close/>
                      <a:moveTo>
                        <a:pt x="40" y="54"/>
                      </a:moveTo>
                      <a:cubicBezTo>
                        <a:pt x="32" y="54"/>
                        <a:pt x="26" y="48"/>
                        <a:pt x="26" y="40"/>
                      </a:cubicBezTo>
                      <a:cubicBezTo>
                        <a:pt x="26" y="32"/>
                        <a:pt x="32" y="26"/>
                        <a:pt x="40" y="26"/>
                      </a:cubicBezTo>
                      <a:cubicBezTo>
                        <a:pt x="48" y="26"/>
                        <a:pt x="54" y="32"/>
                        <a:pt x="54" y="40"/>
                      </a:cubicBezTo>
                      <a:cubicBezTo>
                        <a:pt x="54" y="48"/>
                        <a:pt x="48" y="54"/>
                        <a:pt x="40" y="5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3" name="Group 332"/>
              <p:cNvGrpSpPr/>
              <p:nvPr/>
            </p:nvGrpSpPr>
            <p:grpSpPr>
              <a:xfrm>
                <a:off x="4277941" y="4786210"/>
                <a:ext cx="265057" cy="290001"/>
                <a:chOff x="5382885" y="3531712"/>
                <a:chExt cx="813925" cy="777763"/>
              </a:xfrm>
              <a:solidFill>
                <a:srgbClr val="D96219"/>
              </a:solidFill>
            </p:grpSpPr>
            <p:sp>
              <p:nvSpPr>
                <p:cNvPr id="334" name="Freeform 64"/>
                <p:cNvSpPr>
                  <a:spLocks/>
                </p:cNvSpPr>
                <p:nvPr/>
              </p:nvSpPr>
              <p:spPr bwMode="auto">
                <a:xfrm>
                  <a:off x="5615471" y="3777456"/>
                  <a:ext cx="282253" cy="336544"/>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5" name="Freeform 8"/>
                <p:cNvSpPr>
                  <a:spLocks noEditPoints="1"/>
                </p:cNvSpPr>
                <p:nvPr/>
              </p:nvSpPr>
              <p:spPr bwMode="auto">
                <a:xfrm>
                  <a:off x="5382885" y="3531712"/>
                  <a:ext cx="813925" cy="777763"/>
                </a:xfrm>
                <a:custGeom>
                  <a:avLst/>
                  <a:gdLst>
                    <a:gd name="T0" fmla="*/ 80 w 80"/>
                    <a:gd name="T1" fmla="*/ 45 h 80"/>
                    <a:gd name="T2" fmla="*/ 80 w 80"/>
                    <a:gd name="T3" fmla="*/ 35 h 80"/>
                    <a:gd name="T4" fmla="*/ 68 w 80"/>
                    <a:gd name="T5" fmla="*/ 33 h 80"/>
                    <a:gd name="T6" fmla="*/ 65 w 80"/>
                    <a:gd name="T7" fmla="*/ 25 h 80"/>
                    <a:gd name="T8" fmla="*/ 72 w 80"/>
                    <a:gd name="T9" fmla="*/ 15 h 80"/>
                    <a:gd name="T10" fmla="*/ 65 w 80"/>
                    <a:gd name="T11" fmla="*/ 8 h 80"/>
                    <a:gd name="T12" fmla="*/ 55 w 80"/>
                    <a:gd name="T13" fmla="*/ 15 h 80"/>
                    <a:gd name="T14" fmla="*/ 47 w 80"/>
                    <a:gd name="T15" fmla="*/ 12 h 80"/>
                    <a:gd name="T16" fmla="*/ 45 w 80"/>
                    <a:gd name="T17" fmla="*/ 0 h 80"/>
                    <a:gd name="T18" fmla="*/ 35 w 80"/>
                    <a:gd name="T19" fmla="*/ 0 h 80"/>
                    <a:gd name="T20" fmla="*/ 33 w 80"/>
                    <a:gd name="T21" fmla="*/ 12 h 80"/>
                    <a:gd name="T22" fmla="*/ 25 w 80"/>
                    <a:gd name="T23" fmla="*/ 15 h 80"/>
                    <a:gd name="T24" fmla="*/ 15 w 80"/>
                    <a:gd name="T25" fmla="*/ 8 h 80"/>
                    <a:gd name="T26" fmla="*/ 8 w 80"/>
                    <a:gd name="T27" fmla="*/ 15 h 80"/>
                    <a:gd name="T28" fmla="*/ 15 w 80"/>
                    <a:gd name="T29" fmla="*/ 25 h 80"/>
                    <a:gd name="T30" fmla="*/ 12 w 80"/>
                    <a:gd name="T31" fmla="*/ 33 h 80"/>
                    <a:gd name="T32" fmla="*/ 0 w 80"/>
                    <a:gd name="T33" fmla="*/ 35 h 80"/>
                    <a:gd name="T34" fmla="*/ 0 w 80"/>
                    <a:gd name="T35" fmla="*/ 45 h 80"/>
                    <a:gd name="T36" fmla="*/ 12 w 80"/>
                    <a:gd name="T37" fmla="*/ 47 h 80"/>
                    <a:gd name="T38" fmla="*/ 15 w 80"/>
                    <a:gd name="T39" fmla="*/ 55 h 80"/>
                    <a:gd name="T40" fmla="*/ 8 w 80"/>
                    <a:gd name="T41" fmla="*/ 65 h 80"/>
                    <a:gd name="T42" fmla="*/ 15 w 80"/>
                    <a:gd name="T43" fmla="*/ 72 h 80"/>
                    <a:gd name="T44" fmla="*/ 25 w 80"/>
                    <a:gd name="T45" fmla="*/ 65 h 80"/>
                    <a:gd name="T46" fmla="*/ 33 w 80"/>
                    <a:gd name="T47" fmla="*/ 68 h 80"/>
                    <a:gd name="T48" fmla="*/ 35 w 80"/>
                    <a:gd name="T49" fmla="*/ 80 h 80"/>
                    <a:gd name="T50" fmla="*/ 45 w 80"/>
                    <a:gd name="T51" fmla="*/ 80 h 80"/>
                    <a:gd name="T52" fmla="*/ 47 w 80"/>
                    <a:gd name="T53" fmla="*/ 68 h 80"/>
                    <a:gd name="T54" fmla="*/ 55 w 80"/>
                    <a:gd name="T55" fmla="*/ 65 h 80"/>
                    <a:gd name="T56" fmla="*/ 65 w 80"/>
                    <a:gd name="T57" fmla="*/ 72 h 80"/>
                    <a:gd name="T58" fmla="*/ 72 w 80"/>
                    <a:gd name="T59" fmla="*/ 65 h 80"/>
                    <a:gd name="T60" fmla="*/ 65 w 80"/>
                    <a:gd name="T61" fmla="*/ 55 h 80"/>
                    <a:gd name="T62" fmla="*/ 68 w 80"/>
                    <a:gd name="T63" fmla="*/ 47 h 80"/>
                    <a:gd name="T64" fmla="*/ 80 w 80"/>
                    <a:gd name="T65" fmla="*/ 45 h 80"/>
                    <a:gd name="T66" fmla="*/ 40 w 80"/>
                    <a:gd name="T67" fmla="*/ 54 h 80"/>
                    <a:gd name="T68" fmla="*/ 26 w 80"/>
                    <a:gd name="T69" fmla="*/ 40 h 80"/>
                    <a:gd name="T70" fmla="*/ 40 w 80"/>
                    <a:gd name="T71" fmla="*/ 26 h 80"/>
                    <a:gd name="T72" fmla="*/ 54 w 80"/>
                    <a:gd name="T73" fmla="*/ 40 h 80"/>
                    <a:gd name="T74" fmla="*/ 40 w 80"/>
                    <a:gd name="T7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5"/>
                      </a:moveTo>
                      <a:cubicBezTo>
                        <a:pt x="80" y="35"/>
                        <a:pt x="80" y="35"/>
                        <a:pt x="80" y="35"/>
                      </a:cubicBezTo>
                      <a:cubicBezTo>
                        <a:pt x="68" y="33"/>
                        <a:pt x="68" y="33"/>
                        <a:pt x="68" y="33"/>
                      </a:cubicBezTo>
                      <a:cubicBezTo>
                        <a:pt x="67" y="30"/>
                        <a:pt x="66" y="28"/>
                        <a:pt x="65" y="25"/>
                      </a:cubicBezTo>
                      <a:cubicBezTo>
                        <a:pt x="72" y="15"/>
                        <a:pt x="72" y="15"/>
                        <a:pt x="72" y="15"/>
                      </a:cubicBezTo>
                      <a:cubicBezTo>
                        <a:pt x="65" y="8"/>
                        <a:pt x="65" y="8"/>
                        <a:pt x="65" y="8"/>
                      </a:cubicBezTo>
                      <a:cubicBezTo>
                        <a:pt x="55" y="15"/>
                        <a:pt x="55" y="15"/>
                        <a:pt x="55" y="15"/>
                      </a:cubicBezTo>
                      <a:cubicBezTo>
                        <a:pt x="52" y="14"/>
                        <a:pt x="50" y="13"/>
                        <a:pt x="47" y="12"/>
                      </a:cubicBezTo>
                      <a:cubicBezTo>
                        <a:pt x="45" y="0"/>
                        <a:pt x="45" y="0"/>
                        <a:pt x="45" y="0"/>
                      </a:cubicBezTo>
                      <a:cubicBezTo>
                        <a:pt x="35" y="0"/>
                        <a:pt x="35" y="0"/>
                        <a:pt x="35" y="0"/>
                      </a:cubicBezTo>
                      <a:cubicBezTo>
                        <a:pt x="33" y="12"/>
                        <a:pt x="33" y="12"/>
                        <a:pt x="33" y="12"/>
                      </a:cubicBezTo>
                      <a:cubicBezTo>
                        <a:pt x="30" y="13"/>
                        <a:pt x="28" y="14"/>
                        <a:pt x="25" y="15"/>
                      </a:cubicBezTo>
                      <a:cubicBezTo>
                        <a:pt x="15" y="8"/>
                        <a:pt x="15" y="8"/>
                        <a:pt x="15" y="8"/>
                      </a:cubicBezTo>
                      <a:cubicBezTo>
                        <a:pt x="8" y="15"/>
                        <a:pt x="8" y="15"/>
                        <a:pt x="8" y="15"/>
                      </a:cubicBezTo>
                      <a:cubicBezTo>
                        <a:pt x="15" y="25"/>
                        <a:pt x="15" y="25"/>
                        <a:pt x="15" y="25"/>
                      </a:cubicBezTo>
                      <a:cubicBezTo>
                        <a:pt x="14" y="28"/>
                        <a:pt x="13" y="30"/>
                        <a:pt x="12" y="33"/>
                      </a:cubicBezTo>
                      <a:cubicBezTo>
                        <a:pt x="0" y="35"/>
                        <a:pt x="0" y="35"/>
                        <a:pt x="0" y="35"/>
                      </a:cubicBezTo>
                      <a:cubicBezTo>
                        <a:pt x="0" y="45"/>
                        <a:pt x="0" y="45"/>
                        <a:pt x="0" y="45"/>
                      </a:cubicBezTo>
                      <a:cubicBezTo>
                        <a:pt x="12" y="47"/>
                        <a:pt x="12" y="47"/>
                        <a:pt x="12" y="47"/>
                      </a:cubicBezTo>
                      <a:cubicBezTo>
                        <a:pt x="13" y="50"/>
                        <a:pt x="14" y="52"/>
                        <a:pt x="15" y="55"/>
                      </a:cubicBezTo>
                      <a:cubicBezTo>
                        <a:pt x="8" y="65"/>
                        <a:pt x="8" y="65"/>
                        <a:pt x="8" y="65"/>
                      </a:cubicBezTo>
                      <a:cubicBezTo>
                        <a:pt x="15" y="72"/>
                        <a:pt x="15" y="72"/>
                        <a:pt x="15" y="72"/>
                      </a:cubicBezTo>
                      <a:cubicBezTo>
                        <a:pt x="25" y="65"/>
                        <a:pt x="25" y="65"/>
                        <a:pt x="25" y="65"/>
                      </a:cubicBezTo>
                      <a:cubicBezTo>
                        <a:pt x="28" y="66"/>
                        <a:pt x="30" y="67"/>
                        <a:pt x="33" y="68"/>
                      </a:cubicBezTo>
                      <a:cubicBezTo>
                        <a:pt x="35" y="80"/>
                        <a:pt x="35" y="80"/>
                        <a:pt x="35" y="80"/>
                      </a:cubicBezTo>
                      <a:cubicBezTo>
                        <a:pt x="45" y="80"/>
                        <a:pt x="45" y="80"/>
                        <a:pt x="45" y="80"/>
                      </a:cubicBezTo>
                      <a:cubicBezTo>
                        <a:pt x="47" y="68"/>
                        <a:pt x="47" y="68"/>
                        <a:pt x="47" y="68"/>
                      </a:cubicBezTo>
                      <a:cubicBezTo>
                        <a:pt x="50" y="67"/>
                        <a:pt x="52" y="66"/>
                        <a:pt x="55" y="65"/>
                      </a:cubicBezTo>
                      <a:cubicBezTo>
                        <a:pt x="65" y="72"/>
                        <a:pt x="65" y="72"/>
                        <a:pt x="65" y="72"/>
                      </a:cubicBezTo>
                      <a:cubicBezTo>
                        <a:pt x="72" y="65"/>
                        <a:pt x="72" y="65"/>
                        <a:pt x="72" y="65"/>
                      </a:cubicBezTo>
                      <a:cubicBezTo>
                        <a:pt x="65" y="55"/>
                        <a:pt x="65" y="55"/>
                        <a:pt x="65" y="55"/>
                      </a:cubicBezTo>
                      <a:cubicBezTo>
                        <a:pt x="66" y="52"/>
                        <a:pt x="67" y="50"/>
                        <a:pt x="68" y="47"/>
                      </a:cubicBezTo>
                      <a:lnTo>
                        <a:pt x="80" y="45"/>
                      </a:lnTo>
                      <a:close/>
                      <a:moveTo>
                        <a:pt x="40" y="54"/>
                      </a:moveTo>
                      <a:cubicBezTo>
                        <a:pt x="32" y="54"/>
                        <a:pt x="26" y="48"/>
                        <a:pt x="26" y="40"/>
                      </a:cubicBezTo>
                      <a:cubicBezTo>
                        <a:pt x="26" y="32"/>
                        <a:pt x="32" y="26"/>
                        <a:pt x="40" y="26"/>
                      </a:cubicBezTo>
                      <a:cubicBezTo>
                        <a:pt x="48" y="26"/>
                        <a:pt x="54" y="32"/>
                        <a:pt x="54" y="40"/>
                      </a:cubicBezTo>
                      <a:cubicBezTo>
                        <a:pt x="54" y="48"/>
                        <a:pt x="48" y="54"/>
                        <a:pt x="40" y="5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36" name="Oval 335"/>
              <p:cNvSpPr/>
              <p:nvPr/>
            </p:nvSpPr>
            <p:spPr>
              <a:xfrm>
                <a:off x="2854809" y="4735532"/>
                <a:ext cx="153841" cy="1762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7" name="Oval 336"/>
              <p:cNvSpPr/>
              <p:nvPr/>
            </p:nvSpPr>
            <p:spPr>
              <a:xfrm>
                <a:off x="4333128" y="4840984"/>
                <a:ext cx="153841" cy="1762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8" name="Freeform 64"/>
              <p:cNvSpPr>
                <a:spLocks/>
              </p:cNvSpPr>
              <p:nvPr/>
            </p:nvSpPr>
            <p:spPr bwMode="auto">
              <a:xfrm>
                <a:off x="2879661" y="4761830"/>
                <a:ext cx="100171" cy="116623"/>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9" name="Freeform 64"/>
              <p:cNvSpPr>
                <a:spLocks/>
              </p:cNvSpPr>
              <p:nvPr/>
            </p:nvSpPr>
            <p:spPr bwMode="auto">
              <a:xfrm>
                <a:off x="4359655" y="4864531"/>
                <a:ext cx="100171" cy="116623"/>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40" name="Picture 4" descr="C:\Users\Admin\Desktop\icon-associat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10549581" y="1951988"/>
                <a:ext cx="234728" cy="243771"/>
              </a:xfrm>
              <a:prstGeom prst="rect">
                <a:avLst/>
              </a:prstGeom>
              <a:noFill/>
              <a:ln>
                <a:noFill/>
              </a:ln>
            </p:spPr>
          </p:pic>
          <p:grpSp>
            <p:nvGrpSpPr>
              <p:cNvPr id="341" name="Group 340"/>
              <p:cNvGrpSpPr/>
              <p:nvPr/>
            </p:nvGrpSpPr>
            <p:grpSpPr>
              <a:xfrm>
                <a:off x="9028158" y="3108580"/>
                <a:ext cx="265057" cy="290001"/>
                <a:chOff x="5382885" y="3531712"/>
                <a:chExt cx="813925" cy="777763"/>
              </a:xfrm>
              <a:solidFill>
                <a:srgbClr val="D96219"/>
              </a:solidFill>
            </p:grpSpPr>
            <p:sp>
              <p:nvSpPr>
                <p:cNvPr id="342" name="Freeform 64"/>
                <p:cNvSpPr>
                  <a:spLocks/>
                </p:cNvSpPr>
                <p:nvPr/>
              </p:nvSpPr>
              <p:spPr bwMode="auto">
                <a:xfrm>
                  <a:off x="5615471" y="3777456"/>
                  <a:ext cx="282253" cy="336544"/>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3" name="Freeform 8"/>
                <p:cNvSpPr>
                  <a:spLocks noEditPoints="1"/>
                </p:cNvSpPr>
                <p:nvPr/>
              </p:nvSpPr>
              <p:spPr bwMode="auto">
                <a:xfrm>
                  <a:off x="5382885" y="3531712"/>
                  <a:ext cx="813925" cy="777763"/>
                </a:xfrm>
                <a:custGeom>
                  <a:avLst/>
                  <a:gdLst>
                    <a:gd name="T0" fmla="*/ 80 w 80"/>
                    <a:gd name="T1" fmla="*/ 45 h 80"/>
                    <a:gd name="T2" fmla="*/ 80 w 80"/>
                    <a:gd name="T3" fmla="*/ 35 h 80"/>
                    <a:gd name="T4" fmla="*/ 68 w 80"/>
                    <a:gd name="T5" fmla="*/ 33 h 80"/>
                    <a:gd name="T6" fmla="*/ 65 w 80"/>
                    <a:gd name="T7" fmla="*/ 25 h 80"/>
                    <a:gd name="T8" fmla="*/ 72 w 80"/>
                    <a:gd name="T9" fmla="*/ 15 h 80"/>
                    <a:gd name="T10" fmla="*/ 65 w 80"/>
                    <a:gd name="T11" fmla="*/ 8 h 80"/>
                    <a:gd name="T12" fmla="*/ 55 w 80"/>
                    <a:gd name="T13" fmla="*/ 15 h 80"/>
                    <a:gd name="T14" fmla="*/ 47 w 80"/>
                    <a:gd name="T15" fmla="*/ 12 h 80"/>
                    <a:gd name="T16" fmla="*/ 45 w 80"/>
                    <a:gd name="T17" fmla="*/ 0 h 80"/>
                    <a:gd name="T18" fmla="*/ 35 w 80"/>
                    <a:gd name="T19" fmla="*/ 0 h 80"/>
                    <a:gd name="T20" fmla="*/ 33 w 80"/>
                    <a:gd name="T21" fmla="*/ 12 h 80"/>
                    <a:gd name="T22" fmla="*/ 25 w 80"/>
                    <a:gd name="T23" fmla="*/ 15 h 80"/>
                    <a:gd name="T24" fmla="*/ 15 w 80"/>
                    <a:gd name="T25" fmla="*/ 8 h 80"/>
                    <a:gd name="T26" fmla="*/ 8 w 80"/>
                    <a:gd name="T27" fmla="*/ 15 h 80"/>
                    <a:gd name="T28" fmla="*/ 15 w 80"/>
                    <a:gd name="T29" fmla="*/ 25 h 80"/>
                    <a:gd name="T30" fmla="*/ 12 w 80"/>
                    <a:gd name="T31" fmla="*/ 33 h 80"/>
                    <a:gd name="T32" fmla="*/ 0 w 80"/>
                    <a:gd name="T33" fmla="*/ 35 h 80"/>
                    <a:gd name="T34" fmla="*/ 0 w 80"/>
                    <a:gd name="T35" fmla="*/ 45 h 80"/>
                    <a:gd name="T36" fmla="*/ 12 w 80"/>
                    <a:gd name="T37" fmla="*/ 47 h 80"/>
                    <a:gd name="T38" fmla="*/ 15 w 80"/>
                    <a:gd name="T39" fmla="*/ 55 h 80"/>
                    <a:gd name="T40" fmla="*/ 8 w 80"/>
                    <a:gd name="T41" fmla="*/ 65 h 80"/>
                    <a:gd name="T42" fmla="*/ 15 w 80"/>
                    <a:gd name="T43" fmla="*/ 72 h 80"/>
                    <a:gd name="T44" fmla="*/ 25 w 80"/>
                    <a:gd name="T45" fmla="*/ 65 h 80"/>
                    <a:gd name="T46" fmla="*/ 33 w 80"/>
                    <a:gd name="T47" fmla="*/ 68 h 80"/>
                    <a:gd name="T48" fmla="*/ 35 w 80"/>
                    <a:gd name="T49" fmla="*/ 80 h 80"/>
                    <a:gd name="T50" fmla="*/ 45 w 80"/>
                    <a:gd name="T51" fmla="*/ 80 h 80"/>
                    <a:gd name="T52" fmla="*/ 47 w 80"/>
                    <a:gd name="T53" fmla="*/ 68 h 80"/>
                    <a:gd name="T54" fmla="*/ 55 w 80"/>
                    <a:gd name="T55" fmla="*/ 65 h 80"/>
                    <a:gd name="T56" fmla="*/ 65 w 80"/>
                    <a:gd name="T57" fmla="*/ 72 h 80"/>
                    <a:gd name="T58" fmla="*/ 72 w 80"/>
                    <a:gd name="T59" fmla="*/ 65 h 80"/>
                    <a:gd name="T60" fmla="*/ 65 w 80"/>
                    <a:gd name="T61" fmla="*/ 55 h 80"/>
                    <a:gd name="T62" fmla="*/ 68 w 80"/>
                    <a:gd name="T63" fmla="*/ 47 h 80"/>
                    <a:gd name="T64" fmla="*/ 80 w 80"/>
                    <a:gd name="T65" fmla="*/ 45 h 80"/>
                    <a:gd name="T66" fmla="*/ 40 w 80"/>
                    <a:gd name="T67" fmla="*/ 54 h 80"/>
                    <a:gd name="T68" fmla="*/ 26 w 80"/>
                    <a:gd name="T69" fmla="*/ 40 h 80"/>
                    <a:gd name="T70" fmla="*/ 40 w 80"/>
                    <a:gd name="T71" fmla="*/ 26 h 80"/>
                    <a:gd name="T72" fmla="*/ 54 w 80"/>
                    <a:gd name="T73" fmla="*/ 40 h 80"/>
                    <a:gd name="T74" fmla="*/ 40 w 80"/>
                    <a:gd name="T7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5"/>
                      </a:moveTo>
                      <a:cubicBezTo>
                        <a:pt x="80" y="35"/>
                        <a:pt x="80" y="35"/>
                        <a:pt x="80" y="35"/>
                      </a:cubicBezTo>
                      <a:cubicBezTo>
                        <a:pt x="68" y="33"/>
                        <a:pt x="68" y="33"/>
                        <a:pt x="68" y="33"/>
                      </a:cubicBezTo>
                      <a:cubicBezTo>
                        <a:pt x="67" y="30"/>
                        <a:pt x="66" y="28"/>
                        <a:pt x="65" y="25"/>
                      </a:cubicBezTo>
                      <a:cubicBezTo>
                        <a:pt x="72" y="15"/>
                        <a:pt x="72" y="15"/>
                        <a:pt x="72" y="15"/>
                      </a:cubicBezTo>
                      <a:cubicBezTo>
                        <a:pt x="65" y="8"/>
                        <a:pt x="65" y="8"/>
                        <a:pt x="65" y="8"/>
                      </a:cubicBezTo>
                      <a:cubicBezTo>
                        <a:pt x="55" y="15"/>
                        <a:pt x="55" y="15"/>
                        <a:pt x="55" y="15"/>
                      </a:cubicBezTo>
                      <a:cubicBezTo>
                        <a:pt x="52" y="14"/>
                        <a:pt x="50" y="13"/>
                        <a:pt x="47" y="12"/>
                      </a:cubicBezTo>
                      <a:cubicBezTo>
                        <a:pt x="45" y="0"/>
                        <a:pt x="45" y="0"/>
                        <a:pt x="45" y="0"/>
                      </a:cubicBezTo>
                      <a:cubicBezTo>
                        <a:pt x="35" y="0"/>
                        <a:pt x="35" y="0"/>
                        <a:pt x="35" y="0"/>
                      </a:cubicBezTo>
                      <a:cubicBezTo>
                        <a:pt x="33" y="12"/>
                        <a:pt x="33" y="12"/>
                        <a:pt x="33" y="12"/>
                      </a:cubicBezTo>
                      <a:cubicBezTo>
                        <a:pt x="30" y="13"/>
                        <a:pt x="28" y="14"/>
                        <a:pt x="25" y="15"/>
                      </a:cubicBezTo>
                      <a:cubicBezTo>
                        <a:pt x="15" y="8"/>
                        <a:pt x="15" y="8"/>
                        <a:pt x="15" y="8"/>
                      </a:cubicBezTo>
                      <a:cubicBezTo>
                        <a:pt x="8" y="15"/>
                        <a:pt x="8" y="15"/>
                        <a:pt x="8" y="15"/>
                      </a:cubicBezTo>
                      <a:cubicBezTo>
                        <a:pt x="15" y="25"/>
                        <a:pt x="15" y="25"/>
                        <a:pt x="15" y="25"/>
                      </a:cubicBezTo>
                      <a:cubicBezTo>
                        <a:pt x="14" y="28"/>
                        <a:pt x="13" y="30"/>
                        <a:pt x="12" y="33"/>
                      </a:cubicBezTo>
                      <a:cubicBezTo>
                        <a:pt x="0" y="35"/>
                        <a:pt x="0" y="35"/>
                        <a:pt x="0" y="35"/>
                      </a:cubicBezTo>
                      <a:cubicBezTo>
                        <a:pt x="0" y="45"/>
                        <a:pt x="0" y="45"/>
                        <a:pt x="0" y="45"/>
                      </a:cubicBezTo>
                      <a:cubicBezTo>
                        <a:pt x="12" y="47"/>
                        <a:pt x="12" y="47"/>
                        <a:pt x="12" y="47"/>
                      </a:cubicBezTo>
                      <a:cubicBezTo>
                        <a:pt x="13" y="50"/>
                        <a:pt x="14" y="52"/>
                        <a:pt x="15" y="55"/>
                      </a:cubicBezTo>
                      <a:cubicBezTo>
                        <a:pt x="8" y="65"/>
                        <a:pt x="8" y="65"/>
                        <a:pt x="8" y="65"/>
                      </a:cubicBezTo>
                      <a:cubicBezTo>
                        <a:pt x="15" y="72"/>
                        <a:pt x="15" y="72"/>
                        <a:pt x="15" y="72"/>
                      </a:cubicBezTo>
                      <a:cubicBezTo>
                        <a:pt x="25" y="65"/>
                        <a:pt x="25" y="65"/>
                        <a:pt x="25" y="65"/>
                      </a:cubicBezTo>
                      <a:cubicBezTo>
                        <a:pt x="28" y="66"/>
                        <a:pt x="30" y="67"/>
                        <a:pt x="33" y="68"/>
                      </a:cubicBezTo>
                      <a:cubicBezTo>
                        <a:pt x="35" y="80"/>
                        <a:pt x="35" y="80"/>
                        <a:pt x="35" y="80"/>
                      </a:cubicBezTo>
                      <a:cubicBezTo>
                        <a:pt x="45" y="80"/>
                        <a:pt x="45" y="80"/>
                        <a:pt x="45" y="80"/>
                      </a:cubicBezTo>
                      <a:cubicBezTo>
                        <a:pt x="47" y="68"/>
                        <a:pt x="47" y="68"/>
                        <a:pt x="47" y="68"/>
                      </a:cubicBezTo>
                      <a:cubicBezTo>
                        <a:pt x="50" y="67"/>
                        <a:pt x="52" y="66"/>
                        <a:pt x="55" y="65"/>
                      </a:cubicBezTo>
                      <a:cubicBezTo>
                        <a:pt x="65" y="72"/>
                        <a:pt x="65" y="72"/>
                        <a:pt x="65" y="72"/>
                      </a:cubicBezTo>
                      <a:cubicBezTo>
                        <a:pt x="72" y="65"/>
                        <a:pt x="72" y="65"/>
                        <a:pt x="72" y="65"/>
                      </a:cubicBezTo>
                      <a:cubicBezTo>
                        <a:pt x="65" y="55"/>
                        <a:pt x="65" y="55"/>
                        <a:pt x="65" y="55"/>
                      </a:cubicBezTo>
                      <a:cubicBezTo>
                        <a:pt x="66" y="52"/>
                        <a:pt x="67" y="50"/>
                        <a:pt x="68" y="47"/>
                      </a:cubicBezTo>
                      <a:lnTo>
                        <a:pt x="80" y="45"/>
                      </a:lnTo>
                      <a:close/>
                      <a:moveTo>
                        <a:pt x="40" y="54"/>
                      </a:moveTo>
                      <a:cubicBezTo>
                        <a:pt x="32" y="54"/>
                        <a:pt x="26" y="48"/>
                        <a:pt x="26" y="40"/>
                      </a:cubicBezTo>
                      <a:cubicBezTo>
                        <a:pt x="26" y="32"/>
                        <a:pt x="32" y="26"/>
                        <a:pt x="40" y="26"/>
                      </a:cubicBezTo>
                      <a:cubicBezTo>
                        <a:pt x="48" y="26"/>
                        <a:pt x="54" y="32"/>
                        <a:pt x="54" y="40"/>
                      </a:cubicBezTo>
                      <a:cubicBezTo>
                        <a:pt x="54" y="48"/>
                        <a:pt x="48" y="54"/>
                        <a:pt x="40" y="5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44" name="Oval 343"/>
              <p:cNvSpPr/>
              <p:nvPr/>
            </p:nvSpPr>
            <p:spPr>
              <a:xfrm>
                <a:off x="9083344" y="3163352"/>
                <a:ext cx="153841" cy="1762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5" name="Freeform 64"/>
              <p:cNvSpPr>
                <a:spLocks/>
              </p:cNvSpPr>
              <p:nvPr/>
            </p:nvSpPr>
            <p:spPr bwMode="auto">
              <a:xfrm>
                <a:off x="9109873" y="3186902"/>
                <a:ext cx="100171" cy="116623"/>
              </a:xfrm>
              <a:custGeom>
                <a:avLst/>
                <a:gdLst>
                  <a:gd name="T0" fmla="*/ 0 w 84"/>
                  <a:gd name="T1" fmla="*/ 96 h 107"/>
                  <a:gd name="T2" fmla="*/ 0 w 84"/>
                  <a:gd name="T3" fmla="*/ 89 h 107"/>
                  <a:gd name="T4" fmla="*/ 28 w 84"/>
                  <a:gd name="T5" fmla="*/ 70 h 107"/>
                  <a:gd name="T6" fmla="*/ 31 w 84"/>
                  <a:gd name="T7" fmla="*/ 63 h 107"/>
                  <a:gd name="T8" fmla="*/ 26 w 84"/>
                  <a:gd name="T9" fmla="*/ 52 h 107"/>
                  <a:gd name="T10" fmla="*/ 23 w 84"/>
                  <a:gd name="T11" fmla="*/ 50 h 107"/>
                  <a:gd name="T12" fmla="*/ 20 w 84"/>
                  <a:gd name="T13" fmla="*/ 39 h 107"/>
                  <a:gd name="T14" fmla="*/ 22 w 84"/>
                  <a:gd name="T15" fmla="*/ 36 h 107"/>
                  <a:gd name="T16" fmla="*/ 24 w 84"/>
                  <a:gd name="T17" fmla="*/ 13 h 107"/>
                  <a:gd name="T18" fmla="*/ 50 w 84"/>
                  <a:gd name="T19" fmla="*/ 9 h 107"/>
                  <a:gd name="T20" fmla="*/ 63 w 84"/>
                  <a:gd name="T21" fmla="*/ 36 h 107"/>
                  <a:gd name="T22" fmla="*/ 64 w 84"/>
                  <a:gd name="T23" fmla="*/ 42 h 107"/>
                  <a:gd name="T24" fmla="*/ 58 w 84"/>
                  <a:gd name="T25" fmla="*/ 52 h 107"/>
                  <a:gd name="T26" fmla="*/ 53 w 84"/>
                  <a:gd name="T27" fmla="*/ 63 h 107"/>
                  <a:gd name="T28" fmla="*/ 56 w 84"/>
                  <a:gd name="T29" fmla="*/ 70 h 107"/>
                  <a:gd name="T30" fmla="*/ 84 w 84"/>
                  <a:gd name="T31" fmla="*/ 89 h 107"/>
                  <a:gd name="T32" fmla="*/ 84 w 84"/>
                  <a:gd name="T33" fmla="*/ 96 h 107"/>
                  <a:gd name="T34" fmla="*/ 42 w 84"/>
                  <a:gd name="T35" fmla="*/ 107 h 107"/>
                  <a:gd name="T36" fmla="*/ 0 w 84"/>
                  <a:gd name="T37"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07">
                    <a:moveTo>
                      <a:pt x="0" y="96"/>
                    </a:moveTo>
                    <a:cubicBezTo>
                      <a:pt x="0" y="96"/>
                      <a:pt x="0" y="90"/>
                      <a:pt x="0" y="89"/>
                    </a:cubicBezTo>
                    <a:cubicBezTo>
                      <a:pt x="0" y="80"/>
                      <a:pt x="14" y="72"/>
                      <a:pt x="28" y="70"/>
                    </a:cubicBezTo>
                    <a:cubicBezTo>
                      <a:pt x="28" y="70"/>
                      <a:pt x="32" y="67"/>
                      <a:pt x="31" y="63"/>
                    </a:cubicBezTo>
                    <a:cubicBezTo>
                      <a:pt x="27" y="57"/>
                      <a:pt x="26" y="52"/>
                      <a:pt x="26" y="52"/>
                    </a:cubicBezTo>
                    <a:cubicBezTo>
                      <a:pt x="25" y="51"/>
                      <a:pt x="24" y="51"/>
                      <a:pt x="23" y="50"/>
                    </a:cubicBezTo>
                    <a:cubicBezTo>
                      <a:pt x="22" y="47"/>
                      <a:pt x="20" y="43"/>
                      <a:pt x="20" y="39"/>
                    </a:cubicBezTo>
                    <a:cubicBezTo>
                      <a:pt x="21" y="36"/>
                      <a:pt x="22" y="37"/>
                      <a:pt x="22" y="36"/>
                    </a:cubicBezTo>
                    <a:cubicBezTo>
                      <a:pt x="19" y="29"/>
                      <a:pt x="20" y="20"/>
                      <a:pt x="24" y="13"/>
                    </a:cubicBezTo>
                    <a:cubicBezTo>
                      <a:pt x="31" y="0"/>
                      <a:pt x="47" y="4"/>
                      <a:pt x="50" y="9"/>
                    </a:cubicBezTo>
                    <a:cubicBezTo>
                      <a:pt x="65" y="6"/>
                      <a:pt x="65" y="30"/>
                      <a:pt x="63" y="36"/>
                    </a:cubicBezTo>
                    <a:cubicBezTo>
                      <a:pt x="63" y="36"/>
                      <a:pt x="64" y="37"/>
                      <a:pt x="64" y="42"/>
                    </a:cubicBezTo>
                    <a:cubicBezTo>
                      <a:pt x="63" y="48"/>
                      <a:pt x="58" y="52"/>
                      <a:pt x="58" y="52"/>
                    </a:cubicBezTo>
                    <a:cubicBezTo>
                      <a:pt x="58" y="54"/>
                      <a:pt x="56" y="59"/>
                      <a:pt x="53" y="63"/>
                    </a:cubicBezTo>
                    <a:cubicBezTo>
                      <a:pt x="51" y="68"/>
                      <a:pt x="56" y="70"/>
                      <a:pt x="56" y="70"/>
                    </a:cubicBezTo>
                    <a:cubicBezTo>
                      <a:pt x="70" y="72"/>
                      <a:pt x="84" y="80"/>
                      <a:pt x="84" y="89"/>
                    </a:cubicBezTo>
                    <a:cubicBezTo>
                      <a:pt x="84" y="90"/>
                      <a:pt x="84" y="96"/>
                      <a:pt x="84" y="96"/>
                    </a:cubicBezTo>
                    <a:cubicBezTo>
                      <a:pt x="84" y="102"/>
                      <a:pt x="62" y="107"/>
                      <a:pt x="42" y="107"/>
                    </a:cubicBezTo>
                    <a:cubicBezTo>
                      <a:pt x="22" y="107"/>
                      <a:pt x="0" y="105"/>
                      <a:pt x="0" y="9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0800" tIns="25401" rIns="50800" bIns="2540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1" name="Rounded Rectangle 350"/>
              <p:cNvSpPr/>
              <p:nvPr/>
            </p:nvSpPr>
            <p:spPr bwMode="auto">
              <a:xfrm>
                <a:off x="9482066" y="3868775"/>
                <a:ext cx="1080607" cy="415992"/>
              </a:xfrm>
              <a:prstGeom prst="roundRect">
                <a:avLst/>
              </a:prstGeom>
              <a:solidFill>
                <a:schemeClr val="bg1">
                  <a:lumMod val="85000"/>
                </a:schemeClr>
              </a:solidFill>
              <a:ln>
                <a:no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88053" tIns="88053" rIns="88053" bIns="88053" rtlCol="0" anchor="ctr"/>
              <a:lstStyle/>
              <a:p>
                <a:pPr marL="165117" marR="0" lvl="0" indent="-165117" algn="ctr" defTabSz="880626"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067"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352" name="TextBox 351"/>
              <p:cNvSpPr txBox="1"/>
              <p:nvPr/>
            </p:nvSpPr>
            <p:spPr bwMode="auto">
              <a:xfrm>
                <a:off x="9620367" y="3934750"/>
                <a:ext cx="828571" cy="369332"/>
              </a:xfrm>
              <a:prstGeom prst="rect">
                <a:avLst/>
              </a:prstGeom>
              <a:noFill/>
              <a:ln w="9525">
                <a:noFill/>
                <a:miter lim="800000"/>
                <a:headEnd/>
                <a:tailEnd/>
              </a:ln>
            </p:spPr>
            <p:txBody>
              <a:bodyPr wrap="square" lIns="0" tIns="0" rIns="0" bIns="0" rtlCol="0">
                <a:prstTxWarp prst="textNoShape">
                  <a:avLst/>
                </a:prstTxWarp>
                <a:spAutoFit/>
              </a:bodyPr>
              <a:lstStyle/>
              <a:p>
                <a:pPr marL="0" marR="0" lvl="0" indent="0" algn="ctr" defTabSz="880626"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rPr>
                  <a:t>Update System </a:t>
                </a:r>
                <a:r>
                  <a:rPr kumimoji="0" lang="en-US" sz="800" b="1" i="0" u="none" strike="noStrike" kern="1200" cap="none" spc="0" normalizeH="0" baseline="0" noProof="0" dirty="0" smtClean="0">
                    <a:ln>
                      <a:noFill/>
                    </a:ln>
                    <a:solidFill>
                      <a:prstClr val="black"/>
                    </a:solidFill>
                    <a:effectLst/>
                    <a:uLnTx/>
                    <a:uFillTx/>
                    <a:latin typeface="Calibri" panose="020F0502020204030204"/>
                    <a:ea typeface="Roboto" pitchFamily="2" charset="0"/>
                    <a:cs typeface="Arial" panose="020B0604020202020204" pitchFamily="34" charset="0"/>
                  </a:rPr>
                  <a:t>Documentation, KM tool, SOP</a:t>
                </a:r>
                <a:endParaRPr kumimoji="0" lang="en-US" sz="800" b="1" i="0" u="none" strike="noStrike" kern="1200" cap="none" spc="0" normalizeH="0" baseline="0" noProof="0" dirty="0">
                  <a:ln>
                    <a:noFill/>
                  </a:ln>
                  <a:solidFill>
                    <a:prstClr val="black"/>
                  </a:solidFill>
                  <a:effectLst/>
                  <a:uLnTx/>
                  <a:uFillTx/>
                  <a:latin typeface="Calibri" panose="020F0502020204030204"/>
                  <a:ea typeface="Roboto" pitchFamily="2" charset="0"/>
                  <a:cs typeface="Arial" panose="020B0604020202020204" pitchFamily="34" charset="0"/>
                </a:endParaRPr>
              </a:p>
            </p:txBody>
          </p:sp>
          <p:cxnSp>
            <p:nvCxnSpPr>
              <p:cNvPr id="353" name="Straight Arrow Connector 352"/>
              <p:cNvCxnSpPr/>
              <p:nvPr/>
            </p:nvCxnSpPr>
            <p:spPr>
              <a:xfrm>
                <a:off x="10017126" y="3622675"/>
                <a:ext cx="8015" cy="233139"/>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3" name="Rectangle 312"/>
              <p:cNvSpPr/>
              <p:nvPr/>
            </p:nvSpPr>
            <p:spPr>
              <a:xfrm>
                <a:off x="9764406" y="4297600"/>
                <a:ext cx="622229" cy="271728"/>
              </a:xfrm>
              <a:prstGeom prst="rect">
                <a:avLst/>
              </a:prstGeom>
            </p:spPr>
            <p:txBody>
              <a:bodyPr wrap="square" lIns="0" tIns="0" rIns="0" bIns="0" anchor="ctr">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Confluence, Wiki, Emails</a:t>
                </a:r>
              </a:p>
            </p:txBody>
          </p:sp>
          <p:sp>
            <p:nvSpPr>
              <p:cNvPr id="363" name="Rectangle 362"/>
              <p:cNvSpPr/>
              <p:nvPr/>
            </p:nvSpPr>
            <p:spPr>
              <a:xfrm>
                <a:off x="11280812" y="1775936"/>
                <a:ext cx="855811" cy="415097"/>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Change control &amp; Approvals</a:t>
                </a:r>
              </a:p>
            </p:txBody>
          </p:sp>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7664" y="2641170"/>
                <a:ext cx="347217" cy="347217"/>
              </a:xfrm>
              <a:prstGeom prst="rect">
                <a:avLst/>
              </a:prstGeom>
            </p:spPr>
          </p:pic>
          <p:sp>
            <p:nvSpPr>
              <p:cNvPr id="365" name="Rectangle 364"/>
              <p:cNvSpPr/>
              <p:nvPr/>
            </p:nvSpPr>
            <p:spPr>
              <a:xfrm>
                <a:off x="550973" y="2973422"/>
                <a:ext cx="578623" cy="415097"/>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Estimation Template</a:t>
                </a:r>
              </a:p>
            </p:txBody>
          </p:sp>
          <p:pic>
            <p:nvPicPr>
              <p:cNvPr id="367" name="Picture 36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024184" y="3706829"/>
                <a:ext cx="347217" cy="347217"/>
              </a:xfrm>
              <a:prstGeom prst="rect">
                <a:avLst/>
              </a:prstGeom>
            </p:spPr>
          </p:pic>
          <p:sp>
            <p:nvSpPr>
              <p:cNvPr id="368" name="Rectangle 367"/>
              <p:cNvSpPr/>
              <p:nvPr/>
            </p:nvSpPr>
            <p:spPr>
              <a:xfrm>
                <a:off x="1902065" y="3383881"/>
                <a:ext cx="723091" cy="415097"/>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oding Standard  </a:t>
                </a: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Checklist</a:t>
                </a:r>
              </a:p>
            </p:txBody>
          </p:sp>
          <p:grpSp>
            <p:nvGrpSpPr>
              <p:cNvPr id="369" name="Group 368"/>
              <p:cNvGrpSpPr/>
              <p:nvPr/>
            </p:nvGrpSpPr>
            <p:grpSpPr>
              <a:xfrm>
                <a:off x="3595882" y="2747267"/>
                <a:ext cx="2339975" cy="2685095"/>
                <a:chOff x="11643278" y="4174693"/>
                <a:chExt cx="3547895" cy="3793424"/>
              </a:xfrm>
            </p:grpSpPr>
            <p:sp>
              <p:nvSpPr>
                <p:cNvPr id="370" name="Freeform 369"/>
                <p:cNvSpPr>
                  <a:spLocks noEditPoints="1"/>
                </p:cNvSpPr>
                <p:nvPr/>
              </p:nvSpPr>
              <p:spPr bwMode="auto">
                <a:xfrm rot="14718710">
                  <a:off x="12456513" y="6400764"/>
                  <a:ext cx="970121" cy="850870"/>
                </a:xfrm>
                <a:custGeom>
                  <a:avLst/>
                  <a:gdLst>
                    <a:gd name="T0" fmla="*/ 27 w 41"/>
                    <a:gd name="T1" fmla="*/ 38 h 38"/>
                    <a:gd name="T2" fmla="*/ 38 w 41"/>
                    <a:gd name="T3" fmla="*/ 32 h 38"/>
                    <a:gd name="T4" fmla="*/ 39 w 41"/>
                    <a:gd name="T5" fmla="*/ 32 h 38"/>
                    <a:gd name="T6" fmla="*/ 41 w 41"/>
                    <a:gd name="T7" fmla="*/ 0 h 38"/>
                    <a:gd name="T8" fmla="*/ 41 w 41"/>
                    <a:gd name="T9" fmla="*/ 0 h 38"/>
                    <a:gd name="T10" fmla="*/ 1 w 41"/>
                    <a:gd name="T11" fmla="*/ 19 h 38"/>
                    <a:gd name="T12" fmla="*/ 0 w 41"/>
                    <a:gd name="T13" fmla="*/ 20 h 38"/>
                    <a:gd name="T14" fmla="*/ 27 w 41"/>
                    <a:gd name="T15" fmla="*/ 38 h 38"/>
                    <a:gd name="T16" fmla="*/ 2 w 41"/>
                    <a:gd name="T17" fmla="*/ 20 h 38"/>
                    <a:gd name="T18" fmla="*/ 40 w 41"/>
                    <a:gd name="T19" fmla="*/ 2 h 38"/>
                    <a:gd name="T20" fmla="*/ 38 w 41"/>
                    <a:gd name="T21" fmla="*/ 31 h 38"/>
                    <a:gd name="T22" fmla="*/ 27 w 41"/>
                    <a:gd name="T23" fmla="*/ 37 h 38"/>
                    <a:gd name="T24" fmla="*/ 2 w 41"/>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8">
                      <a:moveTo>
                        <a:pt x="27" y="38"/>
                      </a:moveTo>
                      <a:cubicBezTo>
                        <a:pt x="30" y="35"/>
                        <a:pt x="34" y="33"/>
                        <a:pt x="38" y="32"/>
                      </a:cubicBezTo>
                      <a:cubicBezTo>
                        <a:pt x="39" y="32"/>
                        <a:pt x="39" y="32"/>
                        <a:pt x="39" y="32"/>
                      </a:cubicBezTo>
                      <a:cubicBezTo>
                        <a:pt x="41" y="0"/>
                        <a:pt x="41" y="0"/>
                        <a:pt x="41" y="0"/>
                      </a:cubicBezTo>
                      <a:cubicBezTo>
                        <a:pt x="41" y="0"/>
                        <a:pt x="41" y="0"/>
                        <a:pt x="41" y="0"/>
                      </a:cubicBezTo>
                      <a:cubicBezTo>
                        <a:pt x="25" y="0"/>
                        <a:pt x="11" y="7"/>
                        <a:pt x="1" y="19"/>
                      </a:cubicBezTo>
                      <a:cubicBezTo>
                        <a:pt x="0" y="20"/>
                        <a:pt x="0" y="20"/>
                        <a:pt x="0" y="20"/>
                      </a:cubicBezTo>
                      <a:cubicBezTo>
                        <a:pt x="27" y="38"/>
                        <a:pt x="27" y="38"/>
                        <a:pt x="27" y="38"/>
                      </a:cubicBezTo>
                      <a:close/>
                      <a:moveTo>
                        <a:pt x="2" y="20"/>
                      </a:moveTo>
                      <a:cubicBezTo>
                        <a:pt x="12" y="8"/>
                        <a:pt x="26" y="2"/>
                        <a:pt x="40" y="2"/>
                      </a:cubicBezTo>
                      <a:cubicBezTo>
                        <a:pt x="38" y="31"/>
                        <a:pt x="38" y="31"/>
                        <a:pt x="38" y="31"/>
                      </a:cubicBezTo>
                      <a:cubicBezTo>
                        <a:pt x="34" y="32"/>
                        <a:pt x="30" y="34"/>
                        <a:pt x="27" y="37"/>
                      </a:cubicBezTo>
                      <a:lnTo>
                        <a:pt x="2" y="2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370"/>
                <p:cNvSpPr>
                  <a:spLocks noEditPoints="1"/>
                </p:cNvSpPr>
                <p:nvPr/>
              </p:nvSpPr>
              <p:spPr bwMode="auto">
                <a:xfrm rot="14718710">
                  <a:off x="13406609" y="4893055"/>
                  <a:ext cx="974268" cy="850870"/>
                </a:xfrm>
                <a:custGeom>
                  <a:avLst/>
                  <a:gdLst>
                    <a:gd name="T0" fmla="*/ 14 w 41"/>
                    <a:gd name="T1" fmla="*/ 1 h 38"/>
                    <a:gd name="T2" fmla="*/ 3 w 41"/>
                    <a:gd name="T3" fmla="*/ 6 h 38"/>
                    <a:gd name="T4" fmla="*/ 2 w 41"/>
                    <a:gd name="T5" fmla="*/ 6 h 38"/>
                    <a:gd name="T6" fmla="*/ 0 w 41"/>
                    <a:gd name="T7" fmla="*/ 38 h 38"/>
                    <a:gd name="T8" fmla="*/ 0 w 41"/>
                    <a:gd name="T9" fmla="*/ 38 h 38"/>
                    <a:gd name="T10" fmla="*/ 40 w 41"/>
                    <a:gd name="T11" fmla="*/ 19 h 38"/>
                    <a:gd name="T12" fmla="*/ 41 w 41"/>
                    <a:gd name="T13" fmla="*/ 19 h 38"/>
                    <a:gd name="T14" fmla="*/ 14 w 41"/>
                    <a:gd name="T15" fmla="*/ 0 h 38"/>
                    <a:gd name="T16" fmla="*/ 14 w 41"/>
                    <a:gd name="T17" fmla="*/ 1 h 38"/>
                    <a:gd name="T18" fmla="*/ 39 w 41"/>
                    <a:gd name="T19" fmla="*/ 19 h 38"/>
                    <a:gd name="T20" fmla="*/ 1 w 41"/>
                    <a:gd name="T21" fmla="*/ 37 h 38"/>
                    <a:gd name="T22" fmla="*/ 3 w 41"/>
                    <a:gd name="T23" fmla="*/ 7 h 38"/>
                    <a:gd name="T24" fmla="*/ 14 w 41"/>
                    <a:gd name="T25" fmla="*/ 2 h 38"/>
                    <a:gd name="T26" fmla="*/ 39 w 41"/>
                    <a:gd name="T2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14" y="1"/>
                      </a:moveTo>
                      <a:cubicBezTo>
                        <a:pt x="11" y="4"/>
                        <a:pt x="7" y="5"/>
                        <a:pt x="3" y="6"/>
                      </a:cubicBezTo>
                      <a:cubicBezTo>
                        <a:pt x="2" y="6"/>
                        <a:pt x="2" y="6"/>
                        <a:pt x="2" y="6"/>
                      </a:cubicBezTo>
                      <a:cubicBezTo>
                        <a:pt x="0" y="38"/>
                        <a:pt x="0" y="38"/>
                        <a:pt x="0" y="38"/>
                      </a:cubicBezTo>
                      <a:cubicBezTo>
                        <a:pt x="0" y="38"/>
                        <a:pt x="0" y="38"/>
                        <a:pt x="0" y="38"/>
                      </a:cubicBezTo>
                      <a:cubicBezTo>
                        <a:pt x="16" y="38"/>
                        <a:pt x="30" y="31"/>
                        <a:pt x="40" y="19"/>
                      </a:cubicBezTo>
                      <a:cubicBezTo>
                        <a:pt x="41" y="19"/>
                        <a:pt x="41" y="19"/>
                        <a:pt x="41" y="19"/>
                      </a:cubicBezTo>
                      <a:cubicBezTo>
                        <a:pt x="14" y="0"/>
                        <a:pt x="14" y="0"/>
                        <a:pt x="14" y="0"/>
                      </a:cubicBezTo>
                      <a:lnTo>
                        <a:pt x="14" y="1"/>
                      </a:lnTo>
                      <a:close/>
                      <a:moveTo>
                        <a:pt x="39" y="19"/>
                      </a:moveTo>
                      <a:cubicBezTo>
                        <a:pt x="29" y="30"/>
                        <a:pt x="15" y="37"/>
                        <a:pt x="1" y="37"/>
                      </a:cubicBezTo>
                      <a:cubicBezTo>
                        <a:pt x="3" y="7"/>
                        <a:pt x="3" y="7"/>
                        <a:pt x="3" y="7"/>
                      </a:cubicBezTo>
                      <a:cubicBezTo>
                        <a:pt x="7" y="6"/>
                        <a:pt x="11" y="5"/>
                        <a:pt x="14" y="2"/>
                      </a:cubicBezTo>
                      <a:lnTo>
                        <a:pt x="39"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371"/>
                <p:cNvSpPr>
                  <a:spLocks noEditPoints="1"/>
                </p:cNvSpPr>
                <p:nvPr/>
              </p:nvSpPr>
              <p:spPr bwMode="auto">
                <a:xfrm rot="14718710">
                  <a:off x="11520514" y="4297457"/>
                  <a:ext cx="3793424" cy="3547895"/>
                </a:xfrm>
                <a:custGeom>
                  <a:avLst/>
                  <a:gdLst>
                    <a:gd name="T0" fmla="*/ 154 w 160"/>
                    <a:gd name="T1" fmla="*/ 67 h 159"/>
                    <a:gd name="T2" fmla="*/ 151 w 160"/>
                    <a:gd name="T3" fmla="*/ 43 h 159"/>
                    <a:gd name="T4" fmla="*/ 137 w 160"/>
                    <a:gd name="T5" fmla="*/ 30 h 159"/>
                    <a:gd name="T6" fmla="*/ 119 w 160"/>
                    <a:gd name="T7" fmla="*/ 30 h 159"/>
                    <a:gd name="T8" fmla="*/ 110 w 160"/>
                    <a:gd name="T9" fmla="*/ 6 h 159"/>
                    <a:gd name="T10" fmla="*/ 89 w 160"/>
                    <a:gd name="T11" fmla="*/ 1 h 159"/>
                    <a:gd name="T12" fmla="*/ 71 w 160"/>
                    <a:gd name="T13" fmla="*/ 17 h 159"/>
                    <a:gd name="T14" fmla="*/ 54 w 160"/>
                    <a:gd name="T15" fmla="*/ 9 h 159"/>
                    <a:gd name="T16" fmla="*/ 36 w 160"/>
                    <a:gd name="T17" fmla="*/ 13 h 159"/>
                    <a:gd name="T18" fmla="*/ 22 w 160"/>
                    <a:gd name="T19" fmla="*/ 32 h 159"/>
                    <a:gd name="T20" fmla="*/ 25 w 160"/>
                    <a:gd name="T21" fmla="*/ 50 h 159"/>
                    <a:gd name="T22" fmla="*/ 2 w 160"/>
                    <a:gd name="T23" fmla="*/ 62 h 159"/>
                    <a:gd name="T24" fmla="*/ 4 w 160"/>
                    <a:gd name="T25" fmla="*/ 81 h 159"/>
                    <a:gd name="T26" fmla="*/ 20 w 160"/>
                    <a:gd name="T27" fmla="*/ 100 h 159"/>
                    <a:gd name="T28" fmla="*/ 14 w 160"/>
                    <a:gd name="T29" fmla="*/ 117 h 159"/>
                    <a:gd name="T30" fmla="*/ 26 w 160"/>
                    <a:gd name="T31" fmla="*/ 138 h 159"/>
                    <a:gd name="T32" fmla="*/ 43 w 160"/>
                    <a:gd name="T33" fmla="*/ 146 h 159"/>
                    <a:gd name="T34" fmla="*/ 60 w 160"/>
                    <a:gd name="T35" fmla="*/ 139 h 159"/>
                    <a:gd name="T36" fmla="*/ 76 w 160"/>
                    <a:gd name="T37" fmla="*/ 159 h 159"/>
                    <a:gd name="T38" fmla="*/ 98 w 160"/>
                    <a:gd name="T39" fmla="*/ 157 h 159"/>
                    <a:gd name="T40" fmla="*/ 110 w 160"/>
                    <a:gd name="T41" fmla="*/ 135 h 159"/>
                    <a:gd name="T42" fmla="*/ 128 w 160"/>
                    <a:gd name="T43" fmla="*/ 138 h 159"/>
                    <a:gd name="T44" fmla="*/ 144 w 160"/>
                    <a:gd name="T45" fmla="*/ 127 h 159"/>
                    <a:gd name="T46" fmla="*/ 151 w 160"/>
                    <a:gd name="T47" fmla="*/ 105 h 159"/>
                    <a:gd name="T48" fmla="*/ 142 w 160"/>
                    <a:gd name="T49" fmla="*/ 89 h 159"/>
                    <a:gd name="T50" fmla="*/ 142 w 160"/>
                    <a:gd name="T51" fmla="*/ 85 h 159"/>
                    <a:gd name="T52" fmla="*/ 155 w 160"/>
                    <a:gd name="T53" fmla="*/ 102 h 159"/>
                    <a:gd name="T54" fmla="*/ 134 w 160"/>
                    <a:gd name="T55" fmla="*/ 109 h 159"/>
                    <a:gd name="T56" fmla="*/ 141 w 160"/>
                    <a:gd name="T57" fmla="*/ 127 h 159"/>
                    <a:gd name="T58" fmla="*/ 120 w 160"/>
                    <a:gd name="T59" fmla="*/ 126 h 159"/>
                    <a:gd name="T60" fmla="*/ 119 w 160"/>
                    <a:gd name="T61" fmla="*/ 144 h 159"/>
                    <a:gd name="T62" fmla="*/ 104 w 160"/>
                    <a:gd name="T63" fmla="*/ 151 h 159"/>
                    <a:gd name="T64" fmla="*/ 90 w 160"/>
                    <a:gd name="T65" fmla="*/ 141 h 159"/>
                    <a:gd name="T66" fmla="*/ 76 w 160"/>
                    <a:gd name="T67" fmla="*/ 158 h 159"/>
                    <a:gd name="T68" fmla="*/ 60 w 160"/>
                    <a:gd name="T69" fmla="*/ 138 h 159"/>
                    <a:gd name="T70" fmla="*/ 45 w 160"/>
                    <a:gd name="T71" fmla="*/ 150 h 159"/>
                    <a:gd name="T72" fmla="*/ 41 w 160"/>
                    <a:gd name="T73" fmla="*/ 128 h 159"/>
                    <a:gd name="T74" fmla="*/ 24 w 160"/>
                    <a:gd name="T75" fmla="*/ 130 h 159"/>
                    <a:gd name="T76" fmla="*/ 14 w 160"/>
                    <a:gd name="T77" fmla="*/ 116 h 159"/>
                    <a:gd name="T78" fmla="*/ 22 w 160"/>
                    <a:gd name="T79" fmla="*/ 100 h 159"/>
                    <a:gd name="T80" fmla="*/ 2 w 160"/>
                    <a:gd name="T81" fmla="*/ 89 h 159"/>
                    <a:gd name="T82" fmla="*/ 18 w 160"/>
                    <a:gd name="T83" fmla="*/ 75 h 159"/>
                    <a:gd name="T84" fmla="*/ 5 w 160"/>
                    <a:gd name="T85" fmla="*/ 57 h 159"/>
                    <a:gd name="T86" fmla="*/ 26 w 160"/>
                    <a:gd name="T87" fmla="*/ 50 h 159"/>
                    <a:gd name="T88" fmla="*/ 19 w 160"/>
                    <a:gd name="T89" fmla="*/ 32 h 159"/>
                    <a:gd name="T90" fmla="*/ 40 w 160"/>
                    <a:gd name="T91" fmla="*/ 33 h 159"/>
                    <a:gd name="T92" fmla="*/ 41 w 160"/>
                    <a:gd name="T93" fmla="*/ 16 h 159"/>
                    <a:gd name="T94" fmla="*/ 56 w 160"/>
                    <a:gd name="T95" fmla="*/ 8 h 159"/>
                    <a:gd name="T96" fmla="*/ 70 w 160"/>
                    <a:gd name="T97" fmla="*/ 19 h 159"/>
                    <a:gd name="T98" fmla="*/ 84 w 160"/>
                    <a:gd name="T99" fmla="*/ 1 h 159"/>
                    <a:gd name="T100" fmla="*/ 100 w 160"/>
                    <a:gd name="T101" fmla="*/ 21 h 159"/>
                    <a:gd name="T102" fmla="*/ 115 w 160"/>
                    <a:gd name="T103" fmla="*/ 10 h 159"/>
                    <a:gd name="T104" fmla="*/ 119 w 160"/>
                    <a:gd name="T105" fmla="*/ 32 h 159"/>
                    <a:gd name="T106" fmla="*/ 136 w 160"/>
                    <a:gd name="T107" fmla="*/ 30 h 159"/>
                    <a:gd name="T108" fmla="*/ 146 w 160"/>
                    <a:gd name="T109" fmla="*/ 43 h 159"/>
                    <a:gd name="T110" fmla="*/ 138 w 160"/>
                    <a:gd name="T111" fmla="*/ 59 h 159"/>
                    <a:gd name="T112" fmla="*/ 158 w 160"/>
                    <a:gd name="T113"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143" y="81"/>
                      </a:moveTo>
                      <a:cubicBezTo>
                        <a:pt x="156" y="79"/>
                        <a:pt x="156" y="79"/>
                        <a:pt x="156" y="79"/>
                      </a:cubicBezTo>
                      <a:cubicBezTo>
                        <a:pt x="158" y="78"/>
                        <a:pt x="160" y="77"/>
                        <a:pt x="159" y="75"/>
                      </a:cubicBezTo>
                      <a:cubicBezTo>
                        <a:pt x="159" y="70"/>
                        <a:pt x="159" y="70"/>
                        <a:pt x="159" y="70"/>
                      </a:cubicBezTo>
                      <a:cubicBezTo>
                        <a:pt x="159" y="68"/>
                        <a:pt x="157" y="67"/>
                        <a:pt x="154" y="67"/>
                      </a:cubicBezTo>
                      <a:cubicBezTo>
                        <a:pt x="142" y="67"/>
                        <a:pt x="142" y="67"/>
                        <a:pt x="142" y="67"/>
                      </a:cubicBezTo>
                      <a:cubicBezTo>
                        <a:pt x="141" y="64"/>
                        <a:pt x="140" y="62"/>
                        <a:pt x="140" y="60"/>
                      </a:cubicBezTo>
                      <a:cubicBezTo>
                        <a:pt x="151" y="53"/>
                        <a:pt x="151" y="53"/>
                        <a:pt x="151" y="53"/>
                      </a:cubicBezTo>
                      <a:cubicBezTo>
                        <a:pt x="153" y="52"/>
                        <a:pt x="154" y="50"/>
                        <a:pt x="153" y="48"/>
                      </a:cubicBezTo>
                      <a:cubicBezTo>
                        <a:pt x="151" y="43"/>
                        <a:pt x="151" y="43"/>
                        <a:pt x="151" y="43"/>
                      </a:cubicBezTo>
                      <a:cubicBezTo>
                        <a:pt x="150" y="42"/>
                        <a:pt x="149" y="42"/>
                        <a:pt x="148" y="42"/>
                      </a:cubicBezTo>
                      <a:cubicBezTo>
                        <a:pt x="147" y="42"/>
                        <a:pt x="146" y="42"/>
                        <a:pt x="146" y="42"/>
                      </a:cubicBezTo>
                      <a:cubicBezTo>
                        <a:pt x="133" y="46"/>
                        <a:pt x="133" y="46"/>
                        <a:pt x="133" y="46"/>
                      </a:cubicBezTo>
                      <a:cubicBezTo>
                        <a:pt x="132" y="44"/>
                        <a:pt x="131" y="42"/>
                        <a:pt x="129" y="40"/>
                      </a:cubicBezTo>
                      <a:cubicBezTo>
                        <a:pt x="137" y="30"/>
                        <a:pt x="137" y="30"/>
                        <a:pt x="137" y="30"/>
                      </a:cubicBezTo>
                      <a:cubicBezTo>
                        <a:pt x="139" y="29"/>
                        <a:pt x="139" y="26"/>
                        <a:pt x="138" y="25"/>
                      </a:cubicBezTo>
                      <a:cubicBezTo>
                        <a:pt x="137" y="24"/>
                        <a:pt x="135" y="22"/>
                        <a:pt x="134" y="21"/>
                      </a:cubicBezTo>
                      <a:cubicBezTo>
                        <a:pt x="134" y="21"/>
                        <a:pt x="133" y="21"/>
                        <a:pt x="132" y="21"/>
                      </a:cubicBezTo>
                      <a:cubicBezTo>
                        <a:pt x="131" y="21"/>
                        <a:pt x="130" y="21"/>
                        <a:pt x="129" y="22"/>
                      </a:cubicBezTo>
                      <a:cubicBezTo>
                        <a:pt x="119" y="30"/>
                        <a:pt x="119" y="30"/>
                        <a:pt x="119" y="30"/>
                      </a:cubicBezTo>
                      <a:cubicBezTo>
                        <a:pt x="117" y="29"/>
                        <a:pt x="115" y="27"/>
                        <a:pt x="113" y="26"/>
                      </a:cubicBezTo>
                      <a:cubicBezTo>
                        <a:pt x="117" y="14"/>
                        <a:pt x="117" y="14"/>
                        <a:pt x="117" y="14"/>
                      </a:cubicBezTo>
                      <a:cubicBezTo>
                        <a:pt x="118" y="12"/>
                        <a:pt x="117" y="9"/>
                        <a:pt x="116" y="8"/>
                      </a:cubicBezTo>
                      <a:cubicBezTo>
                        <a:pt x="114" y="8"/>
                        <a:pt x="112" y="7"/>
                        <a:pt x="111" y="6"/>
                      </a:cubicBezTo>
                      <a:cubicBezTo>
                        <a:pt x="111" y="6"/>
                        <a:pt x="110" y="6"/>
                        <a:pt x="110" y="6"/>
                      </a:cubicBezTo>
                      <a:cubicBezTo>
                        <a:pt x="109" y="6"/>
                        <a:pt x="107" y="7"/>
                        <a:pt x="106" y="9"/>
                      </a:cubicBezTo>
                      <a:cubicBezTo>
                        <a:pt x="100" y="20"/>
                        <a:pt x="100" y="20"/>
                        <a:pt x="100" y="20"/>
                      </a:cubicBezTo>
                      <a:cubicBezTo>
                        <a:pt x="97" y="19"/>
                        <a:pt x="95" y="18"/>
                        <a:pt x="92" y="18"/>
                      </a:cubicBezTo>
                      <a:cubicBezTo>
                        <a:pt x="92" y="5"/>
                        <a:pt x="92" y="5"/>
                        <a:pt x="92" y="5"/>
                      </a:cubicBezTo>
                      <a:cubicBezTo>
                        <a:pt x="92" y="3"/>
                        <a:pt x="91" y="1"/>
                        <a:pt x="89" y="1"/>
                      </a:cubicBezTo>
                      <a:cubicBezTo>
                        <a:pt x="84" y="0"/>
                        <a:pt x="84" y="0"/>
                        <a:pt x="84" y="0"/>
                      </a:cubicBezTo>
                      <a:cubicBezTo>
                        <a:pt x="84" y="0"/>
                        <a:pt x="84" y="0"/>
                        <a:pt x="84" y="0"/>
                      </a:cubicBezTo>
                      <a:cubicBezTo>
                        <a:pt x="82" y="0"/>
                        <a:pt x="81" y="2"/>
                        <a:pt x="80" y="4"/>
                      </a:cubicBezTo>
                      <a:cubicBezTo>
                        <a:pt x="78" y="17"/>
                        <a:pt x="78" y="17"/>
                        <a:pt x="78" y="17"/>
                      </a:cubicBezTo>
                      <a:cubicBezTo>
                        <a:pt x="75" y="17"/>
                        <a:pt x="73" y="17"/>
                        <a:pt x="71" y="17"/>
                      </a:cubicBezTo>
                      <a:cubicBezTo>
                        <a:pt x="66" y="5"/>
                        <a:pt x="66" y="5"/>
                        <a:pt x="66" y="5"/>
                      </a:cubicBezTo>
                      <a:cubicBezTo>
                        <a:pt x="65" y="4"/>
                        <a:pt x="64" y="2"/>
                        <a:pt x="62" y="2"/>
                      </a:cubicBezTo>
                      <a:cubicBezTo>
                        <a:pt x="62" y="2"/>
                        <a:pt x="62" y="2"/>
                        <a:pt x="61" y="2"/>
                      </a:cubicBezTo>
                      <a:cubicBezTo>
                        <a:pt x="57" y="4"/>
                        <a:pt x="57" y="4"/>
                        <a:pt x="57" y="4"/>
                      </a:cubicBezTo>
                      <a:cubicBezTo>
                        <a:pt x="55" y="4"/>
                        <a:pt x="54" y="6"/>
                        <a:pt x="54" y="9"/>
                      </a:cubicBezTo>
                      <a:cubicBezTo>
                        <a:pt x="57" y="21"/>
                        <a:pt x="57" y="21"/>
                        <a:pt x="57" y="21"/>
                      </a:cubicBezTo>
                      <a:cubicBezTo>
                        <a:pt x="54" y="22"/>
                        <a:pt x="52" y="23"/>
                        <a:pt x="50" y="24"/>
                      </a:cubicBezTo>
                      <a:cubicBezTo>
                        <a:pt x="41" y="15"/>
                        <a:pt x="41" y="15"/>
                        <a:pt x="41" y="15"/>
                      </a:cubicBezTo>
                      <a:cubicBezTo>
                        <a:pt x="40" y="14"/>
                        <a:pt x="39" y="13"/>
                        <a:pt x="38" y="13"/>
                      </a:cubicBezTo>
                      <a:cubicBezTo>
                        <a:pt x="37" y="13"/>
                        <a:pt x="37" y="13"/>
                        <a:pt x="36" y="13"/>
                      </a:cubicBezTo>
                      <a:cubicBezTo>
                        <a:pt x="32" y="16"/>
                        <a:pt x="32" y="16"/>
                        <a:pt x="32" y="16"/>
                      </a:cubicBezTo>
                      <a:cubicBezTo>
                        <a:pt x="31" y="17"/>
                        <a:pt x="31" y="20"/>
                        <a:pt x="32" y="22"/>
                      </a:cubicBezTo>
                      <a:cubicBezTo>
                        <a:pt x="38" y="33"/>
                        <a:pt x="38" y="33"/>
                        <a:pt x="38" y="33"/>
                      </a:cubicBezTo>
                      <a:cubicBezTo>
                        <a:pt x="36" y="34"/>
                        <a:pt x="34" y="36"/>
                        <a:pt x="33" y="38"/>
                      </a:cubicBezTo>
                      <a:cubicBezTo>
                        <a:pt x="22" y="32"/>
                        <a:pt x="22" y="32"/>
                        <a:pt x="22" y="32"/>
                      </a:cubicBezTo>
                      <a:cubicBezTo>
                        <a:pt x="21" y="31"/>
                        <a:pt x="20" y="31"/>
                        <a:pt x="19" y="31"/>
                      </a:cubicBezTo>
                      <a:cubicBezTo>
                        <a:pt x="18" y="31"/>
                        <a:pt x="17" y="32"/>
                        <a:pt x="16" y="32"/>
                      </a:cubicBezTo>
                      <a:cubicBezTo>
                        <a:pt x="13" y="36"/>
                        <a:pt x="13" y="36"/>
                        <a:pt x="13" y="36"/>
                      </a:cubicBezTo>
                      <a:cubicBezTo>
                        <a:pt x="12" y="38"/>
                        <a:pt x="13" y="40"/>
                        <a:pt x="15" y="42"/>
                      </a:cubicBezTo>
                      <a:cubicBezTo>
                        <a:pt x="25" y="50"/>
                        <a:pt x="25" y="50"/>
                        <a:pt x="25" y="50"/>
                      </a:cubicBezTo>
                      <a:cubicBezTo>
                        <a:pt x="23" y="52"/>
                        <a:pt x="22" y="55"/>
                        <a:pt x="21" y="57"/>
                      </a:cubicBezTo>
                      <a:cubicBezTo>
                        <a:pt x="9" y="55"/>
                        <a:pt x="9" y="55"/>
                        <a:pt x="9" y="55"/>
                      </a:cubicBezTo>
                      <a:cubicBezTo>
                        <a:pt x="8" y="55"/>
                        <a:pt x="8" y="55"/>
                        <a:pt x="8" y="55"/>
                      </a:cubicBezTo>
                      <a:cubicBezTo>
                        <a:pt x="6" y="55"/>
                        <a:pt x="4" y="56"/>
                        <a:pt x="4" y="57"/>
                      </a:cubicBezTo>
                      <a:cubicBezTo>
                        <a:pt x="2" y="62"/>
                        <a:pt x="2" y="62"/>
                        <a:pt x="2" y="62"/>
                      </a:cubicBezTo>
                      <a:cubicBezTo>
                        <a:pt x="2" y="63"/>
                        <a:pt x="3" y="65"/>
                        <a:pt x="6" y="66"/>
                      </a:cubicBezTo>
                      <a:cubicBezTo>
                        <a:pt x="18" y="71"/>
                        <a:pt x="18" y="71"/>
                        <a:pt x="18" y="71"/>
                      </a:cubicBezTo>
                      <a:cubicBezTo>
                        <a:pt x="18" y="72"/>
                        <a:pt x="17" y="73"/>
                        <a:pt x="17" y="74"/>
                      </a:cubicBezTo>
                      <a:cubicBezTo>
                        <a:pt x="17" y="76"/>
                        <a:pt x="17" y="77"/>
                        <a:pt x="17" y="78"/>
                      </a:cubicBezTo>
                      <a:cubicBezTo>
                        <a:pt x="4" y="81"/>
                        <a:pt x="4" y="81"/>
                        <a:pt x="4" y="81"/>
                      </a:cubicBezTo>
                      <a:cubicBezTo>
                        <a:pt x="2" y="81"/>
                        <a:pt x="0" y="83"/>
                        <a:pt x="1" y="84"/>
                      </a:cubicBezTo>
                      <a:cubicBezTo>
                        <a:pt x="1" y="86"/>
                        <a:pt x="1" y="88"/>
                        <a:pt x="1" y="89"/>
                      </a:cubicBezTo>
                      <a:cubicBezTo>
                        <a:pt x="1" y="91"/>
                        <a:pt x="3" y="92"/>
                        <a:pt x="6" y="92"/>
                      </a:cubicBezTo>
                      <a:cubicBezTo>
                        <a:pt x="18" y="93"/>
                        <a:pt x="18" y="93"/>
                        <a:pt x="18" y="93"/>
                      </a:cubicBezTo>
                      <a:cubicBezTo>
                        <a:pt x="19" y="95"/>
                        <a:pt x="20" y="98"/>
                        <a:pt x="20" y="100"/>
                      </a:cubicBezTo>
                      <a:cubicBezTo>
                        <a:pt x="9" y="106"/>
                        <a:pt x="9" y="106"/>
                        <a:pt x="9" y="106"/>
                      </a:cubicBezTo>
                      <a:cubicBezTo>
                        <a:pt x="7" y="108"/>
                        <a:pt x="6" y="110"/>
                        <a:pt x="7" y="111"/>
                      </a:cubicBezTo>
                      <a:cubicBezTo>
                        <a:pt x="9" y="116"/>
                        <a:pt x="9" y="116"/>
                        <a:pt x="9" y="116"/>
                      </a:cubicBezTo>
                      <a:cubicBezTo>
                        <a:pt x="10" y="117"/>
                        <a:pt x="11" y="118"/>
                        <a:pt x="12" y="118"/>
                      </a:cubicBezTo>
                      <a:cubicBezTo>
                        <a:pt x="13" y="118"/>
                        <a:pt x="14" y="117"/>
                        <a:pt x="14" y="117"/>
                      </a:cubicBezTo>
                      <a:cubicBezTo>
                        <a:pt x="27" y="113"/>
                        <a:pt x="27" y="113"/>
                        <a:pt x="27" y="113"/>
                      </a:cubicBezTo>
                      <a:cubicBezTo>
                        <a:pt x="28" y="115"/>
                        <a:pt x="29" y="117"/>
                        <a:pt x="31" y="119"/>
                      </a:cubicBezTo>
                      <a:cubicBezTo>
                        <a:pt x="23" y="129"/>
                        <a:pt x="23" y="129"/>
                        <a:pt x="23" y="129"/>
                      </a:cubicBezTo>
                      <a:cubicBezTo>
                        <a:pt x="21" y="131"/>
                        <a:pt x="21" y="133"/>
                        <a:pt x="22" y="134"/>
                      </a:cubicBezTo>
                      <a:cubicBezTo>
                        <a:pt x="26" y="138"/>
                        <a:pt x="26" y="138"/>
                        <a:pt x="26" y="138"/>
                      </a:cubicBezTo>
                      <a:cubicBezTo>
                        <a:pt x="26" y="138"/>
                        <a:pt x="27" y="139"/>
                        <a:pt x="28" y="139"/>
                      </a:cubicBezTo>
                      <a:cubicBezTo>
                        <a:pt x="29" y="139"/>
                        <a:pt x="30" y="138"/>
                        <a:pt x="31" y="137"/>
                      </a:cubicBezTo>
                      <a:cubicBezTo>
                        <a:pt x="41" y="129"/>
                        <a:pt x="41" y="129"/>
                        <a:pt x="41" y="129"/>
                      </a:cubicBezTo>
                      <a:cubicBezTo>
                        <a:pt x="43" y="131"/>
                        <a:pt x="45" y="132"/>
                        <a:pt x="47" y="133"/>
                      </a:cubicBezTo>
                      <a:cubicBezTo>
                        <a:pt x="43" y="146"/>
                        <a:pt x="43" y="146"/>
                        <a:pt x="43" y="146"/>
                      </a:cubicBezTo>
                      <a:cubicBezTo>
                        <a:pt x="42" y="148"/>
                        <a:pt x="43" y="150"/>
                        <a:pt x="44" y="151"/>
                      </a:cubicBezTo>
                      <a:cubicBezTo>
                        <a:pt x="49" y="153"/>
                        <a:pt x="49" y="153"/>
                        <a:pt x="49" y="153"/>
                      </a:cubicBezTo>
                      <a:cubicBezTo>
                        <a:pt x="49" y="153"/>
                        <a:pt x="50" y="153"/>
                        <a:pt x="50" y="153"/>
                      </a:cubicBezTo>
                      <a:cubicBezTo>
                        <a:pt x="51" y="153"/>
                        <a:pt x="53" y="152"/>
                        <a:pt x="54" y="151"/>
                      </a:cubicBezTo>
                      <a:cubicBezTo>
                        <a:pt x="60" y="139"/>
                        <a:pt x="60" y="139"/>
                        <a:pt x="60" y="139"/>
                      </a:cubicBezTo>
                      <a:cubicBezTo>
                        <a:pt x="63" y="140"/>
                        <a:pt x="65" y="141"/>
                        <a:pt x="68" y="141"/>
                      </a:cubicBezTo>
                      <a:cubicBezTo>
                        <a:pt x="68" y="154"/>
                        <a:pt x="68" y="154"/>
                        <a:pt x="68" y="154"/>
                      </a:cubicBezTo>
                      <a:cubicBezTo>
                        <a:pt x="68" y="157"/>
                        <a:pt x="69" y="159"/>
                        <a:pt x="71" y="159"/>
                      </a:cubicBezTo>
                      <a:cubicBezTo>
                        <a:pt x="76" y="159"/>
                        <a:pt x="76" y="159"/>
                        <a:pt x="76" y="159"/>
                      </a:cubicBezTo>
                      <a:cubicBezTo>
                        <a:pt x="76" y="159"/>
                        <a:pt x="76" y="159"/>
                        <a:pt x="76" y="159"/>
                      </a:cubicBezTo>
                      <a:cubicBezTo>
                        <a:pt x="78" y="159"/>
                        <a:pt x="79" y="157"/>
                        <a:pt x="80" y="155"/>
                      </a:cubicBezTo>
                      <a:cubicBezTo>
                        <a:pt x="82" y="143"/>
                        <a:pt x="82" y="143"/>
                        <a:pt x="82" y="143"/>
                      </a:cubicBezTo>
                      <a:cubicBezTo>
                        <a:pt x="85" y="142"/>
                        <a:pt x="87" y="142"/>
                        <a:pt x="89" y="142"/>
                      </a:cubicBezTo>
                      <a:cubicBezTo>
                        <a:pt x="94" y="154"/>
                        <a:pt x="94" y="154"/>
                        <a:pt x="94" y="154"/>
                      </a:cubicBezTo>
                      <a:cubicBezTo>
                        <a:pt x="95" y="156"/>
                        <a:pt x="96" y="157"/>
                        <a:pt x="98" y="157"/>
                      </a:cubicBezTo>
                      <a:cubicBezTo>
                        <a:pt x="98" y="157"/>
                        <a:pt x="98" y="157"/>
                        <a:pt x="99" y="157"/>
                      </a:cubicBezTo>
                      <a:cubicBezTo>
                        <a:pt x="103" y="156"/>
                        <a:pt x="103" y="156"/>
                        <a:pt x="103" y="156"/>
                      </a:cubicBezTo>
                      <a:cubicBezTo>
                        <a:pt x="105" y="155"/>
                        <a:pt x="106" y="153"/>
                        <a:pt x="106" y="151"/>
                      </a:cubicBezTo>
                      <a:cubicBezTo>
                        <a:pt x="103" y="138"/>
                        <a:pt x="103" y="138"/>
                        <a:pt x="103" y="138"/>
                      </a:cubicBezTo>
                      <a:cubicBezTo>
                        <a:pt x="106" y="137"/>
                        <a:pt x="108" y="136"/>
                        <a:pt x="110" y="135"/>
                      </a:cubicBezTo>
                      <a:cubicBezTo>
                        <a:pt x="119" y="145"/>
                        <a:pt x="119" y="145"/>
                        <a:pt x="119" y="145"/>
                      </a:cubicBezTo>
                      <a:cubicBezTo>
                        <a:pt x="120" y="146"/>
                        <a:pt x="121" y="147"/>
                        <a:pt x="122" y="147"/>
                      </a:cubicBezTo>
                      <a:cubicBezTo>
                        <a:pt x="123" y="147"/>
                        <a:pt x="123" y="146"/>
                        <a:pt x="124" y="146"/>
                      </a:cubicBezTo>
                      <a:cubicBezTo>
                        <a:pt x="128" y="143"/>
                        <a:pt x="128" y="143"/>
                        <a:pt x="128" y="143"/>
                      </a:cubicBezTo>
                      <a:cubicBezTo>
                        <a:pt x="129" y="142"/>
                        <a:pt x="129" y="140"/>
                        <a:pt x="128" y="138"/>
                      </a:cubicBezTo>
                      <a:cubicBezTo>
                        <a:pt x="122" y="127"/>
                        <a:pt x="122" y="127"/>
                        <a:pt x="122" y="127"/>
                      </a:cubicBezTo>
                      <a:cubicBezTo>
                        <a:pt x="124" y="125"/>
                        <a:pt x="126" y="123"/>
                        <a:pt x="127" y="121"/>
                      </a:cubicBezTo>
                      <a:cubicBezTo>
                        <a:pt x="138" y="127"/>
                        <a:pt x="138" y="127"/>
                        <a:pt x="138" y="127"/>
                      </a:cubicBezTo>
                      <a:cubicBezTo>
                        <a:pt x="139" y="128"/>
                        <a:pt x="140" y="128"/>
                        <a:pt x="141" y="128"/>
                      </a:cubicBezTo>
                      <a:cubicBezTo>
                        <a:pt x="142" y="128"/>
                        <a:pt x="143" y="128"/>
                        <a:pt x="144" y="127"/>
                      </a:cubicBezTo>
                      <a:cubicBezTo>
                        <a:pt x="147" y="123"/>
                        <a:pt x="147" y="123"/>
                        <a:pt x="147" y="123"/>
                      </a:cubicBezTo>
                      <a:cubicBezTo>
                        <a:pt x="148" y="122"/>
                        <a:pt x="147" y="119"/>
                        <a:pt x="145" y="118"/>
                      </a:cubicBezTo>
                      <a:cubicBezTo>
                        <a:pt x="135" y="109"/>
                        <a:pt x="135" y="109"/>
                        <a:pt x="135" y="109"/>
                      </a:cubicBezTo>
                      <a:cubicBezTo>
                        <a:pt x="137" y="107"/>
                        <a:pt x="138" y="105"/>
                        <a:pt x="139" y="103"/>
                      </a:cubicBezTo>
                      <a:cubicBezTo>
                        <a:pt x="151" y="105"/>
                        <a:pt x="151" y="105"/>
                        <a:pt x="151" y="105"/>
                      </a:cubicBezTo>
                      <a:cubicBezTo>
                        <a:pt x="152" y="105"/>
                        <a:pt x="152" y="105"/>
                        <a:pt x="152" y="105"/>
                      </a:cubicBezTo>
                      <a:cubicBezTo>
                        <a:pt x="154" y="105"/>
                        <a:pt x="156" y="104"/>
                        <a:pt x="156" y="102"/>
                      </a:cubicBezTo>
                      <a:cubicBezTo>
                        <a:pt x="158" y="98"/>
                        <a:pt x="158" y="98"/>
                        <a:pt x="158" y="98"/>
                      </a:cubicBezTo>
                      <a:cubicBezTo>
                        <a:pt x="158" y="96"/>
                        <a:pt x="157" y="94"/>
                        <a:pt x="154" y="93"/>
                      </a:cubicBezTo>
                      <a:cubicBezTo>
                        <a:pt x="142" y="89"/>
                        <a:pt x="142" y="89"/>
                        <a:pt x="142" y="89"/>
                      </a:cubicBezTo>
                      <a:cubicBezTo>
                        <a:pt x="142" y="87"/>
                        <a:pt x="143" y="86"/>
                        <a:pt x="143" y="85"/>
                      </a:cubicBezTo>
                      <a:cubicBezTo>
                        <a:pt x="143" y="84"/>
                        <a:pt x="143" y="83"/>
                        <a:pt x="143" y="81"/>
                      </a:cubicBezTo>
                      <a:close/>
                      <a:moveTo>
                        <a:pt x="142" y="80"/>
                      </a:moveTo>
                      <a:cubicBezTo>
                        <a:pt x="142" y="81"/>
                        <a:pt x="142" y="81"/>
                        <a:pt x="142" y="81"/>
                      </a:cubicBezTo>
                      <a:cubicBezTo>
                        <a:pt x="142" y="82"/>
                        <a:pt x="142" y="84"/>
                        <a:pt x="142" y="85"/>
                      </a:cubicBezTo>
                      <a:cubicBezTo>
                        <a:pt x="141" y="86"/>
                        <a:pt x="141" y="87"/>
                        <a:pt x="141" y="89"/>
                      </a:cubicBezTo>
                      <a:cubicBezTo>
                        <a:pt x="141" y="89"/>
                        <a:pt x="141" y="89"/>
                        <a:pt x="141" y="89"/>
                      </a:cubicBezTo>
                      <a:cubicBezTo>
                        <a:pt x="154" y="94"/>
                        <a:pt x="154" y="94"/>
                        <a:pt x="154" y="94"/>
                      </a:cubicBezTo>
                      <a:cubicBezTo>
                        <a:pt x="156" y="95"/>
                        <a:pt x="157" y="96"/>
                        <a:pt x="156" y="97"/>
                      </a:cubicBezTo>
                      <a:cubicBezTo>
                        <a:pt x="155" y="102"/>
                        <a:pt x="155" y="102"/>
                        <a:pt x="155" y="102"/>
                      </a:cubicBezTo>
                      <a:cubicBezTo>
                        <a:pt x="155" y="103"/>
                        <a:pt x="154" y="104"/>
                        <a:pt x="152" y="104"/>
                      </a:cubicBezTo>
                      <a:cubicBezTo>
                        <a:pt x="152" y="104"/>
                        <a:pt x="152" y="103"/>
                        <a:pt x="151" y="103"/>
                      </a:cubicBezTo>
                      <a:cubicBezTo>
                        <a:pt x="138" y="101"/>
                        <a:pt x="138" y="101"/>
                        <a:pt x="138" y="101"/>
                      </a:cubicBezTo>
                      <a:cubicBezTo>
                        <a:pt x="138" y="102"/>
                        <a:pt x="138" y="102"/>
                        <a:pt x="138" y="102"/>
                      </a:cubicBezTo>
                      <a:cubicBezTo>
                        <a:pt x="137" y="104"/>
                        <a:pt x="136" y="107"/>
                        <a:pt x="134" y="109"/>
                      </a:cubicBezTo>
                      <a:cubicBezTo>
                        <a:pt x="134" y="110"/>
                        <a:pt x="134" y="110"/>
                        <a:pt x="134" y="110"/>
                      </a:cubicBezTo>
                      <a:cubicBezTo>
                        <a:pt x="144" y="119"/>
                        <a:pt x="144" y="119"/>
                        <a:pt x="144" y="119"/>
                      </a:cubicBezTo>
                      <a:cubicBezTo>
                        <a:pt x="146" y="120"/>
                        <a:pt x="146" y="121"/>
                        <a:pt x="146" y="122"/>
                      </a:cubicBezTo>
                      <a:cubicBezTo>
                        <a:pt x="143" y="126"/>
                        <a:pt x="143" y="126"/>
                        <a:pt x="143" y="126"/>
                      </a:cubicBezTo>
                      <a:cubicBezTo>
                        <a:pt x="143" y="127"/>
                        <a:pt x="142" y="127"/>
                        <a:pt x="141" y="127"/>
                      </a:cubicBezTo>
                      <a:cubicBezTo>
                        <a:pt x="141" y="127"/>
                        <a:pt x="140" y="127"/>
                        <a:pt x="139" y="126"/>
                      </a:cubicBezTo>
                      <a:cubicBezTo>
                        <a:pt x="127" y="120"/>
                        <a:pt x="127" y="120"/>
                        <a:pt x="127" y="120"/>
                      </a:cubicBezTo>
                      <a:cubicBezTo>
                        <a:pt x="127" y="120"/>
                        <a:pt x="127" y="120"/>
                        <a:pt x="127" y="120"/>
                      </a:cubicBezTo>
                      <a:cubicBezTo>
                        <a:pt x="125" y="122"/>
                        <a:pt x="123" y="124"/>
                        <a:pt x="121" y="126"/>
                      </a:cubicBezTo>
                      <a:cubicBezTo>
                        <a:pt x="120" y="126"/>
                        <a:pt x="120" y="126"/>
                        <a:pt x="120" y="126"/>
                      </a:cubicBezTo>
                      <a:cubicBezTo>
                        <a:pt x="127" y="138"/>
                        <a:pt x="127" y="138"/>
                        <a:pt x="127" y="138"/>
                      </a:cubicBezTo>
                      <a:cubicBezTo>
                        <a:pt x="128" y="140"/>
                        <a:pt x="128" y="142"/>
                        <a:pt x="127" y="142"/>
                      </a:cubicBezTo>
                      <a:cubicBezTo>
                        <a:pt x="123" y="145"/>
                        <a:pt x="123" y="145"/>
                        <a:pt x="123" y="145"/>
                      </a:cubicBezTo>
                      <a:cubicBezTo>
                        <a:pt x="123" y="145"/>
                        <a:pt x="123" y="145"/>
                        <a:pt x="122" y="145"/>
                      </a:cubicBezTo>
                      <a:cubicBezTo>
                        <a:pt x="121" y="145"/>
                        <a:pt x="120" y="145"/>
                        <a:pt x="119" y="144"/>
                      </a:cubicBezTo>
                      <a:cubicBezTo>
                        <a:pt x="110" y="133"/>
                        <a:pt x="110" y="133"/>
                        <a:pt x="110" y="133"/>
                      </a:cubicBezTo>
                      <a:cubicBezTo>
                        <a:pt x="110" y="134"/>
                        <a:pt x="110" y="134"/>
                        <a:pt x="110" y="134"/>
                      </a:cubicBezTo>
                      <a:cubicBezTo>
                        <a:pt x="108" y="135"/>
                        <a:pt x="105" y="136"/>
                        <a:pt x="103" y="137"/>
                      </a:cubicBezTo>
                      <a:cubicBezTo>
                        <a:pt x="102" y="137"/>
                        <a:pt x="102" y="137"/>
                        <a:pt x="102" y="137"/>
                      </a:cubicBezTo>
                      <a:cubicBezTo>
                        <a:pt x="104" y="151"/>
                        <a:pt x="104" y="151"/>
                        <a:pt x="104" y="151"/>
                      </a:cubicBezTo>
                      <a:cubicBezTo>
                        <a:pt x="105" y="153"/>
                        <a:pt x="104" y="154"/>
                        <a:pt x="103" y="155"/>
                      </a:cubicBezTo>
                      <a:cubicBezTo>
                        <a:pt x="98" y="156"/>
                        <a:pt x="98" y="156"/>
                        <a:pt x="98" y="156"/>
                      </a:cubicBezTo>
                      <a:cubicBezTo>
                        <a:pt x="98" y="156"/>
                        <a:pt x="98" y="156"/>
                        <a:pt x="98" y="156"/>
                      </a:cubicBezTo>
                      <a:cubicBezTo>
                        <a:pt x="97" y="156"/>
                        <a:pt x="96" y="155"/>
                        <a:pt x="95" y="153"/>
                      </a:cubicBezTo>
                      <a:cubicBezTo>
                        <a:pt x="90" y="141"/>
                        <a:pt x="90" y="141"/>
                        <a:pt x="90" y="141"/>
                      </a:cubicBezTo>
                      <a:cubicBezTo>
                        <a:pt x="90" y="141"/>
                        <a:pt x="90" y="141"/>
                        <a:pt x="90" y="141"/>
                      </a:cubicBezTo>
                      <a:cubicBezTo>
                        <a:pt x="87" y="141"/>
                        <a:pt x="84" y="141"/>
                        <a:pt x="82" y="141"/>
                      </a:cubicBezTo>
                      <a:cubicBezTo>
                        <a:pt x="81" y="141"/>
                        <a:pt x="81" y="141"/>
                        <a:pt x="81" y="141"/>
                      </a:cubicBezTo>
                      <a:cubicBezTo>
                        <a:pt x="79" y="155"/>
                        <a:pt x="79" y="155"/>
                        <a:pt x="79" y="155"/>
                      </a:cubicBezTo>
                      <a:cubicBezTo>
                        <a:pt x="78" y="157"/>
                        <a:pt x="77" y="158"/>
                        <a:pt x="76" y="158"/>
                      </a:cubicBezTo>
                      <a:cubicBezTo>
                        <a:pt x="71" y="158"/>
                        <a:pt x="71" y="158"/>
                        <a:pt x="71" y="158"/>
                      </a:cubicBezTo>
                      <a:cubicBezTo>
                        <a:pt x="70" y="158"/>
                        <a:pt x="69" y="156"/>
                        <a:pt x="69" y="154"/>
                      </a:cubicBezTo>
                      <a:cubicBezTo>
                        <a:pt x="69" y="140"/>
                        <a:pt x="69" y="140"/>
                        <a:pt x="69" y="140"/>
                      </a:cubicBezTo>
                      <a:cubicBezTo>
                        <a:pt x="68" y="140"/>
                        <a:pt x="68" y="140"/>
                        <a:pt x="68" y="140"/>
                      </a:cubicBezTo>
                      <a:cubicBezTo>
                        <a:pt x="66" y="140"/>
                        <a:pt x="63" y="139"/>
                        <a:pt x="60" y="138"/>
                      </a:cubicBezTo>
                      <a:cubicBezTo>
                        <a:pt x="60" y="138"/>
                        <a:pt x="60" y="138"/>
                        <a:pt x="60" y="138"/>
                      </a:cubicBezTo>
                      <a:cubicBezTo>
                        <a:pt x="53" y="150"/>
                        <a:pt x="53" y="150"/>
                        <a:pt x="53" y="150"/>
                      </a:cubicBezTo>
                      <a:cubicBezTo>
                        <a:pt x="52" y="151"/>
                        <a:pt x="51" y="152"/>
                        <a:pt x="50" y="152"/>
                      </a:cubicBezTo>
                      <a:cubicBezTo>
                        <a:pt x="50" y="152"/>
                        <a:pt x="50" y="152"/>
                        <a:pt x="49" y="152"/>
                      </a:cubicBezTo>
                      <a:cubicBezTo>
                        <a:pt x="45" y="150"/>
                        <a:pt x="45" y="150"/>
                        <a:pt x="45" y="150"/>
                      </a:cubicBezTo>
                      <a:cubicBezTo>
                        <a:pt x="44" y="149"/>
                        <a:pt x="44" y="148"/>
                        <a:pt x="44" y="146"/>
                      </a:cubicBezTo>
                      <a:cubicBezTo>
                        <a:pt x="49" y="133"/>
                        <a:pt x="49" y="133"/>
                        <a:pt x="49" y="133"/>
                      </a:cubicBezTo>
                      <a:cubicBezTo>
                        <a:pt x="48" y="133"/>
                        <a:pt x="48" y="133"/>
                        <a:pt x="48" y="133"/>
                      </a:cubicBezTo>
                      <a:cubicBezTo>
                        <a:pt x="46" y="131"/>
                        <a:pt x="44" y="130"/>
                        <a:pt x="41" y="128"/>
                      </a:cubicBezTo>
                      <a:cubicBezTo>
                        <a:pt x="41" y="128"/>
                        <a:pt x="41" y="128"/>
                        <a:pt x="41" y="128"/>
                      </a:cubicBezTo>
                      <a:cubicBezTo>
                        <a:pt x="30" y="136"/>
                        <a:pt x="30" y="136"/>
                        <a:pt x="30" y="136"/>
                      </a:cubicBezTo>
                      <a:cubicBezTo>
                        <a:pt x="30" y="137"/>
                        <a:pt x="29" y="137"/>
                        <a:pt x="28" y="137"/>
                      </a:cubicBezTo>
                      <a:cubicBezTo>
                        <a:pt x="27" y="137"/>
                        <a:pt x="27" y="137"/>
                        <a:pt x="27" y="137"/>
                      </a:cubicBezTo>
                      <a:cubicBezTo>
                        <a:pt x="23" y="134"/>
                        <a:pt x="23" y="134"/>
                        <a:pt x="23" y="134"/>
                      </a:cubicBezTo>
                      <a:cubicBezTo>
                        <a:pt x="22" y="133"/>
                        <a:pt x="23" y="131"/>
                        <a:pt x="24" y="130"/>
                      </a:cubicBezTo>
                      <a:cubicBezTo>
                        <a:pt x="32" y="119"/>
                        <a:pt x="32" y="119"/>
                        <a:pt x="32" y="119"/>
                      </a:cubicBezTo>
                      <a:cubicBezTo>
                        <a:pt x="32" y="119"/>
                        <a:pt x="32" y="119"/>
                        <a:pt x="32" y="119"/>
                      </a:cubicBezTo>
                      <a:cubicBezTo>
                        <a:pt x="30" y="116"/>
                        <a:pt x="29" y="114"/>
                        <a:pt x="27" y="112"/>
                      </a:cubicBezTo>
                      <a:cubicBezTo>
                        <a:pt x="27" y="111"/>
                        <a:pt x="27" y="111"/>
                        <a:pt x="27" y="111"/>
                      </a:cubicBezTo>
                      <a:cubicBezTo>
                        <a:pt x="14" y="116"/>
                        <a:pt x="14" y="116"/>
                        <a:pt x="14" y="116"/>
                      </a:cubicBezTo>
                      <a:cubicBezTo>
                        <a:pt x="14" y="116"/>
                        <a:pt x="13" y="116"/>
                        <a:pt x="12" y="116"/>
                      </a:cubicBezTo>
                      <a:cubicBezTo>
                        <a:pt x="11" y="116"/>
                        <a:pt x="10" y="116"/>
                        <a:pt x="10" y="115"/>
                      </a:cubicBezTo>
                      <a:cubicBezTo>
                        <a:pt x="8" y="111"/>
                        <a:pt x="8" y="111"/>
                        <a:pt x="8" y="111"/>
                      </a:cubicBezTo>
                      <a:cubicBezTo>
                        <a:pt x="8" y="110"/>
                        <a:pt x="8" y="108"/>
                        <a:pt x="10" y="107"/>
                      </a:cubicBezTo>
                      <a:cubicBezTo>
                        <a:pt x="22" y="100"/>
                        <a:pt x="22" y="100"/>
                        <a:pt x="22" y="100"/>
                      </a:cubicBezTo>
                      <a:cubicBezTo>
                        <a:pt x="22" y="100"/>
                        <a:pt x="22" y="100"/>
                        <a:pt x="22" y="100"/>
                      </a:cubicBezTo>
                      <a:cubicBezTo>
                        <a:pt x="21" y="97"/>
                        <a:pt x="20" y="95"/>
                        <a:pt x="19" y="92"/>
                      </a:cubicBezTo>
                      <a:cubicBezTo>
                        <a:pt x="19" y="91"/>
                        <a:pt x="19" y="91"/>
                        <a:pt x="19" y="91"/>
                      </a:cubicBezTo>
                      <a:cubicBezTo>
                        <a:pt x="6" y="91"/>
                        <a:pt x="6" y="91"/>
                        <a:pt x="6" y="91"/>
                      </a:cubicBezTo>
                      <a:cubicBezTo>
                        <a:pt x="4" y="91"/>
                        <a:pt x="2" y="90"/>
                        <a:pt x="2" y="89"/>
                      </a:cubicBezTo>
                      <a:cubicBezTo>
                        <a:pt x="2" y="88"/>
                        <a:pt x="2" y="86"/>
                        <a:pt x="2" y="84"/>
                      </a:cubicBezTo>
                      <a:cubicBezTo>
                        <a:pt x="2" y="83"/>
                        <a:pt x="3" y="82"/>
                        <a:pt x="5" y="82"/>
                      </a:cubicBezTo>
                      <a:cubicBezTo>
                        <a:pt x="18" y="79"/>
                        <a:pt x="18" y="79"/>
                        <a:pt x="18" y="79"/>
                      </a:cubicBezTo>
                      <a:cubicBezTo>
                        <a:pt x="18" y="79"/>
                        <a:pt x="18" y="79"/>
                        <a:pt x="18" y="79"/>
                      </a:cubicBezTo>
                      <a:cubicBezTo>
                        <a:pt x="18" y="77"/>
                        <a:pt x="18" y="76"/>
                        <a:pt x="18" y="75"/>
                      </a:cubicBezTo>
                      <a:cubicBezTo>
                        <a:pt x="19" y="73"/>
                        <a:pt x="19" y="72"/>
                        <a:pt x="19" y="70"/>
                      </a:cubicBezTo>
                      <a:cubicBezTo>
                        <a:pt x="19" y="70"/>
                        <a:pt x="19" y="70"/>
                        <a:pt x="19" y="70"/>
                      </a:cubicBezTo>
                      <a:cubicBezTo>
                        <a:pt x="6" y="65"/>
                        <a:pt x="6" y="65"/>
                        <a:pt x="6" y="65"/>
                      </a:cubicBezTo>
                      <a:cubicBezTo>
                        <a:pt x="4" y="65"/>
                        <a:pt x="3" y="63"/>
                        <a:pt x="4" y="62"/>
                      </a:cubicBezTo>
                      <a:cubicBezTo>
                        <a:pt x="5" y="57"/>
                        <a:pt x="5" y="57"/>
                        <a:pt x="5" y="57"/>
                      </a:cubicBezTo>
                      <a:cubicBezTo>
                        <a:pt x="5" y="56"/>
                        <a:pt x="6" y="56"/>
                        <a:pt x="8" y="56"/>
                      </a:cubicBezTo>
                      <a:cubicBezTo>
                        <a:pt x="8" y="56"/>
                        <a:pt x="8" y="56"/>
                        <a:pt x="9" y="56"/>
                      </a:cubicBezTo>
                      <a:cubicBezTo>
                        <a:pt x="22" y="58"/>
                        <a:pt x="22" y="58"/>
                        <a:pt x="22" y="58"/>
                      </a:cubicBezTo>
                      <a:cubicBezTo>
                        <a:pt x="22" y="58"/>
                        <a:pt x="22" y="58"/>
                        <a:pt x="22" y="58"/>
                      </a:cubicBezTo>
                      <a:cubicBezTo>
                        <a:pt x="23" y="55"/>
                        <a:pt x="24" y="53"/>
                        <a:pt x="26" y="50"/>
                      </a:cubicBezTo>
                      <a:cubicBezTo>
                        <a:pt x="26" y="50"/>
                        <a:pt x="26" y="50"/>
                        <a:pt x="26" y="50"/>
                      </a:cubicBezTo>
                      <a:cubicBezTo>
                        <a:pt x="16" y="41"/>
                        <a:pt x="16" y="41"/>
                        <a:pt x="16" y="41"/>
                      </a:cubicBezTo>
                      <a:cubicBezTo>
                        <a:pt x="14" y="40"/>
                        <a:pt x="14" y="38"/>
                        <a:pt x="14" y="37"/>
                      </a:cubicBezTo>
                      <a:cubicBezTo>
                        <a:pt x="17" y="33"/>
                        <a:pt x="17" y="33"/>
                        <a:pt x="17" y="33"/>
                      </a:cubicBezTo>
                      <a:cubicBezTo>
                        <a:pt x="17" y="33"/>
                        <a:pt x="18" y="32"/>
                        <a:pt x="19" y="32"/>
                      </a:cubicBezTo>
                      <a:cubicBezTo>
                        <a:pt x="19" y="32"/>
                        <a:pt x="20" y="32"/>
                        <a:pt x="21" y="33"/>
                      </a:cubicBezTo>
                      <a:cubicBezTo>
                        <a:pt x="33" y="40"/>
                        <a:pt x="33" y="40"/>
                        <a:pt x="33" y="40"/>
                      </a:cubicBezTo>
                      <a:cubicBezTo>
                        <a:pt x="33" y="39"/>
                        <a:pt x="33" y="39"/>
                        <a:pt x="33" y="39"/>
                      </a:cubicBezTo>
                      <a:cubicBezTo>
                        <a:pt x="35" y="37"/>
                        <a:pt x="37" y="35"/>
                        <a:pt x="39" y="33"/>
                      </a:cubicBezTo>
                      <a:cubicBezTo>
                        <a:pt x="40" y="33"/>
                        <a:pt x="40" y="33"/>
                        <a:pt x="40" y="33"/>
                      </a:cubicBezTo>
                      <a:cubicBezTo>
                        <a:pt x="33" y="21"/>
                        <a:pt x="33" y="21"/>
                        <a:pt x="33" y="21"/>
                      </a:cubicBezTo>
                      <a:cubicBezTo>
                        <a:pt x="32" y="20"/>
                        <a:pt x="32" y="18"/>
                        <a:pt x="33" y="17"/>
                      </a:cubicBezTo>
                      <a:cubicBezTo>
                        <a:pt x="37" y="14"/>
                        <a:pt x="37" y="14"/>
                        <a:pt x="37" y="14"/>
                      </a:cubicBezTo>
                      <a:cubicBezTo>
                        <a:pt x="37" y="14"/>
                        <a:pt x="37" y="14"/>
                        <a:pt x="38" y="14"/>
                      </a:cubicBezTo>
                      <a:cubicBezTo>
                        <a:pt x="39" y="14"/>
                        <a:pt x="40" y="15"/>
                        <a:pt x="41" y="16"/>
                      </a:cubicBezTo>
                      <a:cubicBezTo>
                        <a:pt x="50" y="26"/>
                        <a:pt x="50" y="26"/>
                        <a:pt x="50" y="26"/>
                      </a:cubicBezTo>
                      <a:cubicBezTo>
                        <a:pt x="50" y="26"/>
                        <a:pt x="50" y="26"/>
                        <a:pt x="50" y="26"/>
                      </a:cubicBezTo>
                      <a:cubicBezTo>
                        <a:pt x="52" y="24"/>
                        <a:pt x="55" y="23"/>
                        <a:pt x="57" y="22"/>
                      </a:cubicBezTo>
                      <a:cubicBezTo>
                        <a:pt x="58" y="22"/>
                        <a:pt x="58" y="22"/>
                        <a:pt x="58" y="22"/>
                      </a:cubicBezTo>
                      <a:cubicBezTo>
                        <a:pt x="56" y="8"/>
                        <a:pt x="56" y="8"/>
                        <a:pt x="56" y="8"/>
                      </a:cubicBezTo>
                      <a:cubicBezTo>
                        <a:pt x="55" y="7"/>
                        <a:pt x="56" y="5"/>
                        <a:pt x="57" y="5"/>
                      </a:cubicBezTo>
                      <a:cubicBezTo>
                        <a:pt x="62" y="3"/>
                        <a:pt x="62" y="3"/>
                        <a:pt x="62" y="3"/>
                      </a:cubicBezTo>
                      <a:cubicBezTo>
                        <a:pt x="62" y="3"/>
                        <a:pt x="62" y="3"/>
                        <a:pt x="62" y="3"/>
                      </a:cubicBezTo>
                      <a:cubicBezTo>
                        <a:pt x="63" y="3"/>
                        <a:pt x="64" y="4"/>
                        <a:pt x="65" y="6"/>
                      </a:cubicBezTo>
                      <a:cubicBezTo>
                        <a:pt x="70" y="19"/>
                        <a:pt x="70" y="19"/>
                        <a:pt x="70" y="19"/>
                      </a:cubicBezTo>
                      <a:cubicBezTo>
                        <a:pt x="70" y="19"/>
                        <a:pt x="70" y="19"/>
                        <a:pt x="70" y="19"/>
                      </a:cubicBezTo>
                      <a:cubicBezTo>
                        <a:pt x="73" y="18"/>
                        <a:pt x="76" y="18"/>
                        <a:pt x="79" y="18"/>
                      </a:cubicBezTo>
                      <a:cubicBezTo>
                        <a:pt x="79" y="18"/>
                        <a:pt x="79" y="18"/>
                        <a:pt x="79" y="18"/>
                      </a:cubicBezTo>
                      <a:cubicBezTo>
                        <a:pt x="81" y="4"/>
                        <a:pt x="81" y="4"/>
                        <a:pt x="81" y="4"/>
                      </a:cubicBezTo>
                      <a:cubicBezTo>
                        <a:pt x="82" y="3"/>
                        <a:pt x="83" y="1"/>
                        <a:pt x="84" y="1"/>
                      </a:cubicBezTo>
                      <a:cubicBezTo>
                        <a:pt x="89" y="2"/>
                        <a:pt x="89" y="2"/>
                        <a:pt x="89" y="2"/>
                      </a:cubicBezTo>
                      <a:cubicBezTo>
                        <a:pt x="90" y="2"/>
                        <a:pt x="91" y="3"/>
                        <a:pt x="91" y="5"/>
                      </a:cubicBezTo>
                      <a:cubicBezTo>
                        <a:pt x="91" y="19"/>
                        <a:pt x="91" y="19"/>
                        <a:pt x="91" y="19"/>
                      </a:cubicBezTo>
                      <a:cubicBezTo>
                        <a:pt x="92" y="19"/>
                        <a:pt x="92" y="19"/>
                        <a:pt x="92" y="19"/>
                      </a:cubicBezTo>
                      <a:cubicBezTo>
                        <a:pt x="94" y="20"/>
                        <a:pt x="97" y="20"/>
                        <a:pt x="100" y="21"/>
                      </a:cubicBezTo>
                      <a:cubicBezTo>
                        <a:pt x="100" y="21"/>
                        <a:pt x="100" y="21"/>
                        <a:pt x="100" y="21"/>
                      </a:cubicBezTo>
                      <a:cubicBezTo>
                        <a:pt x="107" y="9"/>
                        <a:pt x="107" y="9"/>
                        <a:pt x="107" y="9"/>
                      </a:cubicBezTo>
                      <a:cubicBezTo>
                        <a:pt x="108" y="8"/>
                        <a:pt x="109" y="7"/>
                        <a:pt x="110" y="7"/>
                      </a:cubicBezTo>
                      <a:cubicBezTo>
                        <a:pt x="110" y="7"/>
                        <a:pt x="110" y="7"/>
                        <a:pt x="111" y="7"/>
                      </a:cubicBezTo>
                      <a:cubicBezTo>
                        <a:pt x="115" y="10"/>
                        <a:pt x="115" y="10"/>
                        <a:pt x="115" y="10"/>
                      </a:cubicBezTo>
                      <a:cubicBezTo>
                        <a:pt x="116" y="10"/>
                        <a:pt x="116" y="12"/>
                        <a:pt x="116" y="13"/>
                      </a:cubicBezTo>
                      <a:cubicBezTo>
                        <a:pt x="111" y="26"/>
                        <a:pt x="111" y="26"/>
                        <a:pt x="111" y="26"/>
                      </a:cubicBezTo>
                      <a:cubicBezTo>
                        <a:pt x="112" y="27"/>
                        <a:pt x="112" y="27"/>
                        <a:pt x="112" y="27"/>
                      </a:cubicBezTo>
                      <a:cubicBezTo>
                        <a:pt x="114" y="28"/>
                        <a:pt x="116" y="30"/>
                        <a:pt x="119" y="31"/>
                      </a:cubicBezTo>
                      <a:cubicBezTo>
                        <a:pt x="119" y="32"/>
                        <a:pt x="119" y="32"/>
                        <a:pt x="119" y="32"/>
                      </a:cubicBezTo>
                      <a:cubicBezTo>
                        <a:pt x="130" y="23"/>
                        <a:pt x="130" y="23"/>
                        <a:pt x="130" y="23"/>
                      </a:cubicBezTo>
                      <a:cubicBezTo>
                        <a:pt x="130" y="22"/>
                        <a:pt x="131" y="22"/>
                        <a:pt x="132" y="22"/>
                      </a:cubicBezTo>
                      <a:cubicBezTo>
                        <a:pt x="133" y="22"/>
                        <a:pt x="133" y="22"/>
                        <a:pt x="133" y="22"/>
                      </a:cubicBezTo>
                      <a:cubicBezTo>
                        <a:pt x="134" y="23"/>
                        <a:pt x="136" y="25"/>
                        <a:pt x="137" y="26"/>
                      </a:cubicBezTo>
                      <a:cubicBezTo>
                        <a:pt x="138" y="27"/>
                        <a:pt x="137" y="28"/>
                        <a:pt x="136" y="30"/>
                      </a:cubicBezTo>
                      <a:cubicBezTo>
                        <a:pt x="128" y="40"/>
                        <a:pt x="128" y="40"/>
                        <a:pt x="128" y="40"/>
                      </a:cubicBezTo>
                      <a:cubicBezTo>
                        <a:pt x="128" y="41"/>
                        <a:pt x="128" y="41"/>
                        <a:pt x="128" y="41"/>
                      </a:cubicBezTo>
                      <a:cubicBezTo>
                        <a:pt x="130" y="43"/>
                        <a:pt x="131" y="45"/>
                        <a:pt x="133" y="48"/>
                      </a:cubicBezTo>
                      <a:cubicBezTo>
                        <a:pt x="133" y="48"/>
                        <a:pt x="133" y="48"/>
                        <a:pt x="133" y="48"/>
                      </a:cubicBezTo>
                      <a:cubicBezTo>
                        <a:pt x="146" y="43"/>
                        <a:pt x="146" y="43"/>
                        <a:pt x="146" y="43"/>
                      </a:cubicBezTo>
                      <a:cubicBezTo>
                        <a:pt x="146" y="43"/>
                        <a:pt x="147" y="43"/>
                        <a:pt x="148" y="43"/>
                      </a:cubicBezTo>
                      <a:cubicBezTo>
                        <a:pt x="149" y="43"/>
                        <a:pt x="150" y="43"/>
                        <a:pt x="150" y="44"/>
                      </a:cubicBezTo>
                      <a:cubicBezTo>
                        <a:pt x="152" y="49"/>
                        <a:pt x="152" y="49"/>
                        <a:pt x="152" y="49"/>
                      </a:cubicBezTo>
                      <a:cubicBezTo>
                        <a:pt x="152" y="49"/>
                        <a:pt x="152" y="51"/>
                        <a:pt x="150" y="52"/>
                      </a:cubicBezTo>
                      <a:cubicBezTo>
                        <a:pt x="138" y="59"/>
                        <a:pt x="138" y="59"/>
                        <a:pt x="138" y="59"/>
                      </a:cubicBezTo>
                      <a:cubicBezTo>
                        <a:pt x="138" y="59"/>
                        <a:pt x="138" y="59"/>
                        <a:pt x="138" y="59"/>
                      </a:cubicBezTo>
                      <a:cubicBezTo>
                        <a:pt x="139" y="62"/>
                        <a:pt x="140" y="65"/>
                        <a:pt x="141" y="67"/>
                      </a:cubicBezTo>
                      <a:cubicBezTo>
                        <a:pt x="141" y="68"/>
                        <a:pt x="141" y="68"/>
                        <a:pt x="141" y="68"/>
                      </a:cubicBezTo>
                      <a:cubicBezTo>
                        <a:pt x="154" y="68"/>
                        <a:pt x="154" y="68"/>
                        <a:pt x="154" y="68"/>
                      </a:cubicBezTo>
                      <a:cubicBezTo>
                        <a:pt x="156" y="68"/>
                        <a:pt x="158" y="69"/>
                        <a:pt x="158" y="70"/>
                      </a:cubicBezTo>
                      <a:cubicBezTo>
                        <a:pt x="158" y="75"/>
                        <a:pt x="158" y="75"/>
                        <a:pt x="158" y="75"/>
                      </a:cubicBezTo>
                      <a:cubicBezTo>
                        <a:pt x="158" y="76"/>
                        <a:pt x="157" y="77"/>
                        <a:pt x="155" y="78"/>
                      </a:cubicBezTo>
                      <a:lnTo>
                        <a:pt x="142" y="80"/>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372"/>
                <p:cNvSpPr>
                  <a:spLocks noEditPoints="1"/>
                </p:cNvSpPr>
                <p:nvPr/>
              </p:nvSpPr>
              <p:spPr bwMode="auto">
                <a:xfrm rot="14718710">
                  <a:off x="12049120" y="5358566"/>
                  <a:ext cx="945245" cy="893805"/>
                </a:xfrm>
                <a:custGeom>
                  <a:avLst/>
                  <a:gdLst>
                    <a:gd name="T0" fmla="*/ 10 w 40"/>
                    <a:gd name="T1" fmla="*/ 39 h 40"/>
                    <a:gd name="T2" fmla="*/ 10 w 40"/>
                    <a:gd name="T3" fmla="*/ 40 h 40"/>
                    <a:gd name="T4" fmla="*/ 40 w 40"/>
                    <a:gd name="T5" fmla="*/ 26 h 40"/>
                    <a:gd name="T6" fmla="*/ 39 w 40"/>
                    <a:gd name="T7" fmla="*/ 25 h 40"/>
                    <a:gd name="T8" fmla="*/ 3 w 40"/>
                    <a:gd name="T9" fmla="*/ 0 h 40"/>
                    <a:gd name="T10" fmla="*/ 2 w 40"/>
                    <a:gd name="T11" fmla="*/ 0 h 40"/>
                    <a:gd name="T12" fmla="*/ 0 w 40"/>
                    <a:gd name="T13" fmla="*/ 32 h 40"/>
                    <a:gd name="T14" fmla="*/ 0 w 40"/>
                    <a:gd name="T15" fmla="*/ 32 h 40"/>
                    <a:gd name="T16" fmla="*/ 10 w 40"/>
                    <a:gd name="T17" fmla="*/ 39 h 40"/>
                    <a:gd name="T18" fmla="*/ 38 w 40"/>
                    <a:gd name="T19" fmla="*/ 25 h 40"/>
                    <a:gd name="T20" fmla="*/ 11 w 40"/>
                    <a:gd name="T21" fmla="*/ 38 h 40"/>
                    <a:gd name="T22" fmla="*/ 1 w 40"/>
                    <a:gd name="T23" fmla="*/ 31 h 40"/>
                    <a:gd name="T24" fmla="*/ 3 w 40"/>
                    <a:gd name="T25" fmla="*/ 1 h 40"/>
                    <a:gd name="T26" fmla="*/ 38 w 40"/>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10" y="39"/>
                      </a:moveTo>
                      <a:cubicBezTo>
                        <a:pt x="10" y="40"/>
                        <a:pt x="10" y="40"/>
                        <a:pt x="10" y="40"/>
                      </a:cubicBezTo>
                      <a:cubicBezTo>
                        <a:pt x="40" y="26"/>
                        <a:pt x="40" y="26"/>
                        <a:pt x="40" y="26"/>
                      </a:cubicBezTo>
                      <a:cubicBezTo>
                        <a:pt x="39" y="25"/>
                        <a:pt x="39" y="25"/>
                        <a:pt x="39" y="25"/>
                      </a:cubicBezTo>
                      <a:cubicBezTo>
                        <a:pt x="31" y="12"/>
                        <a:pt x="18" y="3"/>
                        <a:pt x="3" y="0"/>
                      </a:cubicBezTo>
                      <a:cubicBezTo>
                        <a:pt x="2" y="0"/>
                        <a:pt x="2" y="0"/>
                        <a:pt x="2" y="0"/>
                      </a:cubicBezTo>
                      <a:cubicBezTo>
                        <a:pt x="0" y="32"/>
                        <a:pt x="0" y="32"/>
                        <a:pt x="0" y="32"/>
                      </a:cubicBezTo>
                      <a:cubicBezTo>
                        <a:pt x="0" y="32"/>
                        <a:pt x="0" y="32"/>
                        <a:pt x="0" y="32"/>
                      </a:cubicBezTo>
                      <a:cubicBezTo>
                        <a:pt x="4" y="33"/>
                        <a:pt x="8" y="36"/>
                        <a:pt x="10" y="39"/>
                      </a:cubicBezTo>
                      <a:close/>
                      <a:moveTo>
                        <a:pt x="38" y="25"/>
                      </a:moveTo>
                      <a:cubicBezTo>
                        <a:pt x="11" y="38"/>
                        <a:pt x="11" y="38"/>
                        <a:pt x="11" y="38"/>
                      </a:cubicBezTo>
                      <a:cubicBezTo>
                        <a:pt x="8" y="35"/>
                        <a:pt x="5" y="32"/>
                        <a:pt x="1" y="31"/>
                      </a:cubicBezTo>
                      <a:cubicBezTo>
                        <a:pt x="3" y="1"/>
                        <a:pt x="3" y="1"/>
                        <a:pt x="3" y="1"/>
                      </a:cubicBezTo>
                      <a:cubicBezTo>
                        <a:pt x="18" y="4"/>
                        <a:pt x="30" y="13"/>
                        <a:pt x="38" y="25"/>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373"/>
                <p:cNvSpPr>
                  <a:spLocks noEditPoints="1"/>
                </p:cNvSpPr>
                <p:nvPr/>
              </p:nvSpPr>
              <p:spPr bwMode="auto">
                <a:xfrm rot="14718710">
                  <a:off x="13108360" y="5792334"/>
                  <a:ext cx="617729" cy="558139"/>
                </a:xfrm>
                <a:custGeom>
                  <a:avLst/>
                  <a:gdLst>
                    <a:gd name="T0" fmla="*/ 26 w 26"/>
                    <a:gd name="T1" fmla="*/ 14 h 25"/>
                    <a:gd name="T2" fmla="*/ 14 w 26"/>
                    <a:gd name="T3" fmla="*/ 0 h 25"/>
                    <a:gd name="T4" fmla="*/ 13 w 26"/>
                    <a:gd name="T5" fmla="*/ 0 h 25"/>
                    <a:gd name="T6" fmla="*/ 0 w 26"/>
                    <a:gd name="T7" fmla="*/ 12 h 25"/>
                    <a:gd name="T8" fmla="*/ 3 w 26"/>
                    <a:gd name="T9" fmla="*/ 21 h 25"/>
                    <a:gd name="T10" fmla="*/ 12 w 26"/>
                    <a:gd name="T11" fmla="*/ 25 h 25"/>
                    <a:gd name="T12" fmla="*/ 13 w 26"/>
                    <a:gd name="T13" fmla="*/ 25 h 25"/>
                    <a:gd name="T14" fmla="*/ 26 w 26"/>
                    <a:gd name="T15" fmla="*/ 14 h 25"/>
                    <a:gd name="T16" fmla="*/ 12 w 26"/>
                    <a:gd name="T17" fmla="*/ 24 h 25"/>
                    <a:gd name="T18" fmla="*/ 4 w 26"/>
                    <a:gd name="T19" fmla="*/ 20 h 25"/>
                    <a:gd name="T20" fmla="*/ 2 w 26"/>
                    <a:gd name="T21" fmla="*/ 12 h 25"/>
                    <a:gd name="T22" fmla="*/ 13 w 26"/>
                    <a:gd name="T23" fmla="*/ 1 h 25"/>
                    <a:gd name="T24" fmla="*/ 14 w 26"/>
                    <a:gd name="T25" fmla="*/ 1 h 25"/>
                    <a:gd name="T26" fmla="*/ 24 w 26"/>
                    <a:gd name="T27" fmla="*/ 14 h 25"/>
                    <a:gd name="T28" fmla="*/ 13 w 26"/>
                    <a:gd name="T29" fmla="*/ 24 h 25"/>
                    <a:gd name="T30" fmla="*/ 12 w 26"/>
                    <a:gd name="T3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26" y="14"/>
                      </a:moveTo>
                      <a:cubicBezTo>
                        <a:pt x="26" y="7"/>
                        <a:pt x="21" y="1"/>
                        <a:pt x="14" y="0"/>
                      </a:cubicBezTo>
                      <a:cubicBezTo>
                        <a:pt x="14" y="0"/>
                        <a:pt x="13" y="0"/>
                        <a:pt x="13" y="0"/>
                      </a:cubicBezTo>
                      <a:cubicBezTo>
                        <a:pt x="6" y="0"/>
                        <a:pt x="1" y="5"/>
                        <a:pt x="0" y="12"/>
                      </a:cubicBezTo>
                      <a:cubicBezTo>
                        <a:pt x="0" y="15"/>
                        <a:pt x="1" y="18"/>
                        <a:pt x="3" y="21"/>
                      </a:cubicBezTo>
                      <a:cubicBezTo>
                        <a:pt x="6" y="23"/>
                        <a:pt x="9" y="25"/>
                        <a:pt x="12" y="25"/>
                      </a:cubicBezTo>
                      <a:cubicBezTo>
                        <a:pt x="12" y="25"/>
                        <a:pt x="13" y="25"/>
                        <a:pt x="13" y="25"/>
                      </a:cubicBezTo>
                      <a:cubicBezTo>
                        <a:pt x="20" y="25"/>
                        <a:pt x="25" y="20"/>
                        <a:pt x="26" y="14"/>
                      </a:cubicBezTo>
                      <a:close/>
                      <a:moveTo>
                        <a:pt x="12" y="24"/>
                      </a:moveTo>
                      <a:cubicBezTo>
                        <a:pt x="9" y="24"/>
                        <a:pt x="6" y="22"/>
                        <a:pt x="4" y="20"/>
                      </a:cubicBezTo>
                      <a:cubicBezTo>
                        <a:pt x="2" y="18"/>
                        <a:pt x="1" y="15"/>
                        <a:pt x="2" y="12"/>
                      </a:cubicBezTo>
                      <a:cubicBezTo>
                        <a:pt x="2" y="6"/>
                        <a:pt x="7" y="1"/>
                        <a:pt x="13" y="1"/>
                      </a:cubicBezTo>
                      <a:cubicBezTo>
                        <a:pt x="13" y="1"/>
                        <a:pt x="14" y="1"/>
                        <a:pt x="14" y="1"/>
                      </a:cubicBezTo>
                      <a:cubicBezTo>
                        <a:pt x="20" y="2"/>
                        <a:pt x="25" y="7"/>
                        <a:pt x="24" y="14"/>
                      </a:cubicBezTo>
                      <a:cubicBezTo>
                        <a:pt x="24" y="20"/>
                        <a:pt x="19" y="24"/>
                        <a:pt x="13" y="24"/>
                      </a:cubicBezTo>
                      <a:cubicBezTo>
                        <a:pt x="13" y="24"/>
                        <a:pt x="12" y="24"/>
                        <a:pt x="12" y="2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374"/>
                <p:cNvSpPr>
                  <a:spLocks noEditPoints="1"/>
                </p:cNvSpPr>
                <p:nvPr/>
              </p:nvSpPr>
              <p:spPr bwMode="auto">
                <a:xfrm rot="14718710">
                  <a:off x="13849515" y="5899142"/>
                  <a:ext cx="949393" cy="870384"/>
                </a:xfrm>
                <a:custGeom>
                  <a:avLst/>
                  <a:gdLst>
                    <a:gd name="T0" fmla="*/ 30 w 40"/>
                    <a:gd name="T1" fmla="*/ 0 h 39"/>
                    <a:gd name="T2" fmla="*/ 30 w 40"/>
                    <a:gd name="T3" fmla="*/ 0 h 39"/>
                    <a:gd name="T4" fmla="*/ 0 w 40"/>
                    <a:gd name="T5" fmla="*/ 13 h 39"/>
                    <a:gd name="T6" fmla="*/ 1 w 40"/>
                    <a:gd name="T7" fmla="*/ 14 h 39"/>
                    <a:gd name="T8" fmla="*/ 37 w 40"/>
                    <a:gd name="T9" fmla="*/ 39 h 39"/>
                    <a:gd name="T10" fmla="*/ 38 w 40"/>
                    <a:gd name="T11" fmla="*/ 39 h 39"/>
                    <a:gd name="T12" fmla="*/ 40 w 40"/>
                    <a:gd name="T13" fmla="*/ 7 h 39"/>
                    <a:gd name="T14" fmla="*/ 40 w 40"/>
                    <a:gd name="T15" fmla="*/ 7 h 39"/>
                    <a:gd name="T16" fmla="*/ 30 w 40"/>
                    <a:gd name="T17" fmla="*/ 0 h 39"/>
                    <a:gd name="T18" fmla="*/ 2 w 40"/>
                    <a:gd name="T19" fmla="*/ 14 h 39"/>
                    <a:gd name="T20" fmla="*/ 29 w 40"/>
                    <a:gd name="T21" fmla="*/ 1 h 39"/>
                    <a:gd name="T22" fmla="*/ 39 w 40"/>
                    <a:gd name="T23" fmla="*/ 8 h 39"/>
                    <a:gd name="T24" fmla="*/ 37 w 40"/>
                    <a:gd name="T25" fmla="*/ 38 h 39"/>
                    <a:gd name="T26" fmla="*/ 2 w 40"/>
                    <a:gd name="T27"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9">
                      <a:moveTo>
                        <a:pt x="30" y="0"/>
                      </a:moveTo>
                      <a:cubicBezTo>
                        <a:pt x="30" y="0"/>
                        <a:pt x="30" y="0"/>
                        <a:pt x="30" y="0"/>
                      </a:cubicBezTo>
                      <a:cubicBezTo>
                        <a:pt x="0" y="13"/>
                        <a:pt x="0" y="13"/>
                        <a:pt x="0" y="13"/>
                      </a:cubicBezTo>
                      <a:cubicBezTo>
                        <a:pt x="1" y="14"/>
                        <a:pt x="1" y="14"/>
                        <a:pt x="1" y="14"/>
                      </a:cubicBezTo>
                      <a:cubicBezTo>
                        <a:pt x="9" y="27"/>
                        <a:pt x="22" y="37"/>
                        <a:pt x="37" y="39"/>
                      </a:cubicBezTo>
                      <a:cubicBezTo>
                        <a:pt x="38" y="39"/>
                        <a:pt x="38" y="39"/>
                        <a:pt x="38" y="39"/>
                      </a:cubicBezTo>
                      <a:cubicBezTo>
                        <a:pt x="40" y="7"/>
                        <a:pt x="40" y="7"/>
                        <a:pt x="40" y="7"/>
                      </a:cubicBezTo>
                      <a:cubicBezTo>
                        <a:pt x="40" y="7"/>
                        <a:pt x="40" y="7"/>
                        <a:pt x="40" y="7"/>
                      </a:cubicBezTo>
                      <a:cubicBezTo>
                        <a:pt x="36" y="6"/>
                        <a:pt x="32" y="4"/>
                        <a:pt x="30" y="0"/>
                      </a:cubicBezTo>
                      <a:close/>
                      <a:moveTo>
                        <a:pt x="2" y="14"/>
                      </a:moveTo>
                      <a:cubicBezTo>
                        <a:pt x="29" y="1"/>
                        <a:pt x="29" y="1"/>
                        <a:pt x="29" y="1"/>
                      </a:cubicBezTo>
                      <a:cubicBezTo>
                        <a:pt x="32" y="4"/>
                        <a:pt x="35" y="7"/>
                        <a:pt x="39" y="8"/>
                      </a:cubicBezTo>
                      <a:cubicBezTo>
                        <a:pt x="37" y="38"/>
                        <a:pt x="37" y="38"/>
                        <a:pt x="37" y="38"/>
                      </a:cubicBezTo>
                      <a:cubicBezTo>
                        <a:pt x="22" y="35"/>
                        <a:pt x="10" y="27"/>
                        <a:pt x="2" y="14"/>
                      </a:cubicBez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375"/>
                <p:cNvSpPr>
                  <a:spLocks noEditPoints="1"/>
                </p:cNvSpPr>
                <p:nvPr/>
              </p:nvSpPr>
              <p:spPr bwMode="auto">
                <a:xfrm rot="14718710">
                  <a:off x="12740798" y="4758274"/>
                  <a:ext cx="804289" cy="1003089"/>
                </a:xfrm>
                <a:custGeom>
                  <a:avLst/>
                  <a:gdLst>
                    <a:gd name="T0" fmla="*/ 30 w 34"/>
                    <a:gd name="T1" fmla="*/ 0 h 45"/>
                    <a:gd name="T2" fmla="*/ 1 w 34"/>
                    <a:gd name="T3" fmla="*/ 14 h 45"/>
                    <a:gd name="T4" fmla="*/ 1 w 34"/>
                    <a:gd name="T5" fmla="*/ 14 h 45"/>
                    <a:gd name="T6" fmla="*/ 1 w 34"/>
                    <a:gd name="T7" fmla="*/ 20 h 45"/>
                    <a:gd name="T8" fmla="*/ 0 w 34"/>
                    <a:gd name="T9" fmla="*/ 27 h 45"/>
                    <a:gd name="T10" fmla="*/ 0 w 34"/>
                    <a:gd name="T11" fmla="*/ 27 h 45"/>
                    <a:gd name="T12" fmla="*/ 26 w 34"/>
                    <a:gd name="T13" fmla="*/ 45 h 45"/>
                    <a:gd name="T14" fmla="*/ 26 w 34"/>
                    <a:gd name="T15" fmla="*/ 45 h 45"/>
                    <a:gd name="T16" fmla="*/ 33 w 34"/>
                    <a:gd name="T17" fmla="*/ 23 h 45"/>
                    <a:gd name="T18" fmla="*/ 30 w 34"/>
                    <a:gd name="T19" fmla="*/ 1 h 45"/>
                    <a:gd name="T20" fmla="*/ 30 w 34"/>
                    <a:gd name="T21" fmla="*/ 0 h 45"/>
                    <a:gd name="T22" fmla="*/ 1 w 34"/>
                    <a:gd name="T23" fmla="*/ 27 h 45"/>
                    <a:gd name="T24" fmla="*/ 3 w 34"/>
                    <a:gd name="T25" fmla="*/ 20 h 45"/>
                    <a:gd name="T26" fmla="*/ 2 w 34"/>
                    <a:gd name="T27" fmla="*/ 14 h 45"/>
                    <a:gd name="T28" fmla="*/ 29 w 34"/>
                    <a:gd name="T29" fmla="*/ 2 h 45"/>
                    <a:gd name="T30" fmla="*/ 32 w 34"/>
                    <a:gd name="T31" fmla="*/ 23 h 45"/>
                    <a:gd name="T32" fmla="*/ 26 w 34"/>
                    <a:gd name="T33" fmla="*/ 44 h 45"/>
                    <a:gd name="T34" fmla="*/ 1 w 34"/>
                    <a:gd name="T3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0" y="0"/>
                      </a:moveTo>
                      <a:cubicBezTo>
                        <a:pt x="1" y="14"/>
                        <a:pt x="1" y="14"/>
                        <a:pt x="1" y="14"/>
                      </a:cubicBezTo>
                      <a:cubicBezTo>
                        <a:pt x="1" y="14"/>
                        <a:pt x="1" y="14"/>
                        <a:pt x="1" y="14"/>
                      </a:cubicBezTo>
                      <a:cubicBezTo>
                        <a:pt x="1" y="16"/>
                        <a:pt x="2" y="18"/>
                        <a:pt x="1" y="20"/>
                      </a:cubicBezTo>
                      <a:cubicBezTo>
                        <a:pt x="1" y="22"/>
                        <a:pt x="1" y="25"/>
                        <a:pt x="0" y="27"/>
                      </a:cubicBezTo>
                      <a:cubicBezTo>
                        <a:pt x="0" y="27"/>
                        <a:pt x="0" y="27"/>
                        <a:pt x="0" y="27"/>
                      </a:cubicBezTo>
                      <a:cubicBezTo>
                        <a:pt x="26" y="45"/>
                        <a:pt x="26" y="45"/>
                        <a:pt x="26" y="45"/>
                      </a:cubicBezTo>
                      <a:cubicBezTo>
                        <a:pt x="26" y="45"/>
                        <a:pt x="26" y="45"/>
                        <a:pt x="26" y="45"/>
                      </a:cubicBezTo>
                      <a:cubicBezTo>
                        <a:pt x="30" y="38"/>
                        <a:pt x="32" y="31"/>
                        <a:pt x="33" y="23"/>
                      </a:cubicBezTo>
                      <a:cubicBezTo>
                        <a:pt x="34" y="15"/>
                        <a:pt x="33" y="8"/>
                        <a:pt x="30" y="1"/>
                      </a:cubicBezTo>
                      <a:lnTo>
                        <a:pt x="30" y="0"/>
                      </a:lnTo>
                      <a:close/>
                      <a:moveTo>
                        <a:pt x="1" y="27"/>
                      </a:moveTo>
                      <a:cubicBezTo>
                        <a:pt x="2" y="25"/>
                        <a:pt x="2" y="23"/>
                        <a:pt x="3" y="20"/>
                      </a:cubicBezTo>
                      <a:cubicBezTo>
                        <a:pt x="3" y="18"/>
                        <a:pt x="3" y="16"/>
                        <a:pt x="2" y="14"/>
                      </a:cubicBezTo>
                      <a:cubicBezTo>
                        <a:pt x="29" y="2"/>
                        <a:pt x="29" y="2"/>
                        <a:pt x="29" y="2"/>
                      </a:cubicBezTo>
                      <a:cubicBezTo>
                        <a:pt x="32" y="8"/>
                        <a:pt x="33" y="16"/>
                        <a:pt x="32" y="23"/>
                      </a:cubicBezTo>
                      <a:cubicBezTo>
                        <a:pt x="31" y="30"/>
                        <a:pt x="29" y="37"/>
                        <a:pt x="26" y="44"/>
                      </a:cubicBezTo>
                      <a:lnTo>
                        <a:pt x="1" y="27"/>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376"/>
                <p:cNvSpPr>
                  <a:spLocks noEditPoints="1"/>
                </p:cNvSpPr>
                <p:nvPr/>
              </p:nvSpPr>
              <p:spPr bwMode="auto">
                <a:xfrm rot="14718710">
                  <a:off x="13288156" y="6383331"/>
                  <a:ext cx="808436" cy="1003089"/>
                </a:xfrm>
                <a:custGeom>
                  <a:avLst/>
                  <a:gdLst>
                    <a:gd name="T0" fmla="*/ 33 w 34"/>
                    <a:gd name="T1" fmla="*/ 31 h 45"/>
                    <a:gd name="T2" fmla="*/ 33 w 34"/>
                    <a:gd name="T3" fmla="*/ 25 h 45"/>
                    <a:gd name="T4" fmla="*/ 34 w 34"/>
                    <a:gd name="T5" fmla="*/ 19 h 45"/>
                    <a:gd name="T6" fmla="*/ 34 w 34"/>
                    <a:gd name="T7" fmla="*/ 18 h 45"/>
                    <a:gd name="T8" fmla="*/ 8 w 34"/>
                    <a:gd name="T9" fmla="*/ 0 h 45"/>
                    <a:gd name="T10" fmla="*/ 8 w 34"/>
                    <a:gd name="T11" fmla="*/ 1 h 45"/>
                    <a:gd name="T12" fmla="*/ 1 w 34"/>
                    <a:gd name="T13" fmla="*/ 22 h 45"/>
                    <a:gd name="T14" fmla="*/ 4 w 34"/>
                    <a:gd name="T15" fmla="*/ 45 h 45"/>
                    <a:gd name="T16" fmla="*/ 4 w 34"/>
                    <a:gd name="T17" fmla="*/ 45 h 45"/>
                    <a:gd name="T18" fmla="*/ 33 w 34"/>
                    <a:gd name="T19" fmla="*/ 32 h 45"/>
                    <a:gd name="T20" fmla="*/ 33 w 34"/>
                    <a:gd name="T21" fmla="*/ 31 h 45"/>
                    <a:gd name="T22" fmla="*/ 33 w 34"/>
                    <a:gd name="T23" fmla="*/ 19 h 45"/>
                    <a:gd name="T24" fmla="*/ 31 w 34"/>
                    <a:gd name="T25" fmla="*/ 25 h 45"/>
                    <a:gd name="T26" fmla="*/ 32 w 34"/>
                    <a:gd name="T27" fmla="*/ 31 h 45"/>
                    <a:gd name="T28" fmla="*/ 5 w 34"/>
                    <a:gd name="T29" fmla="*/ 44 h 45"/>
                    <a:gd name="T30" fmla="*/ 2 w 34"/>
                    <a:gd name="T31" fmla="*/ 22 h 45"/>
                    <a:gd name="T32" fmla="*/ 8 w 34"/>
                    <a:gd name="T33" fmla="*/ 2 h 45"/>
                    <a:gd name="T34" fmla="*/ 33 w 34"/>
                    <a:gd name="T3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3" y="31"/>
                      </a:moveTo>
                      <a:cubicBezTo>
                        <a:pt x="33" y="29"/>
                        <a:pt x="32" y="27"/>
                        <a:pt x="33" y="25"/>
                      </a:cubicBezTo>
                      <a:cubicBezTo>
                        <a:pt x="33" y="23"/>
                        <a:pt x="33" y="21"/>
                        <a:pt x="34" y="19"/>
                      </a:cubicBezTo>
                      <a:cubicBezTo>
                        <a:pt x="34" y="18"/>
                        <a:pt x="34" y="18"/>
                        <a:pt x="34" y="18"/>
                      </a:cubicBezTo>
                      <a:cubicBezTo>
                        <a:pt x="8" y="0"/>
                        <a:pt x="8" y="0"/>
                        <a:pt x="8" y="0"/>
                      </a:cubicBezTo>
                      <a:cubicBezTo>
                        <a:pt x="8" y="1"/>
                        <a:pt x="8" y="1"/>
                        <a:pt x="8" y="1"/>
                      </a:cubicBezTo>
                      <a:cubicBezTo>
                        <a:pt x="4" y="7"/>
                        <a:pt x="2" y="15"/>
                        <a:pt x="1" y="22"/>
                      </a:cubicBezTo>
                      <a:cubicBezTo>
                        <a:pt x="0" y="30"/>
                        <a:pt x="1" y="38"/>
                        <a:pt x="4" y="45"/>
                      </a:cubicBezTo>
                      <a:cubicBezTo>
                        <a:pt x="4" y="45"/>
                        <a:pt x="4" y="45"/>
                        <a:pt x="4" y="45"/>
                      </a:cubicBezTo>
                      <a:cubicBezTo>
                        <a:pt x="33" y="32"/>
                        <a:pt x="33" y="32"/>
                        <a:pt x="33" y="32"/>
                      </a:cubicBezTo>
                      <a:lnTo>
                        <a:pt x="33" y="31"/>
                      </a:lnTo>
                      <a:close/>
                      <a:moveTo>
                        <a:pt x="33" y="19"/>
                      </a:moveTo>
                      <a:cubicBezTo>
                        <a:pt x="32" y="21"/>
                        <a:pt x="32" y="23"/>
                        <a:pt x="31" y="25"/>
                      </a:cubicBezTo>
                      <a:cubicBezTo>
                        <a:pt x="31" y="27"/>
                        <a:pt x="31" y="29"/>
                        <a:pt x="32" y="31"/>
                      </a:cubicBezTo>
                      <a:cubicBezTo>
                        <a:pt x="5" y="44"/>
                        <a:pt x="5" y="44"/>
                        <a:pt x="5" y="44"/>
                      </a:cubicBezTo>
                      <a:cubicBezTo>
                        <a:pt x="2" y="37"/>
                        <a:pt x="1" y="30"/>
                        <a:pt x="2" y="22"/>
                      </a:cubicBezTo>
                      <a:cubicBezTo>
                        <a:pt x="3" y="15"/>
                        <a:pt x="5" y="8"/>
                        <a:pt x="8" y="2"/>
                      </a:cubicBezTo>
                      <a:lnTo>
                        <a:pt x="33" y="19"/>
                      </a:lnTo>
                      <a:close/>
                    </a:path>
                  </a:pathLst>
                </a:custGeom>
                <a:solidFill>
                  <a:srgbClr val="F2F2F2">
                    <a:alpha val="7059"/>
                  </a:srgbClr>
                </a:solidFill>
                <a:ln w="9525">
                  <a:solidFill>
                    <a:srgbClr val="F2F2F2">
                      <a:alpha val="7059"/>
                    </a:srgbClr>
                  </a:solidFill>
                  <a:round/>
                  <a:headEnd/>
                  <a:tailEnd/>
                </a:ln>
                <a:extLst/>
              </p:spPr>
              <p:txBody>
                <a:bodyPr vert="horz" wrap="square" lIns="67733" tIns="33868" rIns="67733" bIns="3386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78" name="Picture 37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86217" y="4288074"/>
                <a:ext cx="347217" cy="347217"/>
              </a:xfrm>
              <a:prstGeom prst="rect">
                <a:avLst/>
              </a:prstGeom>
            </p:spPr>
          </p:pic>
          <p:sp>
            <p:nvSpPr>
              <p:cNvPr id="379" name="Rectangle 378"/>
              <p:cNvSpPr/>
              <p:nvPr/>
            </p:nvSpPr>
            <p:spPr>
              <a:xfrm>
                <a:off x="4047050" y="4494668"/>
                <a:ext cx="831508" cy="415097"/>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Process Checklist</a:t>
                </a:r>
              </a:p>
            </p:txBody>
          </p:sp>
          <p:pic>
            <p:nvPicPr>
              <p:cNvPr id="380" name="Picture 379"/>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455945" y="1459595"/>
                <a:ext cx="465155" cy="465155"/>
              </a:xfrm>
              <a:prstGeom prst="rect">
                <a:avLst/>
              </a:prstGeom>
            </p:spPr>
          </p:pic>
          <p:sp>
            <p:nvSpPr>
              <p:cNvPr id="321" name="Rectangle 235"/>
              <p:cNvSpPr>
                <a:spLocks noChangeArrowheads="1"/>
              </p:cNvSpPr>
              <p:nvPr/>
            </p:nvSpPr>
            <p:spPr bwMode="auto">
              <a:xfrm>
                <a:off x="4329083" y="3569278"/>
                <a:ext cx="7261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508063"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smtClean="0">
                    <a:ln>
                      <a:noFill/>
                    </a:ln>
                    <a:solidFill>
                      <a:prstClr val="white"/>
                    </a:solidFill>
                    <a:effectLst/>
                    <a:uLnTx/>
                    <a:uFillTx/>
                    <a:latin typeface="Calibri" panose="020F0502020204030204"/>
                    <a:ea typeface="+mn-ea"/>
                    <a:cs typeface="+mn-cs"/>
                  </a:rPr>
                  <a:t>Validate dependent system impact</a:t>
                </a:r>
                <a:endParaRPr kumimoji="0" lang="en-US" alt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15" name="Picture 4" descr="C:\Users\Admin\Desktop\icon-associate.png"/>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2881072" y="1170465"/>
                <a:ext cx="332536" cy="345347"/>
              </a:xfrm>
              <a:prstGeom prst="rect">
                <a:avLst/>
              </a:prstGeom>
              <a:noFill/>
              <a:ln>
                <a:noFill/>
              </a:ln>
            </p:spPr>
          </p:pic>
          <p:sp>
            <p:nvSpPr>
              <p:cNvPr id="316" name="Rectangle 315"/>
              <p:cNvSpPr/>
              <p:nvPr/>
            </p:nvSpPr>
            <p:spPr>
              <a:xfrm>
                <a:off x="2808763" y="1488838"/>
                <a:ext cx="1045618"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Problem Management </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hange Management</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Release Management </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323" name="Rectangle 322"/>
              <p:cNvSpPr/>
              <p:nvPr/>
            </p:nvSpPr>
            <p:spPr>
              <a:xfrm>
                <a:off x="10407987" y="1547157"/>
                <a:ext cx="1045618"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hange Management</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Release Management </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pic>
            <p:nvPicPr>
              <p:cNvPr id="347" name="Picture 4" descr="C:\Users\Admin\Desktop\icon-associate.png"/>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10825136" y="1282888"/>
                <a:ext cx="332536" cy="345347"/>
              </a:xfrm>
              <a:prstGeom prst="rect">
                <a:avLst/>
              </a:prstGeom>
              <a:noFill/>
              <a:ln>
                <a:noFill/>
              </a:ln>
            </p:spPr>
          </p:pic>
          <p:sp>
            <p:nvSpPr>
              <p:cNvPr id="355" name="Rectangle 354"/>
              <p:cNvSpPr/>
              <p:nvPr/>
            </p:nvSpPr>
            <p:spPr>
              <a:xfrm>
                <a:off x="10697394" y="3784941"/>
                <a:ext cx="1323155"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onfiguration Management </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Deployment Process approval </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pic>
            <p:nvPicPr>
              <p:cNvPr id="356" name="Picture 4" descr="C:\Users\Admin\Desktop\icon-associate.png"/>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11114544" y="3520672"/>
                <a:ext cx="332536" cy="345347"/>
              </a:xfrm>
              <a:prstGeom prst="rect">
                <a:avLst/>
              </a:prstGeom>
              <a:noFill/>
              <a:ln>
                <a:noFill/>
              </a:ln>
            </p:spPr>
          </p:pic>
        </p:grpSp>
      </p:grpSp>
      <p:grpSp>
        <p:nvGrpSpPr>
          <p:cNvPr id="7" name="Group 6"/>
          <p:cNvGrpSpPr/>
          <p:nvPr/>
        </p:nvGrpSpPr>
        <p:grpSpPr>
          <a:xfrm>
            <a:off x="439417" y="1094944"/>
            <a:ext cx="9708048" cy="4544150"/>
            <a:chOff x="439417" y="1094944"/>
            <a:chExt cx="9708048" cy="4544150"/>
          </a:xfrm>
        </p:grpSpPr>
        <p:sp>
          <p:nvSpPr>
            <p:cNvPr id="360" name="Rectangle 359"/>
            <p:cNvSpPr/>
            <p:nvPr/>
          </p:nvSpPr>
          <p:spPr>
            <a:xfrm>
              <a:off x="1820255" y="5181602"/>
              <a:ext cx="1024611" cy="457492"/>
            </a:xfrm>
            <a:prstGeom prst="rect">
              <a:avLst/>
            </a:prstGeom>
          </p:spPr>
          <p:txBody>
            <a:bodyPr wrap="square" lIns="91440" tIns="45720" rIns="91440" bIns="4572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Jenkins</a:t>
              </a:r>
            </a:p>
          </p:txBody>
        </p:sp>
        <p:sp>
          <p:nvSpPr>
            <p:cNvPr id="361" name="Rectangle 360"/>
            <p:cNvSpPr/>
            <p:nvPr/>
          </p:nvSpPr>
          <p:spPr>
            <a:xfrm>
              <a:off x="439417" y="3801079"/>
              <a:ext cx="1024611" cy="457492"/>
            </a:xfrm>
            <a:prstGeom prst="rect">
              <a:avLst/>
            </a:prstGeom>
          </p:spPr>
          <p:txBody>
            <a:bodyPr wrap="square" lIns="91440" tIns="45720" rIns="91440" bIns="4572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Jenkins</a:t>
              </a:r>
            </a:p>
          </p:txBody>
        </p:sp>
        <p:sp>
          <p:nvSpPr>
            <p:cNvPr id="381" name="Rectangle 380"/>
            <p:cNvSpPr/>
            <p:nvPr/>
          </p:nvSpPr>
          <p:spPr>
            <a:xfrm>
              <a:off x="6116495" y="4059746"/>
              <a:ext cx="579005" cy="215444"/>
            </a:xfrm>
            <a:prstGeom prst="rect">
              <a:avLst/>
            </a:prstGeom>
          </p:spPr>
          <p:txBody>
            <a:bodyPr wrap="none" lIns="91440" tIns="45720" rIns="91440" bIns="45720">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Selenium</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382" name="Rectangle 381"/>
            <p:cNvSpPr/>
            <p:nvPr/>
          </p:nvSpPr>
          <p:spPr>
            <a:xfrm>
              <a:off x="8102898" y="3930144"/>
              <a:ext cx="430004" cy="210056"/>
            </a:xfrm>
            <a:prstGeom prst="rect">
              <a:avLst/>
            </a:prstGeom>
          </p:spPr>
          <p:txBody>
            <a:bodyPr wrap="square" lIns="0" tIns="0" rIns="0" bIns="0" anchor="ctr" anchorCtr="0">
              <a:noAutofit/>
            </a:bodyPr>
            <a:lstStyle/>
            <a:p>
              <a:pPr marL="0" marR="0" lvl="0" indent="0" algn="l"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 </a:t>
              </a: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tests</a:t>
              </a:r>
            </a:p>
          </p:txBody>
        </p:sp>
        <p:sp>
          <p:nvSpPr>
            <p:cNvPr id="383" name="Rectangle 382"/>
            <p:cNvSpPr/>
            <p:nvPr/>
          </p:nvSpPr>
          <p:spPr>
            <a:xfrm>
              <a:off x="9483802" y="1512545"/>
              <a:ext cx="663663" cy="215444"/>
            </a:xfrm>
            <a:prstGeom prst="rect">
              <a:avLst/>
            </a:prstGeom>
          </p:spPr>
          <p:txBody>
            <a:bodyPr wrap="square" lIns="91440" tIns="45720" rIns="91440" bIns="45720">
              <a:spAutoFit/>
            </a:bodyPr>
            <a:lstStyle/>
            <a:p>
              <a:pPr marL="0" marR="0" lvl="0" indent="0" algn="l"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Jenkins</a:t>
              </a:r>
            </a:p>
          </p:txBody>
        </p:sp>
        <p:pic>
          <p:nvPicPr>
            <p:cNvPr id="384" name="Picture 383"/>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250218" y="1829997"/>
              <a:ext cx="336023" cy="360625"/>
            </a:xfrm>
            <a:prstGeom prst="rect">
              <a:avLst/>
            </a:prstGeom>
          </p:spPr>
        </p:pic>
        <p:pic>
          <p:nvPicPr>
            <p:cNvPr id="385" name="Picture 384"/>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797840" y="3513379"/>
              <a:ext cx="336024" cy="360627"/>
            </a:xfrm>
            <a:prstGeom prst="rect">
              <a:avLst/>
            </a:prstGeom>
          </p:spPr>
        </p:pic>
        <p:pic>
          <p:nvPicPr>
            <p:cNvPr id="386" name="Picture 385"/>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2171110" y="4861696"/>
              <a:ext cx="336023" cy="360625"/>
            </a:xfrm>
            <a:prstGeom prst="rect">
              <a:avLst/>
            </a:prstGeom>
          </p:spPr>
        </p:pic>
        <p:pic>
          <p:nvPicPr>
            <p:cNvPr id="387" name="Picture 386"/>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204002" y="3785214"/>
              <a:ext cx="336023" cy="360625"/>
            </a:xfrm>
            <a:prstGeom prst="rect">
              <a:avLst/>
            </a:prstGeom>
          </p:spPr>
        </p:pic>
        <p:pic>
          <p:nvPicPr>
            <p:cNvPr id="388" name="Picture 387"/>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8128807" y="3618882"/>
              <a:ext cx="336023" cy="360625"/>
            </a:xfrm>
            <a:prstGeom prst="rect">
              <a:avLst/>
            </a:prstGeom>
          </p:spPr>
        </p:pic>
        <p:pic>
          <p:nvPicPr>
            <p:cNvPr id="389" name="Picture 388"/>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9182338" y="1497240"/>
              <a:ext cx="336023" cy="360625"/>
            </a:xfrm>
            <a:prstGeom prst="rect">
              <a:avLst/>
            </a:prstGeom>
          </p:spPr>
        </p:pic>
        <p:pic>
          <p:nvPicPr>
            <p:cNvPr id="390" name="Picture 389"/>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209336" y="2811527"/>
              <a:ext cx="337195" cy="361883"/>
            </a:xfrm>
            <a:prstGeom prst="rect">
              <a:avLst/>
            </a:prstGeom>
            <a:noFill/>
            <a:ln>
              <a:noFill/>
            </a:ln>
          </p:spPr>
        </p:pic>
        <p:sp>
          <p:nvSpPr>
            <p:cNvPr id="391" name="Rectangle 390"/>
            <p:cNvSpPr/>
            <p:nvPr/>
          </p:nvSpPr>
          <p:spPr>
            <a:xfrm>
              <a:off x="1644005" y="4527441"/>
              <a:ext cx="761831" cy="271728"/>
            </a:xfrm>
            <a:prstGeom prst="rect">
              <a:avLst/>
            </a:prstGeom>
            <a:ln>
              <a:noFill/>
            </a:ln>
          </p:spPr>
          <p:txBody>
            <a:bodyPr wrap="square" lIns="91440" tIns="45720" rIns="91440" bIns="45720" anchor="ctr">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SonarQube</a:t>
              </a:r>
            </a:p>
          </p:txBody>
        </p:sp>
        <p:pic>
          <p:nvPicPr>
            <p:cNvPr id="392" name="Picture 391"/>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858291" y="4258572"/>
              <a:ext cx="337195" cy="361883"/>
            </a:xfrm>
            <a:prstGeom prst="rect">
              <a:avLst/>
            </a:prstGeom>
            <a:noFill/>
            <a:ln>
              <a:noFill/>
            </a:ln>
          </p:spPr>
        </p:pic>
        <p:sp>
          <p:nvSpPr>
            <p:cNvPr id="393" name="Rectangle 392"/>
            <p:cNvSpPr/>
            <p:nvPr/>
          </p:nvSpPr>
          <p:spPr>
            <a:xfrm>
              <a:off x="5976828" y="1677733"/>
              <a:ext cx="725933" cy="215444"/>
            </a:xfrm>
            <a:prstGeom prst="rect">
              <a:avLst/>
            </a:prstGeom>
          </p:spPr>
          <p:txBody>
            <a:bodyPr wrap="square" lIns="91440" tIns="45720" rIns="91440" bIns="45720">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Zephyr, JIRA</a:t>
              </a:r>
            </a:p>
          </p:txBody>
        </p:sp>
        <p:pic>
          <p:nvPicPr>
            <p:cNvPr id="394" name="Picture 129" descr="https://upload.wikimedia.org/wikipedia/en/thumb/b/bf/JIRA_logo.svg/150px-JIRA_logo.svg.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587151" y="2816209"/>
              <a:ext cx="608605" cy="304304"/>
            </a:xfrm>
            <a:prstGeom prst="rect">
              <a:avLst/>
            </a:prstGeom>
            <a:noFill/>
            <a:extLst>
              <a:ext uri="{909E8E84-426E-40DD-AFC4-6F175D3DCCD1}">
                <a14:hiddenFill xmlns:a14="http://schemas.microsoft.com/office/drawing/2010/main">
                  <a:solidFill>
                    <a:srgbClr val="FFFFFF"/>
                  </a:solidFill>
                </a14:hiddenFill>
              </a:ext>
            </a:extLst>
          </p:spPr>
        </p:pic>
        <p:sp>
          <p:nvSpPr>
            <p:cNvPr id="395" name="Rectangle 394"/>
            <p:cNvSpPr/>
            <p:nvPr/>
          </p:nvSpPr>
          <p:spPr>
            <a:xfrm>
              <a:off x="5298306" y="3190454"/>
              <a:ext cx="580745"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 </a:t>
              </a: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Service</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Virtualization/SOAP UI</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pic>
          <p:nvPicPr>
            <p:cNvPr id="396" name="Picture 143" descr="http://www.getzephyr.com/sites/all/themes/zephyr/logo.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937005" y="1871518"/>
              <a:ext cx="747099" cy="185669"/>
            </a:xfrm>
            <a:prstGeom prst="rect">
              <a:avLst/>
            </a:prstGeom>
            <a:noFill/>
            <a:extLst>
              <a:ext uri="{909E8E84-426E-40DD-AFC4-6F175D3DCCD1}">
                <a14:hiddenFill xmlns:a14="http://schemas.microsoft.com/office/drawing/2010/main">
                  <a:solidFill>
                    <a:srgbClr val="FFFFFF"/>
                  </a:solidFill>
                </a14:hiddenFill>
              </a:ext>
            </a:extLst>
          </p:spPr>
        </p:pic>
        <p:pic>
          <p:nvPicPr>
            <p:cNvPr id="397" name="Picture 129" descr="https://upload.wikimedia.org/wikipedia/en/thumb/b/bf/JIRA_logo.svg/150px-JIRA_logo.svg.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044598" y="2028929"/>
              <a:ext cx="608605" cy="304304"/>
            </a:xfrm>
            <a:prstGeom prst="rect">
              <a:avLst/>
            </a:prstGeom>
            <a:noFill/>
            <a:extLst>
              <a:ext uri="{909E8E84-426E-40DD-AFC4-6F175D3DCCD1}">
                <a14:hiddenFill xmlns:a14="http://schemas.microsoft.com/office/drawing/2010/main">
                  <a:solidFill>
                    <a:srgbClr val="FFFFFF"/>
                  </a:solidFill>
                </a14:hiddenFill>
              </a:ext>
            </a:extLst>
          </p:spPr>
        </p:pic>
        <p:sp>
          <p:nvSpPr>
            <p:cNvPr id="398" name="Rectangle 397"/>
            <p:cNvSpPr/>
            <p:nvPr/>
          </p:nvSpPr>
          <p:spPr>
            <a:xfrm>
              <a:off x="5884451" y="3458003"/>
              <a:ext cx="700512" cy="136016"/>
            </a:xfrm>
            <a:prstGeom prst="rect">
              <a:avLst/>
            </a:prstGeom>
          </p:spPr>
          <p:txBody>
            <a:bodyPr wrap="square" lIns="0" tIns="0" rIns="0" bIns="0" anchor="ctr">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Fortify</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pic>
          <p:nvPicPr>
            <p:cNvPr id="399" name="Picture 398"/>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169970" y="3130486"/>
              <a:ext cx="336023" cy="360625"/>
            </a:xfrm>
            <a:prstGeom prst="rect">
              <a:avLst/>
            </a:prstGeom>
          </p:spPr>
        </p:pic>
        <p:sp>
          <p:nvSpPr>
            <p:cNvPr id="400" name="Rectangle 399"/>
            <p:cNvSpPr/>
            <p:nvPr/>
          </p:nvSpPr>
          <p:spPr>
            <a:xfrm>
              <a:off x="7322490" y="3509121"/>
              <a:ext cx="535724" cy="215444"/>
            </a:xfrm>
            <a:prstGeom prst="rect">
              <a:avLst/>
            </a:prstGeom>
          </p:spPr>
          <p:txBody>
            <a:bodyPr wrap="none" lIns="91440" tIns="45720" rIns="91440" bIns="45720">
              <a:sp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rPr>
                <a:t>SOAP UI</a:t>
              </a:r>
            </a:p>
          </p:txBody>
        </p:sp>
        <p:pic>
          <p:nvPicPr>
            <p:cNvPr id="401" name="Picture 400"/>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7366029" y="3206490"/>
              <a:ext cx="336023" cy="360625"/>
            </a:xfrm>
            <a:prstGeom prst="rect">
              <a:avLst/>
            </a:prstGeom>
          </p:spPr>
        </p:pic>
        <p:pic>
          <p:nvPicPr>
            <p:cNvPr id="402" name="Picture 401"/>
            <p:cNvPicPr>
              <a:picLocks noChangeAspect="1"/>
            </p:cNvPicPr>
            <p:nvPr/>
          </p:nvPicPr>
          <p:blipFill>
            <a:blip r:embed="rId15"/>
            <a:stretch>
              <a:fillRect/>
            </a:stretch>
          </p:blipFill>
          <p:spPr>
            <a:xfrm>
              <a:off x="1431326" y="1094944"/>
              <a:ext cx="1298770" cy="247083"/>
            </a:xfrm>
            <a:prstGeom prst="rect">
              <a:avLst/>
            </a:prstGeom>
          </p:spPr>
        </p:pic>
        <p:sp>
          <p:nvSpPr>
            <p:cNvPr id="403" name="Rectangle 402"/>
            <p:cNvSpPr/>
            <p:nvPr/>
          </p:nvSpPr>
          <p:spPr>
            <a:xfrm>
              <a:off x="3664545" y="1737582"/>
              <a:ext cx="769740"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Confluence/</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800" b="1" i="0" u="none" strike="noStrike" kern="1200" cap="none" spc="0" normalizeH="0" baseline="0" noProof="0" dirty="0" smtClean="0">
                  <a:ln>
                    <a:noFill/>
                  </a:ln>
                  <a:solidFill>
                    <a:srgbClr val="002060"/>
                  </a:solidFill>
                  <a:effectLst/>
                  <a:uLnTx/>
                  <a:uFillTx/>
                  <a:latin typeface="Calibri" panose="020F0502020204030204"/>
                  <a:ea typeface="+mn-ea"/>
                  <a:cs typeface="+mn-cs"/>
                </a:rPr>
                <a:t>KM Tool/KADB</a:t>
              </a:r>
              <a:endParaRPr kumimoji="0" lang="en-US" altLang="en-US" sz="8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grpSp>
      <p:grpSp>
        <p:nvGrpSpPr>
          <p:cNvPr id="9" name="Group 8"/>
          <p:cNvGrpSpPr/>
          <p:nvPr/>
        </p:nvGrpSpPr>
        <p:grpSpPr>
          <a:xfrm>
            <a:off x="-141658" y="716942"/>
            <a:ext cx="11178508" cy="4894798"/>
            <a:chOff x="-141658" y="716942"/>
            <a:chExt cx="11178508" cy="4894798"/>
          </a:xfrm>
        </p:grpSpPr>
        <p:sp>
          <p:nvSpPr>
            <p:cNvPr id="405" name="Rectangle 404"/>
            <p:cNvSpPr/>
            <p:nvPr/>
          </p:nvSpPr>
          <p:spPr>
            <a:xfrm>
              <a:off x="4825058" y="852213"/>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err="1">
                  <a:ln>
                    <a:noFill/>
                  </a:ln>
                  <a:solidFill>
                    <a:srgbClr val="DB282E"/>
                  </a:solidFill>
                  <a:effectLst/>
                  <a:uLnTx/>
                  <a:uFillTx/>
                  <a:latin typeface="Calibri" panose="020F0502020204030204"/>
                  <a:ea typeface="+mn-ea"/>
                  <a:cs typeface="+mn-cs"/>
                </a:rPr>
                <a:t>OneDevOps</a:t>
              </a:r>
              <a:r>
                <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rPr>
                <a:t> Insights™ </a:t>
              </a:r>
            </a:p>
          </p:txBody>
        </p:sp>
        <p:sp>
          <p:nvSpPr>
            <p:cNvPr id="406" name="Rectangle 405"/>
            <p:cNvSpPr/>
            <p:nvPr/>
          </p:nvSpPr>
          <p:spPr>
            <a:xfrm>
              <a:off x="1414021" y="5262148"/>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OneDevOps</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BuildOn</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 </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407" name="Rectangle 406"/>
            <p:cNvSpPr/>
            <p:nvPr/>
          </p:nvSpPr>
          <p:spPr>
            <a:xfrm>
              <a:off x="9443779" y="4501689"/>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OneDevOps</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OnBot</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408" name="Rectangle 407"/>
            <p:cNvSpPr/>
            <p:nvPr/>
          </p:nvSpPr>
          <p:spPr>
            <a:xfrm>
              <a:off x="3809698" y="1515478"/>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OneDevOps</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 </a:t>
              </a:r>
              <a:r>
                <a:rPr kumimoji="0" lang="en-US" altLang="en-US" sz="900" b="1" i="0" u="none" strike="noStrike" kern="1200" cap="none" spc="0" normalizeH="0" baseline="0" noProof="0" dirty="0" err="1" smtClean="0">
                  <a:ln>
                    <a:noFill/>
                  </a:ln>
                  <a:solidFill>
                    <a:srgbClr val="DB282E"/>
                  </a:solidFill>
                  <a:effectLst/>
                  <a:uLnTx/>
                  <a:uFillTx/>
                  <a:latin typeface="Calibri" panose="020F0502020204030204"/>
                  <a:ea typeface="+mn-ea"/>
                  <a:cs typeface="+mn-cs"/>
                </a:rPr>
                <a:t>OnBot</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409" name="Rectangle 408"/>
            <p:cNvSpPr/>
            <p:nvPr/>
          </p:nvSpPr>
          <p:spPr>
            <a:xfrm>
              <a:off x="-141658" y="716942"/>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VSM</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410" name="Rectangle 409"/>
            <p:cNvSpPr/>
            <p:nvPr/>
          </p:nvSpPr>
          <p:spPr>
            <a:xfrm>
              <a:off x="2807912" y="4293715"/>
              <a:ext cx="1593071"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rPr>
                <a:t>Cognizant </a:t>
              </a: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FEGO</a:t>
              </a:r>
            </a:p>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COSMOS</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284" name="Rectangle 283"/>
            <p:cNvSpPr/>
            <p:nvPr/>
          </p:nvSpPr>
          <p:spPr>
            <a:xfrm>
              <a:off x="5906407" y="4301595"/>
              <a:ext cx="899246"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CRAFT Framework</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285" name="Rectangle 284"/>
            <p:cNvSpPr/>
            <p:nvPr/>
          </p:nvSpPr>
          <p:spPr>
            <a:xfrm>
              <a:off x="5954409" y="2329633"/>
              <a:ext cx="743178"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Triage Bot</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304" name="Rectangle 303"/>
            <p:cNvSpPr/>
            <p:nvPr/>
          </p:nvSpPr>
          <p:spPr>
            <a:xfrm>
              <a:off x="7362947" y="2820213"/>
              <a:ext cx="743178"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Hotel in a Box</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sp>
          <p:nvSpPr>
            <p:cNvPr id="305" name="Rectangle 304"/>
            <p:cNvSpPr/>
            <p:nvPr/>
          </p:nvSpPr>
          <p:spPr>
            <a:xfrm>
              <a:off x="5948619" y="2815227"/>
              <a:ext cx="614196" cy="349592"/>
            </a:xfrm>
            <a:prstGeom prst="rect">
              <a:avLst/>
            </a:prstGeom>
          </p:spPr>
          <p:txBody>
            <a:bodyPr wrap="square" lIns="0" tIns="0" rIns="0" bIns="0" anchor="ctr" anchorCtr="0">
              <a:noAutofit/>
            </a:bodyPr>
            <a:lstStyle/>
            <a:p>
              <a:pPr marL="0" marR="0" lvl="0" indent="0" algn="ctr" defTabSz="508063"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dirty="0" smtClean="0">
                  <a:ln>
                    <a:noFill/>
                  </a:ln>
                  <a:solidFill>
                    <a:srgbClr val="DB282E"/>
                  </a:solidFill>
                  <a:effectLst/>
                  <a:uLnTx/>
                  <a:uFillTx/>
                  <a:latin typeface="Calibri" panose="020F0502020204030204"/>
                  <a:ea typeface="+mn-ea"/>
                  <a:cs typeface="+mn-cs"/>
                </a:rPr>
                <a:t>Cognizant CIQD</a:t>
              </a:r>
              <a:endParaRPr kumimoji="0" lang="en-US" altLang="en-US" sz="900" b="1" i="0" u="none" strike="noStrike" kern="1200" cap="none" spc="0" normalizeH="0" baseline="0" noProof="0" dirty="0">
                <a:ln>
                  <a:noFill/>
                </a:ln>
                <a:solidFill>
                  <a:srgbClr val="DB282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24170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Calibri" panose="020F0502020204030204" pitchFamily="34" charset="0"/>
              </a:rPr>
              <a:t>Foundational: Working with Marriott to set up a Pod based delivery ecosystem</a:t>
            </a:r>
          </a:p>
        </p:txBody>
      </p:sp>
      <p:grpSp>
        <p:nvGrpSpPr>
          <p:cNvPr id="70" name="Group 69"/>
          <p:cNvGrpSpPr/>
          <p:nvPr/>
        </p:nvGrpSpPr>
        <p:grpSpPr>
          <a:xfrm>
            <a:off x="556964" y="2089795"/>
            <a:ext cx="1410061" cy="2349071"/>
            <a:chOff x="556963" y="2218386"/>
            <a:chExt cx="1410061" cy="2349071"/>
          </a:xfrm>
        </p:grpSpPr>
        <p:sp>
          <p:nvSpPr>
            <p:cNvPr id="71" name="object 54"/>
            <p:cNvSpPr/>
            <p:nvPr/>
          </p:nvSpPr>
          <p:spPr>
            <a:xfrm>
              <a:off x="603552" y="3055649"/>
              <a:ext cx="1363472" cy="1511808"/>
            </a:xfrm>
            <a:prstGeom prst="rect">
              <a:avLst/>
            </a:prstGeom>
            <a:blipFill>
              <a:blip r:embed="rId3"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72" name="object 55"/>
            <p:cNvSpPr txBox="1"/>
            <p:nvPr/>
          </p:nvSpPr>
          <p:spPr>
            <a:xfrm>
              <a:off x="556963" y="2218386"/>
              <a:ext cx="1320654" cy="492443"/>
            </a:xfrm>
            <a:prstGeom prst="rect">
              <a:avLst/>
            </a:prstGeom>
          </p:spPr>
          <p:txBody>
            <a:bodyPr vert="horz" wrap="square" lIns="0" tIns="0" rIns="0" bIns="0" rtlCol="0">
              <a:spAutoFit/>
            </a:bodyPr>
            <a:lstStyle/>
            <a:p>
              <a:pPr marL="16933" marR="6773" indent="231129" algn="ctr" defTabSz="914377">
                <a:defRPr/>
              </a:pPr>
              <a:r>
                <a:rPr sz="1600" b="1" dirty="0">
                  <a:solidFill>
                    <a:srgbClr val="1F405C"/>
                  </a:solidFill>
                  <a:latin typeface="Calibri" panose="020F0502020204030204" pitchFamily="34" charset="0"/>
                  <a:cs typeface="Calibri" panose="020F0502020204030204" pitchFamily="34" charset="0"/>
                </a:rPr>
                <a:t>Global</a:t>
              </a:r>
              <a:r>
                <a:rPr lang="en-US" sz="1600" b="1" dirty="0">
                  <a:solidFill>
                    <a:srgbClr val="1F405C"/>
                  </a:solidFill>
                  <a:latin typeface="Calibri" panose="020F0502020204030204" pitchFamily="34" charset="0"/>
                  <a:cs typeface="Calibri" panose="020F0502020204030204" pitchFamily="34" charset="0"/>
                </a:rPr>
                <a:t> Delivery</a:t>
              </a:r>
              <a:r>
                <a:rPr sz="1600" b="1" dirty="0">
                  <a:solidFill>
                    <a:srgbClr val="1F405C"/>
                  </a:solidFill>
                  <a:latin typeface="Calibri" panose="020F0502020204030204" pitchFamily="34" charset="0"/>
                  <a:cs typeface="Calibri" panose="020F0502020204030204" pitchFamily="34" charset="0"/>
                </a:rPr>
                <a:t> Teams</a:t>
              </a:r>
              <a:endParaRPr sz="1600" dirty="0">
                <a:solidFill>
                  <a:prstClr val="black"/>
                </a:solidFill>
                <a:latin typeface="Calibri" panose="020F0502020204030204" pitchFamily="34" charset="0"/>
                <a:cs typeface="Calibri" panose="020F0502020204030204" pitchFamily="34" charset="0"/>
              </a:endParaRPr>
            </a:p>
          </p:txBody>
        </p:sp>
        <p:sp>
          <p:nvSpPr>
            <p:cNvPr id="73" name="object 56"/>
            <p:cNvSpPr/>
            <p:nvPr/>
          </p:nvSpPr>
          <p:spPr>
            <a:xfrm>
              <a:off x="758966" y="2739335"/>
              <a:ext cx="1014307" cy="0"/>
            </a:xfrm>
            <a:custGeom>
              <a:avLst/>
              <a:gdLst/>
              <a:ahLst/>
              <a:cxnLst/>
              <a:rect l="l" t="t" r="r" b="b"/>
              <a:pathLst>
                <a:path w="760730">
                  <a:moveTo>
                    <a:pt x="0" y="0"/>
                  </a:moveTo>
                  <a:lnTo>
                    <a:pt x="760476" y="0"/>
                  </a:lnTo>
                </a:path>
              </a:pathLst>
            </a:custGeom>
            <a:ln w="7619">
              <a:solidFill>
                <a:srgbClr val="1F405C"/>
              </a:solidFill>
            </a:ln>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grpSp>
      <p:grpSp>
        <p:nvGrpSpPr>
          <p:cNvPr id="74" name="Group 73"/>
          <p:cNvGrpSpPr/>
          <p:nvPr/>
        </p:nvGrpSpPr>
        <p:grpSpPr>
          <a:xfrm>
            <a:off x="2085973" y="814383"/>
            <a:ext cx="6664024" cy="5255777"/>
            <a:chOff x="2085973" y="942975"/>
            <a:chExt cx="6664024" cy="5349726"/>
          </a:xfrm>
        </p:grpSpPr>
        <p:sp>
          <p:nvSpPr>
            <p:cNvPr id="75" name="object 8"/>
            <p:cNvSpPr/>
            <p:nvPr/>
          </p:nvSpPr>
          <p:spPr>
            <a:xfrm>
              <a:off x="3132579" y="1366547"/>
              <a:ext cx="845312" cy="855471"/>
            </a:xfrm>
            <a:prstGeom prst="rect">
              <a:avLst/>
            </a:prstGeom>
            <a:blipFill>
              <a:blip r:embed="rId4"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76" name="object 9"/>
            <p:cNvSpPr txBox="1"/>
            <p:nvPr/>
          </p:nvSpPr>
          <p:spPr>
            <a:xfrm>
              <a:off x="2778674" y="2328865"/>
              <a:ext cx="1833201" cy="877179"/>
            </a:xfrm>
            <a:prstGeom prst="rect">
              <a:avLst/>
            </a:prstGeom>
          </p:spPr>
          <p:txBody>
            <a:bodyPr vert="horz" wrap="square" lIns="0" tIns="0" rIns="0" bIns="0" rtlCol="0">
              <a:spAutoFit/>
            </a:bodyPr>
            <a:lstStyle/>
            <a:p>
              <a:pPr marL="169325" indent="-152392" defTabSz="914377">
                <a:buFont typeface="Times New Roman"/>
                <a:buChar char="●"/>
                <a:tabLst>
                  <a:tab pos="169325" algn="l"/>
                </a:tabLst>
                <a:defRPr/>
              </a:pPr>
              <a:r>
                <a:rPr sz="1400" dirty="0" smtClean="0">
                  <a:solidFill>
                    <a:srgbClr val="666666"/>
                  </a:solidFill>
                  <a:latin typeface="Calibri" panose="020F0502020204030204" pitchFamily="34" charset="0"/>
                  <a:cs typeface="Calibri" panose="020F0502020204030204" pitchFamily="34" charset="0"/>
                </a:rPr>
                <a:t>Cross-functional</a:t>
              </a:r>
              <a:r>
                <a:rPr lang="en-US" sz="1400" dirty="0" smtClean="0">
                  <a:solidFill>
                    <a:srgbClr val="666666"/>
                  </a:solidFill>
                  <a:latin typeface="Calibri" panose="020F0502020204030204" pitchFamily="34" charset="0"/>
                  <a:cs typeface="Calibri" panose="020F0502020204030204" pitchFamily="34" charset="0"/>
                </a:rPr>
                <a:t> =</a:t>
              </a:r>
            </a:p>
            <a:p>
              <a:pPr marL="16933" defTabSz="914377">
                <a:tabLst>
                  <a:tab pos="169325" algn="l"/>
                </a:tabLst>
                <a:defRPr/>
              </a:pPr>
              <a:r>
                <a:rPr lang="en-US" sz="1400" dirty="0">
                  <a:solidFill>
                    <a:srgbClr val="666666"/>
                  </a:solidFill>
                  <a:latin typeface="Calibri" panose="020F0502020204030204" pitchFamily="34" charset="0"/>
                  <a:cs typeface="Calibri" panose="020F0502020204030204" pitchFamily="34" charset="0"/>
                </a:rPr>
                <a:t> </a:t>
              </a:r>
              <a:r>
                <a:rPr lang="en-US" sz="1400" dirty="0" smtClean="0">
                  <a:solidFill>
                    <a:srgbClr val="666666"/>
                  </a:solidFill>
                  <a:latin typeface="Calibri" panose="020F0502020204030204" pitchFamily="34" charset="0"/>
                  <a:cs typeface="Calibri" panose="020F0502020204030204" pitchFamily="34" charset="0"/>
                </a:rPr>
                <a:t>   </a:t>
              </a:r>
              <a:r>
                <a:rPr lang="en-US" sz="1400" b="1" dirty="0" smtClean="0">
                  <a:solidFill>
                    <a:srgbClr val="666666"/>
                  </a:solidFill>
                  <a:latin typeface="Calibri" panose="020F0502020204030204" pitchFamily="34" charset="0"/>
                  <a:cs typeface="Calibri" panose="020F0502020204030204" pitchFamily="34" charset="0"/>
                </a:rPr>
                <a:t>Dev + Support + QA </a:t>
              </a:r>
              <a:endParaRPr sz="1400" b="1"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Design + </a:t>
              </a:r>
              <a:r>
                <a:rPr lang="en-US" sz="1400" dirty="0">
                  <a:solidFill>
                    <a:srgbClr val="666666"/>
                  </a:solidFill>
                  <a:latin typeface="Calibri" panose="020F0502020204030204" pitchFamily="34" charset="0"/>
                  <a:cs typeface="Calibri" panose="020F0502020204030204" pitchFamily="34" charset="0"/>
                </a:rPr>
                <a:t>e</a:t>
              </a:r>
              <a:r>
                <a:rPr sz="1400" dirty="0">
                  <a:solidFill>
                    <a:srgbClr val="666666"/>
                  </a:solidFill>
                  <a:latin typeface="Calibri" panose="020F0502020204030204" pitchFamily="34" charset="0"/>
                  <a:cs typeface="Calibri" panose="020F0502020204030204" pitchFamily="34" charset="0"/>
                </a:rPr>
                <a:t>ngineering</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End-to-end solutions</a:t>
              </a:r>
              <a:endParaRPr sz="1400" dirty="0">
                <a:solidFill>
                  <a:prstClr val="black"/>
                </a:solidFill>
                <a:latin typeface="Calibri" panose="020F0502020204030204" pitchFamily="34" charset="0"/>
                <a:cs typeface="Calibri" panose="020F0502020204030204" pitchFamily="34" charset="0"/>
              </a:endParaRPr>
            </a:p>
          </p:txBody>
        </p:sp>
        <p:sp>
          <p:nvSpPr>
            <p:cNvPr id="77" name="object 10"/>
            <p:cNvSpPr txBox="1"/>
            <p:nvPr/>
          </p:nvSpPr>
          <p:spPr>
            <a:xfrm>
              <a:off x="2778334" y="4971720"/>
              <a:ext cx="2130723" cy="1096474"/>
            </a:xfrm>
            <a:prstGeom prst="rect">
              <a:avLst/>
            </a:prstGeom>
          </p:spPr>
          <p:txBody>
            <a:bodyPr vert="horz" wrap="square" lIns="0" tIns="0" rIns="0" bIns="0" rtlCol="0">
              <a:spAutoFit/>
            </a:bodyPr>
            <a:lstStyle/>
            <a:p>
              <a:pPr marL="169325" marR="163399"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Global </a:t>
              </a:r>
              <a:r>
                <a:rPr lang="en-US" sz="1400" dirty="0">
                  <a:solidFill>
                    <a:srgbClr val="666666"/>
                  </a:solidFill>
                  <a:latin typeface="Calibri" panose="020F0502020204030204" pitchFamily="34" charset="0"/>
                  <a:cs typeface="Calibri" panose="020F0502020204030204" pitchFamily="34" charset="0"/>
                </a:rPr>
                <a:t>talent </a:t>
              </a:r>
              <a:r>
                <a:rPr sz="1400" dirty="0">
                  <a:solidFill>
                    <a:srgbClr val="666666"/>
                  </a:solidFill>
                  <a:latin typeface="Calibri" panose="020F0502020204030204" pitchFamily="34" charset="0"/>
                  <a:cs typeface="Calibri" panose="020F0502020204030204" pitchFamily="34" charset="0"/>
                </a:rPr>
                <a:t>network</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Community building</a:t>
              </a:r>
              <a:endParaRPr sz="1400" dirty="0">
                <a:solidFill>
                  <a:prstClr val="black"/>
                </a:solidFill>
                <a:latin typeface="Calibri" panose="020F0502020204030204" pitchFamily="34" charset="0"/>
                <a:cs typeface="Calibri" panose="020F0502020204030204" pitchFamily="34" charset="0"/>
              </a:endParaRPr>
            </a:p>
            <a:p>
              <a:pPr marL="169325" defTabSz="914377">
                <a:defRPr/>
              </a:pPr>
              <a:r>
                <a:rPr lang="en-US" sz="1400" dirty="0" smtClean="0">
                  <a:solidFill>
                    <a:srgbClr val="666666"/>
                  </a:solidFill>
                  <a:latin typeface="Calibri" panose="020F0502020204030204" pitchFamily="34" charset="0"/>
                  <a:cs typeface="Calibri" panose="020F0502020204030204" pitchFamily="34" charset="0"/>
                </a:rPr>
                <a:t>Cross geography</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Quality guardians</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Thought </a:t>
              </a:r>
              <a:r>
                <a:rPr lang="en-US" sz="1400" dirty="0">
                  <a:solidFill>
                    <a:srgbClr val="666666"/>
                  </a:solidFill>
                  <a:latin typeface="Calibri" panose="020F0502020204030204" pitchFamily="34" charset="0"/>
                  <a:cs typeface="Calibri" panose="020F0502020204030204" pitchFamily="34" charset="0"/>
                </a:rPr>
                <a:t>l</a:t>
              </a:r>
              <a:r>
                <a:rPr sz="1400" dirty="0">
                  <a:solidFill>
                    <a:srgbClr val="666666"/>
                  </a:solidFill>
                  <a:latin typeface="Calibri" panose="020F0502020204030204" pitchFamily="34" charset="0"/>
                  <a:cs typeface="Calibri" panose="020F0502020204030204" pitchFamily="34" charset="0"/>
                </a:rPr>
                <a:t>eadership</a:t>
              </a:r>
              <a:endParaRPr sz="1400" dirty="0">
                <a:solidFill>
                  <a:prstClr val="black"/>
                </a:solidFill>
                <a:latin typeface="Calibri" panose="020F0502020204030204" pitchFamily="34" charset="0"/>
                <a:cs typeface="Calibri" panose="020F0502020204030204" pitchFamily="34" charset="0"/>
              </a:endParaRPr>
            </a:p>
          </p:txBody>
        </p:sp>
        <p:sp>
          <p:nvSpPr>
            <p:cNvPr id="78" name="object 11"/>
            <p:cNvSpPr txBox="1"/>
            <p:nvPr/>
          </p:nvSpPr>
          <p:spPr>
            <a:xfrm>
              <a:off x="3288028" y="3749240"/>
              <a:ext cx="574040"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Guilds</a:t>
              </a:r>
              <a:endParaRPr sz="1600" dirty="0">
                <a:solidFill>
                  <a:prstClr val="black"/>
                </a:solidFill>
                <a:latin typeface="Calibri" panose="020F0502020204030204" pitchFamily="34" charset="0"/>
                <a:cs typeface="Calibri" panose="020F0502020204030204" pitchFamily="34" charset="0"/>
              </a:endParaRPr>
            </a:p>
          </p:txBody>
        </p:sp>
        <p:sp>
          <p:nvSpPr>
            <p:cNvPr id="79" name="object 18"/>
            <p:cNvSpPr txBox="1"/>
            <p:nvPr/>
          </p:nvSpPr>
          <p:spPr>
            <a:xfrm>
              <a:off x="5003373" y="3754149"/>
              <a:ext cx="1163320"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Communities</a:t>
              </a:r>
              <a:endParaRPr sz="1600" dirty="0">
                <a:solidFill>
                  <a:prstClr val="black"/>
                </a:solidFill>
                <a:latin typeface="Calibri" panose="020F0502020204030204" pitchFamily="34" charset="0"/>
                <a:cs typeface="Calibri" panose="020F0502020204030204" pitchFamily="34" charset="0"/>
              </a:endParaRPr>
            </a:p>
          </p:txBody>
        </p:sp>
        <p:sp>
          <p:nvSpPr>
            <p:cNvPr id="80" name="object 19"/>
            <p:cNvSpPr txBox="1"/>
            <p:nvPr/>
          </p:nvSpPr>
          <p:spPr>
            <a:xfrm>
              <a:off x="7175922" y="3754149"/>
              <a:ext cx="687493"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Studios</a:t>
              </a:r>
              <a:endParaRPr sz="1600" dirty="0">
                <a:solidFill>
                  <a:prstClr val="black"/>
                </a:solidFill>
                <a:latin typeface="Calibri" panose="020F0502020204030204" pitchFamily="34" charset="0"/>
                <a:cs typeface="Calibri" panose="020F0502020204030204" pitchFamily="34" charset="0"/>
              </a:endParaRPr>
            </a:p>
          </p:txBody>
        </p:sp>
        <p:sp>
          <p:nvSpPr>
            <p:cNvPr id="81" name="object 20"/>
            <p:cNvSpPr txBox="1"/>
            <p:nvPr/>
          </p:nvSpPr>
          <p:spPr>
            <a:xfrm>
              <a:off x="3394878" y="1036346"/>
              <a:ext cx="377613"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Pod</a:t>
              </a:r>
              <a:endParaRPr sz="1600" dirty="0">
                <a:solidFill>
                  <a:prstClr val="black"/>
                </a:solidFill>
                <a:latin typeface="Calibri" panose="020F0502020204030204" pitchFamily="34" charset="0"/>
                <a:cs typeface="Calibri" panose="020F0502020204030204" pitchFamily="34" charset="0"/>
              </a:endParaRPr>
            </a:p>
          </p:txBody>
        </p:sp>
        <p:sp>
          <p:nvSpPr>
            <p:cNvPr id="82" name="object 21"/>
            <p:cNvSpPr txBox="1"/>
            <p:nvPr/>
          </p:nvSpPr>
          <p:spPr>
            <a:xfrm>
              <a:off x="6779005" y="1036346"/>
              <a:ext cx="1246292"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Game of Pods</a:t>
              </a:r>
              <a:endParaRPr sz="1600" dirty="0">
                <a:solidFill>
                  <a:prstClr val="black"/>
                </a:solidFill>
                <a:latin typeface="Calibri" panose="020F0502020204030204" pitchFamily="34" charset="0"/>
                <a:cs typeface="Calibri" panose="020F0502020204030204" pitchFamily="34" charset="0"/>
              </a:endParaRPr>
            </a:p>
          </p:txBody>
        </p:sp>
        <p:sp>
          <p:nvSpPr>
            <p:cNvPr id="83" name="object 22"/>
            <p:cNvSpPr txBox="1"/>
            <p:nvPr/>
          </p:nvSpPr>
          <p:spPr>
            <a:xfrm>
              <a:off x="6571381" y="2325649"/>
              <a:ext cx="2178616" cy="1096474"/>
            </a:xfrm>
            <a:prstGeom prst="rect">
              <a:avLst/>
            </a:prstGeom>
          </p:spPr>
          <p:txBody>
            <a:bodyPr vert="horz" wrap="square" lIns="0" tIns="0" rIns="0" bIns="0" rtlCol="0">
              <a:spAutoFit/>
            </a:bodyPr>
            <a:lstStyle/>
            <a:p>
              <a:pPr marL="169325" marR="6773"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Gamification of the  delivery process</a:t>
              </a:r>
              <a:endParaRPr sz="1400" dirty="0">
                <a:solidFill>
                  <a:prstClr val="black"/>
                </a:solidFill>
                <a:latin typeface="Calibri" panose="020F0502020204030204" pitchFamily="34" charset="0"/>
                <a:cs typeface="Calibri" panose="020F0502020204030204" pitchFamily="34" charset="0"/>
              </a:endParaRPr>
            </a:p>
            <a:p>
              <a:pPr marL="169325" marR="379288"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Viralizes best</a:t>
              </a:r>
              <a:r>
                <a:rPr lang="en-US" sz="1400" dirty="0">
                  <a:solidFill>
                    <a:srgbClr val="666666"/>
                  </a:solidFill>
                  <a:latin typeface="Calibri" panose="020F0502020204030204" pitchFamily="34" charset="0"/>
                  <a:cs typeface="Calibri" panose="020F0502020204030204" pitchFamily="34" charset="0"/>
                </a:rPr>
                <a:t> </a:t>
              </a:r>
              <a:r>
                <a:rPr sz="1400" dirty="0" smtClean="0">
                  <a:solidFill>
                    <a:srgbClr val="666666"/>
                  </a:solidFill>
                  <a:latin typeface="Calibri" panose="020F0502020204030204" pitchFamily="34" charset="0"/>
                  <a:cs typeface="Calibri" panose="020F0502020204030204" pitchFamily="34" charset="0"/>
                </a:rPr>
                <a:t>practices</a:t>
              </a:r>
              <a:r>
                <a:rPr lang="en-US" sz="1400" dirty="0" smtClean="0">
                  <a:solidFill>
                    <a:srgbClr val="666666"/>
                  </a:solidFill>
                  <a:latin typeface="Calibri" panose="020F0502020204030204" pitchFamily="34" charset="0"/>
                  <a:cs typeface="Calibri" panose="020F0502020204030204" pitchFamily="34" charset="0"/>
                </a:rPr>
                <a:t> - Incentivize</a:t>
              </a:r>
              <a:endParaRPr sz="1400" dirty="0">
                <a:solidFill>
                  <a:prstClr val="black"/>
                </a:solidFill>
                <a:latin typeface="Calibri" panose="020F0502020204030204" pitchFamily="34" charset="0"/>
                <a:cs typeface="Calibri" panose="020F0502020204030204" pitchFamily="34" charset="0"/>
              </a:endParaRPr>
            </a:p>
            <a:p>
              <a:pPr marL="169325" marR="187950"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Drives</a:t>
              </a:r>
              <a:r>
                <a:rPr lang="en-US" sz="1400" dirty="0">
                  <a:solidFill>
                    <a:srgbClr val="666666"/>
                  </a:solidFill>
                  <a:latin typeface="Calibri" panose="020F0502020204030204" pitchFamily="34" charset="0"/>
                  <a:cs typeface="Calibri" panose="020F0502020204030204" pitchFamily="34" charset="0"/>
                </a:rPr>
                <a:t> </a:t>
              </a:r>
              <a:r>
                <a:rPr sz="1400" dirty="0">
                  <a:solidFill>
                    <a:srgbClr val="666666"/>
                  </a:solidFill>
                  <a:latin typeface="Calibri" panose="020F0502020204030204" pitchFamily="34" charset="0"/>
                  <a:cs typeface="Calibri" panose="020F0502020204030204" pitchFamily="34" charset="0"/>
                </a:rPr>
                <a:t>competitiveness</a:t>
              </a:r>
              <a:endParaRPr sz="1400" dirty="0">
                <a:solidFill>
                  <a:prstClr val="black"/>
                </a:solidFill>
                <a:latin typeface="Calibri" panose="020F0502020204030204" pitchFamily="34" charset="0"/>
                <a:cs typeface="Calibri" panose="020F0502020204030204" pitchFamily="34" charset="0"/>
              </a:endParaRPr>
            </a:p>
          </p:txBody>
        </p:sp>
        <p:sp>
          <p:nvSpPr>
            <p:cNvPr id="84" name="object 23"/>
            <p:cNvSpPr txBox="1"/>
            <p:nvPr/>
          </p:nvSpPr>
          <p:spPr>
            <a:xfrm>
              <a:off x="4711693" y="2382801"/>
              <a:ext cx="1820568" cy="861774"/>
            </a:xfrm>
            <a:prstGeom prst="rect">
              <a:avLst/>
            </a:prstGeom>
          </p:spPr>
          <p:txBody>
            <a:bodyPr vert="horz" wrap="square" lIns="0" tIns="0" rIns="0" bIns="0" rtlCol="0">
              <a:spAutoFit/>
            </a:bodyPr>
            <a:lstStyle/>
            <a:p>
              <a:pPr marL="169325" indent="-152392" defTabSz="914377">
                <a:buFont typeface="Times New Roman"/>
                <a:buChar char="●"/>
                <a:tabLst>
                  <a:tab pos="169325" algn="l"/>
                </a:tabLst>
                <a:defRPr/>
              </a:pPr>
              <a:r>
                <a:rPr lang="en-US" sz="1400" dirty="0" smtClean="0">
                  <a:solidFill>
                    <a:srgbClr val="666666"/>
                  </a:solidFill>
                  <a:latin typeface="Calibri" panose="020F0502020204030204" pitchFamily="34" charset="0"/>
                  <a:cs typeface="Calibri" panose="020F0502020204030204" pitchFamily="34" charset="0"/>
                </a:rPr>
                <a:t>SLA &amp; </a:t>
              </a:r>
              <a:r>
                <a:rPr sz="1400" dirty="0" smtClean="0">
                  <a:solidFill>
                    <a:srgbClr val="666666"/>
                  </a:solidFill>
                  <a:latin typeface="Calibri" panose="020F0502020204030204" pitchFamily="34" charset="0"/>
                  <a:cs typeface="Calibri" panose="020F0502020204030204" pitchFamily="34" charset="0"/>
                </a:rPr>
                <a:t>KPI-driven</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Maturity </a:t>
              </a:r>
              <a:r>
                <a:rPr lang="en-US" sz="1400" dirty="0">
                  <a:solidFill>
                    <a:srgbClr val="666666"/>
                  </a:solidFill>
                  <a:latin typeface="Calibri" panose="020F0502020204030204" pitchFamily="34" charset="0"/>
                  <a:cs typeface="Calibri" panose="020F0502020204030204" pitchFamily="34" charset="0"/>
                </a:rPr>
                <a:t>p</a:t>
              </a:r>
              <a:r>
                <a:rPr sz="1400" dirty="0">
                  <a:solidFill>
                    <a:srgbClr val="666666"/>
                  </a:solidFill>
                  <a:latin typeface="Calibri" panose="020F0502020204030204" pitchFamily="34" charset="0"/>
                  <a:cs typeface="Calibri" panose="020F0502020204030204" pitchFamily="34" charset="0"/>
                </a:rPr>
                <a:t>ath</a:t>
              </a:r>
              <a:endParaRPr sz="1400" dirty="0">
                <a:solidFill>
                  <a:prstClr val="black"/>
                </a:solidFill>
                <a:latin typeface="Calibri" panose="020F0502020204030204" pitchFamily="34" charset="0"/>
                <a:cs typeface="Calibri" panose="020F0502020204030204" pitchFamily="34" charset="0"/>
              </a:endParaRPr>
            </a:p>
            <a:p>
              <a:pPr marL="169325" marR="6773"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Tailored to client  delivery  framework</a:t>
              </a:r>
              <a:r>
                <a:rPr lang="en-US" sz="1400" dirty="0">
                  <a:solidFill>
                    <a:srgbClr val="666666"/>
                  </a:solidFill>
                  <a:latin typeface="Calibri" panose="020F0502020204030204" pitchFamily="34" charset="0"/>
                  <a:cs typeface="Calibri" panose="020F0502020204030204" pitchFamily="34" charset="0"/>
                </a:rPr>
                <a:t>s</a:t>
              </a:r>
              <a:endParaRPr sz="1400" dirty="0">
                <a:solidFill>
                  <a:prstClr val="black"/>
                </a:solidFill>
                <a:latin typeface="Calibri" panose="020F0502020204030204" pitchFamily="34" charset="0"/>
                <a:cs typeface="Calibri" panose="020F0502020204030204" pitchFamily="34" charset="0"/>
              </a:endParaRPr>
            </a:p>
          </p:txBody>
        </p:sp>
        <p:sp>
          <p:nvSpPr>
            <p:cNvPr id="85" name="object 24"/>
            <p:cNvSpPr txBox="1"/>
            <p:nvPr/>
          </p:nvSpPr>
          <p:spPr>
            <a:xfrm>
              <a:off x="4676224" y="1384663"/>
              <a:ext cx="232833" cy="307777"/>
            </a:xfrm>
            <a:prstGeom prst="rect">
              <a:avLst/>
            </a:prstGeom>
          </p:spPr>
          <p:txBody>
            <a:bodyPr vert="horz" wrap="square" lIns="0" tIns="0" rIns="0" bIns="0" rtlCol="0">
              <a:spAutoFit/>
            </a:bodyPr>
            <a:lstStyle/>
            <a:p>
              <a:pPr marL="16933" defTabSz="914377">
                <a:defRPr/>
              </a:pPr>
              <a:r>
                <a:rPr sz="2000" dirty="0">
                  <a:solidFill>
                    <a:srgbClr val="666666"/>
                  </a:solidFill>
                  <a:latin typeface="Calibri" panose="020F0502020204030204" pitchFamily="34" charset="0"/>
                  <a:cs typeface="Calibri" panose="020F0502020204030204" pitchFamily="34" charset="0"/>
                </a:rPr>
                <a:t>f </a:t>
              </a:r>
              <a:r>
                <a:rPr dirty="0">
                  <a:solidFill>
                    <a:srgbClr val="666666"/>
                  </a:solidFill>
                  <a:latin typeface="Calibri" panose="020F0502020204030204" pitchFamily="34" charset="0"/>
                  <a:cs typeface="Calibri" panose="020F0502020204030204" pitchFamily="34" charset="0"/>
                </a:rPr>
                <a:t>(</a:t>
              </a:r>
              <a:endParaRPr dirty="0">
                <a:solidFill>
                  <a:prstClr val="black"/>
                </a:solidFill>
                <a:latin typeface="Calibri" panose="020F0502020204030204" pitchFamily="34" charset="0"/>
                <a:cs typeface="Calibri" panose="020F0502020204030204" pitchFamily="34" charset="0"/>
              </a:endParaRPr>
            </a:p>
          </p:txBody>
        </p:sp>
        <p:sp>
          <p:nvSpPr>
            <p:cNvPr id="86" name="object 25"/>
            <p:cNvSpPr txBox="1"/>
            <p:nvPr/>
          </p:nvSpPr>
          <p:spPr>
            <a:xfrm>
              <a:off x="4754556" y="1036347"/>
              <a:ext cx="1447800" cy="677108"/>
            </a:xfrm>
            <a:prstGeom prst="rect">
              <a:avLst/>
            </a:prstGeom>
          </p:spPr>
          <p:txBody>
            <a:bodyPr vert="horz" wrap="square" lIns="0" tIns="0" rIns="0" bIns="0" rtlCol="0">
              <a:spAutoFit/>
            </a:bodyPr>
            <a:lstStyle/>
            <a:p>
              <a:pPr marR="45718" algn="r" defTabSz="914377">
                <a:defRPr/>
              </a:pPr>
              <a:r>
                <a:rPr sz="1600" b="1" u="sng" dirty="0">
                  <a:solidFill>
                    <a:srgbClr val="1F405C"/>
                  </a:solidFill>
                  <a:latin typeface="Calibri" panose="020F0502020204030204" pitchFamily="34" charset="0"/>
                  <a:cs typeface="Calibri" panose="020F0502020204030204" pitchFamily="34" charset="0"/>
                </a:rPr>
                <a:t>Pod Framework</a:t>
              </a:r>
              <a:endParaRPr sz="1600" dirty="0">
                <a:solidFill>
                  <a:prstClr val="black"/>
                </a:solidFill>
                <a:latin typeface="Calibri" panose="020F0502020204030204" pitchFamily="34" charset="0"/>
                <a:cs typeface="Calibri" panose="020F0502020204030204" pitchFamily="34" charset="0"/>
              </a:endParaRPr>
            </a:p>
            <a:p>
              <a:pPr marR="6773" algn="r" defTabSz="914377">
                <a:spcBef>
                  <a:spcPts val="1247"/>
                </a:spcBef>
                <a:defRPr/>
              </a:pPr>
              <a:r>
                <a:rPr dirty="0">
                  <a:solidFill>
                    <a:srgbClr val="666666"/>
                  </a:solidFill>
                  <a:latin typeface="Calibri" panose="020F0502020204030204" pitchFamily="34" charset="0"/>
                  <a:cs typeface="Calibri" panose="020F0502020204030204" pitchFamily="34" charset="0"/>
                </a:rPr>
                <a:t>)</a:t>
              </a:r>
              <a:endParaRPr dirty="0">
                <a:solidFill>
                  <a:prstClr val="black"/>
                </a:solidFill>
                <a:latin typeface="Calibri" panose="020F0502020204030204" pitchFamily="34" charset="0"/>
                <a:cs typeface="Calibri" panose="020F0502020204030204" pitchFamily="34" charset="0"/>
              </a:endParaRPr>
            </a:p>
          </p:txBody>
        </p:sp>
        <p:sp>
          <p:nvSpPr>
            <p:cNvPr id="87" name="object 26"/>
            <p:cNvSpPr txBox="1"/>
            <p:nvPr/>
          </p:nvSpPr>
          <p:spPr>
            <a:xfrm>
              <a:off x="4931577" y="1860654"/>
              <a:ext cx="230832" cy="290405"/>
            </a:xfrm>
            <a:prstGeom prst="rect">
              <a:avLst/>
            </a:prstGeom>
          </p:spPr>
          <p:txBody>
            <a:bodyPr vert="vert270" wrap="square" lIns="0" tIns="0" rIns="0" bIns="0" rtlCol="0">
              <a:spAutoFit/>
            </a:bodyPr>
            <a:lstStyle/>
            <a:p>
              <a:pPr marL="16933" defTabSz="914377">
                <a:lnSpc>
                  <a:spcPts val="893"/>
                </a:lnSpc>
                <a:defRPr/>
              </a:pPr>
              <a:r>
                <a:rPr sz="900" dirty="0">
                  <a:solidFill>
                    <a:srgbClr val="666666"/>
                  </a:solidFill>
                  <a:latin typeface="Calibri" panose="020F0502020204030204" pitchFamily="34" charset="0"/>
                  <a:cs typeface="Calibri" panose="020F0502020204030204" pitchFamily="34" charset="0"/>
                </a:rPr>
                <a:t>Speed</a:t>
              </a:r>
              <a:endParaRPr sz="900" dirty="0">
                <a:solidFill>
                  <a:prstClr val="black"/>
                </a:solidFill>
                <a:latin typeface="Calibri" panose="020F0502020204030204" pitchFamily="34" charset="0"/>
                <a:cs typeface="Calibri" panose="020F0502020204030204" pitchFamily="34" charset="0"/>
              </a:endParaRPr>
            </a:p>
          </p:txBody>
        </p:sp>
        <p:sp>
          <p:nvSpPr>
            <p:cNvPr id="88" name="object 27"/>
            <p:cNvSpPr txBox="1"/>
            <p:nvPr/>
          </p:nvSpPr>
          <p:spPr>
            <a:xfrm>
              <a:off x="5271429" y="1842038"/>
              <a:ext cx="307776" cy="331047"/>
            </a:xfrm>
            <a:prstGeom prst="rect">
              <a:avLst/>
            </a:prstGeom>
          </p:spPr>
          <p:txBody>
            <a:bodyPr vert="vert270" wrap="square" lIns="0" tIns="0" rIns="0" bIns="0" rtlCol="0">
              <a:spAutoFit/>
            </a:bodyPr>
            <a:lstStyle/>
            <a:p>
              <a:pPr marL="16933" defTabSz="914377">
                <a:lnSpc>
                  <a:spcPts val="893"/>
                </a:lnSpc>
                <a:defRPr/>
              </a:pPr>
              <a:r>
                <a:rPr sz="900" dirty="0">
                  <a:solidFill>
                    <a:srgbClr val="666666"/>
                  </a:solidFill>
                  <a:latin typeface="Calibri" panose="020F0502020204030204" pitchFamily="34" charset="0"/>
                  <a:cs typeface="Calibri" panose="020F0502020204030204" pitchFamily="34" charset="0"/>
                </a:rPr>
                <a:t>Quality</a:t>
              </a:r>
              <a:endParaRPr sz="900" dirty="0">
                <a:solidFill>
                  <a:prstClr val="black"/>
                </a:solidFill>
                <a:latin typeface="Calibri" panose="020F0502020204030204" pitchFamily="34" charset="0"/>
                <a:cs typeface="Calibri" panose="020F0502020204030204" pitchFamily="34" charset="0"/>
              </a:endParaRPr>
            </a:p>
          </p:txBody>
        </p:sp>
        <p:sp>
          <p:nvSpPr>
            <p:cNvPr id="89" name="object 28"/>
            <p:cNvSpPr/>
            <p:nvPr/>
          </p:nvSpPr>
          <p:spPr>
            <a:xfrm>
              <a:off x="5654799" y="1847621"/>
              <a:ext cx="208619" cy="310727"/>
            </a:xfrm>
            <a:prstGeom prst="rect">
              <a:avLst/>
            </a:prstGeom>
            <a:blipFill>
              <a:blip r:embed="rId5"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0" name="object 29"/>
            <p:cNvSpPr txBox="1"/>
            <p:nvPr/>
          </p:nvSpPr>
          <p:spPr>
            <a:xfrm>
              <a:off x="6034276" y="1711058"/>
              <a:ext cx="230832" cy="466513"/>
            </a:xfrm>
            <a:prstGeom prst="rect">
              <a:avLst/>
            </a:prstGeom>
          </p:spPr>
          <p:txBody>
            <a:bodyPr vert="vert270" wrap="square" lIns="0" tIns="0" rIns="0" bIns="0" rtlCol="0">
              <a:spAutoFit/>
            </a:bodyPr>
            <a:lstStyle/>
            <a:p>
              <a:pPr marL="16933" defTabSz="914377">
                <a:lnSpc>
                  <a:spcPts val="893"/>
                </a:lnSpc>
                <a:defRPr/>
              </a:pPr>
              <a:r>
                <a:rPr sz="900" dirty="0">
                  <a:solidFill>
                    <a:srgbClr val="666666"/>
                  </a:solidFill>
                  <a:latin typeface="Calibri" panose="020F0502020204030204" pitchFamily="34" charset="0"/>
                  <a:cs typeface="Calibri" panose="020F0502020204030204" pitchFamily="34" charset="0"/>
                </a:rPr>
                <a:t>Autonomy</a:t>
              </a:r>
              <a:endParaRPr sz="900" dirty="0">
                <a:solidFill>
                  <a:prstClr val="black"/>
                </a:solidFill>
                <a:latin typeface="Calibri" panose="020F0502020204030204" pitchFamily="34" charset="0"/>
                <a:cs typeface="Calibri" panose="020F0502020204030204" pitchFamily="34" charset="0"/>
              </a:endParaRPr>
            </a:p>
          </p:txBody>
        </p:sp>
        <p:sp>
          <p:nvSpPr>
            <p:cNvPr id="91" name="object 30"/>
            <p:cNvSpPr/>
            <p:nvPr/>
          </p:nvSpPr>
          <p:spPr>
            <a:xfrm>
              <a:off x="4934964" y="1474243"/>
              <a:ext cx="138176" cy="168655"/>
            </a:xfrm>
            <a:prstGeom prst="rect">
              <a:avLst/>
            </a:prstGeom>
            <a:blipFill>
              <a:blip r:embed="rId6"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2" name="object 31"/>
            <p:cNvSpPr/>
            <p:nvPr/>
          </p:nvSpPr>
          <p:spPr>
            <a:xfrm>
              <a:off x="5276339" y="1478305"/>
              <a:ext cx="166623" cy="162560"/>
            </a:xfrm>
            <a:prstGeom prst="rect">
              <a:avLst/>
            </a:prstGeom>
            <a:blipFill>
              <a:blip r:embed="rId7"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3" name="object 32"/>
            <p:cNvSpPr/>
            <p:nvPr/>
          </p:nvSpPr>
          <p:spPr>
            <a:xfrm>
              <a:off x="5670547" y="1474243"/>
              <a:ext cx="170687" cy="168655"/>
            </a:xfrm>
            <a:prstGeom prst="rect">
              <a:avLst/>
            </a:prstGeom>
            <a:blipFill>
              <a:blip r:embed="rId8"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4" name="object 33"/>
            <p:cNvSpPr/>
            <p:nvPr/>
          </p:nvSpPr>
          <p:spPr>
            <a:xfrm>
              <a:off x="6042405" y="1476273"/>
              <a:ext cx="166623" cy="166623"/>
            </a:xfrm>
            <a:prstGeom prst="rect">
              <a:avLst/>
            </a:prstGeom>
            <a:blipFill>
              <a:blip r:embed="rId9"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5" name="object 34"/>
            <p:cNvSpPr/>
            <p:nvPr/>
          </p:nvSpPr>
          <p:spPr>
            <a:xfrm>
              <a:off x="5146291" y="1520979"/>
              <a:ext cx="73151" cy="73151"/>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6" name="object 35"/>
            <p:cNvSpPr/>
            <p:nvPr/>
          </p:nvSpPr>
          <p:spPr>
            <a:xfrm>
              <a:off x="5510021" y="1520979"/>
              <a:ext cx="75183" cy="73151"/>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7" name="object 36"/>
            <p:cNvSpPr/>
            <p:nvPr/>
          </p:nvSpPr>
          <p:spPr>
            <a:xfrm>
              <a:off x="5916421" y="1520979"/>
              <a:ext cx="73151" cy="73151"/>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98" name="object 37"/>
            <p:cNvSpPr txBox="1"/>
            <p:nvPr/>
          </p:nvSpPr>
          <p:spPr>
            <a:xfrm>
              <a:off x="4845217" y="5086024"/>
              <a:ext cx="1621367" cy="1096474"/>
            </a:xfrm>
            <a:prstGeom prst="rect">
              <a:avLst/>
            </a:prstGeom>
          </p:spPr>
          <p:txBody>
            <a:bodyPr vert="horz" wrap="square" lIns="0" tIns="0" rIns="0" bIns="0" rtlCol="0">
              <a:spAutoFit/>
            </a:bodyPr>
            <a:lstStyle/>
            <a:p>
              <a:pPr marL="169325" marR="6773"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Help scale globally in  each </a:t>
              </a:r>
              <a:r>
                <a:rPr lang="en-US" sz="1400" dirty="0" smtClean="0">
                  <a:solidFill>
                    <a:srgbClr val="666666"/>
                  </a:solidFill>
                  <a:latin typeface="Calibri" panose="020F0502020204030204" pitchFamily="34" charset="0"/>
                  <a:cs typeface="Calibri" panose="020F0502020204030204" pitchFamily="34" charset="0"/>
                </a:rPr>
                <a:t>geography</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Quality guardians</a:t>
              </a:r>
              <a:endParaRPr sz="1400" dirty="0">
                <a:solidFill>
                  <a:prstClr val="black"/>
                </a:solidFill>
                <a:latin typeface="Calibri" panose="020F0502020204030204" pitchFamily="34" charset="0"/>
                <a:cs typeface="Calibri" panose="020F0502020204030204" pitchFamily="34" charset="0"/>
              </a:endParaRPr>
            </a:p>
            <a:p>
              <a:pPr marL="169325"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People development</a:t>
              </a:r>
              <a:endParaRPr sz="1400" dirty="0">
                <a:solidFill>
                  <a:prstClr val="black"/>
                </a:solidFill>
                <a:latin typeface="Calibri" panose="020F0502020204030204" pitchFamily="34" charset="0"/>
                <a:cs typeface="Calibri" panose="020F0502020204030204" pitchFamily="34" charset="0"/>
              </a:endParaRPr>
            </a:p>
          </p:txBody>
        </p:sp>
        <p:sp>
          <p:nvSpPr>
            <p:cNvPr id="99" name="object 38"/>
            <p:cNvSpPr txBox="1"/>
            <p:nvPr/>
          </p:nvSpPr>
          <p:spPr>
            <a:xfrm>
              <a:off x="6755298" y="5086024"/>
              <a:ext cx="1609513" cy="646331"/>
            </a:xfrm>
            <a:prstGeom prst="rect">
              <a:avLst/>
            </a:prstGeom>
          </p:spPr>
          <p:txBody>
            <a:bodyPr vert="horz" wrap="square" lIns="0" tIns="0" rIns="0" bIns="0" rtlCol="0">
              <a:spAutoFit/>
            </a:bodyPr>
            <a:lstStyle/>
            <a:p>
              <a:pPr marL="169325" marR="6773" indent="-152392" defTabSz="914377">
                <a:buFont typeface="Times New Roman"/>
                <a:buChar char="●"/>
                <a:tabLst>
                  <a:tab pos="169325" algn="l"/>
                </a:tabLst>
                <a:defRPr/>
              </a:pPr>
              <a:r>
                <a:rPr sz="1400" dirty="0">
                  <a:solidFill>
                    <a:srgbClr val="666666"/>
                  </a:solidFill>
                  <a:latin typeface="Calibri" panose="020F0502020204030204" pitchFamily="34" charset="0"/>
                  <a:cs typeface="Calibri" panose="020F0502020204030204" pitchFamily="34" charset="0"/>
                </a:rPr>
                <a:t>Globally distributed  development centers</a:t>
              </a:r>
              <a:endParaRPr sz="1400" dirty="0">
                <a:solidFill>
                  <a:prstClr val="black"/>
                </a:solidFill>
                <a:latin typeface="Calibri" panose="020F0502020204030204" pitchFamily="34" charset="0"/>
                <a:cs typeface="Calibri" panose="020F0502020204030204" pitchFamily="34" charset="0"/>
              </a:endParaRPr>
            </a:p>
          </p:txBody>
        </p:sp>
        <p:sp>
          <p:nvSpPr>
            <p:cNvPr id="100" name="object 39"/>
            <p:cNvSpPr/>
            <p:nvPr/>
          </p:nvSpPr>
          <p:spPr>
            <a:xfrm>
              <a:off x="6790181" y="1809521"/>
              <a:ext cx="296671" cy="296672"/>
            </a:xfrm>
            <a:prstGeom prst="rect">
              <a:avLst/>
            </a:prstGeom>
            <a:blipFill>
              <a:blip r:embed="rId11"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1" name="object 40"/>
            <p:cNvSpPr/>
            <p:nvPr/>
          </p:nvSpPr>
          <p:spPr>
            <a:xfrm>
              <a:off x="6922261" y="1567713"/>
              <a:ext cx="579119" cy="296671"/>
            </a:xfrm>
            <a:prstGeom prst="rect">
              <a:avLst/>
            </a:prstGeom>
            <a:blipFill>
              <a:blip r:embed="rId12"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2" name="object 41"/>
            <p:cNvSpPr/>
            <p:nvPr/>
          </p:nvSpPr>
          <p:spPr>
            <a:xfrm>
              <a:off x="7058405" y="1809521"/>
              <a:ext cx="294639" cy="296672"/>
            </a:xfrm>
            <a:prstGeom prst="rect">
              <a:avLst/>
            </a:prstGeom>
            <a:blipFill>
              <a:blip r:embed="rId13"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3" name="object 42"/>
            <p:cNvSpPr/>
            <p:nvPr/>
          </p:nvSpPr>
          <p:spPr>
            <a:xfrm>
              <a:off x="7444483" y="1382802"/>
              <a:ext cx="711200" cy="711200"/>
            </a:xfrm>
            <a:prstGeom prst="rect">
              <a:avLst/>
            </a:prstGeom>
            <a:blipFill>
              <a:blip r:embed="rId14"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4" name="object 43"/>
            <p:cNvSpPr/>
            <p:nvPr/>
          </p:nvSpPr>
          <p:spPr>
            <a:xfrm>
              <a:off x="2933444" y="4104161"/>
              <a:ext cx="367792" cy="367792"/>
            </a:xfrm>
            <a:prstGeom prst="rect">
              <a:avLst/>
            </a:prstGeom>
            <a:blipFill>
              <a:blip r:embed="rId15"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5" name="object 44"/>
            <p:cNvSpPr/>
            <p:nvPr/>
          </p:nvSpPr>
          <p:spPr>
            <a:xfrm>
              <a:off x="2933444" y="4539010"/>
              <a:ext cx="367792" cy="367792"/>
            </a:xfrm>
            <a:prstGeom prst="rect">
              <a:avLst/>
            </a:prstGeom>
            <a:blipFill>
              <a:blip r:embed="rId16"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6" name="object 45"/>
            <p:cNvSpPr/>
            <p:nvPr/>
          </p:nvSpPr>
          <p:spPr>
            <a:xfrm>
              <a:off x="3817363" y="4539010"/>
              <a:ext cx="365759" cy="367792"/>
            </a:xfrm>
            <a:prstGeom prst="rect">
              <a:avLst/>
            </a:prstGeom>
            <a:blipFill>
              <a:blip r:embed="rId17"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7" name="object 46"/>
            <p:cNvSpPr/>
            <p:nvPr/>
          </p:nvSpPr>
          <p:spPr>
            <a:xfrm>
              <a:off x="3376421" y="4539010"/>
              <a:ext cx="365759" cy="367792"/>
            </a:xfrm>
            <a:prstGeom prst="rect">
              <a:avLst/>
            </a:prstGeom>
            <a:blipFill>
              <a:blip r:embed="rId18"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8" name="object 47"/>
            <p:cNvSpPr/>
            <p:nvPr/>
          </p:nvSpPr>
          <p:spPr>
            <a:xfrm>
              <a:off x="3376421" y="4104161"/>
              <a:ext cx="365759" cy="367792"/>
            </a:xfrm>
            <a:prstGeom prst="rect">
              <a:avLst/>
            </a:prstGeom>
            <a:blipFill>
              <a:blip r:embed="rId19"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09" name="object 48"/>
            <p:cNvSpPr/>
            <p:nvPr/>
          </p:nvSpPr>
          <p:spPr>
            <a:xfrm>
              <a:off x="3817363" y="4104161"/>
              <a:ext cx="365759" cy="367792"/>
            </a:xfrm>
            <a:prstGeom prst="rect">
              <a:avLst/>
            </a:prstGeom>
            <a:blipFill>
              <a:blip r:embed="rId20"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0" name="object 49"/>
            <p:cNvSpPr/>
            <p:nvPr/>
          </p:nvSpPr>
          <p:spPr>
            <a:xfrm>
              <a:off x="4922772" y="4177313"/>
              <a:ext cx="359664" cy="359663"/>
            </a:xfrm>
            <a:prstGeom prst="rect">
              <a:avLst/>
            </a:prstGeom>
            <a:blipFill>
              <a:blip r:embed="rId21"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1" name="object 50"/>
            <p:cNvSpPr/>
            <p:nvPr/>
          </p:nvSpPr>
          <p:spPr>
            <a:xfrm>
              <a:off x="5656323" y="4606066"/>
              <a:ext cx="367792" cy="371856"/>
            </a:xfrm>
            <a:prstGeom prst="rect">
              <a:avLst/>
            </a:prstGeom>
            <a:blipFill>
              <a:blip r:embed="rId22"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2" name="object 51"/>
            <p:cNvSpPr/>
            <p:nvPr/>
          </p:nvSpPr>
          <p:spPr>
            <a:xfrm>
              <a:off x="5168645" y="4606066"/>
              <a:ext cx="367791" cy="371856"/>
            </a:xfrm>
            <a:prstGeom prst="rect">
              <a:avLst/>
            </a:prstGeom>
            <a:blipFill>
              <a:blip r:embed="rId23"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3" name="object 52"/>
            <p:cNvSpPr/>
            <p:nvPr/>
          </p:nvSpPr>
          <p:spPr>
            <a:xfrm>
              <a:off x="5418581" y="4171218"/>
              <a:ext cx="367791" cy="371856"/>
            </a:xfrm>
            <a:prstGeom prst="rect">
              <a:avLst/>
            </a:prstGeom>
            <a:blipFill>
              <a:blip r:embed="rId24"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4" name="object 53"/>
            <p:cNvSpPr/>
            <p:nvPr/>
          </p:nvSpPr>
          <p:spPr>
            <a:xfrm>
              <a:off x="5918452" y="4171218"/>
              <a:ext cx="367792" cy="371856"/>
            </a:xfrm>
            <a:prstGeom prst="rect">
              <a:avLst/>
            </a:prstGeom>
            <a:blipFill>
              <a:blip r:embed="rId25" cstate="print"/>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5" name="object 57"/>
            <p:cNvSpPr/>
            <p:nvPr/>
          </p:nvSpPr>
          <p:spPr>
            <a:xfrm>
              <a:off x="6743444" y="4126513"/>
              <a:ext cx="1702816" cy="808736"/>
            </a:xfrm>
            <a:prstGeom prst="rect">
              <a:avLst/>
            </a:prstGeom>
            <a:blipFill>
              <a:blip r:embed="rId2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16" name="Rounded Rectangle 115"/>
            <p:cNvSpPr/>
            <p:nvPr/>
          </p:nvSpPr>
          <p:spPr>
            <a:xfrm>
              <a:off x="2675549" y="942975"/>
              <a:ext cx="5941232" cy="5349726"/>
            </a:xfrm>
            <a:prstGeom prst="roundRect">
              <a:avLst>
                <a:gd name="adj" fmla="val 5183"/>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alibri" panose="020F0502020204030204" pitchFamily="34" charset="0"/>
              </a:endParaRPr>
            </a:p>
          </p:txBody>
        </p:sp>
        <p:sp>
          <p:nvSpPr>
            <p:cNvPr id="117" name="Right Arrow 116"/>
            <p:cNvSpPr/>
            <p:nvPr/>
          </p:nvSpPr>
          <p:spPr>
            <a:xfrm>
              <a:off x="2085973" y="3244575"/>
              <a:ext cx="518136" cy="750886"/>
            </a:xfrm>
            <a:prstGeom prst="rightArrow">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8" name="Group 117"/>
          <p:cNvGrpSpPr/>
          <p:nvPr/>
        </p:nvGrpSpPr>
        <p:grpSpPr>
          <a:xfrm>
            <a:off x="8789118" y="1220769"/>
            <a:ext cx="3402882" cy="2894031"/>
            <a:chOff x="8695971" y="1381413"/>
            <a:chExt cx="3639088" cy="3122592"/>
          </a:xfrm>
        </p:grpSpPr>
        <p:sp>
          <p:nvSpPr>
            <p:cNvPr id="119" name="object 12"/>
            <p:cNvSpPr/>
            <p:nvPr/>
          </p:nvSpPr>
          <p:spPr>
            <a:xfrm>
              <a:off x="8726228" y="1590117"/>
              <a:ext cx="3608831" cy="2913888"/>
            </a:xfrm>
            <a:prstGeom prst="rect">
              <a:avLst/>
            </a:prstGeom>
            <a:blipFill>
              <a:blip r:embed="rId2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2800" dirty="0">
                <a:solidFill>
                  <a:prstClr val="black"/>
                </a:solidFill>
                <a:latin typeface="Calibri" panose="020F0502020204030204" pitchFamily="34" charset="0"/>
                <a:cs typeface="Calibri" panose="020F0502020204030204" pitchFamily="34" charset="0"/>
              </a:endParaRPr>
            </a:p>
          </p:txBody>
        </p:sp>
        <p:sp>
          <p:nvSpPr>
            <p:cNvPr id="120" name="object 13"/>
            <p:cNvSpPr txBox="1"/>
            <p:nvPr/>
          </p:nvSpPr>
          <p:spPr>
            <a:xfrm>
              <a:off x="9673943" y="1381413"/>
              <a:ext cx="1702647" cy="246221"/>
            </a:xfrm>
            <a:prstGeom prst="rect">
              <a:avLst/>
            </a:prstGeom>
          </p:spPr>
          <p:txBody>
            <a:bodyPr vert="horz" wrap="square" lIns="0" tIns="0" rIns="0" bIns="0" rtlCol="0">
              <a:spAutoFit/>
            </a:bodyPr>
            <a:lstStyle/>
            <a:p>
              <a:pPr marL="16933" defTabSz="914377">
                <a:defRPr/>
              </a:pPr>
              <a:r>
                <a:rPr sz="1600" b="1" u="sng" dirty="0">
                  <a:solidFill>
                    <a:srgbClr val="1F405C"/>
                  </a:solidFill>
                  <a:latin typeface="Calibri" panose="020F0502020204030204" pitchFamily="34" charset="0"/>
                  <a:cs typeface="Calibri" panose="020F0502020204030204" pitchFamily="34" charset="0"/>
                </a:rPr>
                <a:t>Pod Ecosystem</a:t>
              </a:r>
              <a:endParaRPr sz="1600" dirty="0">
                <a:solidFill>
                  <a:prstClr val="black"/>
                </a:solidFill>
                <a:latin typeface="Calibri" panose="020F0502020204030204" pitchFamily="34" charset="0"/>
                <a:cs typeface="Calibri" panose="020F0502020204030204" pitchFamily="34" charset="0"/>
              </a:endParaRPr>
            </a:p>
          </p:txBody>
        </p:sp>
        <p:sp>
          <p:nvSpPr>
            <p:cNvPr id="121" name="Right Arrow 120"/>
            <p:cNvSpPr/>
            <p:nvPr/>
          </p:nvSpPr>
          <p:spPr>
            <a:xfrm>
              <a:off x="8695971" y="3139841"/>
              <a:ext cx="518136" cy="750886"/>
            </a:xfrm>
            <a:prstGeom prst="rightArrow">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2" name="Group 121"/>
          <p:cNvGrpSpPr/>
          <p:nvPr/>
        </p:nvGrpSpPr>
        <p:grpSpPr>
          <a:xfrm>
            <a:off x="8973605" y="4215012"/>
            <a:ext cx="3085385" cy="1855148"/>
            <a:chOff x="8973603" y="4343602"/>
            <a:chExt cx="3085385" cy="1855147"/>
          </a:xfrm>
        </p:grpSpPr>
        <p:sp>
          <p:nvSpPr>
            <p:cNvPr id="123" name="object 17"/>
            <p:cNvSpPr txBox="1"/>
            <p:nvPr/>
          </p:nvSpPr>
          <p:spPr>
            <a:xfrm>
              <a:off x="8973603" y="4890700"/>
              <a:ext cx="3085385" cy="1308049"/>
            </a:xfrm>
            <a:prstGeom prst="rect">
              <a:avLst/>
            </a:prstGeom>
          </p:spPr>
          <p:txBody>
            <a:bodyPr vert="horz" wrap="square" lIns="0" tIns="0" rIns="0" bIns="0" rtlCol="0">
              <a:spAutoFit/>
            </a:bodyPr>
            <a:lstStyle/>
            <a:p>
              <a:pPr marL="228594" indent="-211133" defTabSz="914377">
                <a:spcBef>
                  <a:spcPts val="240"/>
                </a:spcBef>
                <a:buFont typeface="Segoe UI Symbol"/>
                <a:buChar char="✓"/>
                <a:defRPr/>
              </a:pPr>
              <a:r>
                <a:rPr lang="en-US" sz="1600" b="1" dirty="0" smtClean="0">
                  <a:solidFill>
                    <a:srgbClr val="000000"/>
                  </a:solidFill>
                  <a:latin typeface="Calibri" panose="020F0502020204030204" pitchFamily="34" charset="0"/>
                  <a:cs typeface="Calibri" panose="020F0502020204030204" pitchFamily="34" charset="0"/>
                </a:rPr>
                <a:t>SLA and </a:t>
              </a:r>
              <a:r>
                <a:rPr lang="en-US" sz="1600" b="1" dirty="0">
                  <a:solidFill>
                    <a:srgbClr val="000000"/>
                  </a:solidFill>
                  <a:latin typeface="Calibri" panose="020F0502020204030204" pitchFamily="34" charset="0"/>
                  <a:cs typeface="Calibri" panose="020F0502020204030204" pitchFamily="34" charset="0"/>
                </a:rPr>
                <a:t>o</a:t>
              </a:r>
              <a:r>
                <a:rPr sz="1600" b="1" dirty="0">
                  <a:solidFill>
                    <a:srgbClr val="000000"/>
                  </a:solidFill>
                  <a:latin typeface="Calibri" panose="020F0502020204030204" pitchFamily="34" charset="0"/>
                  <a:cs typeface="Calibri" panose="020F0502020204030204" pitchFamily="34" charset="0"/>
                </a:rPr>
                <a:t>utcome driven</a:t>
              </a:r>
              <a:endParaRPr sz="1600" dirty="0">
                <a:solidFill>
                  <a:srgbClr val="000000"/>
                </a:solidFill>
                <a:latin typeface="Calibri" panose="020F0502020204030204" pitchFamily="34" charset="0"/>
                <a:cs typeface="Calibri" panose="020F0502020204030204" pitchFamily="34" charset="0"/>
              </a:endParaRPr>
            </a:p>
            <a:p>
              <a:pPr marL="228594" indent="-211133" defTabSz="914377">
                <a:spcBef>
                  <a:spcPts val="240"/>
                </a:spcBef>
                <a:buFont typeface="Segoe UI Symbol"/>
                <a:buChar char="✓"/>
                <a:defRPr/>
              </a:pPr>
              <a:r>
                <a:rPr lang="en-US" sz="1600" b="1" dirty="0" smtClean="0">
                  <a:solidFill>
                    <a:srgbClr val="000000"/>
                  </a:solidFill>
                  <a:latin typeface="Calibri" panose="020F0502020204030204" pitchFamily="34" charset="0"/>
                  <a:cs typeface="Calibri" panose="020F0502020204030204" pitchFamily="34" charset="0"/>
                </a:rPr>
                <a:t>Cross Functional teams for Speed</a:t>
              </a:r>
              <a:endParaRPr sz="1600" dirty="0">
                <a:solidFill>
                  <a:srgbClr val="000000"/>
                </a:solidFill>
                <a:latin typeface="Calibri" panose="020F0502020204030204" pitchFamily="34" charset="0"/>
                <a:cs typeface="Calibri" panose="020F0502020204030204" pitchFamily="34" charset="0"/>
              </a:endParaRPr>
            </a:p>
            <a:p>
              <a:pPr marL="228594" indent="-211133" defTabSz="914377">
                <a:spcBef>
                  <a:spcPts val="233"/>
                </a:spcBef>
                <a:buFont typeface="Segoe UI Symbol"/>
                <a:buChar char="✓"/>
                <a:defRPr/>
              </a:pPr>
              <a:r>
                <a:rPr sz="1600" b="1" dirty="0" smtClean="0">
                  <a:solidFill>
                    <a:srgbClr val="000000"/>
                  </a:solidFill>
                  <a:latin typeface="Calibri" panose="020F0502020204030204" pitchFamily="34" charset="0"/>
                  <a:cs typeface="Calibri" panose="020F0502020204030204" pitchFamily="34" charset="0"/>
                </a:rPr>
                <a:t>Globally distributed</a:t>
              </a:r>
              <a:r>
                <a:rPr lang="en-US" sz="1600" b="1" dirty="0" smtClean="0">
                  <a:solidFill>
                    <a:srgbClr val="000000"/>
                  </a:solidFill>
                  <a:latin typeface="Calibri" panose="020F0502020204030204" pitchFamily="34" charset="0"/>
                  <a:cs typeface="Calibri" panose="020F0502020204030204" pitchFamily="34" charset="0"/>
                </a:rPr>
                <a:t> for cost optimization</a:t>
              </a:r>
            </a:p>
            <a:p>
              <a:pPr marL="228594" indent="-211133" defTabSz="914377">
                <a:spcBef>
                  <a:spcPts val="233"/>
                </a:spcBef>
                <a:buFont typeface="Segoe UI Symbol"/>
                <a:buChar char="✓"/>
                <a:defRPr/>
              </a:pPr>
              <a:endParaRPr sz="1600" dirty="0">
                <a:solidFill>
                  <a:srgbClr val="000000"/>
                </a:solidFill>
                <a:latin typeface="Calibri" panose="020F0502020204030204" pitchFamily="34" charset="0"/>
                <a:cs typeface="Calibri" panose="020F0502020204030204" pitchFamily="34" charset="0"/>
              </a:endParaRPr>
            </a:p>
          </p:txBody>
        </p:sp>
        <p:sp>
          <p:nvSpPr>
            <p:cNvPr id="124" name="Right Arrow 123"/>
            <p:cNvSpPr/>
            <p:nvPr/>
          </p:nvSpPr>
          <p:spPr>
            <a:xfrm rot="5400000">
              <a:off x="10251910" y="4227227"/>
              <a:ext cx="518136" cy="750886"/>
            </a:xfrm>
            <a:prstGeom prst="right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059530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8"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xfrm>
            <a:off x="0" y="6486525"/>
            <a:ext cx="1735138" cy="244475"/>
          </a:xfrm>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49"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xfrm>
            <a:off x="0" y="6430963"/>
            <a:ext cx="1212850" cy="322262"/>
          </a:xfrm>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3</a:t>
            </a:fld>
            <a:r>
              <a:rPr lang="en-US" dirty="0" smtClean="0"/>
              <a:t> of XX</a:t>
            </a:r>
            <a:endParaRPr lang="en-US" dirty="0"/>
          </a:p>
        </p:txBody>
      </p:sp>
      <p:sp>
        <p:nvSpPr>
          <p:cNvPr id="12" name="Title 9"/>
          <p:cNvSpPr txBox="1">
            <a:spLocks/>
          </p:cNvSpPr>
          <p:nvPr/>
        </p:nvSpPr>
        <p:spPr bwMode="auto">
          <a:xfrm>
            <a:off x="1959479" y="2275331"/>
            <a:ext cx="443491" cy="993342"/>
          </a:xfrm>
          <a:prstGeom prst="rect">
            <a:avLst/>
          </a:prstGeom>
          <a:noFill/>
          <a:ln w="9525">
            <a:noFill/>
            <a:miter lim="800000"/>
            <a:headEnd/>
            <a:tailEnd/>
          </a:ln>
        </p:spPr>
        <p:txBody>
          <a:bodyPr vert="horz" wrap="square" lIns="130622" tIns="65311" rIns="130622" bIns="65311" numCol="1" anchor="t" anchorCtr="0" compatLnSpc="1">
            <a:prstTxWarp prst="textNoShape">
              <a:avLst/>
            </a:prstTxWarp>
          </a:bodyPr>
          <a:lstStyle>
            <a:lvl1pPr algn="l" rtl="0" eaLnBrk="0" fontAlgn="base" hangingPunct="0">
              <a:spcBef>
                <a:spcPct val="0"/>
              </a:spcBef>
              <a:spcAft>
                <a:spcPct val="0"/>
              </a:spcAft>
              <a:defRPr sz="2833">
                <a:solidFill>
                  <a:srgbClr val="3D97BB"/>
                </a:solidFill>
                <a:latin typeface="+mj-lt"/>
                <a:ea typeface="ＭＳ Ｐゴシック" charset="-128"/>
                <a:cs typeface="ＭＳ Ｐゴシック" charset="-128"/>
              </a:defRPr>
            </a:lvl1pPr>
            <a:lvl2pPr algn="l" rtl="0" eaLnBrk="0" fontAlgn="base" hangingPunct="0">
              <a:spcBef>
                <a:spcPct val="0"/>
              </a:spcBef>
              <a:spcAft>
                <a:spcPct val="0"/>
              </a:spcAft>
              <a:defRPr sz="3333">
                <a:solidFill>
                  <a:srgbClr val="3D97BB"/>
                </a:solidFill>
                <a:latin typeface="Verdana" pitchFamily="-12" charset="0"/>
                <a:ea typeface="ＭＳ Ｐゴシック" pitchFamily="-12" charset="-128"/>
                <a:cs typeface="ＭＳ Ｐゴシック" pitchFamily="-12" charset="-128"/>
              </a:defRPr>
            </a:lvl2pPr>
            <a:lvl3pPr algn="l" rtl="0" eaLnBrk="0" fontAlgn="base" hangingPunct="0">
              <a:spcBef>
                <a:spcPct val="0"/>
              </a:spcBef>
              <a:spcAft>
                <a:spcPct val="0"/>
              </a:spcAft>
              <a:defRPr sz="3333">
                <a:solidFill>
                  <a:srgbClr val="3D97BB"/>
                </a:solidFill>
                <a:latin typeface="Verdana" pitchFamily="-12" charset="0"/>
                <a:ea typeface="ＭＳ Ｐゴシック" pitchFamily="-12" charset="-128"/>
                <a:cs typeface="ＭＳ Ｐゴシック" pitchFamily="-12" charset="-128"/>
              </a:defRPr>
            </a:lvl3pPr>
            <a:lvl4pPr algn="l" rtl="0" eaLnBrk="0" fontAlgn="base" hangingPunct="0">
              <a:spcBef>
                <a:spcPct val="0"/>
              </a:spcBef>
              <a:spcAft>
                <a:spcPct val="0"/>
              </a:spcAft>
              <a:defRPr sz="3333">
                <a:solidFill>
                  <a:srgbClr val="3D97BB"/>
                </a:solidFill>
                <a:latin typeface="Verdana" pitchFamily="-12" charset="0"/>
                <a:ea typeface="ＭＳ Ｐゴシック" pitchFamily="-12" charset="-128"/>
                <a:cs typeface="ＭＳ Ｐゴシック" pitchFamily="-12" charset="-128"/>
              </a:defRPr>
            </a:lvl4pPr>
            <a:lvl5pPr algn="l" rtl="0" eaLnBrk="0" fontAlgn="base" hangingPunct="0">
              <a:spcBef>
                <a:spcPct val="0"/>
              </a:spcBef>
              <a:spcAft>
                <a:spcPct val="0"/>
              </a:spcAft>
              <a:defRPr sz="3333">
                <a:solidFill>
                  <a:srgbClr val="3D97BB"/>
                </a:solidFill>
                <a:latin typeface="Verdana" pitchFamily="-12" charset="0"/>
                <a:ea typeface="ＭＳ Ｐゴシック" pitchFamily="-12" charset="-128"/>
                <a:cs typeface="ＭＳ Ｐゴシック" pitchFamily="-12" charset="-128"/>
              </a:defRPr>
            </a:lvl5pPr>
            <a:lvl6pPr marL="544245" algn="l" rtl="0" fontAlgn="base">
              <a:spcBef>
                <a:spcPct val="0"/>
              </a:spcBef>
              <a:spcAft>
                <a:spcPct val="0"/>
              </a:spcAft>
              <a:defRPr sz="2833" b="1">
                <a:solidFill>
                  <a:srgbClr val="3D97BB"/>
                </a:solidFill>
                <a:latin typeface="Verdana" pitchFamily="-12" charset="0"/>
                <a:ea typeface="ＭＳ Ｐゴシック" pitchFamily="-12" charset="-128"/>
                <a:cs typeface="ＭＳ Ｐゴシック" pitchFamily="-12" charset="-128"/>
              </a:defRPr>
            </a:lvl6pPr>
            <a:lvl7pPr marL="1088490" algn="l" rtl="0" fontAlgn="base">
              <a:spcBef>
                <a:spcPct val="0"/>
              </a:spcBef>
              <a:spcAft>
                <a:spcPct val="0"/>
              </a:spcAft>
              <a:defRPr sz="2833" b="1">
                <a:solidFill>
                  <a:srgbClr val="3D97BB"/>
                </a:solidFill>
                <a:latin typeface="Verdana" pitchFamily="-12" charset="0"/>
                <a:ea typeface="ＭＳ Ｐゴシック" pitchFamily="-12" charset="-128"/>
                <a:cs typeface="ＭＳ Ｐゴシック" pitchFamily="-12" charset="-128"/>
              </a:defRPr>
            </a:lvl7pPr>
            <a:lvl8pPr marL="1632735" algn="l" rtl="0" fontAlgn="base">
              <a:spcBef>
                <a:spcPct val="0"/>
              </a:spcBef>
              <a:spcAft>
                <a:spcPct val="0"/>
              </a:spcAft>
              <a:defRPr sz="2833" b="1">
                <a:solidFill>
                  <a:srgbClr val="3D97BB"/>
                </a:solidFill>
                <a:latin typeface="Verdana" pitchFamily="-12" charset="0"/>
                <a:ea typeface="ＭＳ Ｐゴシック" pitchFamily="-12" charset="-128"/>
                <a:cs typeface="ＭＳ Ｐゴシック" pitchFamily="-12" charset="-128"/>
              </a:defRPr>
            </a:lvl8pPr>
            <a:lvl9pPr marL="2176980" algn="l" rtl="0" fontAlgn="base">
              <a:spcBef>
                <a:spcPct val="0"/>
              </a:spcBef>
              <a:spcAft>
                <a:spcPct val="0"/>
              </a:spcAft>
              <a:defRPr sz="2833" b="1">
                <a:solidFill>
                  <a:srgbClr val="3D97BB"/>
                </a:solidFill>
                <a:latin typeface="Verdana" pitchFamily="-12" charset="0"/>
                <a:ea typeface="ＭＳ Ｐゴシック" pitchFamily="-12" charset="-128"/>
                <a:cs typeface="ＭＳ Ｐゴシック" pitchFamily="-12" charset="-128"/>
              </a:defRPr>
            </a:lvl9pPr>
          </a:lstStyle>
          <a:p>
            <a:pPr marL="0" marR="0" lvl="0" indent="0" algn="l" defTabSz="914400" rtl="0" eaLnBrk="0" fontAlgn="base" latinLnBrk="0" hangingPunct="0">
              <a:lnSpc>
                <a:spcPct val="100000"/>
              </a:lnSpc>
              <a:spcBef>
                <a:spcPts val="1200"/>
              </a:spcBef>
              <a:spcAft>
                <a:spcPct val="0"/>
              </a:spcAft>
              <a:buClrTx/>
              <a:buSzTx/>
              <a:buFontTx/>
              <a:buNone/>
              <a:tabLst/>
              <a:defRPr/>
            </a:pPr>
            <a:endParaRPr kumimoji="0" lang="en-US" sz="4800" b="0" i="0" u="none" strike="noStrike" kern="0" cap="none" spc="0" normalizeH="0" baseline="0" noProof="0" dirty="0">
              <a:ln>
                <a:noFill/>
              </a:ln>
              <a:solidFill>
                <a:prstClr val="white">
                  <a:lumMod val="85000"/>
                </a:prstClr>
              </a:solidFill>
              <a:effectLst/>
              <a:uLnTx/>
              <a:uFillTx/>
              <a:latin typeface="Calibri" panose="020F0502020204030204" pitchFamily="34" charset="0"/>
              <a:ea typeface="ＭＳ Ｐゴシック" charset="-128"/>
              <a:cs typeface="Calibri" panose="020F0502020204030204" pitchFamily="34" charset="0"/>
            </a:endParaRPr>
          </a:p>
        </p:txBody>
      </p:sp>
      <p:sp>
        <p:nvSpPr>
          <p:cNvPr id="15" name="Rectangle 14"/>
          <p:cNvSpPr/>
          <p:nvPr/>
        </p:nvSpPr>
        <p:spPr>
          <a:xfrm>
            <a:off x="655853" y="973525"/>
            <a:ext cx="345348" cy="273396"/>
          </a:xfrm>
          <a:prstGeom prst="rect">
            <a:avLst/>
          </a:prstGeom>
          <a:solidFill>
            <a:srgbClr val="0D61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1</a:t>
            </a:r>
          </a:p>
        </p:txBody>
      </p:sp>
      <p:sp>
        <p:nvSpPr>
          <p:cNvPr id="16" name="Rectangle 15"/>
          <p:cNvSpPr/>
          <p:nvPr/>
        </p:nvSpPr>
        <p:spPr>
          <a:xfrm>
            <a:off x="1058758" y="973525"/>
            <a:ext cx="4678637" cy="273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7" name="TextBox 217"/>
          <p:cNvSpPr txBox="1"/>
          <p:nvPr/>
        </p:nvSpPr>
        <p:spPr>
          <a:xfrm>
            <a:off x="1187624" y="954655"/>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a:solidFill>
                  <a:schemeClr val="tx1"/>
                </a:solidFill>
                <a:latin typeface="Calibri" panose="020F0502020204030204" pitchFamily="34" charset="0"/>
              </a:rPr>
              <a:t>Solution </a:t>
            </a:r>
            <a:r>
              <a:rPr lang="en-US" sz="1600" kern="1200" dirty="0" smtClean="0">
                <a:solidFill>
                  <a:schemeClr val="tx1"/>
                </a:solidFill>
                <a:latin typeface="Calibri" panose="020F0502020204030204" pitchFamily="34" charset="0"/>
              </a:rPr>
              <a:t>Tenets</a:t>
            </a:r>
            <a:endParaRPr lang="en-US" sz="1600" kern="1200" dirty="0">
              <a:solidFill>
                <a:schemeClr val="tx1"/>
              </a:solidFill>
              <a:latin typeface="Calibri" panose="020F0502020204030204" pitchFamily="34" charset="0"/>
            </a:endParaRPr>
          </a:p>
        </p:txBody>
      </p:sp>
      <p:sp>
        <p:nvSpPr>
          <p:cNvPr id="18" name="Rectangle 17"/>
          <p:cNvSpPr/>
          <p:nvPr/>
        </p:nvSpPr>
        <p:spPr>
          <a:xfrm>
            <a:off x="655853" y="1300853"/>
            <a:ext cx="345348" cy="30791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2</a:t>
            </a:r>
          </a:p>
        </p:txBody>
      </p:sp>
      <p:sp>
        <p:nvSpPr>
          <p:cNvPr id="19" name="Rectangle 18"/>
          <p:cNvSpPr/>
          <p:nvPr/>
        </p:nvSpPr>
        <p:spPr>
          <a:xfrm>
            <a:off x="1058758" y="1300853"/>
            <a:ext cx="4678637" cy="3079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0" name="TextBox 217"/>
          <p:cNvSpPr txBox="1"/>
          <p:nvPr/>
        </p:nvSpPr>
        <p:spPr>
          <a:xfrm>
            <a:off x="1187624" y="1299241"/>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Engagement Roadmap</a:t>
            </a:r>
            <a:endParaRPr lang="en-US" sz="1600" kern="1200" dirty="0">
              <a:solidFill>
                <a:schemeClr val="tx1"/>
              </a:solidFill>
              <a:latin typeface="Calibri" panose="020F0502020204030204" pitchFamily="34" charset="0"/>
            </a:endParaRPr>
          </a:p>
        </p:txBody>
      </p:sp>
      <p:sp>
        <p:nvSpPr>
          <p:cNvPr id="21" name="Rectangle 20"/>
          <p:cNvSpPr/>
          <p:nvPr/>
        </p:nvSpPr>
        <p:spPr>
          <a:xfrm>
            <a:off x="655853" y="2059300"/>
            <a:ext cx="345348" cy="30252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3</a:t>
            </a:r>
          </a:p>
        </p:txBody>
      </p:sp>
      <p:sp>
        <p:nvSpPr>
          <p:cNvPr id="22" name="Rectangle 21"/>
          <p:cNvSpPr/>
          <p:nvPr/>
        </p:nvSpPr>
        <p:spPr>
          <a:xfrm>
            <a:off x="1070078" y="2059300"/>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Box 217"/>
          <p:cNvSpPr txBox="1"/>
          <p:nvPr/>
        </p:nvSpPr>
        <p:spPr>
          <a:xfrm>
            <a:off x="1187624" y="2054993"/>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Run Better</a:t>
            </a:r>
            <a:endParaRPr lang="en-US" sz="1600" kern="1200" dirty="0">
              <a:solidFill>
                <a:schemeClr val="tx1"/>
              </a:solidFill>
              <a:latin typeface="Calibri" panose="020F0502020204030204" pitchFamily="34" charset="0"/>
            </a:endParaRPr>
          </a:p>
        </p:txBody>
      </p:sp>
      <p:sp>
        <p:nvSpPr>
          <p:cNvPr id="24" name="Rectangle 23"/>
          <p:cNvSpPr/>
          <p:nvPr/>
        </p:nvSpPr>
        <p:spPr>
          <a:xfrm>
            <a:off x="1059049" y="2401665"/>
            <a:ext cx="4678637" cy="3171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sp>
        <p:nvSpPr>
          <p:cNvPr id="25" name="TextBox 217"/>
          <p:cNvSpPr txBox="1"/>
          <p:nvPr/>
        </p:nvSpPr>
        <p:spPr>
          <a:xfrm>
            <a:off x="1176595" y="2404651"/>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indent="0" defTabSz="914400">
              <a:buNone/>
            </a:pPr>
            <a:r>
              <a:rPr lang="en-US" sz="1600" b="0" kern="1200" dirty="0">
                <a:solidFill>
                  <a:schemeClr val="tx1"/>
                </a:solidFill>
                <a:latin typeface="Calibri" panose="020F0502020204030204" pitchFamily="34" charset="0"/>
              </a:rPr>
              <a:t>Application Maintenance Solution</a:t>
            </a:r>
          </a:p>
        </p:txBody>
      </p:sp>
      <p:sp>
        <p:nvSpPr>
          <p:cNvPr id="26" name="Rectangle 25"/>
          <p:cNvSpPr/>
          <p:nvPr/>
        </p:nvSpPr>
        <p:spPr>
          <a:xfrm>
            <a:off x="1059049" y="2772704"/>
            <a:ext cx="4678637" cy="307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sp>
        <p:nvSpPr>
          <p:cNvPr id="27" name="TextBox 217"/>
          <p:cNvSpPr txBox="1"/>
          <p:nvPr/>
        </p:nvSpPr>
        <p:spPr>
          <a:xfrm>
            <a:off x="1176595" y="2771026"/>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indent="0" defTabSz="914400">
              <a:buNone/>
            </a:pPr>
            <a:r>
              <a:rPr lang="en-US" sz="1600" b="0" kern="1200" dirty="0">
                <a:solidFill>
                  <a:schemeClr val="tx1"/>
                </a:solidFill>
                <a:latin typeface="Calibri" panose="020F0502020204030204" pitchFamily="34" charset="0"/>
              </a:rPr>
              <a:t>Application Development Solution</a:t>
            </a:r>
          </a:p>
        </p:txBody>
      </p:sp>
      <p:sp>
        <p:nvSpPr>
          <p:cNvPr id="28" name="Rectangle 27"/>
          <p:cNvSpPr/>
          <p:nvPr/>
        </p:nvSpPr>
        <p:spPr>
          <a:xfrm>
            <a:off x="1068814" y="3127779"/>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9" name="TextBox 217"/>
          <p:cNvSpPr txBox="1"/>
          <p:nvPr/>
        </p:nvSpPr>
        <p:spPr>
          <a:xfrm>
            <a:off x="1186360" y="3123472"/>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b="0" kern="1200" dirty="0" smtClean="0">
                <a:solidFill>
                  <a:schemeClr val="tx1"/>
                </a:solidFill>
                <a:latin typeface="Calibri" panose="020F0502020204030204" pitchFamily="34" charset="0"/>
              </a:rPr>
              <a:t>Quality Engineering Solution</a:t>
            </a:r>
            <a:endParaRPr lang="en-US" sz="1600" b="0" kern="1200" dirty="0">
              <a:solidFill>
                <a:schemeClr val="tx1"/>
              </a:solidFill>
              <a:latin typeface="Calibri" panose="020F0502020204030204" pitchFamily="34" charset="0"/>
            </a:endParaRPr>
          </a:p>
        </p:txBody>
      </p:sp>
      <p:sp>
        <p:nvSpPr>
          <p:cNvPr id="30" name="Rectangle 29"/>
          <p:cNvSpPr/>
          <p:nvPr/>
        </p:nvSpPr>
        <p:spPr>
          <a:xfrm>
            <a:off x="644533" y="1659709"/>
            <a:ext cx="345348" cy="31710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3</a:t>
            </a:r>
          </a:p>
        </p:txBody>
      </p:sp>
      <p:sp>
        <p:nvSpPr>
          <p:cNvPr id="31" name="Rectangle 30"/>
          <p:cNvSpPr/>
          <p:nvPr/>
        </p:nvSpPr>
        <p:spPr>
          <a:xfrm>
            <a:off x="1058758" y="1659709"/>
            <a:ext cx="4678637" cy="3171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sp>
        <p:nvSpPr>
          <p:cNvPr id="32" name="TextBox 217"/>
          <p:cNvSpPr txBox="1"/>
          <p:nvPr/>
        </p:nvSpPr>
        <p:spPr>
          <a:xfrm>
            <a:off x="1176304" y="1662695"/>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Landsafe </a:t>
            </a:r>
            <a:r>
              <a:rPr lang="en-US" sz="1600" kern="1200" dirty="0">
                <a:solidFill>
                  <a:schemeClr val="tx1"/>
                </a:solidFill>
                <a:latin typeface="Calibri" panose="020F0502020204030204" pitchFamily="34" charset="0"/>
              </a:rPr>
              <a:t>Transformation Solution</a:t>
            </a:r>
          </a:p>
        </p:txBody>
      </p:sp>
      <p:sp>
        <p:nvSpPr>
          <p:cNvPr id="33" name="Rectangle 32"/>
          <p:cNvSpPr/>
          <p:nvPr/>
        </p:nvSpPr>
        <p:spPr>
          <a:xfrm>
            <a:off x="654020" y="3820167"/>
            <a:ext cx="345348" cy="30252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4</a:t>
            </a:r>
          </a:p>
        </p:txBody>
      </p:sp>
      <p:sp>
        <p:nvSpPr>
          <p:cNvPr id="34" name="Rectangle 33"/>
          <p:cNvSpPr/>
          <p:nvPr/>
        </p:nvSpPr>
        <p:spPr>
          <a:xfrm>
            <a:off x="1068245" y="3820167"/>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35" name="TextBox 217"/>
          <p:cNvSpPr txBox="1"/>
          <p:nvPr/>
        </p:nvSpPr>
        <p:spPr>
          <a:xfrm>
            <a:off x="1185791" y="3815860"/>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Run Different</a:t>
            </a:r>
            <a:endParaRPr lang="en-US" sz="1600" kern="1200" dirty="0">
              <a:solidFill>
                <a:schemeClr val="tx1"/>
              </a:solidFill>
              <a:latin typeface="Calibri" panose="020F0502020204030204" pitchFamily="34" charset="0"/>
            </a:endParaRPr>
          </a:p>
        </p:txBody>
      </p:sp>
      <p:sp>
        <p:nvSpPr>
          <p:cNvPr id="36" name="Rectangle 35"/>
          <p:cNvSpPr/>
          <p:nvPr/>
        </p:nvSpPr>
        <p:spPr>
          <a:xfrm>
            <a:off x="1066977" y="3445434"/>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37" name="TextBox 217"/>
          <p:cNvSpPr txBox="1"/>
          <p:nvPr/>
        </p:nvSpPr>
        <p:spPr>
          <a:xfrm>
            <a:off x="1184523" y="3441127"/>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b="0" kern="1200" dirty="0" smtClean="0">
                <a:solidFill>
                  <a:schemeClr val="tx1"/>
                </a:solidFill>
                <a:latin typeface="Calibri" panose="020F0502020204030204" pitchFamily="34" charset="0"/>
              </a:rPr>
              <a:t>Automation &amp; Tools Strategy</a:t>
            </a:r>
            <a:endParaRPr lang="en-US" sz="1600" b="0" kern="1200" dirty="0">
              <a:solidFill>
                <a:schemeClr val="tx1"/>
              </a:solidFill>
              <a:latin typeface="Calibri" panose="020F0502020204030204" pitchFamily="34" charset="0"/>
            </a:endParaRPr>
          </a:p>
        </p:txBody>
      </p:sp>
      <p:sp>
        <p:nvSpPr>
          <p:cNvPr id="38" name="Rectangle 37"/>
          <p:cNvSpPr/>
          <p:nvPr/>
        </p:nvSpPr>
        <p:spPr>
          <a:xfrm>
            <a:off x="1066977" y="4185483"/>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39" name="TextBox 217"/>
          <p:cNvSpPr txBox="1"/>
          <p:nvPr/>
        </p:nvSpPr>
        <p:spPr>
          <a:xfrm>
            <a:off x="1184523" y="4181176"/>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Strategic Alignment with Marriott Priorities</a:t>
            </a:r>
            <a:endParaRPr lang="en-US" sz="1600" b="0" kern="1200" dirty="0">
              <a:solidFill>
                <a:schemeClr val="tx1"/>
              </a:solidFill>
              <a:latin typeface="Calibri" panose="020F0502020204030204" pitchFamily="34" charset="0"/>
            </a:endParaRPr>
          </a:p>
        </p:txBody>
      </p:sp>
      <p:sp>
        <p:nvSpPr>
          <p:cNvPr id="40" name="Rectangle 39"/>
          <p:cNvSpPr/>
          <p:nvPr/>
        </p:nvSpPr>
        <p:spPr>
          <a:xfrm>
            <a:off x="1043436" y="4559415"/>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1" name="TextBox 217"/>
          <p:cNvSpPr txBox="1"/>
          <p:nvPr/>
        </p:nvSpPr>
        <p:spPr>
          <a:xfrm>
            <a:off x="1160982" y="4555108"/>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Innovation &amp; Transformation</a:t>
            </a:r>
            <a:endParaRPr lang="en-US" sz="1600" b="0" kern="1200" dirty="0">
              <a:solidFill>
                <a:schemeClr val="tx1"/>
              </a:solidFill>
              <a:latin typeface="Calibri" panose="020F0502020204030204" pitchFamily="34" charset="0"/>
            </a:endParaRPr>
          </a:p>
        </p:txBody>
      </p:sp>
      <p:sp>
        <p:nvSpPr>
          <p:cNvPr id="42" name="Rectangle 41"/>
          <p:cNvSpPr/>
          <p:nvPr/>
        </p:nvSpPr>
        <p:spPr>
          <a:xfrm>
            <a:off x="629211" y="4930965"/>
            <a:ext cx="345348" cy="30252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latin typeface="Calibri" panose="020F0502020204030204" pitchFamily="34" charset="0"/>
              </a:rPr>
              <a:t>5</a:t>
            </a:r>
            <a:endParaRPr lang="en-US" sz="1600" b="1" dirty="0">
              <a:latin typeface="Calibri" panose="020F0502020204030204" pitchFamily="34" charset="0"/>
            </a:endParaRPr>
          </a:p>
        </p:txBody>
      </p:sp>
      <p:sp>
        <p:nvSpPr>
          <p:cNvPr id="43" name="Rectangle 42"/>
          <p:cNvSpPr/>
          <p:nvPr/>
        </p:nvSpPr>
        <p:spPr>
          <a:xfrm>
            <a:off x="1043436" y="4930965"/>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4" name="TextBox 217"/>
          <p:cNvSpPr txBox="1"/>
          <p:nvPr/>
        </p:nvSpPr>
        <p:spPr>
          <a:xfrm>
            <a:off x="1160982" y="4926658"/>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Commercials</a:t>
            </a:r>
            <a:endParaRPr lang="en-US" sz="1600" kern="1200" dirty="0">
              <a:solidFill>
                <a:schemeClr val="tx1"/>
              </a:solidFill>
              <a:latin typeface="Calibri" panose="020F0502020204030204" pitchFamily="34" charset="0"/>
            </a:endParaRPr>
          </a:p>
        </p:txBody>
      </p:sp>
      <p:sp>
        <p:nvSpPr>
          <p:cNvPr id="45" name="Rectangle 44"/>
          <p:cNvSpPr/>
          <p:nvPr/>
        </p:nvSpPr>
        <p:spPr>
          <a:xfrm>
            <a:off x="607728" y="5305370"/>
            <a:ext cx="345348" cy="3025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rPr>
              <a:t>6</a:t>
            </a:r>
          </a:p>
        </p:txBody>
      </p:sp>
      <p:sp>
        <p:nvSpPr>
          <p:cNvPr id="46" name="Rectangle 45"/>
          <p:cNvSpPr/>
          <p:nvPr/>
        </p:nvSpPr>
        <p:spPr>
          <a:xfrm>
            <a:off x="1066977" y="5305370"/>
            <a:ext cx="4678637" cy="302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7" name="TextBox 217"/>
          <p:cNvSpPr txBox="1"/>
          <p:nvPr/>
        </p:nvSpPr>
        <p:spPr>
          <a:xfrm>
            <a:off x="1184523" y="5301063"/>
            <a:ext cx="4330998" cy="311137"/>
          </a:xfrm>
          <a:prstGeom prst="rect">
            <a:avLst/>
          </a:prstGeom>
          <a:noFill/>
          <a:ln>
            <a:noFill/>
          </a:ln>
        </p:spPr>
        <p:txBody>
          <a:bodyPr wrap="square" lIns="64288" tIns="32144" rIns="64288" bIns="32144" rtlCol="0" anchor="ctr">
            <a:spAutoFit/>
          </a:bodyPr>
          <a:lstStyle>
            <a:defPPr>
              <a:defRPr lang="en-US"/>
            </a:defPPr>
            <a:lvl1pPr marL="114300" indent="-114300" defTabSz="642915" eaLnBrk="1" latinLnBrk="0" hangingPunct="1">
              <a:buFont typeface="Arial" panose="020B0604020202020204" pitchFamily="34" charset="0"/>
              <a:buChar char="•"/>
              <a:defRPr sz="1050" kern="0">
                <a:solidFill>
                  <a:prstClr val="black">
                    <a:lumMod val="75000"/>
                    <a:lumOff val="25000"/>
                  </a:prstClr>
                </a:solidFill>
                <a:latin typeface="Calibiri"/>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lvl="0" indent="0" defTabSz="914400">
              <a:buNone/>
            </a:pPr>
            <a:r>
              <a:rPr lang="en-US" sz="1600" kern="1200" dirty="0" smtClean="0">
                <a:solidFill>
                  <a:schemeClr val="tx1"/>
                </a:solidFill>
                <a:latin typeface="Calibri" panose="020F0502020204030204" pitchFamily="34" charset="0"/>
              </a:rPr>
              <a:t>Our Commitments</a:t>
            </a:r>
            <a:endParaRPr lang="en-US" sz="1600" kern="1200" dirty="0">
              <a:solidFill>
                <a:schemeClr val="tx1"/>
              </a:solidFill>
              <a:latin typeface="Calibri" panose="020F0502020204030204" pitchFamily="34" charset="0"/>
            </a:endParaRPr>
          </a:p>
        </p:txBody>
      </p:sp>
      <p:sp>
        <p:nvSpPr>
          <p:cNvPr id="50" name="Diagonal Stripe 49"/>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Needs Alignment</a:t>
            </a:r>
          </a:p>
        </p:txBody>
      </p:sp>
      <p:sp>
        <p:nvSpPr>
          <p:cNvPr id="3" name="Rectangle 2"/>
          <p:cNvSpPr/>
          <p:nvPr/>
        </p:nvSpPr>
        <p:spPr>
          <a:xfrm>
            <a:off x="7267074" y="2574758"/>
            <a:ext cx="3272589" cy="2726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y Cognizant section added in deck flow </a:t>
            </a:r>
          </a:p>
          <a:p>
            <a:pPr algn="ctr"/>
            <a:endParaRPr lang="en-US" dirty="0"/>
          </a:p>
          <a:p>
            <a:pPr algn="ctr"/>
            <a:r>
              <a:rPr lang="en-US" dirty="0" smtClean="0"/>
              <a:t>Engagement Roadmap not existing for RFP 2, hence no separate section at Item 2 currently</a:t>
            </a:r>
            <a:endParaRPr lang="en-US" dirty="0"/>
          </a:p>
        </p:txBody>
      </p:sp>
    </p:spTree>
    <p:extLst>
      <p:ext uri="{BB962C8B-B14F-4D97-AF65-F5344CB8AC3E}">
        <p14:creationId xmlns:p14="http://schemas.microsoft.com/office/powerpoint/2010/main" val="16183711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Better – AMS – RFP 2</a:t>
            </a:r>
            <a:endParaRPr lang="en-US" dirty="0"/>
          </a:p>
        </p:txBody>
      </p:sp>
    </p:spTree>
    <p:extLst>
      <p:ext uri="{BB962C8B-B14F-4D97-AF65-F5344CB8AC3E}">
        <p14:creationId xmlns:p14="http://schemas.microsoft.com/office/powerpoint/2010/main" val="5882212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Zero Maintenance </a:t>
            </a:r>
            <a:r>
              <a:rPr lang="en-US" dirty="0"/>
              <a:t>Framework – Driving Agility with Optimization</a:t>
            </a:r>
          </a:p>
        </p:txBody>
      </p:sp>
      <p:graphicFrame>
        <p:nvGraphicFramePr>
          <p:cNvPr id="79" name="Chart 4"/>
          <p:cNvGraphicFramePr/>
          <p:nvPr>
            <p:extLst/>
          </p:nvPr>
        </p:nvGraphicFramePr>
        <p:xfrm>
          <a:off x="-37409" y="1241237"/>
          <a:ext cx="11979201" cy="4665663"/>
        </p:xfrm>
        <a:graphic>
          <a:graphicData uri="http://schemas.openxmlformats.org/drawingml/2006/chart">
            <c:chart xmlns:c="http://schemas.openxmlformats.org/drawingml/2006/chart" xmlns:r="http://schemas.openxmlformats.org/officeDocument/2006/relationships" r:id="rId3"/>
          </a:graphicData>
        </a:graphic>
      </p:graphicFrame>
      <p:sp>
        <p:nvSpPr>
          <p:cNvPr id="80" name="Rectangle 12"/>
          <p:cNvSpPr>
            <a:spLocks noChangeArrowheads="1"/>
          </p:cNvSpPr>
          <p:nvPr/>
        </p:nvSpPr>
        <p:spPr bwMode="auto">
          <a:xfrm>
            <a:off x="4397944" y="2814860"/>
            <a:ext cx="1748570" cy="201593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KPI DRIVEN SMART INDUSTRIALIZED L1.5 TEAM</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RIGHT SHORING</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SMART TOOLS AND OPS (APPLEN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CENTRALIZED KEDB</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CROSS SKILLING &amp; RIGHT SKILLING</a:t>
            </a:r>
          </a:p>
        </p:txBody>
      </p:sp>
      <p:sp>
        <p:nvSpPr>
          <p:cNvPr id="81" name="Rectangle 13"/>
          <p:cNvSpPr>
            <a:spLocks noChangeArrowheads="1"/>
          </p:cNvSpPr>
          <p:nvPr/>
        </p:nvSpPr>
        <p:spPr bwMode="auto">
          <a:xfrm>
            <a:off x="2933972" y="2557545"/>
            <a:ext cx="1330735" cy="149271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HIVECENTER</a:t>
            </a:r>
            <a:r>
              <a:rPr kumimoji="0" lang="en-US" altLang="en-US" sz="1200" b="0" i="0" u="none" strike="noStrike" kern="0" cap="none" spc="0" normalizeH="0" baseline="30000" noProof="0" dirty="0">
                <a:ln>
                  <a:noFill/>
                </a:ln>
                <a:solidFill>
                  <a:prstClr val="black"/>
                </a:solidFill>
                <a:effectLst/>
                <a:uLnTx/>
                <a:uFillTx/>
                <a:latin typeface="Calibri" panose="020F0502020204030204" pitchFamily="34" charset="0"/>
                <a:ea typeface="ＭＳ Ｐゴシック" pitchFamily="34" charset="-128"/>
                <a:cs typeface="Arial"/>
              </a:rPr>
              <a:t>TM</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 AUTOMATION PLATFORM</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IT RUNBOOK AUTOMATION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AUTOMATION BOT’S</a:t>
            </a:r>
          </a:p>
        </p:txBody>
      </p:sp>
      <p:sp>
        <p:nvSpPr>
          <p:cNvPr id="82" name="Rectangle 14"/>
          <p:cNvSpPr>
            <a:spLocks noChangeArrowheads="1"/>
          </p:cNvSpPr>
          <p:nvPr/>
        </p:nvSpPr>
        <p:spPr bwMode="auto">
          <a:xfrm>
            <a:off x="10110480" y="3398008"/>
            <a:ext cx="1285533" cy="128650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TOOLS FOR SMART IT OPERATION</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CONTINUOUS SERVICE IMPROVEMENT FRAMEWORK</a:t>
            </a:r>
          </a:p>
        </p:txBody>
      </p:sp>
      <p:sp>
        <p:nvSpPr>
          <p:cNvPr id="83" name="Rectangle 15"/>
          <p:cNvSpPr>
            <a:spLocks noChangeArrowheads="1"/>
          </p:cNvSpPr>
          <p:nvPr/>
        </p:nvSpPr>
        <p:spPr bwMode="auto">
          <a:xfrm>
            <a:off x="6076698" y="3130596"/>
            <a:ext cx="1563415" cy="1938992"/>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SMARTOPS DRIVEN SERVICE</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SKILL </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LEVERAGE ACROSS SILO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STANDARD OPERATING PROCEDURE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INTEGRATED SERVICE MGMT </a:t>
            </a:r>
          </a:p>
        </p:txBody>
      </p:sp>
      <p:sp>
        <p:nvSpPr>
          <p:cNvPr id="84" name="Rectangle 50"/>
          <p:cNvSpPr>
            <a:spLocks noChangeArrowheads="1"/>
          </p:cNvSpPr>
          <p:nvPr/>
        </p:nvSpPr>
        <p:spPr bwMode="auto">
          <a:xfrm>
            <a:off x="631962" y="1961897"/>
            <a:ext cx="670713" cy="3548044"/>
          </a:xfrm>
          <a:prstGeom prst="rect">
            <a:avLst/>
          </a:prstGeom>
          <a:solidFill>
            <a:srgbClr val="258B3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0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a:endParaRPr>
          </a:p>
        </p:txBody>
      </p:sp>
      <p:sp>
        <p:nvSpPr>
          <p:cNvPr id="85" name="Text Box 51"/>
          <p:cNvSpPr txBox="1">
            <a:spLocks noChangeArrowheads="1"/>
          </p:cNvSpPr>
          <p:nvPr/>
        </p:nvSpPr>
        <p:spPr bwMode="auto">
          <a:xfrm>
            <a:off x="549343" y="3993149"/>
            <a:ext cx="86016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Steady State Day1</a:t>
            </a:r>
          </a:p>
        </p:txBody>
      </p:sp>
      <p:sp>
        <p:nvSpPr>
          <p:cNvPr id="87" name="Rectangle 55"/>
          <p:cNvSpPr>
            <a:spLocks noChangeArrowheads="1"/>
          </p:cNvSpPr>
          <p:nvPr/>
        </p:nvSpPr>
        <p:spPr bwMode="auto">
          <a:xfrm>
            <a:off x="4547448" y="2498317"/>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FFFF00"/>
                </a:solidFill>
                <a:effectLst/>
                <a:uLnTx/>
                <a:uFillTx/>
                <a:latin typeface="Calibri" panose="020F0502020204030204" pitchFamily="34" charset="0"/>
                <a:ea typeface="ＭＳ Ｐゴシック" pitchFamily="34" charset="-128"/>
                <a:cs typeface="Arial"/>
              </a:rPr>
              <a:t>10-15 </a:t>
            </a:r>
            <a:r>
              <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rPr>
              <a:t>%</a:t>
            </a:r>
          </a:p>
        </p:txBody>
      </p:sp>
      <p:sp>
        <p:nvSpPr>
          <p:cNvPr id="88" name="Rectangle 56"/>
          <p:cNvSpPr>
            <a:spLocks noChangeArrowheads="1"/>
          </p:cNvSpPr>
          <p:nvPr/>
        </p:nvSpPr>
        <p:spPr bwMode="auto">
          <a:xfrm>
            <a:off x="2934904" y="2241279"/>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FFFF00"/>
                </a:solidFill>
                <a:effectLst/>
                <a:uLnTx/>
                <a:uFillTx/>
                <a:latin typeface="Calibri" panose="020F0502020204030204" pitchFamily="34" charset="0"/>
                <a:ea typeface="ＭＳ Ｐゴシック" pitchFamily="34" charset="-128"/>
                <a:cs typeface="Arial"/>
              </a:rPr>
              <a:t>15-20 </a:t>
            </a:r>
            <a:r>
              <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rPr>
              <a:t>%</a:t>
            </a:r>
          </a:p>
        </p:txBody>
      </p:sp>
      <p:sp>
        <p:nvSpPr>
          <p:cNvPr id="89" name="Rectangle 57"/>
          <p:cNvSpPr>
            <a:spLocks noChangeArrowheads="1"/>
          </p:cNvSpPr>
          <p:nvPr/>
        </p:nvSpPr>
        <p:spPr bwMode="auto">
          <a:xfrm>
            <a:off x="1419467" y="1962539"/>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FFFF00"/>
                </a:solidFill>
                <a:effectLst/>
                <a:uLnTx/>
                <a:uFillTx/>
                <a:latin typeface="Calibri" panose="020F0502020204030204" pitchFamily="34" charset="0"/>
                <a:ea typeface="ＭＳ Ｐゴシック" pitchFamily="34" charset="-128"/>
                <a:cs typeface="Arial"/>
              </a:rPr>
              <a:t>10-15 </a:t>
            </a:r>
            <a:r>
              <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rPr>
              <a:t>%</a:t>
            </a:r>
          </a:p>
        </p:txBody>
      </p:sp>
      <p:sp>
        <p:nvSpPr>
          <p:cNvPr id="91" name="Rectangle 59"/>
          <p:cNvSpPr>
            <a:spLocks noChangeArrowheads="1"/>
          </p:cNvSpPr>
          <p:nvPr/>
        </p:nvSpPr>
        <p:spPr bwMode="auto">
          <a:xfrm rot="5400000">
            <a:off x="8815902" y="2035011"/>
            <a:ext cx="1343655" cy="759202"/>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a:endParaRPr>
          </a:p>
        </p:txBody>
      </p:sp>
      <p:sp>
        <p:nvSpPr>
          <p:cNvPr id="92" name="TextBox 10"/>
          <p:cNvSpPr txBox="1">
            <a:spLocks noChangeArrowheads="1"/>
          </p:cNvSpPr>
          <p:nvPr/>
        </p:nvSpPr>
        <p:spPr bwMode="auto">
          <a:xfrm>
            <a:off x="9031526" y="1898765"/>
            <a:ext cx="96457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Reduce</a:t>
            </a:r>
          </a:p>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a:t>
            </a:r>
            <a:r>
              <a:rPr kumimoji="0" lang="en-US" altLang="en-US" sz="1400" b="1" i="0" u="none" strike="noStrike" kern="0" cap="none" spc="0" normalizeH="0" baseline="0" noProof="0" dirty="0" smtClean="0">
                <a:ln>
                  <a:noFill/>
                </a:ln>
                <a:solidFill>
                  <a:srgbClr val="FFFFFF"/>
                </a:solidFill>
                <a:effectLst/>
                <a:uLnTx/>
                <a:uFillTx/>
                <a:latin typeface="Calibri" panose="020F0502020204030204" pitchFamily="34" charset="0"/>
                <a:ea typeface="ＭＳ Ｐゴシック" pitchFamily="34" charset="-128"/>
                <a:cs typeface="Arial"/>
              </a:rPr>
              <a:t>40-45 </a:t>
            </a: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 Effort</a:t>
            </a:r>
          </a:p>
        </p:txBody>
      </p:sp>
      <p:sp>
        <p:nvSpPr>
          <p:cNvPr id="94" name="TextBox 5"/>
          <p:cNvSpPr txBox="1">
            <a:spLocks noChangeArrowheads="1"/>
          </p:cNvSpPr>
          <p:nvPr/>
        </p:nvSpPr>
        <p:spPr bwMode="auto">
          <a:xfrm>
            <a:off x="605972" y="3260456"/>
            <a:ext cx="6574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100%</a:t>
            </a:r>
          </a:p>
        </p:txBody>
      </p:sp>
      <p:sp>
        <p:nvSpPr>
          <p:cNvPr id="95" name="Rectangle 73"/>
          <p:cNvSpPr>
            <a:spLocks noChangeArrowheads="1"/>
          </p:cNvSpPr>
          <p:nvPr/>
        </p:nvSpPr>
        <p:spPr bwMode="auto">
          <a:xfrm rot="10800000">
            <a:off x="223141" y="3191462"/>
            <a:ext cx="410931" cy="1231900"/>
          </a:xfrm>
          <a:prstGeom prst="rect">
            <a:avLst/>
          </a:prstGeom>
          <a:noFill/>
          <a:ln>
            <a:noFill/>
          </a:ln>
          <a:extLst>
            <a:ext uri="{91240B29-F687-4F45-9708-019B960494DF}">
              <a14:hiddenLine xmlns:a14="http://schemas.microsoft.com/office/drawing/2010/main" w="9525" algn="ctr">
                <a:solidFill>
                  <a:srgbClr val="000000"/>
                </a:solidFill>
                <a:miter lim="800000"/>
                <a:headEnd/>
                <a:tailEnd/>
              </a14:hiddenLine>
            </a:ext>
          </a:extLst>
        </p:spPr>
        <p:txBody>
          <a:bodyPr vert="eaVert" wrap="none" lIns="45720" rIns="45720" anchor="ctr" anchorCtr="1"/>
          <a:lstStyle>
            <a:lvl1pPr defTabSz="877888" eaLnBrk="0" hangingPunct="0">
              <a:defRPr sz="1000" b="1">
                <a:solidFill>
                  <a:schemeClr val="tx1"/>
                </a:solidFill>
                <a:latin typeface="Times New Roman" panose="02020603050405020304" pitchFamily="18" charset="0"/>
                <a:ea typeface="ＭＳ Ｐゴシック" pitchFamily="34" charset="-128"/>
              </a:defRPr>
            </a:lvl1pPr>
            <a:lvl2pPr marL="742950" indent="-285750" defTabSz="877888" eaLnBrk="0" hangingPunct="0">
              <a:defRPr sz="1000" b="1">
                <a:solidFill>
                  <a:schemeClr val="tx1"/>
                </a:solidFill>
                <a:latin typeface="Times New Roman" panose="02020603050405020304" pitchFamily="18" charset="0"/>
                <a:ea typeface="ＭＳ Ｐゴシック" pitchFamily="34" charset="-128"/>
              </a:defRPr>
            </a:lvl2pPr>
            <a:lvl3pPr marL="1143000" indent="-228600" defTabSz="877888" eaLnBrk="0" hangingPunct="0">
              <a:defRPr sz="1000" b="1">
                <a:solidFill>
                  <a:schemeClr val="tx1"/>
                </a:solidFill>
                <a:latin typeface="Times New Roman" panose="02020603050405020304" pitchFamily="18" charset="0"/>
                <a:ea typeface="ＭＳ Ｐゴシック" pitchFamily="34" charset="-128"/>
              </a:defRPr>
            </a:lvl3pPr>
            <a:lvl4pPr marL="1600200" indent="-228600" defTabSz="877888" eaLnBrk="0" hangingPunct="0">
              <a:defRPr sz="1000" b="1">
                <a:solidFill>
                  <a:schemeClr val="tx1"/>
                </a:solidFill>
                <a:latin typeface="Times New Roman" panose="02020603050405020304" pitchFamily="18" charset="0"/>
                <a:ea typeface="ＭＳ Ｐゴシック" pitchFamily="34" charset="-128"/>
              </a:defRPr>
            </a:lvl4pPr>
            <a:lvl5pPr marL="2057400" indent="-228600" defTabSz="877888"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defTabSz="877888"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1170429"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Index</a:t>
            </a:r>
          </a:p>
        </p:txBody>
      </p:sp>
      <p:sp>
        <p:nvSpPr>
          <p:cNvPr id="98" name="TextBox 9"/>
          <p:cNvSpPr txBox="1">
            <a:spLocks noChangeArrowheads="1"/>
          </p:cNvSpPr>
          <p:nvPr/>
        </p:nvSpPr>
        <p:spPr bwMode="auto">
          <a:xfrm>
            <a:off x="4518683" y="2148150"/>
            <a:ext cx="1531402"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872123"/>
                </a:solidFill>
                <a:effectLst/>
                <a:uLnTx/>
                <a:uFillTx/>
                <a:latin typeface="Calibri" panose="020F0502020204030204" pitchFamily="34" charset="0"/>
                <a:ea typeface="ＭＳ Ｐゴシック" pitchFamily="34" charset="-128"/>
                <a:cs typeface="Arial"/>
              </a:rPr>
              <a:t>INDUSTRIALIZE</a:t>
            </a:r>
            <a:endPar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endParaRPr>
          </a:p>
        </p:txBody>
      </p:sp>
      <p:sp>
        <p:nvSpPr>
          <p:cNvPr id="99" name="TextBox 9"/>
          <p:cNvSpPr txBox="1">
            <a:spLocks noChangeArrowheads="1"/>
          </p:cNvSpPr>
          <p:nvPr/>
        </p:nvSpPr>
        <p:spPr bwMode="auto">
          <a:xfrm>
            <a:off x="1369780" y="1462483"/>
            <a:ext cx="1533497"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872123"/>
                </a:solidFill>
                <a:effectLst/>
                <a:uLnTx/>
                <a:uFillTx/>
                <a:latin typeface="Calibri" panose="020F0502020204030204" pitchFamily="34" charset="0"/>
                <a:ea typeface="ＭＳ Ｐゴシック" pitchFamily="34" charset="-128"/>
                <a:cs typeface="Arial"/>
              </a:rPr>
              <a:t>ELIMINATE</a:t>
            </a:r>
            <a:endParaRPr kumimoji="0" lang="en-US" altLang="en-US" sz="1400" b="0"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endParaRPr>
          </a:p>
        </p:txBody>
      </p:sp>
      <p:sp>
        <p:nvSpPr>
          <p:cNvPr id="100" name="TextBox 9"/>
          <p:cNvSpPr txBox="1">
            <a:spLocks noChangeArrowheads="1"/>
          </p:cNvSpPr>
          <p:nvPr/>
        </p:nvSpPr>
        <p:spPr bwMode="auto">
          <a:xfrm>
            <a:off x="9996098" y="2671044"/>
            <a:ext cx="1399915"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ENABLERS</a:t>
            </a:r>
          </a:p>
        </p:txBody>
      </p:sp>
      <p:sp>
        <p:nvSpPr>
          <p:cNvPr id="101" name="TextBox 9"/>
          <p:cNvSpPr txBox="1">
            <a:spLocks noChangeArrowheads="1"/>
          </p:cNvSpPr>
          <p:nvPr/>
        </p:nvSpPr>
        <p:spPr bwMode="auto">
          <a:xfrm>
            <a:off x="2934386" y="1793148"/>
            <a:ext cx="1329905"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872123"/>
                </a:solidFill>
                <a:effectLst/>
                <a:uLnTx/>
                <a:uFillTx/>
                <a:latin typeface="Calibri" panose="020F0502020204030204" pitchFamily="34" charset="0"/>
                <a:ea typeface="ＭＳ Ｐゴシック" pitchFamily="34" charset="-128"/>
                <a:cs typeface="Arial"/>
              </a:rPr>
              <a:t>AUTOMATE</a:t>
            </a:r>
            <a:endPar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endParaRPr>
          </a:p>
        </p:txBody>
      </p:sp>
      <p:sp>
        <p:nvSpPr>
          <p:cNvPr id="102" name="Rectangle 59"/>
          <p:cNvSpPr>
            <a:spLocks noChangeArrowheads="1"/>
          </p:cNvSpPr>
          <p:nvPr/>
        </p:nvSpPr>
        <p:spPr bwMode="auto">
          <a:xfrm>
            <a:off x="10112579" y="2996483"/>
            <a:ext cx="1463040" cy="274320"/>
          </a:xfrm>
          <a:prstGeom prst="homePlate">
            <a:avLst/>
          </a:prstGeom>
          <a:solidFill>
            <a:schemeClr val="accent6">
              <a:lumMod val="75000"/>
            </a:schemeClr>
          </a:solidFill>
          <a:ln>
            <a:noFill/>
          </a:ln>
          <a:extLst/>
        </p:spPr>
        <p:txBody>
          <a:bodyPr wrap="none" anchor="ct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a:rPr>
              <a:t>AND MORE</a:t>
            </a:r>
          </a:p>
        </p:txBody>
      </p:sp>
      <p:sp>
        <p:nvSpPr>
          <p:cNvPr id="103" name="TextBox 102"/>
          <p:cNvSpPr txBox="1"/>
          <p:nvPr/>
        </p:nvSpPr>
        <p:spPr>
          <a:xfrm>
            <a:off x="127997" y="1906270"/>
            <a:ext cx="503664" cy="261610"/>
          </a:xfrm>
          <a:prstGeom prst="rect">
            <a:avLst/>
          </a:prstGeom>
          <a:noFill/>
        </p:spPr>
        <p:txBody>
          <a:bodyPr wrap="none" rtlCol="0">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872123"/>
                </a:solidFill>
                <a:effectLst/>
                <a:uLnTx/>
                <a:uFillTx/>
                <a:latin typeface="Calibri" panose="020F0502020204030204" pitchFamily="34" charset="0"/>
                <a:ea typeface="+mn-ea"/>
                <a:cs typeface="Arial"/>
              </a:rPr>
              <a:t>100%</a:t>
            </a:r>
          </a:p>
        </p:txBody>
      </p:sp>
      <p:sp>
        <p:nvSpPr>
          <p:cNvPr id="104" name="TextBox 103"/>
          <p:cNvSpPr txBox="1"/>
          <p:nvPr/>
        </p:nvSpPr>
        <p:spPr>
          <a:xfrm>
            <a:off x="159339" y="5152858"/>
            <a:ext cx="359393" cy="261610"/>
          </a:xfrm>
          <a:prstGeom prst="rect">
            <a:avLst/>
          </a:prstGeom>
          <a:noFill/>
        </p:spPr>
        <p:txBody>
          <a:bodyPr wrap="none" rtlCol="0">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872123"/>
                </a:solidFill>
                <a:effectLst/>
                <a:uLnTx/>
                <a:uFillTx/>
                <a:latin typeface="Calibri" panose="020F0502020204030204" pitchFamily="34" charset="0"/>
                <a:ea typeface="+mn-ea"/>
                <a:cs typeface="Arial"/>
              </a:rPr>
              <a:t>0%</a:t>
            </a:r>
          </a:p>
        </p:txBody>
      </p:sp>
      <p:sp>
        <p:nvSpPr>
          <p:cNvPr id="59" name="Rectangle 58"/>
          <p:cNvSpPr/>
          <p:nvPr/>
        </p:nvSpPr>
        <p:spPr>
          <a:xfrm>
            <a:off x="3" y="1119026"/>
            <a:ext cx="12191999" cy="91279"/>
          </a:xfrm>
          <a:prstGeom prst="rect">
            <a:avLst/>
          </a:prstGeom>
          <a:solidFill>
            <a:srgbClr val="825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4" name="Rectangle 15"/>
          <p:cNvSpPr>
            <a:spLocks noChangeArrowheads="1"/>
          </p:cNvSpPr>
          <p:nvPr/>
        </p:nvSpPr>
        <p:spPr bwMode="auto">
          <a:xfrm>
            <a:off x="7722173" y="3458302"/>
            <a:ext cx="1543099" cy="218213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altLang="en-US" sz="1200" b="0" kern="0" dirty="0">
                <a:solidFill>
                  <a:prstClr val="black"/>
                </a:solidFill>
                <a:latin typeface="Calibri" panose="020F0502020204030204" pitchFamily="34" charset="0"/>
                <a:cs typeface="Arial"/>
              </a:rPr>
              <a:t>BUSINESS VALUE   MGMT (BVM)</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altLang="en-US" sz="1200" b="0" kern="0" dirty="0" smtClean="0">
                <a:solidFill>
                  <a:prstClr val="black"/>
                </a:solidFill>
                <a:latin typeface="Calibri" panose="020F0502020204030204" pitchFamily="34" charset="0"/>
                <a:cs typeface="Arial"/>
              </a:rPr>
              <a:t>APR AND CLOUD MIGRATION SUPPORT AND ENABLEMENT</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altLang="en-US" sz="1200" b="0" kern="0" dirty="0" smtClean="0">
                <a:solidFill>
                  <a:prstClr val="black"/>
                </a:solidFill>
                <a:latin typeface="Calibri" panose="020F0502020204030204" pitchFamily="34" charset="0"/>
                <a:cs typeface="Arial"/>
              </a:rPr>
              <a:t>PID 3.0</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altLang="en-US" sz="1200" b="0" kern="0" dirty="0" smtClean="0">
                <a:solidFill>
                  <a:prstClr val="black"/>
                </a:solidFill>
                <a:latin typeface="Calibri" panose="020F0502020204030204" pitchFamily="34" charset="0"/>
                <a:cs typeface="Arial"/>
              </a:rPr>
              <a:t>AMS OPS TRANSFORMATION WITH AGILE</a:t>
            </a:r>
            <a:endParaRPr lang="en-US" altLang="en-US" sz="1200" b="0" kern="0" dirty="0">
              <a:solidFill>
                <a:prstClr val="black"/>
              </a:solidFill>
              <a:latin typeface="Calibri" panose="020F0502020204030204" pitchFamily="34" charset="0"/>
              <a:cs typeface="Arial"/>
            </a:endParaRP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endPar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endParaRPr>
          </a:p>
        </p:txBody>
      </p:sp>
      <p:sp>
        <p:nvSpPr>
          <p:cNvPr id="55" name="Rectangle 57"/>
          <p:cNvSpPr>
            <a:spLocks noChangeArrowheads="1"/>
          </p:cNvSpPr>
          <p:nvPr/>
        </p:nvSpPr>
        <p:spPr bwMode="auto">
          <a:xfrm>
            <a:off x="7722173" y="3067779"/>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FFFF00"/>
                </a:solidFill>
                <a:effectLst/>
                <a:uLnTx/>
                <a:uFillTx/>
                <a:latin typeface="Calibri" panose="020F0502020204030204" pitchFamily="34" charset="0"/>
                <a:ea typeface="ＭＳ Ｐゴシック" pitchFamily="34" charset="-128"/>
                <a:cs typeface="Arial"/>
              </a:rPr>
              <a:t>3-5%</a:t>
            </a:r>
            <a:endPar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endParaRPr>
          </a:p>
        </p:txBody>
      </p:sp>
      <p:sp>
        <p:nvSpPr>
          <p:cNvPr id="56" name="TextBox 9"/>
          <p:cNvSpPr txBox="1">
            <a:spLocks noChangeArrowheads="1"/>
          </p:cNvSpPr>
          <p:nvPr/>
        </p:nvSpPr>
        <p:spPr bwMode="auto">
          <a:xfrm>
            <a:off x="7532422" y="2738084"/>
            <a:ext cx="1732851"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TRANSFORM</a:t>
            </a:r>
            <a:endParaRPr kumimoji="0" lang="en-US" altLang="en-US" sz="1400" b="0"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endParaRPr>
          </a:p>
        </p:txBody>
      </p:sp>
      <p:sp>
        <p:nvSpPr>
          <p:cNvPr id="38" name="Rectangle 57"/>
          <p:cNvSpPr>
            <a:spLocks noChangeArrowheads="1"/>
          </p:cNvSpPr>
          <p:nvPr/>
        </p:nvSpPr>
        <p:spPr bwMode="auto">
          <a:xfrm>
            <a:off x="6050085" y="2784194"/>
            <a:ext cx="1463040" cy="274320"/>
          </a:xfrm>
          <a:prstGeom prst="homePlate">
            <a:avLst/>
          </a:prstGeom>
          <a:solidFill>
            <a:srgbClr val="0093D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FFFF00"/>
                </a:solidFill>
                <a:effectLst/>
                <a:uLnTx/>
                <a:uFillTx/>
                <a:latin typeface="Calibri" panose="020F0502020204030204" pitchFamily="34" charset="0"/>
                <a:ea typeface="ＭＳ Ｐゴシック" pitchFamily="34" charset="-128"/>
                <a:cs typeface="Arial"/>
              </a:rPr>
              <a:t>3-5 </a:t>
            </a:r>
            <a:r>
              <a:rPr kumimoji="0" lang="en-US" altLang="en-US" sz="1600" b="1" i="0" u="none" strike="noStrike" kern="0" cap="none" spc="0" normalizeH="0" baseline="0" noProof="0" dirty="0">
                <a:ln>
                  <a:noFill/>
                </a:ln>
                <a:solidFill>
                  <a:srgbClr val="FFFF00"/>
                </a:solidFill>
                <a:effectLst/>
                <a:uLnTx/>
                <a:uFillTx/>
                <a:latin typeface="Calibri" panose="020F0502020204030204" pitchFamily="34" charset="0"/>
                <a:ea typeface="ＭＳ Ｐゴシック" pitchFamily="34" charset="-128"/>
                <a:cs typeface="Arial"/>
              </a:rPr>
              <a:t>%</a:t>
            </a:r>
          </a:p>
        </p:txBody>
      </p:sp>
      <p:sp>
        <p:nvSpPr>
          <p:cNvPr id="39" name="TextBox 9"/>
          <p:cNvSpPr txBox="1">
            <a:spLocks noChangeArrowheads="1"/>
          </p:cNvSpPr>
          <p:nvPr/>
        </p:nvSpPr>
        <p:spPr bwMode="auto">
          <a:xfrm>
            <a:off x="6018298" y="2428667"/>
            <a:ext cx="1494827"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SYNERGIZE</a:t>
            </a:r>
          </a:p>
        </p:txBody>
      </p:sp>
      <p:sp>
        <p:nvSpPr>
          <p:cNvPr id="40" name="Rectangle 15"/>
          <p:cNvSpPr>
            <a:spLocks noChangeArrowheads="1"/>
          </p:cNvSpPr>
          <p:nvPr/>
        </p:nvSpPr>
        <p:spPr bwMode="auto">
          <a:xfrm>
            <a:off x="1379986" y="2430393"/>
            <a:ext cx="1457617" cy="2015936"/>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INCIDENT REDUCTION KPI’s</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APP STRENGTHENING</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PROACTIVE MONITORING</a:t>
            </a:r>
          </a:p>
          <a:p>
            <a:pPr marL="111125" marR="0" lvl="0" indent="-111125" algn="l" defTabSz="914332"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PROACTIVE PROBLEM MANAGEMENT</a:t>
            </a:r>
          </a:p>
        </p:txBody>
      </p:sp>
      <p:sp>
        <p:nvSpPr>
          <p:cNvPr id="43" name="TextBox 9"/>
          <p:cNvSpPr txBox="1">
            <a:spLocks noChangeArrowheads="1"/>
          </p:cNvSpPr>
          <p:nvPr/>
        </p:nvSpPr>
        <p:spPr bwMode="auto">
          <a:xfrm>
            <a:off x="4317873" y="5309133"/>
            <a:ext cx="3427171" cy="338554"/>
          </a:xfrm>
          <a:prstGeom prst="rect">
            <a:avLst/>
          </a:prstGeom>
          <a:noFill/>
          <a:ln>
            <a:noFill/>
          </a:ln>
          <a:extLst/>
        </p:spPr>
        <p:txBody>
          <a:bodyPr wrap="square">
            <a:spAutoFit/>
          </a:bodyPr>
          <a:lstStyle>
            <a:lvl1pPr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a:ln>
                  <a:noFill/>
                </a:ln>
                <a:solidFill>
                  <a:srgbClr val="872123"/>
                </a:solidFill>
                <a:effectLst/>
                <a:uLnTx/>
                <a:uFillTx/>
                <a:latin typeface="Calibri" panose="020F0502020204030204" pitchFamily="34" charset="0"/>
                <a:ea typeface="ＭＳ Ｐゴシック" pitchFamily="34" charset="-128"/>
                <a:cs typeface="Arial"/>
              </a:rPr>
              <a:t>IT SERVICE MANAGEMENT</a:t>
            </a:r>
          </a:p>
        </p:txBody>
      </p:sp>
      <p:cxnSp>
        <p:nvCxnSpPr>
          <p:cNvPr id="5" name="Straight Arrow Connector 4"/>
          <p:cNvCxnSpPr/>
          <p:nvPr/>
        </p:nvCxnSpPr>
        <p:spPr>
          <a:xfrm>
            <a:off x="7427695" y="5478407"/>
            <a:ext cx="3645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flipV="1">
            <a:off x="1369218" y="5506117"/>
            <a:ext cx="3383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Rectangle 15"/>
          <p:cNvSpPr>
            <a:spLocks noChangeArrowheads="1"/>
          </p:cNvSpPr>
          <p:nvPr/>
        </p:nvSpPr>
        <p:spPr bwMode="auto">
          <a:xfrm>
            <a:off x="1119831" y="5662536"/>
            <a:ext cx="6199145" cy="621709"/>
          </a:xfrm>
          <a:prstGeom prst="rect">
            <a:avLst/>
          </a:prstGeom>
          <a:solidFill>
            <a:schemeClr val="bg1"/>
          </a:solidFill>
          <a:ln>
            <a:noFill/>
          </a:ln>
          <a:extLst/>
        </p:spPr>
        <p:txBody>
          <a:bodyPr wrap="square" lIns="0" tIns="0">
            <a:spAutoFit/>
          </a:bodyPr>
          <a:lstStyle>
            <a:lvl1pPr marL="111125" indent="-111125" eaLnBrk="0" hangingPunct="0">
              <a:defRPr sz="1000" b="1">
                <a:solidFill>
                  <a:schemeClr val="tx1"/>
                </a:solidFill>
                <a:latin typeface="Times New Roman" panose="02020603050405020304" pitchFamily="18" charset="0"/>
                <a:ea typeface="ＭＳ Ｐゴシック" pitchFamily="34" charset="-128"/>
              </a:defRPr>
            </a:lvl1pPr>
            <a:lvl2pPr marL="742950" indent="-285750" eaLnBrk="0" hangingPunct="0">
              <a:defRPr sz="1000" b="1">
                <a:solidFill>
                  <a:schemeClr val="tx1"/>
                </a:solidFill>
                <a:latin typeface="Times New Roman" panose="02020603050405020304" pitchFamily="18" charset="0"/>
                <a:ea typeface="ＭＳ Ｐゴシック" pitchFamily="34" charset="-128"/>
              </a:defRPr>
            </a:lvl2pPr>
            <a:lvl3pPr marL="1143000" indent="-228600" eaLnBrk="0" hangingPunct="0">
              <a:defRPr sz="1000" b="1">
                <a:solidFill>
                  <a:schemeClr val="tx1"/>
                </a:solidFill>
                <a:latin typeface="Times New Roman" panose="02020603050405020304" pitchFamily="18" charset="0"/>
                <a:ea typeface="ＭＳ Ｐゴシック" pitchFamily="34" charset="-128"/>
              </a:defRPr>
            </a:lvl3pPr>
            <a:lvl4pPr marL="1600200" indent="-228600" eaLnBrk="0" hangingPunct="0">
              <a:defRPr sz="1000" b="1">
                <a:solidFill>
                  <a:schemeClr val="tx1"/>
                </a:solidFill>
                <a:latin typeface="Times New Roman" panose="02020603050405020304" pitchFamily="18" charset="0"/>
                <a:ea typeface="ＭＳ Ｐゴシック" pitchFamily="34" charset="-128"/>
              </a:defRPr>
            </a:lvl4pPr>
            <a:lvl5pPr marL="2057400" indent="-228600" eaLnBrk="0" hangingPunct="0">
              <a:defRPr sz="1000" b="1">
                <a:solidFill>
                  <a:schemeClr val="tx1"/>
                </a:solidFill>
                <a:latin typeface="Times New Roman" panose="02020603050405020304" pitchFamily="18" charset="0"/>
                <a:ea typeface="ＭＳ Ｐゴシック" pitchFamily="34" charset="-128"/>
              </a:defRPr>
            </a:lvl5pPr>
            <a:lvl6pPr marL="25146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6pPr>
            <a:lvl7pPr marL="29718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7pPr>
            <a:lvl8pPr marL="34290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8pPr>
            <a:lvl9pPr marL="3886200" indent="-228600" algn="ctr" eaLnBrk="0" fontAlgn="base" hangingPunct="0">
              <a:spcBef>
                <a:spcPct val="0"/>
              </a:spcBef>
              <a:spcAft>
                <a:spcPct val="0"/>
              </a:spcAft>
              <a:defRPr sz="1000" b="1">
                <a:solidFill>
                  <a:schemeClr val="tx1"/>
                </a:solidFill>
                <a:latin typeface="Times New Roman" panose="02020603050405020304" pitchFamily="18" charset="0"/>
                <a:ea typeface="ＭＳ Ｐゴシック" pitchFamily="34" charset="-128"/>
              </a:defRPr>
            </a:lvl9pPr>
          </a:lstStyle>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CONSTANT MINOR ENHANCEMENT CAPACITY AT </a:t>
            </a: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MARRIOTT’s </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DISCRETION</a:t>
            </a:r>
          </a:p>
          <a:p>
            <a:pPr marL="111125" marR="0" lvl="0" indent="-111125" algn="l" defTabSz="812600"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MAINTENANCE CAPACITY PRESERVED OVER TIME TO ALLOW JOINT OPERATION WITH </a:t>
            </a:r>
            <a:r>
              <a:rPr kumimoji="0" lang="en-US" altLang="en-US" sz="1200" b="0" i="0" u="none" strike="noStrike" kern="0" cap="none" spc="0" normalizeH="0" baseline="0" noProof="0" dirty="0" smtClean="0">
                <a:ln>
                  <a:noFill/>
                </a:ln>
                <a:solidFill>
                  <a:prstClr val="black"/>
                </a:solidFill>
                <a:effectLst/>
                <a:uLnTx/>
                <a:uFillTx/>
                <a:latin typeface="Calibri" panose="020F0502020204030204" pitchFamily="34" charset="0"/>
                <a:ea typeface="ＭＳ Ｐゴシック" pitchFamily="34" charset="-128"/>
                <a:cs typeface="Arial"/>
              </a:rPr>
              <a:t>MARRIOTT’S </a:t>
            </a:r>
            <a:r>
              <a:rPr kumimoji="0" lang="en-US" altLang="en-US" sz="12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Arial"/>
              </a:rPr>
              <a:t>IT</a:t>
            </a:r>
          </a:p>
        </p:txBody>
      </p:sp>
      <p:sp>
        <p:nvSpPr>
          <p:cNvPr id="4" name="Rectangle 3"/>
          <p:cNvSpPr/>
          <p:nvPr/>
        </p:nvSpPr>
        <p:spPr>
          <a:xfrm>
            <a:off x="2535300" y="1226610"/>
            <a:ext cx="6833781" cy="3006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Calibri" panose="020F0502020204030204"/>
                <a:ea typeface="+mn-ea"/>
                <a:cs typeface="+mn-cs"/>
              </a:rPr>
              <a:t>Opportunity Savings for other engagements of Similar size and scal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2</a:t>
            </a:r>
            <a:endParaRPr lang="en-US" sz="2133" b="1" dirty="0">
              <a:solidFill>
                <a:schemeClr val="bg1"/>
              </a:solidFill>
              <a:latin typeface="Calibri" panose="020F0502020204030204"/>
            </a:endParaRPr>
          </a:p>
        </p:txBody>
      </p:sp>
    </p:spTree>
    <p:extLst>
      <p:ext uri="{BB962C8B-B14F-4D97-AF65-F5344CB8AC3E}">
        <p14:creationId xmlns:p14="http://schemas.microsoft.com/office/powerpoint/2010/main" val="1021842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588" y="945871"/>
            <a:ext cx="12188952" cy="1097280"/>
          </a:xfrm>
          <a:prstGeom prst="rect">
            <a:avLst/>
          </a:prstGeom>
          <a:solidFill>
            <a:srgbClr val="14141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5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7" name="Rectangle 26"/>
          <p:cNvSpPr/>
          <p:nvPr/>
        </p:nvSpPr>
        <p:spPr>
          <a:xfrm>
            <a:off x="509016" y="3575154"/>
            <a:ext cx="3657600" cy="2057400"/>
          </a:xfrm>
          <a:prstGeom prst="rect">
            <a:avLst/>
          </a:prstGeom>
          <a:solidFill>
            <a:schemeClr val="bg1">
              <a:lumMod val="95000"/>
            </a:schemeClr>
          </a:solidFill>
          <a:ln w="25400" cap="flat" cmpd="sng" algn="ctr">
            <a:noFill/>
            <a:prstDash val="solid"/>
          </a:ln>
          <a:effectLst/>
        </p:spPr>
        <p:txBody>
          <a:bodyPr tIns="91440" rtlCol="0" anchor="t"/>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41414"/>
                </a:solidFill>
                <a:effectLst/>
                <a:uLnTx/>
                <a:uFillTx/>
                <a:latin typeface="Arial"/>
                <a:ea typeface="+mn-ea"/>
                <a:cs typeface="+mn-cs"/>
              </a:rPr>
              <a:t>Automation for IT Agility</a:t>
            </a:r>
          </a:p>
        </p:txBody>
      </p:sp>
      <p:sp>
        <p:nvSpPr>
          <p:cNvPr id="21" name="Rectangle 20"/>
          <p:cNvSpPr/>
          <p:nvPr/>
        </p:nvSpPr>
        <p:spPr>
          <a:xfrm>
            <a:off x="8025384" y="3575154"/>
            <a:ext cx="3657600" cy="2057400"/>
          </a:xfrm>
          <a:prstGeom prst="rect">
            <a:avLst/>
          </a:prstGeom>
          <a:solidFill>
            <a:schemeClr val="bg1">
              <a:lumMod val="95000"/>
            </a:schemeClr>
          </a:solidFill>
          <a:ln w="25400" cap="flat" cmpd="sng" algn="ctr">
            <a:noFill/>
            <a:prstDash val="solid"/>
          </a:ln>
          <a:effectLst/>
        </p:spPr>
        <p:txBody>
          <a:bodyPr tIns="91440" rtlCol="0" anchor="t"/>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41414"/>
                </a:solidFill>
                <a:effectLst/>
                <a:uLnTx/>
                <a:uFillTx/>
                <a:latin typeface="Arial"/>
                <a:ea typeface="+mn-ea"/>
                <a:cs typeface="+mn-cs"/>
              </a:rPr>
              <a:t>Automation for User </a:t>
            </a:r>
            <a:r>
              <a:rPr kumimoji="0" lang="en-US" sz="1400" b="1" i="0" u="none" strike="noStrike" kern="0" cap="none" spc="0" normalizeH="0" baseline="0" noProof="0" dirty="0" smtClean="0">
                <a:ln>
                  <a:noFill/>
                </a:ln>
                <a:solidFill>
                  <a:srgbClr val="141414"/>
                </a:solidFill>
                <a:effectLst/>
                <a:uLnTx/>
                <a:uFillTx/>
                <a:latin typeface="Arial"/>
                <a:ea typeface="+mn-ea"/>
                <a:cs typeface="+mn-cs"/>
              </a:rPr>
              <a:t>Exp.</a:t>
            </a:r>
            <a:endParaRPr kumimoji="0" lang="en-US" sz="1400" b="1" i="0" u="none" strike="noStrike" kern="0" cap="none" spc="0" normalizeH="0" baseline="0" noProof="0" dirty="0">
              <a:ln>
                <a:noFill/>
              </a:ln>
              <a:solidFill>
                <a:srgbClr val="141414"/>
              </a:solidFill>
              <a:effectLst/>
              <a:uLnTx/>
              <a:uFillTx/>
              <a:latin typeface="Arial"/>
              <a:ea typeface="+mn-ea"/>
              <a:cs typeface="+mn-cs"/>
            </a:endParaRPr>
          </a:p>
        </p:txBody>
      </p:sp>
      <p:sp>
        <p:nvSpPr>
          <p:cNvPr id="13" name="Rectangle 12"/>
          <p:cNvSpPr/>
          <p:nvPr/>
        </p:nvSpPr>
        <p:spPr>
          <a:xfrm>
            <a:off x="4267200" y="3575154"/>
            <a:ext cx="3657600" cy="2057400"/>
          </a:xfrm>
          <a:prstGeom prst="rect">
            <a:avLst/>
          </a:prstGeom>
          <a:solidFill>
            <a:schemeClr val="bg1">
              <a:lumMod val="95000"/>
            </a:schemeClr>
          </a:solidFill>
          <a:ln w="25400" cap="flat" cmpd="sng" algn="ctr">
            <a:noFill/>
            <a:prstDash val="solid"/>
          </a:ln>
          <a:effectLst/>
        </p:spPr>
        <p:txBody>
          <a:bodyPr tIns="91440" rtlCol="0" anchor="t"/>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41414"/>
                </a:solidFill>
                <a:effectLst/>
                <a:uLnTx/>
                <a:uFillTx/>
                <a:latin typeface="Arial"/>
                <a:ea typeface="+mn-ea"/>
                <a:cs typeface="+mn-cs"/>
              </a:rPr>
              <a:t>Automation for IT Efficiency </a:t>
            </a:r>
          </a:p>
        </p:txBody>
      </p:sp>
      <p:sp>
        <p:nvSpPr>
          <p:cNvPr id="3" name="Title 2"/>
          <p:cNvSpPr>
            <a:spLocks noGrp="1"/>
          </p:cNvSpPr>
          <p:nvPr>
            <p:ph type="title"/>
          </p:nvPr>
        </p:nvSpPr>
        <p:spPr/>
        <p:txBody>
          <a:bodyPr>
            <a:noAutofit/>
          </a:bodyPr>
          <a:lstStyle/>
          <a:p>
            <a:r>
              <a:rPr lang="en-US" dirty="0" smtClean="0"/>
              <a:t>Automate </a:t>
            </a:r>
            <a:r>
              <a:rPr lang="en-US" dirty="0"/>
              <a:t>: Cognizant’s HiveCenter I&amp;O </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8829" y="1037311"/>
            <a:ext cx="4914473" cy="914400"/>
          </a:xfrm>
          <a:prstGeom prst="rect">
            <a:avLst/>
          </a:prstGeom>
          <a:solidFill>
            <a:schemeClr val="tx2"/>
          </a:solidFill>
        </p:spPr>
      </p:pic>
      <p:sp>
        <p:nvSpPr>
          <p:cNvPr id="6" name="Rectangle 5"/>
          <p:cNvSpPr/>
          <p:nvPr/>
        </p:nvSpPr>
        <p:spPr>
          <a:xfrm>
            <a:off x="509016" y="3127561"/>
            <a:ext cx="3657600" cy="457200"/>
          </a:xfrm>
          <a:prstGeom prst="rect">
            <a:avLst/>
          </a:prstGeom>
          <a:solidFill>
            <a:schemeClr val="tx1"/>
          </a:solidFill>
          <a:ln w="9525">
            <a:noFill/>
            <a:miter lim="800000"/>
            <a:headEnd/>
            <a:tailEnd/>
          </a:ln>
        </p:spPr>
        <p:txBody>
          <a:bodyPr vert="horz" wrap="square" lIns="162519" tIns="81259" rIns="162519" bIns="81259" numCol="1" anchor="ctr" anchorCtr="0" compatLnSpc="1">
            <a:prstTxWarp prst="textNoShape">
              <a:avLst/>
            </a:prstTxWarp>
          </a:bodyPr>
          <a:lstStyle/>
          <a:p>
            <a:pPr marL="0" marR="0" lvl="0" indent="0" algn="ctr" defTabSz="162500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a:ea typeface="+mn-ea"/>
                <a:cs typeface="+mn-cs"/>
              </a:rPr>
              <a:t>Agility &amp; Speed</a:t>
            </a:r>
          </a:p>
        </p:txBody>
      </p:sp>
      <p:pic>
        <p:nvPicPr>
          <p:cNvPr id="28" name="Picture 27"/>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99654" y="5151667"/>
            <a:ext cx="2057773" cy="411480"/>
          </a:xfrm>
          <a:prstGeom prst="rect">
            <a:avLst/>
          </a:prstGeom>
        </p:spPr>
      </p:pic>
      <p:sp>
        <p:nvSpPr>
          <p:cNvPr id="29" name="Rectangle 28"/>
          <p:cNvSpPr/>
          <p:nvPr/>
        </p:nvSpPr>
        <p:spPr>
          <a:xfrm>
            <a:off x="635622"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Test Automation</a:t>
            </a:r>
          </a:p>
        </p:txBody>
      </p:sp>
      <p:sp>
        <p:nvSpPr>
          <p:cNvPr id="30" name="Rectangle 29"/>
          <p:cNvSpPr/>
          <p:nvPr/>
        </p:nvSpPr>
        <p:spPr>
          <a:xfrm>
            <a:off x="635622"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Cloud Automation</a:t>
            </a:r>
          </a:p>
        </p:txBody>
      </p:sp>
      <p:sp>
        <p:nvSpPr>
          <p:cNvPr id="31" name="Rectangle 30"/>
          <p:cNvSpPr/>
          <p:nvPr/>
        </p:nvSpPr>
        <p:spPr>
          <a:xfrm>
            <a:off x="1796734"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Service Virtualisation</a:t>
            </a:r>
          </a:p>
        </p:txBody>
      </p:sp>
      <p:sp>
        <p:nvSpPr>
          <p:cNvPr id="32" name="Rectangle 31"/>
          <p:cNvSpPr/>
          <p:nvPr/>
        </p:nvSpPr>
        <p:spPr>
          <a:xfrm>
            <a:off x="1796734"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Build &amp; Release Automation</a:t>
            </a:r>
          </a:p>
        </p:txBody>
      </p:sp>
      <p:sp>
        <p:nvSpPr>
          <p:cNvPr id="33" name="Rectangle 32"/>
          <p:cNvSpPr/>
          <p:nvPr/>
        </p:nvSpPr>
        <p:spPr>
          <a:xfrm>
            <a:off x="2957847"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DevOps </a:t>
            </a:r>
          </a:p>
        </p:txBody>
      </p:sp>
      <p:sp>
        <p:nvSpPr>
          <p:cNvPr id="8" name="Rectangle 7"/>
          <p:cNvSpPr/>
          <p:nvPr/>
        </p:nvSpPr>
        <p:spPr>
          <a:xfrm>
            <a:off x="394716" y="2257719"/>
            <a:ext cx="11173968" cy="1102866"/>
          </a:xfrm>
          <a:prstGeom prst="rect">
            <a:avLst/>
          </a:prstGeom>
        </p:spPr>
        <p:txBody>
          <a:bodyPr wrap="square">
            <a:spAutoFit/>
          </a:bodyPr>
          <a:lstStyle/>
          <a:p>
            <a:pPr marL="0" marR="0" lvl="0" indent="0" algn="l" defTabSz="761792" rtl="0" eaLnBrk="1" fontAlgn="auto" latinLnBrk="0" hangingPunct="1">
              <a:lnSpc>
                <a:spcPct val="100000"/>
              </a:lnSpc>
              <a:spcBef>
                <a:spcPts val="667"/>
              </a:spcBef>
              <a:spcAft>
                <a:spcPts val="667"/>
              </a:spcAft>
              <a:buClrTx/>
              <a:buSzTx/>
              <a:buFontTx/>
              <a:buNone/>
              <a:tabLst/>
              <a:defRPr/>
            </a:pPr>
            <a:r>
              <a:rPr kumimoji="0" lang="en-US" sz="1800" b="0" i="0" u="none" strike="noStrike" kern="0" cap="none" spc="0" normalizeH="0" baseline="0" noProof="0" dirty="0">
                <a:ln>
                  <a:noFill/>
                </a:ln>
                <a:solidFill>
                  <a:srgbClr val="141414"/>
                </a:solidFill>
                <a:effectLst/>
                <a:uLnTx/>
                <a:uFillTx/>
                <a:latin typeface="Arial"/>
                <a:ea typeface="Calibri" panose="020F0502020204030204" pitchFamily="34" charset="0"/>
                <a:cs typeface="Times New Roman" panose="02020603050405020304" pitchFamily="18" charset="0"/>
              </a:rPr>
              <a:t>Cognizant HiveCenter</a:t>
            </a:r>
            <a:r>
              <a:rPr kumimoji="0" lang="en-US" sz="1800" b="0" i="0" u="none" strike="noStrike" kern="0" cap="none" spc="0" normalizeH="0" baseline="30000" noProof="0" dirty="0">
                <a:ln>
                  <a:noFill/>
                </a:ln>
                <a:solidFill>
                  <a:srgbClr val="141414"/>
                </a:solidFill>
                <a:effectLst/>
                <a:uLnTx/>
                <a:uFillTx/>
                <a:latin typeface="Arial"/>
                <a:ea typeface="Calibri" panose="020F0502020204030204" pitchFamily="34" charset="0"/>
                <a:cs typeface="Times New Roman" panose="02020603050405020304" pitchFamily="18" charset="0"/>
              </a:rPr>
              <a:t>TM</a:t>
            </a:r>
            <a:r>
              <a:rPr kumimoji="0" lang="en-US" sz="1800" b="0" i="0" u="none" strike="noStrike" kern="0" cap="none" spc="0" normalizeH="0" baseline="0" noProof="0" dirty="0">
                <a:ln>
                  <a:noFill/>
                </a:ln>
                <a:solidFill>
                  <a:srgbClr val="141414"/>
                </a:solidFill>
                <a:effectLst/>
                <a:uLnTx/>
                <a:uFillTx/>
                <a:latin typeface="Arial"/>
                <a:ea typeface="Calibri" panose="020F0502020204030204" pitchFamily="34" charset="0"/>
                <a:cs typeface="Times New Roman" panose="02020603050405020304" pitchFamily="18" charset="0"/>
              </a:rPr>
              <a:t> I&amp;O automation is an integrated platform to build </a:t>
            </a:r>
            <a:r>
              <a:rPr kumimoji="0" lang="en-US" sz="1800" b="0" i="0" u="sng" strike="noStrike" kern="0" cap="none" spc="0" normalizeH="0" baseline="0" noProof="0" dirty="0">
                <a:ln>
                  <a:noFill/>
                </a:ln>
                <a:solidFill>
                  <a:srgbClr val="141414"/>
                </a:solidFill>
                <a:effectLst/>
                <a:uLnTx/>
                <a:uFillTx/>
                <a:latin typeface="Arial"/>
                <a:ea typeface="Calibri" panose="020F0502020204030204" pitchFamily="34" charset="0"/>
                <a:cs typeface="Times New Roman" panose="02020603050405020304" pitchFamily="18" charset="0"/>
              </a:rPr>
              <a:t>Virtual Skills </a:t>
            </a:r>
            <a:r>
              <a:rPr kumimoji="0" lang="en-US" sz="1800" b="0" i="0" u="none" strike="noStrike" kern="0" cap="none" spc="0" normalizeH="0" baseline="0" noProof="0" dirty="0">
                <a:ln>
                  <a:noFill/>
                </a:ln>
                <a:solidFill>
                  <a:srgbClr val="141414"/>
                </a:solidFill>
                <a:effectLst/>
                <a:uLnTx/>
                <a:uFillTx/>
                <a:latin typeface="Arial"/>
                <a:ea typeface="Calibri" panose="020F0502020204030204" pitchFamily="34" charset="0"/>
                <a:cs typeface="Times New Roman" panose="02020603050405020304" pitchFamily="18" charset="0"/>
              </a:rPr>
              <a:t>with portfolio of services &amp; solutions to support IT to meet the demands of Business in a given business &amp; IT scenario. </a:t>
            </a:r>
          </a:p>
          <a:p>
            <a:pPr marL="0" marR="0" lvl="0" indent="0" algn="l" defTabSz="761792" rtl="0" eaLnBrk="1" fontAlgn="auto" latinLnBrk="0" hangingPunct="1">
              <a:lnSpc>
                <a:spcPct val="100000"/>
              </a:lnSpc>
              <a:spcBef>
                <a:spcPts val="667"/>
              </a:spcBef>
              <a:spcAft>
                <a:spcPts val="667"/>
              </a:spcAft>
              <a:buClrTx/>
              <a:buSzTx/>
              <a:buFontTx/>
              <a:buNone/>
              <a:tabLst/>
              <a:defRPr/>
            </a:pPr>
            <a:endParaRPr kumimoji="0" lang="en-US" sz="1800" b="0" i="0" u="none" strike="noStrike" kern="0" cap="none" spc="0" normalizeH="0" baseline="0" noProof="0" dirty="0">
              <a:ln>
                <a:noFill/>
              </a:ln>
              <a:solidFill>
                <a:srgbClr val="141414"/>
              </a:solidFill>
              <a:effectLst/>
              <a:uLnTx/>
              <a:uFillTx/>
              <a:latin typeface="Arial"/>
              <a:ea typeface="Calibri" panose="020F0502020204030204" pitchFamily="34" charset="0"/>
              <a:cs typeface="Times New Roman" panose="02020603050405020304" pitchFamily="18" charset="0"/>
            </a:endParaRPr>
          </a:p>
        </p:txBody>
      </p:sp>
      <p:sp>
        <p:nvSpPr>
          <p:cNvPr id="19" name="Rectangle 18"/>
          <p:cNvSpPr/>
          <p:nvPr/>
        </p:nvSpPr>
        <p:spPr>
          <a:xfrm>
            <a:off x="8025384" y="3127561"/>
            <a:ext cx="3657600" cy="457200"/>
          </a:xfrm>
          <a:prstGeom prst="rect">
            <a:avLst/>
          </a:prstGeom>
          <a:solidFill>
            <a:schemeClr val="tx1"/>
          </a:solidFill>
          <a:ln w="9525">
            <a:noFill/>
            <a:miter lim="800000"/>
            <a:headEnd/>
            <a:tailEnd/>
          </a:ln>
        </p:spPr>
        <p:txBody>
          <a:bodyPr vert="horz" wrap="square" lIns="162519" tIns="81259" rIns="162519" bIns="81259" numCol="1" anchor="ctr" anchorCtr="0" compatLnSpc="1">
            <a:prstTxWarp prst="textNoShape">
              <a:avLst/>
            </a:prstTxWarp>
          </a:bodyPr>
          <a:lstStyle/>
          <a:p>
            <a:pPr marL="0" marR="0" lvl="0" indent="0" algn="ctr" defTabSz="162500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a:ea typeface="+mn-ea"/>
                <a:cs typeface="+mn-cs"/>
              </a:rPr>
              <a:t>Effectiveness &amp; Digital Experience</a:t>
            </a:r>
          </a:p>
        </p:txBody>
      </p:sp>
      <p:sp>
        <p:nvSpPr>
          <p:cNvPr id="23" name="Rectangle 22"/>
          <p:cNvSpPr/>
          <p:nvPr/>
        </p:nvSpPr>
        <p:spPr>
          <a:xfrm>
            <a:off x="8655374"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Service Desk</a:t>
            </a:r>
          </a:p>
        </p:txBody>
      </p:sp>
      <p:sp>
        <p:nvSpPr>
          <p:cNvPr id="24" name="Rectangle 23"/>
          <p:cNvSpPr/>
          <p:nvPr/>
        </p:nvSpPr>
        <p:spPr>
          <a:xfrm>
            <a:off x="8655374"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App Support End User</a:t>
            </a:r>
          </a:p>
        </p:txBody>
      </p:sp>
      <p:sp>
        <p:nvSpPr>
          <p:cNvPr id="25" name="Rectangle 24"/>
          <p:cNvSpPr/>
          <p:nvPr/>
        </p:nvSpPr>
        <p:spPr>
          <a:xfrm>
            <a:off x="9874206"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Chat Bots</a:t>
            </a:r>
          </a:p>
        </p:txBody>
      </p:sp>
      <p:sp>
        <p:nvSpPr>
          <p:cNvPr id="26" name="Rectangle 25"/>
          <p:cNvSpPr/>
          <p:nvPr/>
        </p:nvSpPr>
        <p:spPr>
          <a:xfrm>
            <a:off x="9874206"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VPAs</a:t>
            </a:r>
          </a:p>
        </p:txBody>
      </p:sp>
      <p:sp>
        <p:nvSpPr>
          <p:cNvPr id="11" name="Rectangle 10"/>
          <p:cNvSpPr/>
          <p:nvPr/>
        </p:nvSpPr>
        <p:spPr>
          <a:xfrm>
            <a:off x="4267200" y="3127561"/>
            <a:ext cx="3657600" cy="457200"/>
          </a:xfrm>
          <a:prstGeom prst="rect">
            <a:avLst/>
          </a:prstGeom>
          <a:solidFill>
            <a:schemeClr val="tx1"/>
          </a:solidFill>
          <a:ln w="9525">
            <a:noFill/>
            <a:miter lim="800000"/>
            <a:headEnd/>
            <a:tailEnd/>
          </a:ln>
        </p:spPr>
        <p:txBody>
          <a:bodyPr vert="horz" wrap="square" lIns="162519" tIns="81259" rIns="162519" bIns="81259" numCol="1" anchor="ctr" anchorCtr="0" compatLnSpc="1">
            <a:prstTxWarp prst="textNoShape">
              <a:avLst/>
            </a:prstTxWarp>
          </a:bodyPr>
          <a:lstStyle/>
          <a:p>
            <a:pPr marL="0" marR="0" lvl="0" indent="0" algn="ctr" defTabSz="162500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a:ea typeface="+mn-ea"/>
                <a:cs typeface="+mn-cs"/>
              </a:rPr>
              <a:t>Efficiency </a:t>
            </a:r>
          </a:p>
        </p:txBody>
      </p:sp>
      <p:sp>
        <p:nvSpPr>
          <p:cNvPr id="14" name="Rectangle 13"/>
          <p:cNvSpPr/>
          <p:nvPr/>
        </p:nvSpPr>
        <p:spPr>
          <a:xfrm>
            <a:off x="4378487"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Application </a:t>
            </a:r>
          </a:p>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Operations</a:t>
            </a:r>
          </a:p>
        </p:txBody>
      </p:sp>
      <p:sp>
        <p:nvSpPr>
          <p:cNvPr id="15" name="Rectangle 14"/>
          <p:cNvSpPr/>
          <p:nvPr/>
        </p:nvSpPr>
        <p:spPr>
          <a:xfrm>
            <a:off x="5548619"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Datacentre</a:t>
            </a:r>
          </a:p>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Operations</a:t>
            </a:r>
          </a:p>
        </p:txBody>
      </p:sp>
      <p:sp>
        <p:nvSpPr>
          <p:cNvPr id="16" name="Rectangle 15"/>
          <p:cNvSpPr/>
          <p:nvPr/>
        </p:nvSpPr>
        <p:spPr>
          <a:xfrm>
            <a:off x="6718751" y="4012665"/>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Security</a:t>
            </a:r>
          </a:p>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Operations</a:t>
            </a:r>
          </a:p>
        </p:txBody>
      </p:sp>
      <p:sp>
        <p:nvSpPr>
          <p:cNvPr id="17" name="Rectangle 16"/>
          <p:cNvSpPr/>
          <p:nvPr/>
        </p:nvSpPr>
        <p:spPr>
          <a:xfrm>
            <a:off x="5548618"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Network </a:t>
            </a:r>
          </a:p>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Operations</a:t>
            </a:r>
          </a:p>
        </p:txBody>
      </p:sp>
      <p:pic>
        <p:nvPicPr>
          <p:cNvPr id="51" name="Picture 50"/>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442519" y="5177166"/>
            <a:ext cx="2057773" cy="411480"/>
          </a:xfrm>
          <a:prstGeom prst="rect">
            <a:avLst/>
          </a:prstGeom>
        </p:spPr>
      </p:pic>
      <p:pic>
        <p:nvPicPr>
          <p:cNvPr id="52" name="Picture 51"/>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171012" y="5177166"/>
            <a:ext cx="2057773" cy="411480"/>
          </a:xfrm>
          <a:prstGeom prst="rect">
            <a:avLst/>
          </a:prstGeom>
        </p:spPr>
      </p:pic>
      <p:sp>
        <p:nvSpPr>
          <p:cNvPr id="2" name="TextBox 1"/>
          <p:cNvSpPr txBox="1"/>
          <p:nvPr/>
        </p:nvSpPr>
        <p:spPr>
          <a:xfrm>
            <a:off x="2685924" y="5228519"/>
            <a:ext cx="12362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B3CF"/>
                </a:solidFill>
                <a:effectLst/>
                <a:uLnTx/>
                <a:uFillTx/>
                <a:latin typeface="Arial"/>
                <a:ea typeface="+mn-ea"/>
                <a:cs typeface="+mn-cs"/>
              </a:rPr>
              <a:t>OneAgility</a:t>
            </a:r>
          </a:p>
        </p:txBody>
      </p:sp>
      <p:sp>
        <p:nvSpPr>
          <p:cNvPr id="4" name="TextBox 3"/>
          <p:cNvSpPr txBox="1"/>
          <p:nvPr/>
        </p:nvSpPr>
        <p:spPr>
          <a:xfrm>
            <a:off x="6600048" y="5228519"/>
            <a:ext cx="5822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B3CF"/>
                </a:solidFill>
                <a:effectLst/>
                <a:uLnTx/>
                <a:uFillTx/>
                <a:latin typeface="Arial"/>
                <a:ea typeface="+mn-ea"/>
                <a:cs typeface="+mn-cs"/>
              </a:rPr>
              <a:t>I&amp;O</a:t>
            </a:r>
          </a:p>
        </p:txBody>
      </p:sp>
      <p:sp>
        <p:nvSpPr>
          <p:cNvPr id="7" name="TextBox 6"/>
          <p:cNvSpPr txBox="1"/>
          <p:nvPr/>
        </p:nvSpPr>
        <p:spPr>
          <a:xfrm>
            <a:off x="10420665" y="5219314"/>
            <a:ext cx="9113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50B3CF"/>
                </a:solidFill>
                <a:effectLst/>
                <a:uLnTx/>
                <a:uFillTx/>
                <a:latin typeface="Arial"/>
                <a:ea typeface="+mn-ea"/>
                <a:cs typeface="+mn-cs"/>
              </a:rPr>
              <a:t>AskiVA</a:t>
            </a:r>
            <a:endParaRPr kumimoji="0" lang="en-US" sz="1800" b="0" i="0" u="none" strike="noStrike" kern="1200" cap="none" spc="0" normalizeH="0" baseline="0" noProof="0" dirty="0">
              <a:ln>
                <a:noFill/>
              </a:ln>
              <a:solidFill>
                <a:srgbClr val="50B3CF"/>
              </a:solidFill>
              <a:effectLst/>
              <a:uLnTx/>
              <a:uFillTx/>
              <a:latin typeface="Arial"/>
              <a:ea typeface="+mn-ea"/>
              <a:cs typeface="+mn-cs"/>
            </a:endParaRPr>
          </a:p>
        </p:txBody>
      </p:sp>
      <p:sp>
        <p:nvSpPr>
          <p:cNvPr id="9" name="Rounded Rectangle 8"/>
          <p:cNvSpPr/>
          <p:nvPr/>
        </p:nvSpPr>
        <p:spPr>
          <a:xfrm>
            <a:off x="509016" y="5869578"/>
            <a:ext cx="3657600" cy="4318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Build, Test and Deploy</a:t>
            </a:r>
          </a:p>
        </p:txBody>
      </p:sp>
      <p:sp>
        <p:nvSpPr>
          <p:cNvPr id="34" name="Rounded Rectangle 33"/>
          <p:cNvSpPr/>
          <p:nvPr/>
        </p:nvSpPr>
        <p:spPr>
          <a:xfrm>
            <a:off x="4266277" y="5869578"/>
            <a:ext cx="3657600" cy="4318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T </a:t>
            </a:r>
            <a:r>
              <a:rPr kumimoji="0" lang="en-US" sz="1800" b="0" i="0" u="none" strike="noStrike" kern="1200" cap="none" spc="0" normalizeH="0" baseline="0" noProof="0" dirty="0" smtClean="0">
                <a:ln>
                  <a:noFill/>
                </a:ln>
                <a:solidFill>
                  <a:srgbClr val="FFFFFF"/>
                </a:solidFill>
                <a:effectLst/>
                <a:uLnTx/>
                <a:uFillTx/>
                <a:latin typeface="Arial" panose="020B0604020202020204"/>
                <a:ea typeface="+mn-ea"/>
                <a:cs typeface="+mn-cs"/>
              </a:rPr>
              <a:t>Operations </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p:cNvSpPr/>
          <p:nvPr/>
        </p:nvSpPr>
        <p:spPr>
          <a:xfrm>
            <a:off x="4378487" y="4555519"/>
            <a:ext cx="1092919" cy="457200"/>
          </a:xfrm>
          <a:prstGeom prst="rect">
            <a:avLst/>
          </a:prstGeom>
          <a:solidFill>
            <a:schemeClr val="bg1"/>
          </a:solidFill>
          <a:ln w="6350" cap="flat" cmpd="sng" algn="ctr">
            <a:solidFill>
              <a:srgbClr val="53565A"/>
            </a:solidFill>
            <a:prstDash val="dash"/>
          </a:ln>
          <a:effectLst/>
        </p:spPr>
        <p:txBody>
          <a:bodyPr wrap="square" lIns="22855" tIns="15236" rIns="22855" bIns="15236" rtlCol="0" anchor="ctr" anchorCtr="0">
            <a:noAutofit/>
          </a:bodyPr>
          <a:lstStyle/>
          <a:p>
            <a:pPr marL="0" marR="0" lvl="0" indent="0" algn="ctr" defTabSz="761792"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141414"/>
                </a:solidFill>
                <a:effectLst/>
                <a:uLnTx/>
                <a:uFillTx/>
                <a:latin typeface="Arial"/>
                <a:ea typeface="+mn-ea"/>
                <a:cs typeface="+mn-cs"/>
              </a:rPr>
              <a:t>Cloud Operation</a:t>
            </a:r>
          </a:p>
        </p:txBody>
      </p:sp>
      <p:sp>
        <p:nvSpPr>
          <p:cNvPr id="37" name="Rounded Rectangle 36"/>
          <p:cNvSpPr/>
          <p:nvPr/>
        </p:nvSpPr>
        <p:spPr>
          <a:xfrm>
            <a:off x="8023538" y="5869578"/>
            <a:ext cx="3657600" cy="4318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ustomer Support</a:t>
            </a:r>
          </a:p>
        </p:txBody>
      </p:sp>
      <p:sp>
        <p:nvSpPr>
          <p:cNvPr id="36" name="Rectangle 35"/>
          <p:cNvSpPr/>
          <p:nvPr/>
        </p:nvSpPr>
        <p:spPr>
          <a:xfrm>
            <a:off x="6249962" y="965529"/>
            <a:ext cx="97023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274BA"/>
                </a:solidFill>
                <a:effectLst/>
                <a:uLnTx/>
                <a:uFillTx/>
                <a:latin typeface="Calibri Light" panose="020F0302020204030204"/>
                <a:ea typeface="+mn-ea"/>
                <a:cs typeface="+mn-cs"/>
              </a:rPr>
              <a:t>OneAgility™</a:t>
            </a:r>
          </a:p>
        </p:txBody>
      </p:sp>
      <p:graphicFrame>
        <p:nvGraphicFramePr>
          <p:cNvPr id="60" name="Diagram 59"/>
          <p:cNvGraphicFramePr/>
          <p:nvPr>
            <p:extLst/>
          </p:nvPr>
        </p:nvGraphicFramePr>
        <p:xfrm>
          <a:off x="7040272" y="760077"/>
          <a:ext cx="5112370" cy="2090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1" name="Rounded Rectangle 60"/>
          <p:cNvSpPr/>
          <p:nvPr/>
        </p:nvSpPr>
        <p:spPr>
          <a:xfrm>
            <a:off x="9114926" y="730320"/>
            <a:ext cx="3068137" cy="212100"/>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2" name="Rounded Rectangle 61"/>
          <p:cNvSpPr/>
          <p:nvPr/>
        </p:nvSpPr>
        <p:spPr>
          <a:xfrm>
            <a:off x="7040272" y="726817"/>
            <a:ext cx="1005525" cy="245757"/>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63" name="Group 62"/>
          <p:cNvGrpSpPr/>
          <p:nvPr/>
        </p:nvGrpSpPr>
        <p:grpSpPr>
          <a:xfrm>
            <a:off x="9376916" y="205705"/>
            <a:ext cx="2700482" cy="289121"/>
            <a:chOff x="8145350" y="215971"/>
            <a:chExt cx="2700482" cy="289121"/>
          </a:xfrm>
        </p:grpSpPr>
        <p:grpSp>
          <p:nvGrpSpPr>
            <p:cNvPr id="64" name="Group 63"/>
            <p:cNvGrpSpPr/>
            <p:nvPr/>
          </p:nvGrpSpPr>
          <p:grpSpPr>
            <a:xfrm>
              <a:off x="8335160" y="246313"/>
              <a:ext cx="2505542" cy="212634"/>
              <a:chOff x="299631" y="452732"/>
              <a:chExt cx="3147489" cy="320558"/>
            </a:xfrm>
          </p:grpSpPr>
          <p:grpSp>
            <p:nvGrpSpPr>
              <p:cNvPr id="67" name="Group 66"/>
              <p:cNvGrpSpPr/>
              <p:nvPr/>
            </p:nvGrpSpPr>
            <p:grpSpPr>
              <a:xfrm>
                <a:off x="299631" y="484807"/>
                <a:ext cx="270857" cy="281833"/>
                <a:chOff x="299631" y="484807"/>
                <a:chExt cx="270857" cy="281833"/>
              </a:xfrm>
            </p:grpSpPr>
            <p:sp>
              <p:nvSpPr>
                <p:cNvPr id="77" name="Oval 76"/>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78" name="Picture 77" descr="http://i1.cpcache.com/product_zoom/1264121174/skydiving_icon_business_cards.jpg?height=250&amp;width=250&amp;padToSquare=true"/>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68" name="TextBox 67"/>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69" name="Group 68"/>
              <p:cNvGrpSpPr/>
              <p:nvPr/>
            </p:nvGrpSpPr>
            <p:grpSpPr>
              <a:xfrm>
                <a:off x="1298515" y="490776"/>
                <a:ext cx="271717" cy="275864"/>
                <a:chOff x="5057725" y="5770940"/>
                <a:chExt cx="496562" cy="496562"/>
              </a:xfrm>
            </p:grpSpPr>
            <p:sp>
              <p:nvSpPr>
                <p:cNvPr id="75" name="Oval 74"/>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76" name="Picture 4" descr="http://sr.photos3.fotosearch.com/bthumb/CSP/CSP345/k3453379.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70" name="TextBox 69"/>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71" name="Group 70"/>
              <p:cNvGrpSpPr/>
              <p:nvPr/>
            </p:nvGrpSpPr>
            <p:grpSpPr>
              <a:xfrm>
                <a:off x="2310382" y="479627"/>
                <a:ext cx="304919" cy="293663"/>
                <a:chOff x="8469842" y="5748867"/>
                <a:chExt cx="496562" cy="496562"/>
              </a:xfrm>
            </p:grpSpPr>
            <p:sp>
              <p:nvSpPr>
                <p:cNvPr id="73" name="Oval 72"/>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74" name="Picture 2" descr="http://www.kewauneeprcommittee.com/High_hurdles.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72" name="TextBox 71"/>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65" name="Rounded Rectangle 64"/>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6" name="Rounded Rectangle 65"/>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55" name="Oval 54">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3</a:t>
            </a:r>
          </a:p>
        </p:txBody>
      </p:sp>
    </p:spTree>
    <p:extLst>
      <p:ext uri="{BB962C8B-B14F-4D97-AF65-F5344CB8AC3E}">
        <p14:creationId xmlns:p14="http://schemas.microsoft.com/office/powerpoint/2010/main" val="73172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martOps </a:t>
            </a:r>
            <a:r>
              <a:rPr lang="en-US" dirty="0"/>
              <a:t>– Smart </a:t>
            </a:r>
            <a:r>
              <a:rPr lang="en-US" dirty="0" smtClean="0"/>
              <a:t>IT Operations</a:t>
            </a:r>
            <a:endParaRPr lang="en-US" dirty="0"/>
          </a:p>
        </p:txBody>
      </p:sp>
      <p:grpSp>
        <p:nvGrpSpPr>
          <p:cNvPr id="76" name="Group 75"/>
          <p:cNvGrpSpPr/>
          <p:nvPr/>
        </p:nvGrpSpPr>
        <p:grpSpPr>
          <a:xfrm>
            <a:off x="444306" y="950036"/>
            <a:ext cx="11480938" cy="5438817"/>
            <a:chOff x="794125" y="950036"/>
            <a:chExt cx="11480938" cy="5438817"/>
          </a:xfrm>
        </p:grpSpPr>
        <p:sp>
          <p:nvSpPr>
            <p:cNvPr id="4" name="TextBox 3"/>
            <p:cNvSpPr txBox="1"/>
            <p:nvPr/>
          </p:nvSpPr>
          <p:spPr>
            <a:xfrm rot="16200000">
              <a:off x="7940146" y="1205559"/>
              <a:ext cx="972712"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651"/>
                  </a:solidFill>
                  <a:effectLst/>
                  <a:uLnTx/>
                  <a:uFillTx/>
                  <a:latin typeface="Calibri "/>
                  <a:ea typeface="+mn-ea"/>
                  <a:cs typeface="+mn-cs"/>
                </a:rPr>
                <a:t>Smar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651"/>
                  </a:solidFill>
                  <a:effectLst/>
                  <a:uLnTx/>
                  <a:uFillTx/>
                  <a:latin typeface="Calibri "/>
                  <a:ea typeface="+mn-ea"/>
                  <a:cs typeface="+mn-cs"/>
                </a:rPr>
                <a:t>Resolution</a:t>
              </a:r>
              <a:endParaRPr kumimoji="0" lang="en-US" sz="1200" b="1" i="0" u="none" strike="noStrike" kern="1200" cap="none" spc="0" normalizeH="0" baseline="0" noProof="0" dirty="0">
                <a:ln>
                  <a:noFill/>
                </a:ln>
                <a:solidFill>
                  <a:srgbClr val="00A651"/>
                </a:solidFill>
                <a:effectLst/>
                <a:uLnTx/>
                <a:uFillTx/>
                <a:latin typeface="Calibri "/>
                <a:ea typeface="+mn-ea"/>
                <a:cs typeface="+mn-cs"/>
              </a:endParaRPr>
            </a:p>
          </p:txBody>
        </p:sp>
        <p:sp>
          <p:nvSpPr>
            <p:cNvPr id="5" name="Rectangle 4"/>
            <p:cNvSpPr/>
            <p:nvPr/>
          </p:nvSpPr>
          <p:spPr>
            <a:xfrm>
              <a:off x="8627179" y="995658"/>
              <a:ext cx="3647884" cy="735802"/>
            </a:xfrm>
            <a:prstGeom prst="rect">
              <a:avLst/>
            </a:prstGeom>
          </p:spPr>
          <p:txBody>
            <a:bodyPr wrap="square">
              <a:noAutofit/>
            </a:bodyPr>
            <a:lstStyle/>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Automated Ticket resolution powered by </a:t>
              </a: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HiveCenter</a:t>
              </a:r>
              <a:endParaRPr kumimoji="0" lang="en-US" sz="1200" b="0" i="0" u="none" strike="noStrike" kern="1200" cap="none" spc="0" normalizeH="0" baseline="0" noProof="0" dirty="0">
                <a:ln>
                  <a:noFill/>
                </a:ln>
                <a:solidFill>
                  <a:srgbClr val="141414"/>
                </a:solidFill>
                <a:effectLst/>
                <a:uLnTx/>
                <a:uFillTx/>
                <a:latin typeface="Calibri "/>
                <a:ea typeface="+mn-ea"/>
                <a:cs typeface="+mn-cs"/>
              </a:endParaRP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Integrated SOPs &amp;  Run books to facilitate more smart resolution</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Integrated ISTM and Integrated KB systems</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141414"/>
                </a:solidFill>
                <a:effectLst/>
                <a:uLnTx/>
                <a:uFillTx/>
                <a:latin typeface="Calibri "/>
                <a:ea typeface="+mn-ea"/>
                <a:cs typeface="+mn-cs"/>
              </a:endParaRPr>
            </a:p>
          </p:txBody>
        </p:sp>
        <p:sp>
          <p:nvSpPr>
            <p:cNvPr id="6" name="TextBox 5"/>
            <p:cNvSpPr txBox="1"/>
            <p:nvPr/>
          </p:nvSpPr>
          <p:spPr>
            <a:xfrm rot="16200000">
              <a:off x="7790704" y="5460560"/>
              <a:ext cx="1579587" cy="276999"/>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62B51"/>
                  </a:solidFill>
                  <a:effectLst/>
                  <a:uLnTx/>
                  <a:uFillTx/>
                  <a:latin typeface="Calibri "/>
                  <a:ea typeface="+mn-ea"/>
                  <a:cs typeface="+mn-cs"/>
                </a:rPr>
                <a:t>Smart Prediction</a:t>
              </a:r>
              <a:endParaRPr kumimoji="0" lang="en-US" sz="1200" b="1" i="0" u="none" strike="noStrike" kern="1200" cap="none" spc="0" normalizeH="0" baseline="0" noProof="0" dirty="0">
                <a:ln>
                  <a:noFill/>
                </a:ln>
                <a:solidFill>
                  <a:srgbClr val="062B51"/>
                </a:solidFill>
                <a:effectLst/>
                <a:uLnTx/>
                <a:uFillTx/>
                <a:latin typeface="Calibri "/>
                <a:ea typeface="+mn-ea"/>
                <a:cs typeface="+mn-cs"/>
              </a:endParaRPr>
            </a:p>
          </p:txBody>
        </p:sp>
        <p:sp>
          <p:nvSpPr>
            <p:cNvPr id="7" name="Rectangle 6"/>
            <p:cNvSpPr/>
            <p:nvPr/>
          </p:nvSpPr>
          <p:spPr>
            <a:xfrm>
              <a:off x="8584462" y="4868091"/>
              <a:ext cx="3475544" cy="146193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Integrated Debt management for continuous debt Reduction</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ML based auto Debt detection and facilitating elimination</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Move from traditional fail &amp; fix to Predict &amp; prevent using Machine learning combined with event </a:t>
              </a: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data</a:t>
              </a:r>
              <a:endParaRPr kumimoji="0" lang="en-US" sz="1200" b="0" i="0" u="none" strike="noStrike" kern="1200" cap="none" spc="0" normalizeH="0" baseline="0" noProof="0" dirty="0">
                <a:ln>
                  <a:noFill/>
                </a:ln>
                <a:solidFill>
                  <a:srgbClr val="141414"/>
                </a:solidFill>
                <a:effectLst/>
                <a:uLnTx/>
                <a:uFillTx/>
                <a:latin typeface="Calibri "/>
                <a:ea typeface="+mn-ea"/>
                <a:cs typeface="+mn-cs"/>
              </a:endParaRPr>
            </a:p>
          </p:txBody>
        </p:sp>
        <p:sp>
          <p:nvSpPr>
            <p:cNvPr id="8" name="Rectangle 7"/>
            <p:cNvSpPr/>
            <p:nvPr/>
          </p:nvSpPr>
          <p:spPr>
            <a:xfrm rot="16200000">
              <a:off x="4269870" y="1779586"/>
              <a:ext cx="98296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B0F0"/>
                  </a:solidFill>
                  <a:effectLst/>
                  <a:uLnTx/>
                  <a:uFillTx/>
                  <a:latin typeface="Calibri "/>
                  <a:ea typeface="+mn-ea"/>
                  <a:cs typeface="+mn-cs"/>
                </a:rPr>
                <a:t>Sma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B0F0"/>
                  </a:solidFill>
                  <a:effectLst/>
                  <a:uLnTx/>
                  <a:uFillTx/>
                  <a:latin typeface="Calibri "/>
                  <a:ea typeface="+mn-ea"/>
                  <a:cs typeface="+mn-cs"/>
                </a:rPr>
                <a:t>Monitoring</a:t>
              </a:r>
              <a:endParaRPr kumimoji="0" lang="en-US" sz="1200" b="1" i="0" u="none" strike="noStrike" kern="1200" cap="none" spc="0" normalizeH="0" baseline="0" noProof="0" dirty="0">
                <a:ln>
                  <a:noFill/>
                </a:ln>
                <a:solidFill>
                  <a:srgbClr val="00B0F0"/>
                </a:solidFill>
                <a:effectLst/>
                <a:uLnTx/>
                <a:uFillTx/>
                <a:latin typeface="Calibri "/>
                <a:ea typeface="+mn-ea"/>
                <a:cs typeface="+mn-cs"/>
              </a:endParaRPr>
            </a:p>
          </p:txBody>
        </p:sp>
        <p:sp>
          <p:nvSpPr>
            <p:cNvPr id="9" name="Rectangle 8"/>
            <p:cNvSpPr/>
            <p:nvPr/>
          </p:nvSpPr>
          <p:spPr>
            <a:xfrm>
              <a:off x="4876926" y="1620690"/>
              <a:ext cx="2622433" cy="123880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Integrated Tools for Monitoring Events, jobs , batch scheduling and Mail box monitoring</a:t>
              </a:r>
            </a:p>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Automated Bot solutions to bring near zero effort monitoring for App monitoring services</a:t>
              </a:r>
            </a:p>
          </p:txBody>
        </p:sp>
        <p:sp>
          <p:nvSpPr>
            <p:cNvPr id="10" name="Rectangle 9"/>
            <p:cNvSpPr/>
            <p:nvPr/>
          </p:nvSpPr>
          <p:spPr>
            <a:xfrm rot="16200000">
              <a:off x="4179776" y="3380058"/>
              <a:ext cx="113433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DB8646"/>
                  </a:solidFill>
                  <a:effectLst/>
                  <a:uLnTx/>
                  <a:uFillTx/>
                  <a:latin typeface="Calibri "/>
                  <a:ea typeface="+mn-ea"/>
                  <a:cs typeface="+mn-cs"/>
                </a:rPr>
                <a:t>Smart Deployment</a:t>
              </a:r>
              <a:endParaRPr kumimoji="0" lang="en-US" sz="1200" b="1" i="0" u="none" strike="noStrike" kern="1200" cap="none" spc="0" normalizeH="0" baseline="0" noProof="0" dirty="0">
                <a:ln>
                  <a:noFill/>
                </a:ln>
                <a:solidFill>
                  <a:srgbClr val="DB8646"/>
                </a:solidFill>
                <a:effectLst/>
                <a:uLnTx/>
                <a:uFillTx/>
                <a:latin typeface="Calibri "/>
                <a:ea typeface="+mn-ea"/>
                <a:cs typeface="+mn-cs"/>
              </a:endParaRPr>
            </a:p>
          </p:txBody>
        </p:sp>
        <p:sp>
          <p:nvSpPr>
            <p:cNvPr id="11" name="Rectangle 10"/>
            <p:cNvSpPr/>
            <p:nvPr/>
          </p:nvSpPr>
          <p:spPr>
            <a:xfrm>
              <a:off x="4988756" y="3053796"/>
              <a:ext cx="4658556" cy="1131079"/>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Integrated Hardware Life Cycle Mgmt.</a:t>
              </a:r>
            </a:p>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Synchronized Asset classification with Business Services mapping</a:t>
              </a:r>
            </a:p>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Holistic impact analysis through CMDB</a:t>
              </a:r>
            </a:p>
            <a:p>
              <a:pPr marL="171450" marR="0" lvl="0" indent="-171450" algn="just"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Integrated Tool stack for increased Zero Touch Deployment</a:t>
              </a:r>
            </a:p>
          </p:txBody>
        </p:sp>
        <p:sp>
          <p:nvSpPr>
            <p:cNvPr id="12" name="Rectangle 11"/>
            <p:cNvSpPr/>
            <p:nvPr/>
          </p:nvSpPr>
          <p:spPr>
            <a:xfrm rot="16200000">
              <a:off x="3936581" y="5041030"/>
              <a:ext cx="166621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50B3CF"/>
                  </a:solidFill>
                  <a:effectLst/>
                  <a:uLnTx/>
                  <a:uFillTx/>
                  <a:latin typeface="Calibri "/>
                  <a:ea typeface="+mn-ea"/>
                  <a:cs typeface="+mn-cs"/>
                </a:rPr>
                <a:t>Smart Governance</a:t>
              </a:r>
              <a:endParaRPr kumimoji="0" lang="en-US" sz="1200" b="1" i="0" u="none" strike="noStrike" kern="1200" cap="none" spc="0" normalizeH="0" baseline="0" noProof="0" dirty="0">
                <a:ln>
                  <a:noFill/>
                </a:ln>
                <a:solidFill>
                  <a:srgbClr val="50B3CF"/>
                </a:solidFill>
                <a:effectLst/>
                <a:uLnTx/>
                <a:uFillTx/>
                <a:latin typeface="Calibri "/>
                <a:ea typeface="+mn-ea"/>
                <a:cs typeface="+mn-cs"/>
              </a:endParaRPr>
            </a:p>
          </p:txBody>
        </p:sp>
        <p:sp>
          <p:nvSpPr>
            <p:cNvPr id="13" name="Rectangle 12"/>
            <p:cNvSpPr/>
            <p:nvPr/>
          </p:nvSpPr>
          <p:spPr>
            <a:xfrm>
              <a:off x="4971310" y="4508618"/>
              <a:ext cx="3455192" cy="135421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Integrated Service Management Office</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Integrated Software  License Mgmt.</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Shared Delivery on demand</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Business aligned </a:t>
              </a: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Service Level reporting</a:t>
              </a:r>
            </a:p>
            <a:p>
              <a:pPr marL="171450" marR="0" lvl="0" indent="-171450" algn="l" defTabSz="914400" rtl="0" eaLnBrk="1" fontAlgn="auto" latinLnBrk="0" hangingPunct="1">
                <a:lnSpc>
                  <a:spcPct val="100000"/>
                </a:lnSpc>
                <a:spcBef>
                  <a:spcPts val="0"/>
                </a:spcBef>
                <a:spcAft>
                  <a:spcPts val="300"/>
                </a:spcAft>
                <a:buClr>
                  <a:srgbClr val="14141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41414"/>
                  </a:solidFill>
                  <a:effectLst/>
                  <a:uLnTx/>
                  <a:uFillTx/>
                  <a:latin typeface="Calibri "/>
                  <a:ea typeface="+mn-ea"/>
                  <a:cs typeface="+mn-cs"/>
                </a:rPr>
                <a:t>Automated Digital Workplace (Service Desk) </a:t>
              </a:r>
              <a:r>
                <a:rPr kumimoji="0" lang="en-US" sz="1200" b="0" i="0" u="none" strike="noStrike" kern="1200" cap="none" spc="0" normalizeH="0" baseline="0" noProof="0" dirty="0" smtClean="0">
                  <a:ln>
                    <a:noFill/>
                  </a:ln>
                  <a:solidFill>
                    <a:srgbClr val="141414"/>
                  </a:solidFill>
                  <a:effectLst/>
                  <a:uLnTx/>
                  <a:uFillTx/>
                  <a:latin typeface="Calibri "/>
                  <a:ea typeface="+mn-ea"/>
                  <a:cs typeface="+mn-cs"/>
                </a:rPr>
                <a:t>operations</a:t>
              </a:r>
              <a:endParaRPr kumimoji="0" lang="en-US" sz="1200" b="0" i="0" u="none" strike="noStrike" kern="1200" cap="none" spc="0" normalizeH="0" baseline="0" noProof="0" dirty="0">
                <a:ln>
                  <a:noFill/>
                </a:ln>
                <a:solidFill>
                  <a:srgbClr val="141414"/>
                </a:solidFill>
                <a:effectLst/>
                <a:uLnTx/>
                <a:uFillTx/>
                <a:latin typeface="Calibri "/>
                <a:ea typeface="+mn-ea"/>
                <a:cs typeface="+mn-cs"/>
              </a:endParaRPr>
            </a:p>
          </p:txBody>
        </p:sp>
        <p:grpSp>
          <p:nvGrpSpPr>
            <p:cNvPr id="45" name="Group 44"/>
            <p:cNvGrpSpPr/>
            <p:nvPr/>
          </p:nvGrpSpPr>
          <p:grpSpPr>
            <a:xfrm>
              <a:off x="794125" y="1810398"/>
              <a:ext cx="2824679" cy="2801512"/>
              <a:chOff x="4482935" y="949573"/>
              <a:chExt cx="2824679" cy="2801512"/>
            </a:xfrm>
          </p:grpSpPr>
          <p:pic>
            <p:nvPicPr>
              <p:cNvPr id="14" name="Pictur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82935" y="949573"/>
                <a:ext cx="2824679" cy="2801512"/>
              </a:xfrm>
              <a:prstGeom prst="rect">
                <a:avLst/>
              </a:prstGeom>
            </p:spPr>
          </p:pic>
          <p:pic>
            <p:nvPicPr>
              <p:cNvPr id="15" name="Picture 14"/>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4884772" y="2480621"/>
                <a:ext cx="355684" cy="390212"/>
              </a:xfrm>
              <a:prstGeom prst="rect">
                <a:avLst/>
              </a:prstGeom>
            </p:spPr>
          </p:pic>
          <p:pic>
            <p:nvPicPr>
              <p:cNvPr id="16" name="Picture 15"/>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5184891" y="1255884"/>
                <a:ext cx="491477" cy="547262"/>
              </a:xfrm>
              <a:prstGeom prst="rect">
                <a:avLst/>
              </a:prstGeom>
            </p:spPr>
          </p:pic>
          <p:pic>
            <p:nvPicPr>
              <p:cNvPr id="17" name="Picture 16"/>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6481302" y="2436539"/>
                <a:ext cx="465497" cy="518333"/>
              </a:xfrm>
              <a:prstGeom prst="rect">
                <a:avLst/>
              </a:prstGeom>
            </p:spPr>
          </p:pic>
          <p:pic>
            <p:nvPicPr>
              <p:cNvPr id="18" name="Picture 17"/>
              <p:cNvPicPr>
                <a:picLocks noChangeAspect="1"/>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a:off x="5633817" y="3031710"/>
                <a:ext cx="473235" cy="526949"/>
              </a:xfrm>
              <a:prstGeom prst="rect">
                <a:avLst/>
              </a:prstGeom>
            </p:spPr>
          </p:pic>
          <p:pic>
            <p:nvPicPr>
              <p:cNvPr id="19" name="Picture 18"/>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6185781" y="1255884"/>
                <a:ext cx="529224" cy="589293"/>
              </a:xfrm>
              <a:prstGeom prst="rect">
                <a:avLst/>
              </a:prstGeom>
            </p:spPr>
          </p:pic>
          <p:sp>
            <p:nvSpPr>
              <p:cNvPr id="20" name="Title 2"/>
              <p:cNvSpPr txBox="1">
                <a:spLocks/>
              </p:cNvSpPr>
              <p:nvPr/>
            </p:nvSpPr>
            <p:spPr>
              <a:xfrm>
                <a:off x="5306028" y="2143888"/>
                <a:ext cx="1177074" cy="378789"/>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kern="1200">
                    <a:solidFill>
                      <a:srgbClr val="0099CC"/>
                    </a:solidFill>
                    <a:latin typeface="Calibri" panose="020F0502020204030204" pitchFamily="34" charset="0"/>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smtClean="0">
                    <a:ln>
                      <a:noFill/>
                    </a:ln>
                    <a:solidFill>
                      <a:srgbClr val="44546A"/>
                    </a:solidFill>
                    <a:effectLst/>
                    <a:uLnTx/>
                    <a:uFillTx/>
                    <a:latin typeface="Calibri "/>
                    <a:ea typeface="+mj-ea"/>
                    <a:cs typeface="+mj-cs"/>
                  </a:rPr>
                  <a:t>SmartOps</a:t>
                </a:r>
                <a:endParaRPr kumimoji="0" lang="en-US" sz="1600" b="0" i="0" u="none" strike="noStrike" kern="1200" cap="none" spc="0" normalizeH="0" baseline="0" noProof="0" dirty="0">
                  <a:ln>
                    <a:noFill/>
                  </a:ln>
                  <a:solidFill>
                    <a:srgbClr val="44546A"/>
                  </a:solidFill>
                  <a:effectLst/>
                  <a:uLnTx/>
                  <a:uFillTx/>
                  <a:latin typeface="Calibri "/>
                  <a:ea typeface="+mj-ea"/>
                  <a:cs typeface="+mj-cs"/>
                </a:endParaRPr>
              </a:p>
            </p:txBody>
          </p:sp>
        </p:grpSp>
        <p:cxnSp>
          <p:nvCxnSpPr>
            <p:cNvPr id="47" name="Elbow Connector 46"/>
            <p:cNvCxnSpPr>
              <a:endCxn id="4" idx="0"/>
            </p:cNvCxnSpPr>
            <p:nvPr/>
          </p:nvCxnSpPr>
          <p:spPr>
            <a:xfrm flipV="1">
              <a:off x="1330124" y="1436392"/>
              <a:ext cx="6865546" cy="654233"/>
            </a:xfrm>
            <a:prstGeom prst="bentConnector3">
              <a:avLst>
                <a:gd name="adj1" fmla="val 887"/>
              </a:avLst>
            </a:prstGeom>
            <a:ln>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a:off x="1373804" y="4205193"/>
              <a:ext cx="7122626" cy="1937765"/>
            </a:xfrm>
            <a:prstGeom prst="bentConnector3">
              <a:avLst>
                <a:gd name="adj1" fmla="val -333"/>
              </a:avLst>
            </a:prstGeom>
            <a:ln>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14" idx="2"/>
            </p:cNvCxnSpPr>
            <p:nvPr/>
          </p:nvCxnSpPr>
          <p:spPr>
            <a:xfrm rot="16200000" flipH="1">
              <a:off x="3280347" y="3538028"/>
              <a:ext cx="204127" cy="2351890"/>
            </a:xfrm>
            <a:prstGeom prst="bentConnector2">
              <a:avLst/>
            </a:prstGeom>
            <a:ln>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rot="5400000" flipH="1" flipV="1">
              <a:off x="3705670" y="1218568"/>
              <a:ext cx="163272" cy="1580841"/>
            </a:xfrm>
            <a:prstGeom prst="bentConnector2">
              <a:avLst/>
            </a:prstGeom>
            <a:ln>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3618804" y="3523158"/>
              <a:ext cx="940496" cy="0"/>
            </a:xfrm>
            <a:prstGeom prst="straightConnector1">
              <a:avLst/>
            </a:prstGeom>
            <a:ln>
              <a:solidFill>
                <a:schemeClr val="tx1">
                  <a:lumMod val="75000"/>
                  <a:lumOff val="2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69" name="Diagram 68"/>
          <p:cNvGraphicFramePr/>
          <p:nvPr>
            <p:extLst/>
          </p:nvPr>
        </p:nvGraphicFramePr>
        <p:xfrm>
          <a:off x="7040272" y="760077"/>
          <a:ext cx="5112370" cy="20904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0" name="Rounded Rectangle 69"/>
          <p:cNvSpPr/>
          <p:nvPr/>
        </p:nvSpPr>
        <p:spPr>
          <a:xfrm>
            <a:off x="6982863" y="740400"/>
            <a:ext cx="4028037" cy="22872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71" name="Group 70"/>
          <p:cNvGrpSpPr/>
          <p:nvPr/>
        </p:nvGrpSpPr>
        <p:grpSpPr>
          <a:xfrm>
            <a:off x="9408088" y="205705"/>
            <a:ext cx="2700482" cy="289121"/>
            <a:chOff x="8145350" y="215971"/>
            <a:chExt cx="2700482" cy="289121"/>
          </a:xfrm>
        </p:grpSpPr>
        <p:grpSp>
          <p:nvGrpSpPr>
            <p:cNvPr id="72" name="Group 71"/>
            <p:cNvGrpSpPr/>
            <p:nvPr/>
          </p:nvGrpSpPr>
          <p:grpSpPr>
            <a:xfrm>
              <a:off x="8335160" y="246313"/>
              <a:ext cx="2505542" cy="212634"/>
              <a:chOff x="299631" y="452732"/>
              <a:chExt cx="3147489" cy="320558"/>
            </a:xfrm>
          </p:grpSpPr>
          <p:grpSp>
            <p:nvGrpSpPr>
              <p:cNvPr id="75" name="Group 74"/>
              <p:cNvGrpSpPr/>
              <p:nvPr/>
            </p:nvGrpSpPr>
            <p:grpSpPr>
              <a:xfrm>
                <a:off x="299631" y="484807"/>
                <a:ext cx="270857" cy="281833"/>
                <a:chOff x="299631" y="484807"/>
                <a:chExt cx="270857" cy="281833"/>
              </a:xfrm>
            </p:grpSpPr>
            <p:sp>
              <p:nvSpPr>
                <p:cNvPr id="86" name="Oval 85"/>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87" name="Picture 86" descr="http://i1.cpcache.com/product_zoom/1264121174/skydiving_icon_business_cards.jpg?height=250&amp;width=250&amp;padToSquare=true"/>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77" name="TextBox 76"/>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78" name="Group 77"/>
              <p:cNvGrpSpPr/>
              <p:nvPr/>
            </p:nvGrpSpPr>
            <p:grpSpPr>
              <a:xfrm>
                <a:off x="1298515" y="490776"/>
                <a:ext cx="271717" cy="275864"/>
                <a:chOff x="5057725" y="5770940"/>
                <a:chExt cx="496562" cy="496562"/>
              </a:xfrm>
            </p:grpSpPr>
            <p:sp>
              <p:nvSpPr>
                <p:cNvPr id="84" name="Oval 83"/>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85" name="Picture 4" descr="http://sr.photos3.fotosearch.com/bthumb/CSP/CSP345/k3453379.jp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79" name="TextBox 78"/>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80" name="Group 79"/>
              <p:cNvGrpSpPr/>
              <p:nvPr/>
            </p:nvGrpSpPr>
            <p:grpSpPr>
              <a:xfrm>
                <a:off x="2310382" y="479627"/>
                <a:ext cx="304919" cy="293663"/>
                <a:chOff x="8469842" y="5748867"/>
                <a:chExt cx="496562" cy="496562"/>
              </a:xfrm>
            </p:grpSpPr>
            <p:sp>
              <p:nvSpPr>
                <p:cNvPr id="82" name="Oval 81"/>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83" name="Picture 2" descr="http://www.kewauneeprcommittee.com/High_hurdles.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81" name="TextBox 80"/>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73" name="Rounded Rectangle 72"/>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4" name="Rounded Rectangle 73"/>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46" name="Oval 45">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sp>
        <p:nvSpPr>
          <p:cNvPr id="50" name="Title 2"/>
          <p:cNvSpPr txBox="1">
            <a:spLocks/>
          </p:cNvSpPr>
          <p:nvPr/>
        </p:nvSpPr>
        <p:spPr>
          <a:xfrm>
            <a:off x="9394523" y="2286000"/>
            <a:ext cx="2766250" cy="2222618"/>
          </a:xfrm>
          <a:prstGeom prst="hexagon">
            <a:avLst/>
          </a:prstGeom>
          <a:solidFill>
            <a:schemeClr val="bg1">
              <a:lumMod val="85000"/>
            </a:schemeClr>
          </a:solidFill>
        </p:spPr>
        <p:txBody>
          <a:bodyPr vert="horz" lIns="91440" tIns="45720" rIns="91440" bIns="45720" rtlCol="0" anchor="t">
            <a:noAutofit/>
          </a:bodyPr>
          <a:lstStyle>
            <a:lvl1pPr algn="l" defTabSz="457200" rtl="0" eaLnBrk="1" latinLnBrk="0" hangingPunct="1">
              <a:spcBef>
                <a:spcPct val="0"/>
              </a:spcBef>
              <a:buNone/>
              <a:defRPr sz="2000" kern="1200">
                <a:solidFill>
                  <a:srgbClr val="0099CC"/>
                </a:solidFill>
                <a:latin typeface="Calibri" panose="020F0502020204030204" pitchFamily="34" charset="0"/>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smtClean="0">
                <a:ln>
                  <a:noFill/>
                </a:ln>
                <a:solidFill>
                  <a:srgbClr val="44546A"/>
                </a:solidFill>
                <a:effectLst/>
                <a:uLnTx/>
                <a:uFillTx/>
                <a:latin typeface="Calibri "/>
              </a:rPr>
              <a:t>20-30% First level Resolution Improvement</a:t>
            </a:r>
          </a:p>
          <a:p>
            <a:pPr marL="0" marR="0" lvl="0" indent="0" algn="ctr" defTabSz="457200" rtl="0" eaLnBrk="1" fontAlgn="auto" latinLnBrk="0" hangingPunct="1">
              <a:lnSpc>
                <a:spcPct val="100000"/>
              </a:lnSpc>
              <a:spcBef>
                <a:spcPct val="0"/>
              </a:spcBef>
              <a:spcAft>
                <a:spcPts val="0"/>
              </a:spcAft>
              <a:buClrTx/>
              <a:buSzTx/>
              <a:buFontTx/>
              <a:buNone/>
              <a:tabLst/>
              <a:defRPr/>
            </a:pPr>
            <a:endParaRPr lang="en-US" sz="1600" b="1" dirty="0">
              <a:solidFill>
                <a:srgbClr val="44546A"/>
              </a:solidFill>
              <a:latin typeface="Calibri "/>
            </a:endParaRP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smtClean="0">
                <a:ln>
                  <a:noFill/>
                </a:ln>
                <a:solidFill>
                  <a:srgbClr val="44546A"/>
                </a:solidFill>
                <a:effectLst/>
                <a:uLnTx/>
                <a:uFillTx/>
                <a:latin typeface="Calibri "/>
              </a:rPr>
              <a:t>10-15% Efficiency Improvement</a:t>
            </a:r>
            <a:endParaRPr kumimoji="0" lang="en-US" sz="1600" b="1" i="0" u="none" strike="noStrike" kern="1200" cap="none" spc="0" normalizeH="0" baseline="0" noProof="0" dirty="0">
              <a:ln>
                <a:noFill/>
              </a:ln>
              <a:solidFill>
                <a:srgbClr val="44546A"/>
              </a:solidFill>
              <a:effectLst/>
              <a:uLnTx/>
              <a:uFillTx/>
              <a:latin typeface="Calibri "/>
            </a:endParaRPr>
          </a:p>
        </p:txBody>
      </p:sp>
    </p:spTree>
    <p:extLst>
      <p:ext uri="{BB962C8B-B14F-4D97-AF65-F5344CB8AC3E}">
        <p14:creationId xmlns:p14="http://schemas.microsoft.com/office/powerpoint/2010/main" val="2977408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8946918"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a:t>Our ‘Zero Touch’ approach makes time available to users for business activities vs getting resolution to tickets …</a:t>
            </a:r>
          </a:p>
        </p:txBody>
      </p:sp>
      <p:sp>
        <p:nvSpPr>
          <p:cNvPr id="6" name="Slide Number Placeholder 5"/>
          <p:cNvSpPr>
            <a:spLocks noGrp="1"/>
          </p:cNvSpPr>
          <p:nvPr>
            <p:ph type="sldNum" sz="quarter" idx="4294967295"/>
          </p:nvPr>
        </p:nvSpPr>
        <p:spPr>
          <a:xfrm>
            <a:off x="11452225" y="6403975"/>
            <a:ext cx="739775" cy="365125"/>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2EFEF571-C9B4-4D92-A7F7-315B894862A8}"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Rounded Rectangle 7"/>
          <p:cNvSpPr/>
          <p:nvPr/>
        </p:nvSpPr>
        <p:spPr bwMode="auto">
          <a:xfrm>
            <a:off x="317483" y="1199271"/>
            <a:ext cx="5377604" cy="4857047"/>
          </a:xfrm>
          <a:prstGeom prst="roundRect">
            <a:avLst>
              <a:gd name="adj" fmla="val 0"/>
            </a:avLst>
          </a:prstGeom>
          <a:solidFill>
            <a:sysClr val="window" lastClr="FFFFFF"/>
          </a:solidFill>
          <a:ln w="3175" cap="flat" cmpd="sng" algn="ctr">
            <a:gradFill flip="none" rotWithShape="1">
              <a:gsLst>
                <a:gs pos="0">
                  <a:srgbClr val="00AE57"/>
                </a:gs>
                <a:gs pos="100000">
                  <a:srgbClr val="0033A0"/>
                </a:gs>
              </a:gsLst>
              <a:lin ang="10800000" scaled="1"/>
              <a:tileRect/>
            </a:gra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grpSp>
        <p:nvGrpSpPr>
          <p:cNvPr id="9" name="Group 8"/>
          <p:cNvGrpSpPr/>
          <p:nvPr/>
        </p:nvGrpSpPr>
        <p:grpSpPr>
          <a:xfrm>
            <a:off x="678561" y="1502705"/>
            <a:ext cx="2012035" cy="4757436"/>
            <a:chOff x="9352" y="1273608"/>
            <a:chExt cx="2151688" cy="5353286"/>
          </a:xfrm>
        </p:grpSpPr>
        <p:cxnSp>
          <p:nvCxnSpPr>
            <p:cNvPr id="26" name="Straight Arrow Connector 25"/>
            <p:cNvCxnSpPr/>
            <p:nvPr/>
          </p:nvCxnSpPr>
          <p:spPr bwMode="auto">
            <a:xfrm>
              <a:off x="188501" y="1273608"/>
              <a:ext cx="13854" cy="4846320"/>
            </a:xfrm>
            <a:prstGeom prst="straightConnector1">
              <a:avLst/>
            </a:prstGeom>
            <a:solidFill>
              <a:srgbClr val="4F81BD"/>
            </a:solidFill>
            <a:ln w="38100" cap="flat" cmpd="sng" algn="ctr">
              <a:solidFill>
                <a:schemeClr val="bg1">
                  <a:lumMod val="65000"/>
                </a:schemeClr>
              </a:solidFill>
              <a:prstDash val="solid"/>
              <a:round/>
              <a:headEnd type="none" w="med" len="med"/>
              <a:tailEnd type="triangle"/>
            </a:ln>
            <a:effectLst/>
          </p:spPr>
        </p:cxnSp>
        <p:sp>
          <p:nvSpPr>
            <p:cNvPr id="27" name="Rectangle 26"/>
            <p:cNvSpPr/>
            <p:nvPr/>
          </p:nvSpPr>
          <p:spPr>
            <a:xfrm rot="5400000">
              <a:off x="581482" y="5047335"/>
              <a:ext cx="1523828" cy="1635289"/>
            </a:xfrm>
            <a:prstGeom prst="rect">
              <a:avLst/>
            </a:prstGeom>
          </p:spPr>
          <p:txBody>
            <a:bodyPr vert="vert270" wrap="square">
              <a:spAutoFit/>
            </a:bodyPr>
            <a:lstStyle/>
            <a:p>
              <a:pPr marL="0" marR="0" lvl="0" indent="0" algn="l" defTabSz="914377" rtl="0" eaLnBrk="1" fontAlgn="auto" latinLnBrk="0" hangingPunct="1">
                <a:lnSpc>
                  <a:spcPct val="15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dustrialized AMS, CSI &amp; Innovate </a:t>
              </a:r>
            </a:p>
          </p:txBody>
        </p:sp>
        <p:sp>
          <p:nvSpPr>
            <p:cNvPr id="28" name="Rounded Rectangle 27"/>
            <p:cNvSpPr/>
            <p:nvPr/>
          </p:nvSpPr>
          <p:spPr>
            <a:xfrm>
              <a:off x="9352" y="1983019"/>
              <a:ext cx="386005" cy="2738813"/>
            </a:xfrm>
            <a:prstGeom prst="roundRect">
              <a:avLst>
                <a:gd name="adj" fmla="val 50000"/>
              </a:avLst>
            </a:prstGeom>
            <a:gradFill flip="none" rotWithShape="1">
              <a:gsLst>
                <a:gs pos="3000">
                  <a:srgbClr val="001343"/>
                </a:gs>
                <a:gs pos="97000">
                  <a:srgbClr val="00AE57"/>
                </a:gs>
              </a:gsLst>
              <a:lin ang="2700000" scaled="1"/>
              <a:tileRect/>
            </a:gradFill>
            <a:ln w="12700" cap="flat" cmpd="sng" algn="ctr">
              <a:noFill/>
              <a:prstDash val="solid"/>
              <a:miter lim="800000"/>
            </a:ln>
            <a:effectLst/>
          </p:spPr>
          <p:txBody>
            <a:bodyPr vert="vert270" tIns="91440" bIns="91440" rtlCol="0" anchor="ctr"/>
            <a:lstStyle/>
            <a:p>
              <a:pPr marL="0" marR="0" lvl="0" indent="0" algn="ctr" defTabSz="6094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creasing human Touch</a:t>
              </a:r>
            </a:p>
          </p:txBody>
        </p:sp>
      </p:grpSp>
      <p:grpSp>
        <p:nvGrpSpPr>
          <p:cNvPr id="10" name="Group 9"/>
          <p:cNvGrpSpPr/>
          <p:nvPr/>
        </p:nvGrpSpPr>
        <p:grpSpPr>
          <a:xfrm>
            <a:off x="1965269" y="1311759"/>
            <a:ext cx="3492529" cy="4715420"/>
            <a:chOff x="2203395" y="1229883"/>
            <a:chExt cx="3734944" cy="5306007"/>
          </a:xfrm>
        </p:grpSpPr>
        <p:sp>
          <p:nvSpPr>
            <p:cNvPr id="12" name="Oval 11"/>
            <p:cNvSpPr/>
            <p:nvPr/>
          </p:nvSpPr>
          <p:spPr>
            <a:xfrm rot="16200000">
              <a:off x="3844941" y="4720818"/>
              <a:ext cx="443302" cy="1279210"/>
            </a:xfrm>
            <a:prstGeom prst="ellipse">
              <a:avLst/>
            </a:prstGeom>
            <a:solidFill>
              <a:srgbClr val="06BC54"/>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Predictive</a:t>
              </a:r>
            </a:p>
          </p:txBody>
        </p:sp>
        <p:sp>
          <p:nvSpPr>
            <p:cNvPr id="13" name="Oval 12"/>
            <p:cNvSpPr/>
            <p:nvPr/>
          </p:nvSpPr>
          <p:spPr>
            <a:xfrm rot="16200000">
              <a:off x="3843938" y="3835575"/>
              <a:ext cx="461498" cy="1510096"/>
            </a:xfrm>
            <a:prstGeom prst="ellipse">
              <a:avLst/>
            </a:prstGeom>
            <a:solidFill>
              <a:srgbClr val="1BBA82"/>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Monitoring</a:t>
              </a:r>
            </a:p>
          </p:txBody>
        </p:sp>
        <p:sp>
          <p:nvSpPr>
            <p:cNvPr id="14" name="Oval 13"/>
            <p:cNvSpPr/>
            <p:nvPr/>
          </p:nvSpPr>
          <p:spPr>
            <a:xfrm rot="16200000">
              <a:off x="3818430" y="2743088"/>
              <a:ext cx="481677" cy="1925446"/>
            </a:xfrm>
            <a:prstGeom prst="ellipse">
              <a:avLst/>
            </a:prstGeom>
            <a:solidFill>
              <a:srgbClr val="6C95FE"/>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AI / ML </a:t>
              </a:r>
            </a:p>
          </p:txBody>
        </p:sp>
        <p:sp>
          <p:nvSpPr>
            <p:cNvPr id="15" name="Oval 14"/>
            <p:cNvSpPr/>
            <p:nvPr/>
          </p:nvSpPr>
          <p:spPr>
            <a:xfrm rot="16200000">
              <a:off x="3800016" y="1662013"/>
              <a:ext cx="470267" cy="2259682"/>
            </a:xfrm>
            <a:prstGeom prst="ellipse">
              <a:avLst/>
            </a:prstGeom>
            <a:solidFill>
              <a:srgbClr val="3871FF"/>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Conversation AI</a:t>
              </a:r>
            </a:p>
          </p:txBody>
        </p:sp>
        <p:sp>
          <p:nvSpPr>
            <p:cNvPr id="16" name="Oval 15"/>
            <p:cNvSpPr/>
            <p:nvPr/>
          </p:nvSpPr>
          <p:spPr>
            <a:xfrm rot="16200000">
              <a:off x="3767730" y="491245"/>
              <a:ext cx="569773" cy="2581860"/>
            </a:xfrm>
            <a:prstGeom prst="ellipse">
              <a:avLst/>
            </a:prstGeom>
            <a:solidFill>
              <a:srgbClr val="00195A"/>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Eliminate &amp; Automate</a:t>
              </a:r>
            </a:p>
          </p:txBody>
        </p:sp>
        <p:sp>
          <p:nvSpPr>
            <p:cNvPr id="17" name="Oval 16"/>
            <p:cNvSpPr/>
            <p:nvPr/>
          </p:nvSpPr>
          <p:spPr>
            <a:xfrm rot="16200000">
              <a:off x="3830676" y="5418824"/>
              <a:ext cx="651849" cy="1346267"/>
            </a:xfrm>
            <a:prstGeom prst="ellipse">
              <a:avLst/>
            </a:prstGeom>
            <a:solidFill>
              <a:srgbClr val="009636"/>
            </a:solidFill>
            <a:ln w="6350" cap="flat" cmpd="sng" algn="ctr">
              <a:noFill/>
              <a:prstDash val="solid"/>
            </a:ln>
            <a:effectLst/>
          </p:spPr>
          <p:txBody>
            <a:bodyPr vert="vert"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Residua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50-60%)</a:t>
              </a:r>
            </a:p>
          </p:txBody>
        </p:sp>
        <p:sp>
          <p:nvSpPr>
            <p:cNvPr id="18" name="Freeform 17"/>
            <p:cNvSpPr/>
            <p:nvPr/>
          </p:nvSpPr>
          <p:spPr>
            <a:xfrm rot="5400000">
              <a:off x="2954982" y="3412300"/>
              <a:ext cx="5165774" cy="800940"/>
            </a:xfrm>
            <a:custGeom>
              <a:avLst/>
              <a:gdLst>
                <a:gd name="connsiteX0" fmla="*/ 0 w 3169920"/>
                <a:gd name="connsiteY0" fmla="*/ 0 h 548640"/>
                <a:gd name="connsiteX1" fmla="*/ 3169920 w 3169920"/>
                <a:gd name="connsiteY1" fmla="*/ 548640 h 548640"/>
                <a:gd name="connsiteX2" fmla="*/ 3169920 w 3169920"/>
                <a:gd name="connsiteY2" fmla="*/ 548640 h 548640"/>
              </a:gdLst>
              <a:ahLst/>
              <a:cxnLst>
                <a:cxn ang="0">
                  <a:pos x="connsiteX0" y="connsiteY0"/>
                </a:cxn>
                <a:cxn ang="0">
                  <a:pos x="connsiteX1" y="connsiteY1"/>
                </a:cxn>
              </a:cxnLst>
              <a:rect l="l" t="t" r="r" b="b"/>
              <a:pathLst>
                <a:path w="3169920" h="548640">
                  <a:moveTo>
                    <a:pt x="0" y="0"/>
                  </a:moveTo>
                  <a:cubicBezTo>
                    <a:pt x="337503" y="392430"/>
                    <a:pt x="2008505" y="422910"/>
                    <a:pt x="3169920" y="548640"/>
                  </a:cubicBezTo>
                </a:path>
              </a:pathLst>
            </a:custGeom>
            <a:noFill/>
            <a:ln w="9525" cap="flat" cmpd="sng" algn="ctr">
              <a:solidFill>
                <a:schemeClr val="bg1">
                  <a:lumMod val="50000"/>
                </a:schemeClr>
              </a:solid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9" name="Freeform 18"/>
            <p:cNvSpPr/>
            <p:nvPr/>
          </p:nvSpPr>
          <p:spPr>
            <a:xfrm rot="5400000" flipV="1">
              <a:off x="38099" y="3455326"/>
              <a:ext cx="5131534" cy="800941"/>
            </a:xfrm>
            <a:custGeom>
              <a:avLst/>
              <a:gdLst>
                <a:gd name="connsiteX0" fmla="*/ 0 w 3169920"/>
                <a:gd name="connsiteY0" fmla="*/ 0 h 548640"/>
                <a:gd name="connsiteX1" fmla="*/ 3169920 w 3169920"/>
                <a:gd name="connsiteY1" fmla="*/ 548640 h 548640"/>
                <a:gd name="connsiteX2" fmla="*/ 3169920 w 3169920"/>
                <a:gd name="connsiteY2" fmla="*/ 548640 h 548640"/>
              </a:gdLst>
              <a:ahLst/>
              <a:cxnLst>
                <a:cxn ang="0">
                  <a:pos x="connsiteX0" y="connsiteY0"/>
                </a:cxn>
                <a:cxn ang="0">
                  <a:pos x="connsiteX1" y="connsiteY1"/>
                </a:cxn>
              </a:cxnLst>
              <a:rect l="l" t="t" r="r" b="b"/>
              <a:pathLst>
                <a:path w="3169920" h="548640">
                  <a:moveTo>
                    <a:pt x="0" y="0"/>
                  </a:moveTo>
                  <a:cubicBezTo>
                    <a:pt x="337503" y="392430"/>
                    <a:pt x="2008505" y="422910"/>
                    <a:pt x="3169920" y="548640"/>
                  </a:cubicBezTo>
                </a:path>
              </a:pathLst>
            </a:custGeom>
            <a:noFill/>
            <a:ln w="9525" cap="flat" cmpd="sng" algn="ctr">
              <a:solidFill>
                <a:schemeClr val="bg1">
                  <a:lumMod val="50000"/>
                </a:schemeClr>
              </a:solid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0" name="Oval 19"/>
            <p:cNvSpPr/>
            <p:nvPr/>
          </p:nvSpPr>
          <p:spPr>
            <a:xfrm rot="5400000">
              <a:off x="4032110" y="5432183"/>
              <a:ext cx="93946" cy="2113467"/>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val 20"/>
            <p:cNvSpPr/>
            <p:nvPr/>
          </p:nvSpPr>
          <p:spPr>
            <a:xfrm rot="5400000">
              <a:off x="4038675" y="4601539"/>
              <a:ext cx="94885" cy="2234100"/>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val 21"/>
            <p:cNvSpPr/>
            <p:nvPr/>
          </p:nvSpPr>
          <p:spPr>
            <a:xfrm rot="5400000">
              <a:off x="4042988" y="3831672"/>
              <a:ext cx="86259" cy="2361619"/>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Oval 22"/>
            <p:cNvSpPr/>
            <p:nvPr/>
          </p:nvSpPr>
          <p:spPr>
            <a:xfrm rot="5400000">
              <a:off x="4039144" y="2900078"/>
              <a:ext cx="93946" cy="2546593"/>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Oval 23"/>
            <p:cNvSpPr/>
            <p:nvPr/>
          </p:nvSpPr>
          <p:spPr>
            <a:xfrm rot="5400000">
              <a:off x="4028179" y="1926481"/>
              <a:ext cx="93016" cy="2665295"/>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val 24"/>
            <p:cNvSpPr/>
            <p:nvPr/>
          </p:nvSpPr>
          <p:spPr>
            <a:xfrm rot="5400000">
              <a:off x="4016749" y="870807"/>
              <a:ext cx="93016" cy="2914995"/>
            </a:xfrm>
            <a:prstGeom prst="ellipse">
              <a:avLst/>
            </a:prstGeom>
            <a:solidFill>
              <a:srgbClr val="E2E2E2"/>
            </a:solidFill>
            <a:ln w="25400" cap="flat" cmpd="sng" algn="ctr">
              <a:noFill/>
              <a:prstDash val="solid"/>
            </a:ln>
            <a:effectLst/>
          </p:spPr>
          <p:txBody>
            <a:bodyPr rtlCol="0" anchor="ctr"/>
            <a:lstStyle/>
            <a:p>
              <a:pPr marL="0" marR="0" lvl="0" indent="0" algn="ctr" defTabSz="914377"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1" name="Isosceles Triangle 10"/>
          <p:cNvSpPr/>
          <p:nvPr/>
        </p:nvSpPr>
        <p:spPr>
          <a:xfrm rot="5400000">
            <a:off x="4171075" y="3395750"/>
            <a:ext cx="5015508" cy="520809"/>
          </a:xfrm>
          <a:prstGeom prst="triangle">
            <a:avLst>
              <a:gd name="adj" fmla="val 51362"/>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p:cNvSpPr txBox="1"/>
          <p:nvPr/>
        </p:nvSpPr>
        <p:spPr>
          <a:xfrm>
            <a:off x="1965267" y="1044938"/>
            <a:ext cx="3343464" cy="402007"/>
          </a:xfrm>
          <a:prstGeom prst="roundRect">
            <a:avLst/>
          </a:prstGeom>
          <a:gradFill>
            <a:gsLst>
              <a:gs pos="0">
                <a:srgbClr val="00B143"/>
              </a:gs>
              <a:gs pos="68000">
                <a:srgbClr val="001343"/>
              </a:gs>
            </a:gsLst>
            <a:lin ang="10800000" scaled="1"/>
          </a:gradFill>
          <a:ln>
            <a:noFill/>
          </a:ln>
        </p:spPr>
        <p:txBody>
          <a:bodyPr lIns="0" tIns="0" rIns="0" bIns="0" anchor="ctr"/>
          <a:lstStyle>
            <a:defPPr>
              <a:defRPr lang="en-US"/>
            </a:defPPr>
            <a:lvl1pPr algn="ctr">
              <a:defRPr sz="1400" b="1">
                <a:solidFill>
                  <a:schemeClr val="bg1"/>
                </a:solidFill>
                <a:latin typeface="Calibri" panose="020F0502020204030204" pitchFamily="34" charset="0"/>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Support DEMAND (100%)</a:t>
            </a:r>
          </a:p>
        </p:txBody>
      </p:sp>
      <p:cxnSp>
        <p:nvCxnSpPr>
          <p:cNvPr id="30" name="Straight Arrow Connector 29"/>
          <p:cNvCxnSpPr>
            <a:stCxn id="16" idx="4"/>
          </p:cNvCxnSpPr>
          <p:nvPr/>
        </p:nvCxnSpPr>
        <p:spPr bwMode="auto">
          <a:xfrm>
            <a:off x="4901610" y="1802578"/>
            <a:ext cx="2194560" cy="1"/>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cxnSp>
        <p:nvCxnSpPr>
          <p:cNvPr id="31" name="Straight Arrow Connector 30"/>
          <p:cNvCxnSpPr/>
          <p:nvPr/>
        </p:nvCxnSpPr>
        <p:spPr bwMode="auto">
          <a:xfrm>
            <a:off x="4642883" y="2699873"/>
            <a:ext cx="2468880" cy="0"/>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cxnSp>
        <p:nvCxnSpPr>
          <p:cNvPr id="32" name="Straight Arrow Connector 31"/>
          <p:cNvCxnSpPr/>
          <p:nvPr/>
        </p:nvCxnSpPr>
        <p:spPr bwMode="auto">
          <a:xfrm>
            <a:off x="4525355" y="3512103"/>
            <a:ext cx="2560320" cy="0"/>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cxnSp>
        <p:nvCxnSpPr>
          <p:cNvPr id="33" name="Straight Arrow Connector 32"/>
          <p:cNvCxnSpPr/>
          <p:nvPr/>
        </p:nvCxnSpPr>
        <p:spPr bwMode="auto">
          <a:xfrm>
            <a:off x="4344150" y="4298428"/>
            <a:ext cx="2743200" cy="0"/>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cxnSp>
        <p:nvCxnSpPr>
          <p:cNvPr id="34" name="Straight Arrow Connector 33"/>
          <p:cNvCxnSpPr/>
          <p:nvPr/>
        </p:nvCxnSpPr>
        <p:spPr bwMode="auto">
          <a:xfrm>
            <a:off x="4207724" y="4982545"/>
            <a:ext cx="2926080" cy="0"/>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cxnSp>
        <p:nvCxnSpPr>
          <p:cNvPr id="35" name="Straight Arrow Connector 34"/>
          <p:cNvCxnSpPr/>
          <p:nvPr/>
        </p:nvCxnSpPr>
        <p:spPr bwMode="auto">
          <a:xfrm>
            <a:off x="4175625" y="5575276"/>
            <a:ext cx="2926080" cy="0"/>
          </a:xfrm>
          <a:prstGeom prst="straightConnector1">
            <a:avLst/>
          </a:prstGeom>
          <a:solidFill>
            <a:srgbClr val="4F81BD"/>
          </a:solidFill>
          <a:ln w="9525" cap="flat" cmpd="sng" algn="ctr">
            <a:solidFill>
              <a:schemeClr val="bg1">
                <a:lumMod val="50000"/>
              </a:schemeClr>
            </a:solidFill>
            <a:prstDash val="sysDash"/>
            <a:round/>
            <a:headEnd type="none" w="med" len="med"/>
            <a:tailEnd type="triangle"/>
          </a:ln>
          <a:effectLst/>
        </p:spPr>
      </p:cxnSp>
      <p:sp>
        <p:nvSpPr>
          <p:cNvPr id="39" name="Rectangle 38"/>
          <p:cNvSpPr/>
          <p:nvPr/>
        </p:nvSpPr>
        <p:spPr>
          <a:xfrm>
            <a:off x="7127552" y="3779112"/>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Unknown Inciden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Monitoring with anomaly engine +  correlation = fix preventatively </a:t>
            </a:r>
          </a:p>
        </p:txBody>
      </p:sp>
      <p:sp>
        <p:nvSpPr>
          <p:cNvPr id="40" name="Rectangle 39"/>
          <p:cNvSpPr/>
          <p:nvPr/>
        </p:nvSpPr>
        <p:spPr>
          <a:xfrm>
            <a:off x="7116616" y="4543132"/>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Likely Inciden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Predict and resolve (predictive intelligence dashboard</a:t>
            </a:r>
            <a:r>
              <a:rPr kumimoji="0" lang="en-US" sz="1400" b="0" i="0" u="none" strike="noStrike" kern="1200" cap="none" spc="0" normalizeH="0" baseline="30000" noProof="0" dirty="0">
                <a:ln>
                  <a:noFill/>
                </a:ln>
                <a:solidFill>
                  <a:srgbClr val="0D0D0D"/>
                </a:solidFill>
                <a:effectLst/>
                <a:uLnTx/>
                <a:uFillTx/>
                <a:latin typeface="Calibri" panose="020F0502020204030204"/>
                <a:ea typeface="+mn-ea"/>
                <a:cs typeface="Calibri" panose="020F0502020204030204" pitchFamily="34" charset="0"/>
              </a:rPr>
              <a:t>TM</a:t>
            </a: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a:t>
            </a:r>
          </a:p>
        </p:txBody>
      </p:sp>
      <p:sp>
        <p:nvSpPr>
          <p:cNvPr id="41" name="Rectangle 40"/>
          <p:cNvSpPr/>
          <p:nvPr/>
        </p:nvSpPr>
        <p:spPr>
          <a:xfrm>
            <a:off x="7127552" y="5307154"/>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Residual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Platform enabled AMS  | BLA’s</a:t>
            </a:r>
          </a:p>
        </p:txBody>
      </p:sp>
      <p:sp>
        <p:nvSpPr>
          <p:cNvPr id="43" name="Rectangle 42"/>
          <p:cNvSpPr/>
          <p:nvPr/>
        </p:nvSpPr>
        <p:spPr>
          <a:xfrm>
            <a:off x="7116618" y="1485611"/>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Known Incident</a:t>
            </a:r>
            <a:endPar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Eliminate &amp; Automate all what we can </a:t>
            </a:r>
          </a:p>
        </p:txBody>
      </p:sp>
      <p:sp>
        <p:nvSpPr>
          <p:cNvPr id="44" name="Rectangle 43"/>
          <p:cNvSpPr/>
          <p:nvPr/>
        </p:nvSpPr>
        <p:spPr>
          <a:xfrm>
            <a:off x="7116616" y="2249631"/>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Known Service request (S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Conversational AI (ChaBot)</a:t>
            </a:r>
          </a:p>
        </p:txBody>
      </p:sp>
      <p:sp>
        <p:nvSpPr>
          <p:cNvPr id="45" name="Rectangle 44"/>
          <p:cNvSpPr/>
          <p:nvPr/>
        </p:nvSpPr>
        <p:spPr>
          <a:xfrm>
            <a:off x="7116616" y="3013652"/>
            <a:ext cx="4207872" cy="56883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Unknown Incident / S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0D0D"/>
                </a:solidFill>
                <a:effectLst/>
                <a:uLnTx/>
                <a:uFillTx/>
                <a:latin typeface="Calibri" panose="020F0502020204030204"/>
                <a:ea typeface="+mn-ea"/>
                <a:cs typeface="Calibri" panose="020F0502020204030204" pitchFamily="34" charset="0"/>
              </a:rPr>
              <a:t>AI / ML powered resolution with zero touch</a:t>
            </a:r>
          </a:p>
        </p:txBody>
      </p:sp>
      <p:cxnSp>
        <p:nvCxnSpPr>
          <p:cNvPr id="42" name="Straight Arrow Connector 41"/>
          <p:cNvCxnSpPr/>
          <p:nvPr/>
        </p:nvCxnSpPr>
        <p:spPr bwMode="auto">
          <a:xfrm>
            <a:off x="11798724" y="1514975"/>
            <a:ext cx="12955" cy="4306897"/>
          </a:xfrm>
          <a:prstGeom prst="straightConnector1">
            <a:avLst/>
          </a:prstGeom>
          <a:solidFill>
            <a:srgbClr val="4F81BD"/>
          </a:solidFill>
          <a:ln w="38100" cap="flat" cmpd="sng" algn="ctr">
            <a:solidFill>
              <a:schemeClr val="bg1">
                <a:lumMod val="65000"/>
              </a:schemeClr>
            </a:solidFill>
            <a:prstDash val="solid"/>
            <a:round/>
            <a:headEnd type="none" w="med" len="med"/>
            <a:tailEnd type="triangle"/>
          </a:ln>
          <a:effectLst/>
        </p:spPr>
      </p:cxnSp>
      <p:sp>
        <p:nvSpPr>
          <p:cNvPr id="46" name="Rounded Rectangle 45"/>
          <p:cNvSpPr/>
          <p:nvPr/>
        </p:nvSpPr>
        <p:spPr>
          <a:xfrm flipV="1">
            <a:off x="11631203" y="2237188"/>
            <a:ext cx="360952" cy="2732264"/>
          </a:xfrm>
          <a:prstGeom prst="roundRect">
            <a:avLst>
              <a:gd name="adj" fmla="val 50000"/>
            </a:avLst>
          </a:prstGeom>
          <a:gradFill flip="none" rotWithShape="1">
            <a:gsLst>
              <a:gs pos="3000">
                <a:srgbClr val="001343"/>
              </a:gs>
              <a:gs pos="97000">
                <a:srgbClr val="00AE57"/>
              </a:gs>
            </a:gsLst>
            <a:lin ang="2700000" scaled="1"/>
            <a:tileRect/>
          </a:gradFill>
          <a:ln w="12700" cap="flat" cmpd="sng" algn="ctr">
            <a:noFill/>
            <a:prstDash val="solid"/>
            <a:miter lim="800000"/>
          </a:ln>
          <a:effectLst/>
        </p:spPr>
        <p:txBody>
          <a:bodyPr vert="vert270" tIns="91440" bIns="91440" rtlCol="0" anchor="ctr"/>
          <a:lstStyle/>
          <a:p>
            <a:pPr marL="0" marR="0" lvl="0" indent="0" algn="ctr" defTabSz="6094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Enhanced  user Experience</a:t>
            </a:r>
          </a:p>
        </p:txBody>
      </p:sp>
      <p:sp>
        <p:nvSpPr>
          <p:cNvPr id="3" name="Rectangle 2"/>
          <p:cNvSpPr/>
          <p:nvPr/>
        </p:nvSpPr>
        <p:spPr>
          <a:xfrm>
            <a:off x="2589733" y="5343011"/>
            <a:ext cx="2235202" cy="72120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Line Callout 1 37"/>
          <p:cNvSpPr/>
          <p:nvPr/>
        </p:nvSpPr>
        <p:spPr>
          <a:xfrm>
            <a:off x="4877259" y="4737991"/>
            <a:ext cx="1476130" cy="1332856"/>
          </a:xfrm>
          <a:prstGeom prst="borderCallout1">
            <a:avLst>
              <a:gd name="adj1" fmla="val 18750"/>
              <a:gd name="adj2" fmla="val -8333"/>
              <a:gd name="adj3" fmla="val 57076"/>
              <a:gd name="adj4" fmla="val -32678"/>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50-60% of user Touch points avoided … time made available for Business</a:t>
            </a:r>
          </a:p>
        </p:txBody>
      </p:sp>
      <p:sp>
        <p:nvSpPr>
          <p:cNvPr id="47" name="Oval 46">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5</a:t>
            </a:r>
            <a:endParaRPr lang="en-US" sz="2133" b="1" dirty="0">
              <a:solidFill>
                <a:schemeClr val="bg1"/>
              </a:solidFill>
              <a:latin typeface="Calibri" panose="020F0502020204030204"/>
            </a:endParaRPr>
          </a:p>
        </p:txBody>
      </p:sp>
      <p:grpSp>
        <p:nvGrpSpPr>
          <p:cNvPr id="48" name="Group 47"/>
          <p:cNvGrpSpPr/>
          <p:nvPr/>
        </p:nvGrpSpPr>
        <p:grpSpPr>
          <a:xfrm>
            <a:off x="9408088" y="205705"/>
            <a:ext cx="2700482" cy="289121"/>
            <a:chOff x="8145350" y="215971"/>
            <a:chExt cx="2700482" cy="289121"/>
          </a:xfrm>
        </p:grpSpPr>
        <p:grpSp>
          <p:nvGrpSpPr>
            <p:cNvPr id="49" name="Group 48"/>
            <p:cNvGrpSpPr/>
            <p:nvPr/>
          </p:nvGrpSpPr>
          <p:grpSpPr>
            <a:xfrm>
              <a:off x="8335160" y="246313"/>
              <a:ext cx="2505542" cy="212634"/>
              <a:chOff x="299631" y="452732"/>
              <a:chExt cx="3147489" cy="320558"/>
            </a:xfrm>
          </p:grpSpPr>
          <p:grpSp>
            <p:nvGrpSpPr>
              <p:cNvPr id="52" name="Group 51"/>
              <p:cNvGrpSpPr/>
              <p:nvPr/>
            </p:nvGrpSpPr>
            <p:grpSpPr>
              <a:xfrm>
                <a:off x="299631" y="484807"/>
                <a:ext cx="270857" cy="281833"/>
                <a:chOff x="299631" y="484807"/>
                <a:chExt cx="270857" cy="281833"/>
              </a:xfrm>
            </p:grpSpPr>
            <p:sp>
              <p:nvSpPr>
                <p:cNvPr id="62" name="Oval 61"/>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63" name="Picture 62" descr="http://i1.cpcache.com/product_zoom/1264121174/skydiving_icon_business_cards.jpg?height=250&amp;width=250&amp;padToSquare=tru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53" name="TextBox 52"/>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54" name="Group 53"/>
              <p:cNvGrpSpPr/>
              <p:nvPr/>
            </p:nvGrpSpPr>
            <p:grpSpPr>
              <a:xfrm>
                <a:off x="1298515" y="490776"/>
                <a:ext cx="271717" cy="275864"/>
                <a:chOff x="5057725" y="5770940"/>
                <a:chExt cx="496562" cy="496562"/>
              </a:xfrm>
            </p:grpSpPr>
            <p:sp>
              <p:nvSpPr>
                <p:cNvPr id="60" name="Oval 59"/>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61" name="Picture 4" descr="http://sr.photos3.fotosearch.com/bthumb/CSP/CSP345/k3453379.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55" name="TextBox 54"/>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56" name="Group 55"/>
              <p:cNvGrpSpPr/>
              <p:nvPr/>
            </p:nvGrpSpPr>
            <p:grpSpPr>
              <a:xfrm>
                <a:off x="2310382" y="479627"/>
                <a:ext cx="304919" cy="293663"/>
                <a:chOff x="8469842" y="5748867"/>
                <a:chExt cx="496562" cy="496562"/>
              </a:xfrm>
            </p:grpSpPr>
            <p:sp>
              <p:nvSpPr>
                <p:cNvPr id="58" name="Oval 57"/>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59" name="Picture 2" descr="http://www.kewauneeprcommittee.com/High_hurdles.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57" name="TextBox 56"/>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50" name="Rounded Rectangle 49"/>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1" name="Rounded Rectangle 50"/>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1665813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Different – RFP 2</a:t>
            </a:r>
            <a:endParaRPr lang="en-US" dirty="0"/>
          </a:p>
        </p:txBody>
      </p:sp>
    </p:spTree>
    <p:extLst>
      <p:ext uri="{BB962C8B-B14F-4D97-AF65-F5344CB8AC3E}">
        <p14:creationId xmlns:p14="http://schemas.microsoft.com/office/powerpoint/2010/main" val="30926486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1696700" cy="618385"/>
          </a:xfrm>
        </p:spPr>
        <p:txBody>
          <a:bodyPr>
            <a:normAutofit/>
          </a:bodyPr>
          <a:lstStyle/>
          <a:p>
            <a:r>
              <a:rPr lang="en-US" dirty="0"/>
              <a:t>Implement the Continuous Improvement and Innovation Process</a:t>
            </a:r>
            <a:endParaRPr lang="en-US" dirty="0">
              <a:latin typeface="Calibri" panose="020F0502020204030204" pitchFamily="34" charset="0"/>
            </a:endParaRPr>
          </a:p>
        </p:txBody>
      </p:sp>
      <p:sp>
        <p:nvSpPr>
          <p:cNvPr id="15" name="Rectangle 14"/>
          <p:cNvSpPr/>
          <p:nvPr/>
        </p:nvSpPr>
        <p:spPr>
          <a:xfrm>
            <a:off x="252073" y="4884874"/>
            <a:ext cx="11789454" cy="857031"/>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solidFill>
                <a:schemeClr val="bg1"/>
              </a:solidFill>
            </a:endParaRPr>
          </a:p>
        </p:txBody>
      </p:sp>
      <p:grpSp>
        <p:nvGrpSpPr>
          <p:cNvPr id="16" name="Group 15"/>
          <p:cNvGrpSpPr/>
          <p:nvPr/>
        </p:nvGrpSpPr>
        <p:grpSpPr>
          <a:xfrm>
            <a:off x="252073" y="1096567"/>
            <a:ext cx="11945256" cy="4529402"/>
            <a:chOff x="101600" y="1846430"/>
            <a:chExt cx="11945256" cy="4529402"/>
          </a:xfrm>
        </p:grpSpPr>
        <p:cxnSp>
          <p:nvCxnSpPr>
            <p:cNvPr id="17" name="Straight Connector 16"/>
            <p:cNvCxnSpPr/>
            <p:nvPr/>
          </p:nvCxnSpPr>
          <p:spPr>
            <a:xfrm>
              <a:off x="101600" y="3378071"/>
              <a:ext cx="11945256" cy="0"/>
            </a:xfrm>
            <a:prstGeom prst="line">
              <a:avLst/>
            </a:prstGeom>
            <a:ln w="9525" cmpd="sng">
              <a:solidFill>
                <a:srgbClr val="7F7F7F"/>
              </a:solidFill>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1741" y="3440571"/>
              <a:ext cx="1322085" cy="286608"/>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Discover</a:t>
              </a:r>
            </a:p>
          </p:txBody>
        </p:sp>
        <p:sp>
          <p:nvSpPr>
            <p:cNvPr id="19" name="TextBox 18"/>
            <p:cNvSpPr txBox="1"/>
            <p:nvPr/>
          </p:nvSpPr>
          <p:spPr>
            <a:xfrm>
              <a:off x="585204" y="3819357"/>
              <a:ext cx="1567177" cy="668752"/>
            </a:xfrm>
            <a:prstGeom prst="rect">
              <a:avLst/>
            </a:prstGeom>
            <a:noFill/>
          </p:spPr>
          <p:txBody>
            <a:bodyPr wrap="square" rtlCol="0">
              <a:spAutoFit/>
            </a:bodyPr>
            <a:lstStyle/>
            <a:p>
              <a:pPr defTabSz="457178"/>
              <a:r>
                <a:rPr lang="en-US" sz="1200" dirty="0" smtClean="0">
                  <a:solidFill>
                    <a:prstClr val="white">
                      <a:lumMod val="65000"/>
                    </a:prstClr>
                  </a:solidFill>
                  <a:latin typeface="Helvetica 45 Light"/>
                  <a:cs typeface="Helvetica 45 Light"/>
                </a:rPr>
                <a:t>Advanced </a:t>
              </a:r>
              <a:r>
                <a:rPr lang="en-US" sz="1200" dirty="0">
                  <a:solidFill>
                    <a:prstClr val="white">
                      <a:lumMod val="65000"/>
                    </a:prstClr>
                  </a:solidFill>
                  <a:latin typeface="Helvetica 45 Light"/>
                  <a:cs typeface="Helvetica 45 Light"/>
                </a:rPr>
                <a:t>Analytics</a:t>
              </a:r>
            </a:p>
            <a:p>
              <a:pPr defTabSz="457178"/>
              <a:r>
                <a:rPr lang="en-US" sz="1200" dirty="0">
                  <a:solidFill>
                    <a:prstClr val="white">
                      <a:lumMod val="65000"/>
                    </a:prstClr>
                  </a:solidFill>
                  <a:latin typeface="Helvetica 45 Light"/>
                  <a:cs typeface="Helvetica 45 Light"/>
                </a:rPr>
                <a:t>Business drivers</a:t>
              </a:r>
            </a:p>
            <a:p>
              <a:pPr defTabSz="457178"/>
              <a:r>
                <a:rPr lang="en-US" sz="1200" dirty="0">
                  <a:solidFill>
                    <a:prstClr val="white">
                      <a:lumMod val="65000"/>
                    </a:prstClr>
                  </a:solidFill>
                  <a:latin typeface="Helvetica 45 Light"/>
                  <a:cs typeface="Helvetica 45 Light"/>
                </a:rPr>
                <a:t>User research</a:t>
              </a:r>
            </a:p>
          </p:txBody>
        </p:sp>
        <p:grpSp>
          <p:nvGrpSpPr>
            <p:cNvPr id="20" name="Group 19"/>
            <p:cNvGrpSpPr/>
            <p:nvPr/>
          </p:nvGrpSpPr>
          <p:grpSpPr>
            <a:xfrm rot="10800000">
              <a:off x="2166227" y="4517798"/>
              <a:ext cx="825990" cy="621620"/>
              <a:chOff x="1251110" y="1309832"/>
              <a:chExt cx="1355368" cy="652970"/>
            </a:xfrm>
          </p:grpSpPr>
          <p:sp>
            <p:nvSpPr>
              <p:cNvPr id="67" name="Rectangle 66"/>
              <p:cNvSpPr/>
              <p:nvPr/>
            </p:nvSpPr>
            <p:spPr>
              <a:xfrm>
                <a:off x="1251110" y="1309832"/>
                <a:ext cx="1355368" cy="36670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8" name="Isosceles Triangle 67"/>
              <p:cNvSpPr/>
              <p:nvPr/>
            </p:nvSpPr>
            <p:spPr>
              <a:xfrm flipV="1">
                <a:off x="1251110" y="1669287"/>
                <a:ext cx="1355368" cy="29351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grpSp>
        <p:cxnSp>
          <p:nvCxnSpPr>
            <p:cNvPr id="21" name="Straight Connector 20"/>
            <p:cNvCxnSpPr/>
            <p:nvPr/>
          </p:nvCxnSpPr>
          <p:spPr>
            <a:xfrm flipV="1">
              <a:off x="2592015" y="3457575"/>
              <a:ext cx="0" cy="1004631"/>
            </a:xfrm>
            <a:prstGeom prst="line">
              <a:avLst/>
            </a:prstGeom>
            <a:ln w="9525" cmpd="sng">
              <a:solidFill>
                <a:srgbClr val="7F7F7F"/>
              </a:solidFill>
              <a:prstDash val="dash"/>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1926741" y="2823574"/>
              <a:ext cx="1322085" cy="477679"/>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algn="ctr" defTabSz="457178"/>
              <a:r>
                <a:rPr lang="en-US" sz="1200" b="1" dirty="0">
                  <a:solidFill>
                    <a:prstClr val="black">
                      <a:lumMod val="65000"/>
                      <a:lumOff val="35000"/>
                    </a:prstClr>
                  </a:solidFill>
                  <a:latin typeface="+mj-lt"/>
                  <a:cs typeface="Helvetica 45 Light"/>
                </a:rPr>
                <a:t>SPARK SESSION</a:t>
              </a:r>
            </a:p>
          </p:txBody>
        </p:sp>
        <p:sp>
          <p:nvSpPr>
            <p:cNvPr id="23" name="TextBox 22"/>
            <p:cNvSpPr txBox="1"/>
            <p:nvPr/>
          </p:nvSpPr>
          <p:spPr>
            <a:xfrm>
              <a:off x="2136631" y="4705470"/>
              <a:ext cx="940034" cy="413989"/>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dirty="0">
                  <a:solidFill>
                    <a:prstClr val="black">
                      <a:lumMod val="65000"/>
                      <a:lumOff val="35000"/>
                    </a:prstClr>
                  </a:solidFill>
                  <a:latin typeface="+mj-lt"/>
                </a:rPr>
                <a:t>PRIORITIZE</a:t>
              </a:r>
            </a:p>
            <a:p>
              <a:pPr defTabSz="457178"/>
              <a:r>
                <a:rPr lang="en-US" dirty="0">
                  <a:solidFill>
                    <a:prstClr val="black">
                      <a:lumMod val="65000"/>
                      <a:lumOff val="35000"/>
                    </a:prstClr>
                  </a:solidFill>
                  <a:latin typeface="+mj-lt"/>
                </a:rPr>
                <a:t> + FOCUS</a:t>
              </a:r>
            </a:p>
          </p:txBody>
        </p:sp>
        <p:sp>
          <p:nvSpPr>
            <p:cNvPr id="24" name="TextBox 23"/>
            <p:cNvSpPr txBox="1"/>
            <p:nvPr/>
          </p:nvSpPr>
          <p:spPr>
            <a:xfrm>
              <a:off x="3117184" y="3506757"/>
              <a:ext cx="1802698" cy="477679"/>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Identify Prototype Variants</a:t>
              </a:r>
            </a:p>
          </p:txBody>
        </p:sp>
        <p:sp>
          <p:nvSpPr>
            <p:cNvPr id="25" name="TextBox 24"/>
            <p:cNvSpPr txBox="1"/>
            <p:nvPr/>
          </p:nvSpPr>
          <p:spPr>
            <a:xfrm>
              <a:off x="3110841" y="3993466"/>
              <a:ext cx="1710007" cy="477679"/>
            </a:xfrm>
            <a:prstGeom prst="rect">
              <a:avLst/>
            </a:prstGeom>
            <a:noFill/>
          </p:spPr>
          <p:txBody>
            <a:bodyPr wrap="square" rtlCol="0">
              <a:spAutoFit/>
            </a:bodyPr>
            <a:lstStyle>
              <a:defPPr>
                <a:defRPr lang="en-US"/>
              </a:defPPr>
              <a:lvl1pPr>
                <a:defRPr sz="900">
                  <a:solidFill>
                    <a:schemeClr val="bg1">
                      <a:lumMod val="65000"/>
                    </a:schemeClr>
                  </a:solidFill>
                </a:defRPr>
              </a:lvl1pPr>
            </a:lstStyle>
            <a:p>
              <a:pPr defTabSz="457178"/>
              <a:r>
                <a:rPr lang="en-US" sz="1200" dirty="0">
                  <a:solidFill>
                    <a:prstClr val="white">
                      <a:lumMod val="65000"/>
                    </a:prstClr>
                  </a:solidFill>
                  <a:latin typeface="Helvetica 45 Light"/>
                  <a:cs typeface="Helvetica 45 Light"/>
                </a:rPr>
                <a:t>Functional breadth</a:t>
              </a:r>
            </a:p>
            <a:p>
              <a:pPr defTabSz="457178"/>
              <a:r>
                <a:rPr lang="en-US" sz="1200" dirty="0">
                  <a:solidFill>
                    <a:prstClr val="white">
                      <a:lumMod val="65000"/>
                    </a:prstClr>
                  </a:solidFill>
                  <a:latin typeface="Helvetica 45 Light"/>
                  <a:cs typeface="Helvetica 45 Light"/>
                </a:rPr>
                <a:t>Fidelity levels</a:t>
              </a:r>
            </a:p>
          </p:txBody>
        </p:sp>
        <p:sp>
          <p:nvSpPr>
            <p:cNvPr id="26" name="TextBox 25"/>
            <p:cNvSpPr txBox="1"/>
            <p:nvPr/>
          </p:nvSpPr>
          <p:spPr>
            <a:xfrm>
              <a:off x="4691834" y="3510828"/>
              <a:ext cx="1802698" cy="477679"/>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Assemble Collaborators Group</a:t>
              </a:r>
            </a:p>
          </p:txBody>
        </p:sp>
        <p:sp>
          <p:nvSpPr>
            <p:cNvPr id="27" name="TextBox 26"/>
            <p:cNvSpPr txBox="1"/>
            <p:nvPr/>
          </p:nvSpPr>
          <p:spPr>
            <a:xfrm>
              <a:off x="4683950" y="3960993"/>
              <a:ext cx="1710007" cy="668752"/>
            </a:xfrm>
            <a:prstGeom prst="rect">
              <a:avLst/>
            </a:prstGeom>
            <a:noFill/>
          </p:spPr>
          <p:txBody>
            <a:bodyPr wrap="square" rtlCol="0">
              <a:spAutoFit/>
            </a:bodyPr>
            <a:lstStyle>
              <a:defPPr>
                <a:defRPr lang="en-US"/>
              </a:defPPr>
              <a:lvl1pPr>
                <a:defRPr sz="900">
                  <a:solidFill>
                    <a:schemeClr val="bg1">
                      <a:lumMod val="65000"/>
                    </a:schemeClr>
                  </a:solidFill>
                </a:defRPr>
              </a:lvl1pPr>
            </a:lstStyle>
            <a:p>
              <a:pPr defTabSz="457178"/>
              <a:r>
                <a:rPr lang="en-US" sz="1200" dirty="0">
                  <a:solidFill>
                    <a:prstClr val="white">
                      <a:lumMod val="65000"/>
                    </a:prstClr>
                  </a:solidFill>
                  <a:latin typeface="Helvetica 45 Light"/>
                  <a:cs typeface="Helvetica 45 Light"/>
                </a:rPr>
                <a:t>Team composition</a:t>
              </a:r>
            </a:p>
            <a:p>
              <a:pPr defTabSz="457178"/>
              <a:r>
                <a:rPr lang="en-US" sz="1200" dirty="0">
                  <a:solidFill>
                    <a:prstClr val="white">
                      <a:lumMod val="65000"/>
                    </a:prstClr>
                  </a:solidFill>
                  <a:latin typeface="Helvetica 45 Light"/>
                  <a:cs typeface="Helvetica 45 Light"/>
                </a:rPr>
                <a:t>Prototyping (Visualizer) and Infra </a:t>
              </a:r>
              <a:r>
                <a:rPr lang="en-US" sz="1200" dirty="0" smtClean="0">
                  <a:solidFill>
                    <a:prstClr val="white">
                      <a:lumMod val="65000"/>
                    </a:prstClr>
                  </a:solidFill>
                  <a:latin typeface="Helvetica 45 Light"/>
                  <a:cs typeface="Helvetica 45 Light"/>
                </a:rPr>
                <a:t>provisioning</a:t>
              </a:r>
              <a:endParaRPr lang="en-US" sz="1200" dirty="0">
                <a:solidFill>
                  <a:prstClr val="white">
                    <a:lumMod val="65000"/>
                  </a:prstClr>
                </a:solidFill>
                <a:latin typeface="Helvetica 45 Light"/>
                <a:cs typeface="Helvetica 45 Light"/>
              </a:endParaRPr>
            </a:p>
          </p:txBody>
        </p:sp>
        <p:sp>
          <p:nvSpPr>
            <p:cNvPr id="28" name="TextBox 27"/>
            <p:cNvSpPr txBox="1"/>
            <p:nvPr/>
          </p:nvSpPr>
          <p:spPr>
            <a:xfrm>
              <a:off x="6731475" y="3496845"/>
              <a:ext cx="1151817" cy="668752"/>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Build Low fidelity Prototypes</a:t>
              </a:r>
            </a:p>
          </p:txBody>
        </p:sp>
        <p:sp>
          <p:nvSpPr>
            <p:cNvPr id="29" name="TextBox 28"/>
            <p:cNvSpPr txBox="1"/>
            <p:nvPr/>
          </p:nvSpPr>
          <p:spPr>
            <a:xfrm>
              <a:off x="7774421" y="3497617"/>
              <a:ext cx="1369066" cy="286608"/>
            </a:xfrm>
            <a:prstGeom prst="rect">
              <a:avLst/>
            </a:prstGeom>
            <a:solidFill>
              <a:schemeClr val="bg1"/>
            </a:solid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Evaluate</a:t>
              </a:r>
            </a:p>
          </p:txBody>
        </p:sp>
        <p:grpSp>
          <p:nvGrpSpPr>
            <p:cNvPr id="30" name="Group 29"/>
            <p:cNvGrpSpPr/>
            <p:nvPr/>
          </p:nvGrpSpPr>
          <p:grpSpPr>
            <a:xfrm rot="10800000">
              <a:off x="7767079" y="4699711"/>
              <a:ext cx="825990" cy="621620"/>
              <a:chOff x="1251110" y="1309832"/>
              <a:chExt cx="1355368" cy="652970"/>
            </a:xfrm>
          </p:grpSpPr>
          <p:sp>
            <p:nvSpPr>
              <p:cNvPr id="65" name="Rectangle 64"/>
              <p:cNvSpPr/>
              <p:nvPr/>
            </p:nvSpPr>
            <p:spPr>
              <a:xfrm>
                <a:off x="1251110" y="1309832"/>
                <a:ext cx="1355368" cy="36670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6" name="Isosceles Triangle 65"/>
              <p:cNvSpPr/>
              <p:nvPr/>
            </p:nvSpPr>
            <p:spPr>
              <a:xfrm flipV="1">
                <a:off x="1251110" y="1669287"/>
                <a:ext cx="1355368" cy="29351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grpSp>
        <p:cxnSp>
          <p:nvCxnSpPr>
            <p:cNvPr id="31" name="Straight Connector 30"/>
            <p:cNvCxnSpPr/>
            <p:nvPr/>
          </p:nvCxnSpPr>
          <p:spPr>
            <a:xfrm flipV="1">
              <a:off x="8192857" y="3357873"/>
              <a:ext cx="0" cy="1337162"/>
            </a:xfrm>
            <a:prstGeom prst="line">
              <a:avLst/>
            </a:prstGeom>
            <a:ln w="9525" cmpd="sng">
              <a:solidFill>
                <a:srgbClr val="7F7F7F"/>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7520866" y="4780449"/>
              <a:ext cx="1275322" cy="573216"/>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algn="ctr" defTabSz="457178"/>
              <a:r>
                <a:rPr lang="en-US" dirty="0">
                  <a:solidFill>
                    <a:prstClr val="black">
                      <a:lumMod val="65000"/>
                      <a:lumOff val="35000"/>
                    </a:prstClr>
                  </a:solidFill>
                  <a:latin typeface="+mj-lt"/>
                </a:rPr>
                <a:t>ARCHIVE THROWAWAY PROTOTYPES</a:t>
              </a:r>
            </a:p>
          </p:txBody>
        </p:sp>
        <p:sp>
          <p:nvSpPr>
            <p:cNvPr id="33" name="TextBox 32"/>
            <p:cNvSpPr txBox="1"/>
            <p:nvPr/>
          </p:nvSpPr>
          <p:spPr>
            <a:xfrm>
              <a:off x="8869032" y="3484981"/>
              <a:ext cx="1485072" cy="668752"/>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defTabSz="457178"/>
              <a:r>
                <a:rPr lang="en-US" sz="1200" dirty="0">
                  <a:solidFill>
                    <a:prstClr val="black">
                      <a:lumMod val="65000"/>
                      <a:lumOff val="35000"/>
                    </a:prstClr>
                  </a:solidFill>
                  <a:latin typeface="+mj-lt"/>
                  <a:cs typeface="Helvetica 45 Light"/>
                </a:rPr>
                <a:t>Develop/Redevelop Evolutionary Prototypes</a:t>
              </a:r>
            </a:p>
          </p:txBody>
        </p:sp>
        <p:sp>
          <p:nvSpPr>
            <p:cNvPr id="34" name="TextBox 33"/>
            <p:cNvSpPr txBox="1"/>
            <p:nvPr/>
          </p:nvSpPr>
          <p:spPr>
            <a:xfrm>
              <a:off x="6694100" y="2342185"/>
              <a:ext cx="819793" cy="477679"/>
            </a:xfrm>
            <a:prstGeom prst="rect">
              <a:avLst/>
            </a:prstGeom>
            <a:noFill/>
          </p:spPr>
          <p:txBody>
            <a:bodyPr wrap="square" rtlCol="0">
              <a:spAutoFit/>
            </a:bodyPr>
            <a:lstStyle>
              <a:defPPr>
                <a:defRPr lang="en-US"/>
              </a:defPPr>
              <a:lvl1pPr>
                <a:defRPr sz="900">
                  <a:solidFill>
                    <a:schemeClr val="bg1">
                      <a:lumMod val="65000"/>
                    </a:schemeClr>
                  </a:solidFill>
                </a:defRPr>
              </a:lvl1pPr>
            </a:lstStyle>
            <a:p>
              <a:pPr algn="ctr" defTabSz="457178"/>
              <a:r>
                <a:rPr lang="en-US" sz="1200" b="1" dirty="0">
                  <a:solidFill>
                    <a:prstClr val="white">
                      <a:lumMod val="50000"/>
                    </a:prstClr>
                  </a:solidFill>
                  <a:latin typeface="Helvetica 45 Light"/>
                  <a:cs typeface="Helvetica 45 Light"/>
                </a:rPr>
                <a:t>48 HR </a:t>
              </a:r>
            </a:p>
            <a:p>
              <a:pPr algn="ctr" defTabSz="457178"/>
              <a:r>
                <a:rPr lang="en-US" sz="1200" b="1" dirty="0">
                  <a:solidFill>
                    <a:prstClr val="white">
                      <a:lumMod val="50000"/>
                    </a:prstClr>
                  </a:solidFill>
                  <a:latin typeface="Helvetica 45 Light"/>
                  <a:cs typeface="Helvetica 45 Light"/>
                </a:rPr>
                <a:t>CYCLES</a:t>
              </a:r>
            </a:p>
          </p:txBody>
        </p:sp>
        <p:sp>
          <p:nvSpPr>
            <p:cNvPr id="35" name="Oval 34"/>
            <p:cNvSpPr/>
            <p:nvPr/>
          </p:nvSpPr>
          <p:spPr>
            <a:xfrm>
              <a:off x="11457166" y="2889154"/>
              <a:ext cx="136179" cy="193389"/>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36" name="TextBox 35"/>
            <p:cNvSpPr txBox="1"/>
            <p:nvPr/>
          </p:nvSpPr>
          <p:spPr>
            <a:xfrm>
              <a:off x="8740082" y="2043522"/>
              <a:ext cx="1262708" cy="859823"/>
            </a:xfrm>
            <a:prstGeom prst="rect">
              <a:avLst/>
            </a:prstGeom>
            <a:noFill/>
          </p:spPr>
          <p:txBody>
            <a:bodyPr wrap="square" rtlCol="0">
              <a:spAutoFit/>
            </a:bodyPr>
            <a:lstStyle>
              <a:defPPr>
                <a:defRPr lang="en-US"/>
              </a:defPPr>
              <a:lvl1pPr>
                <a:defRPr sz="900">
                  <a:solidFill>
                    <a:schemeClr val="bg1">
                      <a:lumMod val="65000"/>
                    </a:schemeClr>
                  </a:solidFill>
                </a:defRPr>
              </a:lvl1pPr>
            </a:lstStyle>
            <a:p>
              <a:pPr algn="ctr" defTabSz="457178"/>
              <a:r>
                <a:rPr lang="en-US" sz="1200" b="1" dirty="0">
                  <a:solidFill>
                    <a:prstClr val="white">
                      <a:lumMod val="50000"/>
                    </a:prstClr>
                  </a:solidFill>
                  <a:latin typeface="Helvetica 45 Light"/>
                  <a:cs typeface="Helvetica 45 Light"/>
                </a:rPr>
                <a:t>REGULAR REFLECTION &amp; ADAPTATION</a:t>
              </a:r>
            </a:p>
          </p:txBody>
        </p:sp>
        <p:sp>
          <p:nvSpPr>
            <p:cNvPr id="37" name="TextBox 36"/>
            <p:cNvSpPr txBox="1"/>
            <p:nvPr/>
          </p:nvSpPr>
          <p:spPr>
            <a:xfrm>
              <a:off x="9664454" y="1981023"/>
              <a:ext cx="1262708" cy="286608"/>
            </a:xfrm>
            <a:prstGeom prst="rect">
              <a:avLst/>
            </a:prstGeom>
            <a:noFill/>
          </p:spPr>
          <p:txBody>
            <a:bodyPr wrap="square" rtlCol="0">
              <a:spAutoFit/>
            </a:bodyPr>
            <a:lstStyle>
              <a:defPPr>
                <a:defRPr lang="en-US"/>
              </a:defPPr>
              <a:lvl1pPr>
                <a:defRPr sz="900">
                  <a:solidFill>
                    <a:schemeClr val="bg1">
                      <a:lumMod val="65000"/>
                    </a:schemeClr>
                  </a:solidFill>
                </a:defRPr>
              </a:lvl1pPr>
            </a:lstStyle>
            <a:p>
              <a:pPr algn="ctr" defTabSz="457178"/>
              <a:r>
                <a:rPr lang="en-US" sz="1200" b="1" dirty="0">
                  <a:solidFill>
                    <a:prstClr val="black">
                      <a:lumMod val="65000"/>
                      <a:lumOff val="35000"/>
                    </a:prstClr>
                  </a:solidFill>
                  <a:latin typeface="Helvetica 45 Light"/>
                  <a:cs typeface="Helvetica 45 Light"/>
                </a:rPr>
                <a:t>REFINE</a:t>
              </a:r>
            </a:p>
          </p:txBody>
        </p:sp>
        <p:sp>
          <p:nvSpPr>
            <p:cNvPr id="38" name="TextBox 37"/>
            <p:cNvSpPr txBox="1"/>
            <p:nvPr/>
          </p:nvSpPr>
          <p:spPr>
            <a:xfrm>
              <a:off x="10059424" y="2972700"/>
              <a:ext cx="718117" cy="286608"/>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algn="ctr" defTabSz="457178"/>
              <a:r>
                <a:rPr lang="en-US" sz="1200" b="1" dirty="0">
                  <a:solidFill>
                    <a:prstClr val="black">
                      <a:lumMod val="65000"/>
                      <a:lumOff val="35000"/>
                    </a:prstClr>
                  </a:solidFill>
                  <a:latin typeface="Helvetica 45 Light"/>
                  <a:cs typeface="Helvetica 45 Light"/>
                </a:rPr>
                <a:t>MVP</a:t>
              </a:r>
            </a:p>
          </p:txBody>
        </p:sp>
        <p:grpSp>
          <p:nvGrpSpPr>
            <p:cNvPr id="39" name="Group 38"/>
            <p:cNvGrpSpPr/>
            <p:nvPr/>
          </p:nvGrpSpPr>
          <p:grpSpPr>
            <a:xfrm rot="10800000">
              <a:off x="9991760" y="4703158"/>
              <a:ext cx="825991" cy="621620"/>
              <a:chOff x="1251108" y="1309832"/>
              <a:chExt cx="1355370" cy="652970"/>
            </a:xfrm>
          </p:grpSpPr>
          <p:sp>
            <p:nvSpPr>
              <p:cNvPr id="63" name="Rectangle 62"/>
              <p:cNvSpPr/>
              <p:nvPr/>
            </p:nvSpPr>
            <p:spPr>
              <a:xfrm>
                <a:off x="1251110" y="1309832"/>
                <a:ext cx="1355368" cy="36670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4" name="Isosceles Triangle 63"/>
              <p:cNvSpPr/>
              <p:nvPr/>
            </p:nvSpPr>
            <p:spPr>
              <a:xfrm flipV="1">
                <a:off x="1251108" y="1669287"/>
                <a:ext cx="1355368" cy="29351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grpSp>
        <p:cxnSp>
          <p:nvCxnSpPr>
            <p:cNvPr id="40" name="Straight Connector 39"/>
            <p:cNvCxnSpPr/>
            <p:nvPr/>
          </p:nvCxnSpPr>
          <p:spPr>
            <a:xfrm flipV="1">
              <a:off x="10417528" y="3361320"/>
              <a:ext cx="0" cy="1337162"/>
            </a:xfrm>
            <a:prstGeom prst="line">
              <a:avLst/>
            </a:prstGeom>
            <a:ln w="9525" cmpd="sng">
              <a:solidFill>
                <a:srgbClr val="7F7F7F"/>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9953817" y="4811580"/>
              <a:ext cx="940034" cy="573216"/>
            </a:xfrm>
            <a:prstGeom prst="rect">
              <a:avLst/>
            </a:prstGeom>
            <a:noFill/>
          </p:spPr>
          <p:txBody>
            <a:bodyPr wrap="square" rtlCol="0">
              <a:spAutoFit/>
            </a:bodyPr>
            <a:lstStyle>
              <a:defPPr>
                <a:defRPr lang="en-US"/>
              </a:defPPr>
              <a:lvl1pPr>
                <a:defRPr sz="1000">
                  <a:solidFill>
                    <a:schemeClr val="tx1">
                      <a:lumMod val="50000"/>
                      <a:lumOff val="50000"/>
                    </a:schemeClr>
                  </a:solidFill>
                </a:defRPr>
              </a:lvl1pPr>
            </a:lstStyle>
            <a:p>
              <a:pPr algn="ctr" defTabSz="457178"/>
              <a:r>
                <a:rPr lang="en-US" dirty="0">
                  <a:solidFill>
                    <a:prstClr val="black">
                      <a:lumMod val="65000"/>
                      <a:lumOff val="35000"/>
                    </a:prstClr>
                  </a:solidFill>
                  <a:latin typeface="+mj-lt"/>
                </a:rPr>
                <a:t>SCALE PRODUCT DEFINITION</a:t>
              </a:r>
            </a:p>
          </p:txBody>
        </p:sp>
        <p:grpSp>
          <p:nvGrpSpPr>
            <p:cNvPr id="42" name="Group 41"/>
            <p:cNvGrpSpPr/>
            <p:nvPr/>
          </p:nvGrpSpPr>
          <p:grpSpPr>
            <a:xfrm>
              <a:off x="1037586" y="1846430"/>
              <a:ext cx="9452697" cy="1623265"/>
              <a:chOff x="716490" y="1493551"/>
              <a:chExt cx="7235965" cy="1403034"/>
            </a:xfrm>
          </p:grpSpPr>
          <p:sp>
            <p:nvSpPr>
              <p:cNvPr id="48" name="Isosceles Triangle 47"/>
              <p:cNvSpPr/>
              <p:nvPr/>
            </p:nvSpPr>
            <p:spPr>
              <a:xfrm rot="10800000">
                <a:off x="716490" y="2371654"/>
                <a:ext cx="380533" cy="437395"/>
              </a:xfrm>
              <a:prstGeom prst="triangle">
                <a:avLst/>
              </a:prstGeom>
              <a:solidFill>
                <a:srgbClr val="DF3F62"/>
              </a:solidFill>
              <a:ln w="12700" cmpd="sng">
                <a:solidFill>
                  <a:srgbClr val="D74E6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49" name="Isosceles Triangle 48"/>
              <p:cNvSpPr/>
              <p:nvPr/>
            </p:nvSpPr>
            <p:spPr>
              <a:xfrm rot="10800000">
                <a:off x="3707445" y="2371654"/>
                <a:ext cx="380533" cy="437395"/>
              </a:xfrm>
              <a:prstGeom prst="triangle">
                <a:avLst/>
              </a:prstGeom>
              <a:solidFill>
                <a:srgbClr val="F7C43F"/>
              </a:solidFill>
              <a:ln w="12700" cmpd="sng">
                <a:solidFill>
                  <a:srgbClr val="F8C43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0" name="Isosceles Triangle 49"/>
              <p:cNvSpPr/>
              <p:nvPr/>
            </p:nvSpPr>
            <p:spPr>
              <a:xfrm rot="10800000">
                <a:off x="2515949" y="2383402"/>
                <a:ext cx="380533" cy="437395"/>
              </a:xfrm>
              <a:prstGeom prst="triangle">
                <a:avLst/>
              </a:prstGeom>
              <a:solidFill>
                <a:srgbClr val="F7C43F"/>
              </a:solidFill>
              <a:ln w="12700" cmpd="sng">
                <a:solidFill>
                  <a:srgbClr val="F8C43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1" name="Isosceles Triangle 50"/>
              <p:cNvSpPr/>
              <p:nvPr/>
            </p:nvSpPr>
            <p:spPr>
              <a:xfrm rot="10800000">
                <a:off x="5187737" y="2383402"/>
                <a:ext cx="380533" cy="437395"/>
              </a:xfrm>
              <a:prstGeom prst="triangle">
                <a:avLst/>
              </a:prstGeom>
              <a:solidFill>
                <a:srgbClr val="F7C43F"/>
              </a:solidFill>
              <a:ln w="12700" cmpd="sng">
                <a:solidFill>
                  <a:srgbClr val="F8C43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2" name="Isosceles Triangle 51"/>
              <p:cNvSpPr/>
              <p:nvPr/>
            </p:nvSpPr>
            <p:spPr>
              <a:xfrm rot="10800000">
                <a:off x="6002113" y="2383402"/>
                <a:ext cx="380533" cy="437395"/>
              </a:xfrm>
              <a:prstGeom prst="triangle">
                <a:avLst/>
              </a:prstGeom>
              <a:solidFill>
                <a:srgbClr val="F7C43F"/>
              </a:solidFill>
              <a:ln w="12700" cmpd="sng">
                <a:solidFill>
                  <a:srgbClr val="F8C43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3" name="Oval 52"/>
              <p:cNvSpPr/>
              <p:nvPr/>
            </p:nvSpPr>
            <p:spPr>
              <a:xfrm>
                <a:off x="1849224" y="2757593"/>
                <a:ext cx="104244" cy="138992"/>
              </a:xfrm>
              <a:prstGeom prst="ellipse">
                <a:avLst/>
              </a:prstGeom>
              <a:solidFill>
                <a:srgbClr val="DF3F62"/>
              </a:solidFill>
              <a:ln w="12700" cmpd="sng">
                <a:solidFill>
                  <a:srgbClr val="D74E6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4" name="Arc 53"/>
              <p:cNvSpPr/>
              <p:nvPr/>
            </p:nvSpPr>
            <p:spPr>
              <a:xfrm>
                <a:off x="4941583" y="1832294"/>
                <a:ext cx="796465" cy="969715"/>
              </a:xfrm>
              <a:prstGeom prst="arc">
                <a:avLst>
                  <a:gd name="adj1" fmla="val 5317953"/>
                  <a:gd name="adj2" fmla="val 2385538"/>
                </a:avLst>
              </a:prstGeom>
              <a:ln w="9525" cmpd="sng">
                <a:solidFill>
                  <a:srgbClr val="D74E6E"/>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178"/>
                <a:endParaRPr lang="en-US" dirty="0">
                  <a:solidFill>
                    <a:prstClr val="black"/>
                  </a:solidFill>
                  <a:latin typeface="Calibri"/>
                </a:endParaRPr>
              </a:p>
            </p:txBody>
          </p:sp>
          <p:sp>
            <p:nvSpPr>
              <p:cNvPr id="55" name="Isosceles Triangle 54"/>
              <p:cNvSpPr/>
              <p:nvPr/>
            </p:nvSpPr>
            <p:spPr>
              <a:xfrm rot="10800000">
                <a:off x="6940545" y="2371658"/>
                <a:ext cx="380533" cy="437395"/>
              </a:xfrm>
              <a:prstGeom prst="triangle">
                <a:avLst/>
              </a:prstGeom>
              <a:solidFill>
                <a:srgbClr val="50C79F"/>
              </a:solidFill>
              <a:ln w="12700" cmpd="sng">
                <a:solidFill>
                  <a:srgbClr val="50C79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6" name="Arc 55"/>
              <p:cNvSpPr/>
              <p:nvPr/>
            </p:nvSpPr>
            <p:spPr>
              <a:xfrm>
                <a:off x="6531709" y="1493551"/>
                <a:ext cx="1098709" cy="1327262"/>
              </a:xfrm>
              <a:prstGeom prst="arc">
                <a:avLst>
                  <a:gd name="adj1" fmla="val 5317953"/>
                  <a:gd name="adj2" fmla="val 2385538"/>
                </a:avLst>
              </a:prstGeom>
              <a:ln w="9525" cmpd="sng">
                <a:solidFill>
                  <a:srgbClr val="D74E6E"/>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178"/>
                <a:endParaRPr lang="en-US" dirty="0">
                  <a:solidFill>
                    <a:prstClr val="black"/>
                  </a:solidFill>
                  <a:latin typeface="Calibri"/>
                </a:endParaRPr>
              </a:p>
            </p:txBody>
          </p:sp>
          <p:sp>
            <p:nvSpPr>
              <p:cNvPr id="57" name="Oval 56"/>
              <p:cNvSpPr/>
              <p:nvPr/>
            </p:nvSpPr>
            <p:spPr>
              <a:xfrm>
                <a:off x="2655450" y="2459339"/>
                <a:ext cx="104244" cy="138992"/>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8" name="Oval 57"/>
              <p:cNvSpPr/>
              <p:nvPr/>
            </p:nvSpPr>
            <p:spPr>
              <a:xfrm>
                <a:off x="3845566" y="2459339"/>
                <a:ext cx="104244" cy="138992"/>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59" name="Oval 58"/>
              <p:cNvSpPr/>
              <p:nvPr/>
            </p:nvSpPr>
            <p:spPr>
              <a:xfrm>
                <a:off x="5321976" y="2459339"/>
                <a:ext cx="104244" cy="138992"/>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0" name="Oval 59"/>
              <p:cNvSpPr/>
              <p:nvPr/>
            </p:nvSpPr>
            <p:spPr>
              <a:xfrm>
                <a:off x="6141672" y="2459339"/>
                <a:ext cx="104244" cy="138992"/>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1" name="Oval 60"/>
              <p:cNvSpPr/>
              <p:nvPr/>
            </p:nvSpPr>
            <p:spPr>
              <a:xfrm>
                <a:off x="7077917" y="2459339"/>
                <a:ext cx="104244" cy="138992"/>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62" name="Oval 61"/>
              <p:cNvSpPr/>
              <p:nvPr/>
            </p:nvSpPr>
            <p:spPr>
              <a:xfrm>
                <a:off x="7848211" y="2757580"/>
                <a:ext cx="104244" cy="138992"/>
              </a:xfrm>
              <a:prstGeom prst="ellipse">
                <a:avLst/>
              </a:prstGeom>
              <a:solidFill>
                <a:srgbClr val="44B3E4"/>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grpSp>
        <p:sp>
          <p:nvSpPr>
            <p:cNvPr id="43" name="Oval 42"/>
            <p:cNvSpPr/>
            <p:nvPr/>
          </p:nvSpPr>
          <p:spPr>
            <a:xfrm>
              <a:off x="1216565" y="2931646"/>
              <a:ext cx="152228" cy="164810"/>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US" dirty="0">
                <a:solidFill>
                  <a:prstClr val="white"/>
                </a:solidFill>
                <a:latin typeface="Calibri"/>
              </a:endParaRPr>
            </a:p>
          </p:txBody>
        </p:sp>
        <p:sp>
          <p:nvSpPr>
            <p:cNvPr id="44" name="TextBox 43"/>
            <p:cNvSpPr txBox="1"/>
            <p:nvPr/>
          </p:nvSpPr>
          <p:spPr>
            <a:xfrm>
              <a:off x="378081" y="5707080"/>
              <a:ext cx="2279651" cy="668752"/>
            </a:xfrm>
            <a:prstGeom prst="rect">
              <a:avLst/>
            </a:prstGeom>
            <a:noFill/>
          </p:spPr>
          <p:txBody>
            <a:bodyPr wrap="square" rtlCol="0">
              <a:spAutoFit/>
            </a:bodyPr>
            <a:lstStyle/>
            <a:p>
              <a:pPr marL="231775" indent="-231775" fontAlgn="b">
                <a:buFont typeface="Wingdings" panose="05000000000000000000" pitchFamily="2" charset="2"/>
                <a:buChar char="ü"/>
                <a:tabLst>
                  <a:tab pos="407988" algn="l"/>
                </a:tabLst>
              </a:pPr>
              <a:r>
                <a:rPr lang="en-US" sz="1200" b="1" dirty="0">
                  <a:solidFill>
                    <a:schemeClr val="bg1"/>
                  </a:solidFill>
                  <a:latin typeface="Calibri" panose="020F0502020204030204" pitchFamily="34" charset="0"/>
                  <a:ea typeface="Segoe UI" panose="020B0502040204020203" pitchFamily="34" charset="0"/>
                  <a:cs typeface="Segoe UI" panose="020B0502040204020203" pitchFamily="34" charset="0"/>
                </a:rPr>
                <a:t>Problem Identification</a:t>
              </a:r>
            </a:p>
            <a:p>
              <a:pPr marL="231775" indent="-231775" fontAlgn="b">
                <a:buFont typeface="Wingdings" panose="05000000000000000000" pitchFamily="2" charset="2"/>
                <a:buChar char="ü"/>
                <a:tabLst>
                  <a:tab pos="407988" algn="l"/>
                </a:tabLst>
              </a:pPr>
              <a:r>
                <a:rPr lang="en-US" sz="1200" b="1" dirty="0">
                  <a:solidFill>
                    <a:schemeClr val="bg1"/>
                  </a:solidFill>
                  <a:latin typeface="Calibri" panose="020F0502020204030204" pitchFamily="34" charset="0"/>
                  <a:ea typeface="Segoe UI" panose="020B0502040204020203" pitchFamily="34" charset="0"/>
                  <a:cs typeface="Segoe UI" panose="020B0502040204020203" pitchFamily="34" charset="0"/>
                </a:rPr>
                <a:t>Profiling of Problems</a:t>
              </a:r>
            </a:p>
            <a:p>
              <a:pPr marL="231775" indent="-231775" fontAlgn="b">
                <a:buFont typeface="Wingdings" panose="05000000000000000000" pitchFamily="2" charset="2"/>
                <a:buChar char="ü"/>
                <a:tabLst>
                  <a:tab pos="407988" algn="l"/>
                </a:tabLst>
              </a:pPr>
              <a:r>
                <a:rPr lang="en-US" sz="1200" b="1" dirty="0">
                  <a:solidFill>
                    <a:schemeClr val="bg1"/>
                  </a:solidFill>
                  <a:latin typeface="Calibri" panose="020F0502020204030204" pitchFamily="34" charset="0"/>
                  <a:ea typeface="Segoe UI" panose="020B0502040204020203" pitchFamily="34" charset="0"/>
                  <a:cs typeface="Segoe UI" panose="020B0502040204020203" pitchFamily="34" charset="0"/>
                </a:rPr>
                <a:t>Shortlist &amp; Categorize</a:t>
              </a:r>
            </a:p>
          </p:txBody>
        </p:sp>
        <p:sp>
          <p:nvSpPr>
            <p:cNvPr id="45" name="TextBox 44"/>
            <p:cNvSpPr txBox="1"/>
            <p:nvPr/>
          </p:nvSpPr>
          <p:spPr>
            <a:xfrm>
              <a:off x="2738180" y="5721276"/>
              <a:ext cx="2527131" cy="461664"/>
            </a:xfrm>
            <a:prstGeom prst="rect">
              <a:avLst/>
            </a:prstGeom>
            <a:noFill/>
          </p:spPr>
          <p:txBody>
            <a:bodyPr wrap="square" rtlCol="0">
              <a:spAutoFit/>
            </a:bodyPr>
            <a:lstStyle/>
            <a:p>
              <a:pPr marL="231775" indent="-231775" fontAlgn="b">
                <a:buFont typeface="Wingdings" panose="05000000000000000000" pitchFamily="2" charset="2"/>
                <a:buChar char="ü"/>
                <a:tabLst>
                  <a:tab pos="407988" algn="l"/>
                </a:tabLst>
              </a:pPr>
              <a:r>
                <a:rPr lang="en-US" sz="12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Shortlisted Ideas for Implementation</a:t>
              </a:r>
              <a:endParaRPr lang="en-US" sz="1200" b="1"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sp>
          <p:nvSpPr>
            <p:cNvPr id="46" name="TextBox 45"/>
            <p:cNvSpPr txBox="1"/>
            <p:nvPr/>
          </p:nvSpPr>
          <p:spPr>
            <a:xfrm>
              <a:off x="6204471" y="5721378"/>
              <a:ext cx="2308892" cy="461664"/>
            </a:xfrm>
            <a:prstGeom prst="rect">
              <a:avLst/>
            </a:prstGeom>
            <a:noFill/>
          </p:spPr>
          <p:txBody>
            <a:bodyPr wrap="square" rtlCol="0">
              <a:spAutoFit/>
            </a:bodyPr>
            <a:lstStyle>
              <a:defPPr>
                <a:defRPr lang="en-US"/>
              </a:defPPr>
              <a:lvl1pPr marL="231775" indent="-231775" fontAlgn="b">
                <a:buFont typeface="Wingdings" panose="05000000000000000000" pitchFamily="2" charset="2"/>
                <a:buChar char="ü"/>
                <a:tabLst>
                  <a:tab pos="407988" algn="l"/>
                </a:tabLst>
                <a:defRPr sz="1200" b="1">
                  <a:solidFill>
                    <a:schemeClr val="bg1"/>
                  </a:solidFill>
                  <a:latin typeface="Calibri" panose="020F0502020204030204" pitchFamily="34" charset="0"/>
                  <a:ea typeface="Segoe UI" panose="020B0502040204020203" pitchFamily="34" charset="0"/>
                  <a:cs typeface="Segoe UI" panose="020B0502040204020203" pitchFamily="34" charset="0"/>
                </a:defRPr>
              </a:lvl1pPr>
            </a:lstStyle>
            <a:p>
              <a:r>
                <a:rPr lang="en-US" dirty="0"/>
                <a:t>Prototype/Implemented Ideas</a:t>
              </a:r>
            </a:p>
          </p:txBody>
        </p:sp>
        <p:sp>
          <p:nvSpPr>
            <p:cNvPr id="47" name="TextBox 46"/>
            <p:cNvSpPr txBox="1"/>
            <p:nvPr/>
          </p:nvSpPr>
          <p:spPr>
            <a:xfrm>
              <a:off x="9337736" y="5745247"/>
              <a:ext cx="2709119" cy="276999"/>
            </a:xfrm>
            <a:prstGeom prst="rect">
              <a:avLst/>
            </a:prstGeom>
            <a:noFill/>
          </p:spPr>
          <p:txBody>
            <a:bodyPr wrap="square" rtlCol="0">
              <a:spAutoFit/>
            </a:bodyPr>
            <a:lstStyle>
              <a:defPPr>
                <a:defRPr lang="en-US"/>
              </a:defPPr>
              <a:lvl1pPr marL="231775" indent="-231775" fontAlgn="b">
                <a:buFont typeface="Wingdings" panose="05000000000000000000" pitchFamily="2" charset="2"/>
                <a:buChar char="ü"/>
                <a:tabLst>
                  <a:tab pos="407988" algn="l"/>
                </a:tabLst>
                <a:defRPr sz="1200" b="1">
                  <a:solidFill>
                    <a:schemeClr val="bg1"/>
                  </a:solidFill>
                  <a:latin typeface="Calibri" panose="020F0502020204030204" pitchFamily="34" charset="0"/>
                  <a:ea typeface="Segoe UI" panose="020B0502040204020203" pitchFamily="34" charset="0"/>
                  <a:cs typeface="Segoe UI" panose="020B0502040204020203" pitchFamily="34" charset="0"/>
                </a:defRPr>
              </a:lvl1pPr>
            </a:lstStyle>
            <a:p>
              <a:r>
                <a:rPr lang="en-US" dirty="0"/>
                <a:t>MVP Ready/Scale</a:t>
              </a:r>
            </a:p>
          </p:txBody>
        </p:sp>
      </p:grpSp>
      <p:sp>
        <p:nvSpPr>
          <p:cNvPr id="69" name="TextBox 68"/>
          <p:cNvSpPr txBox="1"/>
          <p:nvPr/>
        </p:nvSpPr>
        <p:spPr>
          <a:xfrm>
            <a:off x="468611" y="5648698"/>
            <a:ext cx="11772666" cy="461665"/>
          </a:xfrm>
          <a:prstGeom prst="rect">
            <a:avLst/>
          </a:prstGeom>
          <a:noFill/>
        </p:spPr>
        <p:txBody>
          <a:bodyPr wrap="square" rtlCol="0">
            <a:spAutoFit/>
          </a:bodyPr>
          <a:lstStyle/>
          <a:p>
            <a:pPr algn="ctr"/>
            <a:r>
              <a:rPr lang="en-US" sz="2400" dirty="0" smtClean="0">
                <a:solidFill>
                  <a:schemeClr val="tx1">
                    <a:lumMod val="75000"/>
                    <a:lumOff val="25000"/>
                  </a:schemeClr>
                </a:solidFill>
              </a:rPr>
              <a:t>Outcomes</a:t>
            </a:r>
            <a:endParaRPr lang="en-US" sz="2400" dirty="0">
              <a:solidFill>
                <a:schemeClr val="tx1">
                  <a:lumMod val="75000"/>
                  <a:lumOff val="25000"/>
                </a:schemeClr>
              </a:solidFill>
            </a:endParaRPr>
          </a:p>
        </p:txBody>
      </p:sp>
    </p:spTree>
    <p:extLst>
      <p:ext uri="{BB962C8B-B14F-4D97-AF65-F5344CB8AC3E}">
        <p14:creationId xmlns:p14="http://schemas.microsoft.com/office/powerpoint/2010/main" val="13280213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dirty="0"/>
              <a:t>Business Value </a:t>
            </a:r>
            <a:r>
              <a:rPr lang="en-US" dirty="0" smtClean="0"/>
              <a:t>Management - Overview</a:t>
            </a:r>
            <a:endParaRPr lang="en-US" dirty="0"/>
          </a:p>
        </p:txBody>
      </p:sp>
      <p:sp>
        <p:nvSpPr>
          <p:cNvPr id="2" name="Slide Number Placeholder 1"/>
          <p:cNvSpPr>
            <a:spLocks noGrp="1"/>
          </p:cNvSpPr>
          <p:nvPr>
            <p:ph type="sldNum" sz="quarter" idx="4294967295"/>
          </p:nvPr>
        </p:nvSpPr>
        <p:spPr>
          <a:xfrm>
            <a:off x="9448800" y="6356350"/>
            <a:ext cx="2743200" cy="365125"/>
          </a:xfrm>
        </p:spPr>
        <p:txBody>
          <a:bodyPr/>
          <a:lstStyle/>
          <a:p>
            <a:pPr marL="0" marR="0" lvl="0" indent="0" algn="r" defTabSz="812405" rtl="0" eaLnBrk="1" fontAlgn="auto" latinLnBrk="0" hangingPunct="1">
              <a:lnSpc>
                <a:spcPct val="100000"/>
              </a:lnSpc>
              <a:spcBef>
                <a:spcPts val="0"/>
              </a:spcBef>
              <a:spcAft>
                <a:spcPts val="0"/>
              </a:spcAft>
              <a:buClrTx/>
              <a:buSzTx/>
              <a:buFontTx/>
              <a:buNone/>
              <a:tabLst/>
              <a:defRPr/>
            </a:pPr>
            <a:fld id="{B32AB80A-78BA-6B42-BA0D-B44ACF890F5A}"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812405"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ounded Rectangle 175">
            <a:extLst>
              <a:ext uri="{FF2B5EF4-FFF2-40B4-BE49-F238E27FC236}">
                <a16:creationId xmlns:a16="http://schemas.microsoft.com/office/drawing/2014/main" id="{0A0761F7-B3F9-43FB-92EF-05F470BA75DC}"/>
              </a:ext>
            </a:extLst>
          </p:cNvPr>
          <p:cNvSpPr/>
          <p:nvPr/>
        </p:nvSpPr>
        <p:spPr>
          <a:xfrm>
            <a:off x="1191987" y="4183302"/>
            <a:ext cx="1838269" cy="180038"/>
          </a:xfrm>
          <a:prstGeom prst="roundRect">
            <a:avLst>
              <a:gd name="adj" fmla="val 50000"/>
            </a:avLst>
          </a:prstGeom>
          <a:solidFill>
            <a:srgbClr val="64B6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ounded Rectangle 175">
            <a:extLst>
              <a:ext uri="{FF2B5EF4-FFF2-40B4-BE49-F238E27FC236}">
                <a16:creationId xmlns:a16="http://schemas.microsoft.com/office/drawing/2014/main" id="{B3203146-4936-4752-B031-24AEA4A00236}"/>
              </a:ext>
            </a:extLst>
          </p:cNvPr>
          <p:cNvSpPr/>
          <p:nvPr/>
        </p:nvSpPr>
        <p:spPr>
          <a:xfrm>
            <a:off x="3104368" y="4183302"/>
            <a:ext cx="2022096" cy="180038"/>
          </a:xfrm>
          <a:prstGeom prst="roundRect">
            <a:avLst>
              <a:gd name="adj" fmla="val 50000"/>
            </a:avLst>
          </a:prstGeom>
          <a:solidFill>
            <a:srgbClr val="59B38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ounded Rectangle 175">
            <a:extLst>
              <a:ext uri="{FF2B5EF4-FFF2-40B4-BE49-F238E27FC236}">
                <a16:creationId xmlns:a16="http://schemas.microsoft.com/office/drawing/2014/main" id="{1B9FBAFA-C560-4415-A2B7-09273177E67A}"/>
              </a:ext>
            </a:extLst>
          </p:cNvPr>
          <p:cNvSpPr/>
          <p:nvPr/>
        </p:nvSpPr>
        <p:spPr>
          <a:xfrm>
            <a:off x="5115434" y="4183302"/>
            <a:ext cx="2022096" cy="180038"/>
          </a:xfrm>
          <a:prstGeom prst="roundRect">
            <a:avLst>
              <a:gd name="adj" fmla="val 50000"/>
            </a:avLst>
          </a:prstGeom>
          <a:solidFill>
            <a:srgbClr val="5BBDA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ounded Rectangle 175">
            <a:extLst>
              <a:ext uri="{FF2B5EF4-FFF2-40B4-BE49-F238E27FC236}">
                <a16:creationId xmlns:a16="http://schemas.microsoft.com/office/drawing/2014/main" id="{B1796D55-DC3A-434A-8A9C-82098B5FD89E}"/>
              </a:ext>
            </a:extLst>
          </p:cNvPr>
          <p:cNvSpPr/>
          <p:nvPr/>
        </p:nvSpPr>
        <p:spPr>
          <a:xfrm>
            <a:off x="7043504" y="4183302"/>
            <a:ext cx="2022096" cy="180038"/>
          </a:xfrm>
          <a:prstGeom prst="roundRect">
            <a:avLst>
              <a:gd name="adj" fmla="val 50000"/>
            </a:avLst>
          </a:prstGeom>
          <a:solidFill>
            <a:srgbClr val="51C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ounded Rectangle 175">
            <a:extLst>
              <a:ext uri="{FF2B5EF4-FFF2-40B4-BE49-F238E27FC236}">
                <a16:creationId xmlns:a16="http://schemas.microsoft.com/office/drawing/2014/main" id="{3933B8B4-D8EC-4DA8-ABF8-805A71DA565B}"/>
              </a:ext>
            </a:extLst>
          </p:cNvPr>
          <p:cNvSpPr/>
          <p:nvPr/>
        </p:nvSpPr>
        <p:spPr>
          <a:xfrm>
            <a:off x="9170383" y="4183302"/>
            <a:ext cx="2022096" cy="180038"/>
          </a:xfrm>
          <a:prstGeom prst="roundRect">
            <a:avLst>
              <a:gd name="adj" fmla="val 50000"/>
            </a:avLst>
          </a:prstGeom>
          <a:solidFill>
            <a:srgbClr val="35B2C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B72EEF9A-A5D5-46C4-8CE5-6F171238810B}"/>
              </a:ext>
            </a:extLst>
          </p:cNvPr>
          <p:cNvSpPr/>
          <p:nvPr/>
        </p:nvSpPr>
        <p:spPr>
          <a:xfrm>
            <a:off x="2935460" y="4080542"/>
            <a:ext cx="394645" cy="394645"/>
          </a:xfrm>
          <a:prstGeom prst="ellipse">
            <a:avLst/>
          </a:prstGeom>
          <a:solidFill>
            <a:schemeClr val="bg1">
              <a:lumMod val="50000"/>
            </a:schemeClr>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F6636A64-1CB0-4785-9342-B5AB1E793B75}"/>
              </a:ext>
            </a:extLst>
          </p:cNvPr>
          <p:cNvSpPr/>
          <p:nvPr/>
        </p:nvSpPr>
        <p:spPr>
          <a:xfrm>
            <a:off x="4979622" y="4070126"/>
            <a:ext cx="394645" cy="394645"/>
          </a:xfrm>
          <a:prstGeom prst="ellipse">
            <a:avLst/>
          </a:prstGeom>
          <a:solidFill>
            <a:schemeClr val="bg1">
              <a:lumMod val="50000"/>
            </a:schemeClr>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53541254-0D0F-47E0-BA9F-AD6F9E762BB4}"/>
              </a:ext>
            </a:extLst>
          </p:cNvPr>
          <p:cNvSpPr/>
          <p:nvPr/>
        </p:nvSpPr>
        <p:spPr>
          <a:xfrm>
            <a:off x="6982271" y="4071618"/>
            <a:ext cx="394645" cy="394645"/>
          </a:xfrm>
          <a:prstGeom prst="ellipse">
            <a:avLst/>
          </a:prstGeom>
          <a:solidFill>
            <a:schemeClr val="bg1">
              <a:lumMod val="50000"/>
            </a:schemeClr>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F184D974-7941-4B30-9127-97DD10F186AD}"/>
              </a:ext>
            </a:extLst>
          </p:cNvPr>
          <p:cNvSpPr/>
          <p:nvPr/>
        </p:nvSpPr>
        <p:spPr>
          <a:xfrm>
            <a:off x="8942083" y="4049469"/>
            <a:ext cx="394645" cy="394645"/>
          </a:xfrm>
          <a:prstGeom prst="ellipse">
            <a:avLst/>
          </a:prstGeom>
          <a:solidFill>
            <a:schemeClr val="bg1">
              <a:lumMod val="50000"/>
            </a:schemeClr>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ounded Rectangle 58">
            <a:extLst>
              <a:ext uri="{FF2B5EF4-FFF2-40B4-BE49-F238E27FC236}">
                <a16:creationId xmlns:a16="http://schemas.microsoft.com/office/drawing/2014/main" id="{C84634E3-01FD-496F-8A04-2C6A4842F6B5}"/>
              </a:ext>
            </a:extLst>
          </p:cNvPr>
          <p:cNvSpPr/>
          <p:nvPr/>
        </p:nvSpPr>
        <p:spPr>
          <a:xfrm>
            <a:off x="1187116" y="978646"/>
            <a:ext cx="9994720" cy="1287013"/>
          </a:xfrm>
          <a:prstGeom prst="roundRect">
            <a:avLst>
              <a:gd name="adj" fmla="val 3543"/>
            </a:avLst>
          </a:prstGeom>
          <a:solidFill>
            <a:srgbClr val="F7F7F7"/>
          </a:solidFill>
          <a:ln w="9525">
            <a:gradFill flip="none" rotWithShape="1">
              <a:gsLst>
                <a:gs pos="0">
                  <a:srgbClr val="70AD47"/>
                </a:gs>
                <a:gs pos="100000">
                  <a:srgbClr val="1BA1F1"/>
                </a:gs>
              </a:gsLst>
              <a:lin ang="10800000" scaled="1"/>
            </a:gradFill>
          </a:ln>
        </p:spPr>
        <p:style>
          <a:lnRef idx="2">
            <a:schemeClr val="accent1">
              <a:shade val="50000"/>
            </a:schemeClr>
          </a:lnRef>
          <a:fillRef idx="1">
            <a:schemeClr val="accent1"/>
          </a:fillRef>
          <a:effectRef idx="0">
            <a:schemeClr val="accent1"/>
          </a:effectRef>
          <a:fontRef idx="minor">
            <a:schemeClr val="lt1"/>
          </a:fontRef>
        </p:style>
        <p:txBody>
          <a:bodyPr lIns="182880" tIns="0" rIns="18288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
              <a:ea typeface="+mn-ea"/>
              <a:cs typeface="+mn-cs"/>
            </a:endParaRPr>
          </a:p>
        </p:txBody>
      </p:sp>
      <p:sp>
        <p:nvSpPr>
          <p:cNvPr id="118" name="Rectangle 117">
            <a:hlinkClick r:id="" action="ppaction://noaction"/>
            <a:extLst>
              <a:ext uri="{FF2B5EF4-FFF2-40B4-BE49-F238E27FC236}">
                <a16:creationId xmlns:a16="http://schemas.microsoft.com/office/drawing/2014/main" id="{2986F600-FE98-4B8E-AFF2-50DF9F60A6CE}"/>
              </a:ext>
            </a:extLst>
          </p:cNvPr>
          <p:cNvSpPr/>
          <p:nvPr/>
        </p:nvSpPr>
        <p:spPr>
          <a:xfrm>
            <a:off x="1710715" y="1300262"/>
            <a:ext cx="138861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03864"/>
                </a:solidFill>
                <a:effectLst/>
                <a:uLnTx/>
                <a:uFillTx/>
                <a:latin typeface="Calibri" panose="020F0502020204030204" pitchFamily="34" charset="0"/>
                <a:ea typeface="+mn-ea"/>
                <a:cs typeface="+mn-cs"/>
              </a:rPr>
              <a:t>Business Consulting</a:t>
            </a:r>
          </a:p>
        </p:txBody>
      </p:sp>
      <p:grpSp>
        <p:nvGrpSpPr>
          <p:cNvPr id="6" name="Group 5"/>
          <p:cNvGrpSpPr/>
          <p:nvPr/>
        </p:nvGrpSpPr>
        <p:grpSpPr>
          <a:xfrm>
            <a:off x="3330105" y="1065421"/>
            <a:ext cx="2162490" cy="1092798"/>
            <a:chOff x="3330105" y="1065421"/>
            <a:chExt cx="2162490" cy="1092798"/>
          </a:xfrm>
        </p:grpSpPr>
        <p:grpSp>
          <p:nvGrpSpPr>
            <p:cNvPr id="5" name="Group 4"/>
            <p:cNvGrpSpPr/>
            <p:nvPr/>
          </p:nvGrpSpPr>
          <p:grpSpPr>
            <a:xfrm>
              <a:off x="3330105" y="1065421"/>
              <a:ext cx="2138734" cy="1092798"/>
              <a:chOff x="3330105" y="1065421"/>
              <a:chExt cx="2138734" cy="1092798"/>
            </a:xfrm>
          </p:grpSpPr>
          <p:sp>
            <p:nvSpPr>
              <p:cNvPr id="115" name="Rounded Rectangle 58">
                <a:extLst>
                  <a:ext uri="{FF2B5EF4-FFF2-40B4-BE49-F238E27FC236}">
                    <a16:creationId xmlns:a16="http://schemas.microsoft.com/office/drawing/2014/main" id="{3D8AE02A-754E-4AED-B76A-6D0BE26C9781}"/>
                  </a:ext>
                </a:extLst>
              </p:cNvPr>
              <p:cNvSpPr/>
              <p:nvPr/>
            </p:nvSpPr>
            <p:spPr>
              <a:xfrm>
                <a:off x="3330105" y="1065421"/>
                <a:ext cx="2134753" cy="1092798"/>
              </a:xfrm>
              <a:prstGeom prst="roundRect">
                <a:avLst>
                  <a:gd name="adj" fmla="val 0"/>
                </a:avLst>
              </a:prstGeom>
              <a:solidFill>
                <a:schemeClr val="bg1"/>
              </a:solidFill>
              <a:ln w="3175">
                <a:solidFill>
                  <a:srgbClr val="34B6DC"/>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16" name="Rectangle 115">
                <a:extLst>
                  <a:ext uri="{FF2B5EF4-FFF2-40B4-BE49-F238E27FC236}">
                    <a16:creationId xmlns:a16="http://schemas.microsoft.com/office/drawing/2014/main" id="{DEF76D1F-89A9-444A-86CF-7510BDD4DB4A}"/>
                  </a:ext>
                </a:extLst>
              </p:cNvPr>
              <p:cNvSpPr/>
              <p:nvPr/>
            </p:nvSpPr>
            <p:spPr>
              <a:xfrm>
                <a:off x="3344278" y="1090184"/>
                <a:ext cx="2124561" cy="3181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4B6DC"/>
                    </a:solidFill>
                    <a:effectLst/>
                    <a:uLnTx/>
                    <a:uFillTx/>
                    <a:latin typeface="Calibri" panose="020F0502020204030204" pitchFamily="34" charset="0"/>
                    <a:ea typeface="+mn-ea"/>
                    <a:cs typeface="+mn-cs"/>
                  </a:rPr>
                  <a:t>Industry &amp; Domain</a:t>
                </a:r>
              </a:p>
            </p:txBody>
          </p:sp>
        </p:grpSp>
        <p:sp>
          <p:nvSpPr>
            <p:cNvPr id="117" name="Rectangle 116">
              <a:extLst>
                <a:ext uri="{FF2B5EF4-FFF2-40B4-BE49-F238E27FC236}">
                  <a16:creationId xmlns:a16="http://schemas.microsoft.com/office/drawing/2014/main" id="{D1D7C185-9EF2-4989-8B78-CE1FA39B0AC3}"/>
                </a:ext>
              </a:extLst>
            </p:cNvPr>
            <p:cNvSpPr/>
            <p:nvPr/>
          </p:nvSpPr>
          <p:spPr>
            <a:xfrm>
              <a:off x="3365338" y="1462839"/>
              <a:ext cx="2127257" cy="646331"/>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mn-cs"/>
                </a:rPr>
                <a:t>Industry specific trends, issues, priorities</a:t>
              </a:r>
            </a:p>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mn-cs"/>
                </a:rPr>
                <a:t>Business Service Catalogs</a:t>
              </a:r>
            </a:p>
          </p:txBody>
        </p:sp>
        <p:cxnSp>
          <p:nvCxnSpPr>
            <p:cNvPr id="119" name="Straight Connector 118">
              <a:extLst>
                <a:ext uri="{FF2B5EF4-FFF2-40B4-BE49-F238E27FC236}">
                  <a16:creationId xmlns:a16="http://schemas.microsoft.com/office/drawing/2014/main" id="{9E88F306-7C30-4D05-88FD-18A279F31AB0}"/>
                </a:ext>
              </a:extLst>
            </p:cNvPr>
            <p:cNvCxnSpPr/>
            <p:nvPr/>
          </p:nvCxnSpPr>
          <p:spPr>
            <a:xfrm>
              <a:off x="3356235" y="1405019"/>
              <a:ext cx="2120318" cy="0"/>
            </a:xfrm>
            <a:prstGeom prst="line">
              <a:avLst/>
            </a:prstGeom>
            <a:ln w="6350">
              <a:solidFill>
                <a:srgbClr val="34B6DC"/>
              </a:solidFill>
            </a:ln>
            <a:effectLst/>
          </p:spPr>
          <p:style>
            <a:lnRef idx="2">
              <a:schemeClr val="accent1"/>
            </a:lnRef>
            <a:fillRef idx="0">
              <a:schemeClr val="accent1"/>
            </a:fillRef>
            <a:effectRef idx="1">
              <a:schemeClr val="accent1"/>
            </a:effectRef>
            <a:fontRef idx="minor">
              <a:schemeClr val="tx1"/>
            </a:fontRef>
          </p:style>
        </p:cxnSp>
      </p:grpSp>
      <p:sp>
        <p:nvSpPr>
          <p:cNvPr id="3" name="Oval 2"/>
          <p:cNvSpPr/>
          <p:nvPr/>
        </p:nvSpPr>
        <p:spPr>
          <a:xfrm>
            <a:off x="726241" y="1129775"/>
            <a:ext cx="920672" cy="920672"/>
          </a:xfrm>
          <a:prstGeom prst="ellipse">
            <a:avLst/>
          </a:prstGeom>
          <a:solidFill>
            <a:schemeClr val="bg1"/>
          </a:solidFill>
          <a:ln w="9525">
            <a:gradFill flip="none" rotWithShape="1">
              <a:gsLst>
                <a:gs pos="0">
                  <a:srgbClr val="70AD47"/>
                </a:gs>
                <a:gs pos="100000">
                  <a:srgbClr val="1BA1F1"/>
                </a:gs>
              </a:gsLst>
              <a:lin ang="10800000" scaled="1"/>
            </a:gradFill>
          </a:ln>
        </p:spPr>
        <p:style>
          <a:lnRef idx="2">
            <a:schemeClr val="accent1">
              <a:shade val="50000"/>
            </a:schemeClr>
          </a:lnRef>
          <a:fillRef idx="1">
            <a:schemeClr val="accent1"/>
          </a:fillRef>
          <a:effectRef idx="0">
            <a:schemeClr val="accent1"/>
          </a:effectRef>
          <a:fontRef idx="minor">
            <a:schemeClr val="lt1"/>
          </a:fontRef>
        </p:style>
        <p:txBody>
          <a:bodyPr lIns="182880" tIns="0" rIns="18288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
              <a:ea typeface="+mn-ea"/>
              <a:cs typeface="+mn-cs"/>
            </a:endParaRPr>
          </a:p>
        </p:txBody>
      </p:sp>
      <p:pic>
        <p:nvPicPr>
          <p:cNvPr id="122" name="Picture 2" descr="https://d30y9cdsu7xlg0.cloudfront.net/png/67367-200.png">
            <a:hlinkClick r:id="" action="ppaction://noaction"/>
          </p:cNvPr>
          <p:cNvPicPr>
            <a:picLocks noChangeAspect="1" noChangeArrowheads="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922858" y="1315481"/>
            <a:ext cx="527437" cy="527437"/>
          </a:xfrm>
          <a:prstGeom prst="rect">
            <a:avLst/>
          </a:prstGeom>
          <a:noFill/>
          <a:extLst>
            <a:ext uri="{909E8E84-426E-40DD-AFC4-6F175D3DCCD1}">
              <a14:hiddenFill xmlns:a14="http://schemas.microsoft.com/office/drawing/2010/main">
                <a:solidFill>
                  <a:srgbClr val="FFFFFF"/>
                </a:solidFill>
              </a14:hiddenFill>
            </a:ext>
          </a:extLst>
        </p:spPr>
      </p:pic>
      <p:grpSp>
        <p:nvGrpSpPr>
          <p:cNvPr id="133" name="Group 132"/>
          <p:cNvGrpSpPr/>
          <p:nvPr/>
        </p:nvGrpSpPr>
        <p:grpSpPr>
          <a:xfrm>
            <a:off x="5833943" y="1065421"/>
            <a:ext cx="2162490" cy="1092798"/>
            <a:chOff x="3330105" y="1065421"/>
            <a:chExt cx="2162490" cy="1092798"/>
          </a:xfrm>
        </p:grpSpPr>
        <p:grpSp>
          <p:nvGrpSpPr>
            <p:cNvPr id="134" name="Group 133"/>
            <p:cNvGrpSpPr/>
            <p:nvPr/>
          </p:nvGrpSpPr>
          <p:grpSpPr>
            <a:xfrm>
              <a:off x="3330105" y="1065421"/>
              <a:ext cx="2138734" cy="1092798"/>
              <a:chOff x="3330105" y="1065421"/>
              <a:chExt cx="2138734" cy="1092798"/>
            </a:xfrm>
          </p:grpSpPr>
          <p:sp>
            <p:nvSpPr>
              <p:cNvPr id="137" name="Rounded Rectangle 58">
                <a:extLst>
                  <a:ext uri="{FF2B5EF4-FFF2-40B4-BE49-F238E27FC236}">
                    <a16:creationId xmlns:a16="http://schemas.microsoft.com/office/drawing/2014/main" id="{3D8AE02A-754E-4AED-B76A-6D0BE26C9781}"/>
                  </a:ext>
                </a:extLst>
              </p:cNvPr>
              <p:cNvSpPr/>
              <p:nvPr/>
            </p:nvSpPr>
            <p:spPr>
              <a:xfrm>
                <a:off x="3330105" y="1065421"/>
                <a:ext cx="2134753" cy="1092798"/>
              </a:xfrm>
              <a:prstGeom prst="roundRect">
                <a:avLst>
                  <a:gd name="adj" fmla="val 0"/>
                </a:avLst>
              </a:prstGeom>
              <a:solidFill>
                <a:schemeClr val="bg1"/>
              </a:solidFill>
              <a:ln w="3175">
                <a:solidFill>
                  <a:srgbClr val="48BB8E"/>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38" name="Rectangle 137">
                <a:extLst>
                  <a:ext uri="{FF2B5EF4-FFF2-40B4-BE49-F238E27FC236}">
                    <a16:creationId xmlns:a16="http://schemas.microsoft.com/office/drawing/2014/main" id="{DEF76D1F-89A9-444A-86CF-7510BDD4DB4A}"/>
                  </a:ext>
                </a:extLst>
              </p:cNvPr>
              <p:cNvSpPr/>
              <p:nvPr/>
            </p:nvSpPr>
            <p:spPr>
              <a:xfrm>
                <a:off x="3344278" y="1090184"/>
                <a:ext cx="2124561" cy="3181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89873"/>
                    </a:solidFill>
                    <a:effectLst/>
                    <a:uLnTx/>
                    <a:uFillTx/>
                    <a:latin typeface="Calibri" panose="020F0502020204030204" pitchFamily="34" charset="0"/>
                    <a:ea typeface="+mn-ea"/>
                    <a:cs typeface="+mn-cs"/>
                  </a:rPr>
                  <a:t>Outcomes &amp; Measures</a:t>
                </a:r>
              </a:p>
            </p:txBody>
          </p:sp>
        </p:grpSp>
        <p:sp>
          <p:nvSpPr>
            <p:cNvPr id="135" name="Rectangle 134">
              <a:extLst>
                <a:ext uri="{FF2B5EF4-FFF2-40B4-BE49-F238E27FC236}">
                  <a16:creationId xmlns:a16="http://schemas.microsoft.com/office/drawing/2014/main" id="{D1D7C185-9EF2-4989-8B78-CE1FA39B0AC3}"/>
                </a:ext>
              </a:extLst>
            </p:cNvPr>
            <p:cNvSpPr/>
            <p:nvPr/>
          </p:nvSpPr>
          <p:spPr>
            <a:xfrm>
              <a:off x="3365338" y="1462839"/>
              <a:ext cx="2127257" cy="646331"/>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mn-cs"/>
                </a:rPr>
                <a:t>Business Outcomes &amp; KPIs</a:t>
              </a:r>
            </a:p>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mn-cs"/>
                </a:rPr>
                <a:t>Industry Avg. &amp; Best-in-class benchmarks</a:t>
              </a:r>
            </a:p>
          </p:txBody>
        </p:sp>
        <p:cxnSp>
          <p:nvCxnSpPr>
            <p:cNvPr id="136" name="Straight Connector 135">
              <a:extLst>
                <a:ext uri="{FF2B5EF4-FFF2-40B4-BE49-F238E27FC236}">
                  <a16:creationId xmlns:a16="http://schemas.microsoft.com/office/drawing/2014/main" id="{9E88F306-7C30-4D05-88FD-18A279F31AB0}"/>
                </a:ext>
              </a:extLst>
            </p:cNvPr>
            <p:cNvCxnSpPr/>
            <p:nvPr/>
          </p:nvCxnSpPr>
          <p:spPr>
            <a:xfrm>
              <a:off x="3356235" y="1405019"/>
              <a:ext cx="2120318" cy="0"/>
            </a:xfrm>
            <a:prstGeom prst="line">
              <a:avLst/>
            </a:prstGeom>
            <a:ln w="6350">
              <a:solidFill>
                <a:srgbClr val="48BB8E"/>
              </a:solidFill>
            </a:ln>
            <a:effectLst/>
          </p:spPr>
          <p:style>
            <a:lnRef idx="2">
              <a:schemeClr val="accent1"/>
            </a:lnRef>
            <a:fillRef idx="0">
              <a:schemeClr val="accent1"/>
            </a:fillRef>
            <a:effectRef idx="1">
              <a:schemeClr val="accent1"/>
            </a:effectRef>
            <a:fontRef idx="minor">
              <a:schemeClr val="tx1"/>
            </a:fontRef>
          </p:style>
        </p:cxnSp>
      </p:grpSp>
      <p:grpSp>
        <p:nvGrpSpPr>
          <p:cNvPr id="139" name="Group 138"/>
          <p:cNvGrpSpPr/>
          <p:nvPr/>
        </p:nvGrpSpPr>
        <p:grpSpPr>
          <a:xfrm>
            <a:off x="8332164" y="1065421"/>
            <a:ext cx="2162490" cy="1092798"/>
            <a:chOff x="3330105" y="1065421"/>
            <a:chExt cx="2162490" cy="1092798"/>
          </a:xfrm>
        </p:grpSpPr>
        <p:grpSp>
          <p:nvGrpSpPr>
            <p:cNvPr id="140" name="Group 139"/>
            <p:cNvGrpSpPr/>
            <p:nvPr/>
          </p:nvGrpSpPr>
          <p:grpSpPr>
            <a:xfrm>
              <a:off x="3330105" y="1065421"/>
              <a:ext cx="2138734" cy="1092798"/>
              <a:chOff x="3330105" y="1065421"/>
              <a:chExt cx="2138734" cy="1092798"/>
            </a:xfrm>
          </p:grpSpPr>
          <p:sp>
            <p:nvSpPr>
              <p:cNvPr id="143" name="Rounded Rectangle 58">
                <a:extLst>
                  <a:ext uri="{FF2B5EF4-FFF2-40B4-BE49-F238E27FC236}">
                    <a16:creationId xmlns:a16="http://schemas.microsoft.com/office/drawing/2014/main" id="{3D8AE02A-754E-4AED-B76A-6D0BE26C9781}"/>
                  </a:ext>
                </a:extLst>
              </p:cNvPr>
              <p:cNvSpPr/>
              <p:nvPr/>
            </p:nvSpPr>
            <p:spPr>
              <a:xfrm>
                <a:off x="3330105" y="1065421"/>
                <a:ext cx="2134753" cy="1092798"/>
              </a:xfrm>
              <a:prstGeom prst="roundRect">
                <a:avLst>
                  <a:gd name="adj" fmla="val 0"/>
                </a:avLst>
              </a:prstGeom>
              <a:solidFill>
                <a:schemeClr val="bg1"/>
              </a:solidFill>
              <a:ln w="3175">
                <a:solidFill>
                  <a:srgbClr val="02AB4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44" name="Rectangle 143">
                <a:extLst>
                  <a:ext uri="{FF2B5EF4-FFF2-40B4-BE49-F238E27FC236}">
                    <a16:creationId xmlns:a16="http://schemas.microsoft.com/office/drawing/2014/main" id="{DEF76D1F-89A9-444A-86CF-7510BDD4DB4A}"/>
                  </a:ext>
                </a:extLst>
              </p:cNvPr>
              <p:cNvSpPr/>
              <p:nvPr/>
            </p:nvSpPr>
            <p:spPr>
              <a:xfrm>
                <a:off x="3344278" y="1090184"/>
                <a:ext cx="2124561" cy="3181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2AB4D"/>
                    </a:solidFill>
                    <a:effectLst/>
                    <a:uLnTx/>
                    <a:uFillTx/>
                    <a:latin typeface="Calibri" panose="020F0502020204030204" pitchFamily="34" charset="0"/>
                    <a:ea typeface="+mn-ea"/>
                    <a:cs typeface="+mn-cs"/>
                  </a:rPr>
                  <a:t>Industry &amp; Domain</a:t>
                </a:r>
              </a:p>
            </p:txBody>
          </p:sp>
        </p:grpSp>
        <p:sp>
          <p:nvSpPr>
            <p:cNvPr id="141" name="Rectangle 140">
              <a:extLst>
                <a:ext uri="{FF2B5EF4-FFF2-40B4-BE49-F238E27FC236}">
                  <a16:creationId xmlns:a16="http://schemas.microsoft.com/office/drawing/2014/main" id="{D1D7C185-9EF2-4989-8B78-CE1FA39B0AC3}"/>
                </a:ext>
              </a:extLst>
            </p:cNvPr>
            <p:cNvSpPr/>
            <p:nvPr/>
          </p:nvSpPr>
          <p:spPr>
            <a:xfrm>
              <a:off x="3365338" y="1462839"/>
              <a:ext cx="2127257" cy="646331"/>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mn-cs"/>
                </a:rPr>
                <a:t>Comparative study of business processes against industry blueprints</a:t>
              </a:r>
            </a:p>
          </p:txBody>
        </p:sp>
        <p:cxnSp>
          <p:nvCxnSpPr>
            <p:cNvPr id="142" name="Straight Connector 141">
              <a:extLst>
                <a:ext uri="{FF2B5EF4-FFF2-40B4-BE49-F238E27FC236}">
                  <a16:creationId xmlns:a16="http://schemas.microsoft.com/office/drawing/2014/main" id="{9E88F306-7C30-4D05-88FD-18A279F31AB0}"/>
                </a:ext>
              </a:extLst>
            </p:cNvPr>
            <p:cNvCxnSpPr/>
            <p:nvPr/>
          </p:nvCxnSpPr>
          <p:spPr>
            <a:xfrm>
              <a:off x="3340193" y="1405019"/>
              <a:ext cx="2120318" cy="0"/>
            </a:xfrm>
            <a:prstGeom prst="line">
              <a:avLst/>
            </a:prstGeom>
            <a:ln w="6350">
              <a:solidFill>
                <a:srgbClr val="02AB4D"/>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p:cNvGrpSpPr/>
          <p:nvPr/>
        </p:nvGrpSpPr>
        <p:grpSpPr>
          <a:xfrm>
            <a:off x="1187116" y="2403281"/>
            <a:ext cx="1912209" cy="1411811"/>
            <a:chOff x="1187116" y="2403281"/>
            <a:chExt cx="1912209" cy="1411811"/>
          </a:xfrm>
        </p:grpSpPr>
        <p:sp>
          <p:nvSpPr>
            <p:cNvPr id="7" name="Rounded Rectangle 6"/>
            <p:cNvSpPr/>
            <p:nvPr/>
          </p:nvSpPr>
          <p:spPr>
            <a:xfrm>
              <a:off x="1187116" y="2826193"/>
              <a:ext cx="1912209" cy="988899"/>
            </a:xfrm>
            <a:prstGeom prst="roundRect">
              <a:avLst>
                <a:gd name="adj" fmla="val 4902"/>
              </a:avLst>
            </a:prstGeom>
            <a:solidFill>
              <a:srgbClr val="64B64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t>Initi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t> Onboarding</a:t>
              </a:r>
              <a:endPar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Oval 7"/>
            <p:cNvSpPr/>
            <p:nvPr/>
          </p:nvSpPr>
          <p:spPr>
            <a:xfrm>
              <a:off x="1735745" y="2403281"/>
              <a:ext cx="839587" cy="839587"/>
            </a:xfrm>
            <a:prstGeom prst="ellipse">
              <a:avLst/>
            </a:prstGeom>
            <a:solidFill>
              <a:schemeClr val="bg1"/>
            </a:solidFill>
            <a:ln>
              <a:solidFill>
                <a:srgbClr val="64B6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9" name="Group 208"/>
          <p:cNvGrpSpPr/>
          <p:nvPr/>
        </p:nvGrpSpPr>
        <p:grpSpPr>
          <a:xfrm>
            <a:off x="3210213" y="2403281"/>
            <a:ext cx="1912209" cy="1411811"/>
            <a:chOff x="1187116" y="2403281"/>
            <a:chExt cx="1912209" cy="1411811"/>
          </a:xfrm>
        </p:grpSpPr>
        <p:sp>
          <p:nvSpPr>
            <p:cNvPr id="210" name="Rounded Rectangle 209"/>
            <p:cNvSpPr/>
            <p:nvPr/>
          </p:nvSpPr>
          <p:spPr>
            <a:xfrm>
              <a:off x="1187116" y="2826193"/>
              <a:ext cx="1912209" cy="988899"/>
            </a:xfrm>
            <a:prstGeom prst="roundRect">
              <a:avLst>
                <a:gd name="adj" fmla="val 4902"/>
              </a:avLst>
            </a:prstGeom>
            <a:solidFill>
              <a:srgbClr val="59B38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Service </a:t>
              </a:r>
              <a:endPar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t>Tree </a:t>
              </a: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Mapping</a:t>
              </a:r>
            </a:p>
          </p:txBody>
        </p:sp>
        <p:sp>
          <p:nvSpPr>
            <p:cNvPr id="211" name="Oval 210"/>
            <p:cNvSpPr/>
            <p:nvPr/>
          </p:nvSpPr>
          <p:spPr>
            <a:xfrm>
              <a:off x="1735745" y="2403281"/>
              <a:ext cx="839587" cy="839587"/>
            </a:xfrm>
            <a:prstGeom prst="ellipse">
              <a:avLst/>
            </a:prstGeom>
            <a:solidFill>
              <a:schemeClr val="bg1"/>
            </a:solidFill>
            <a:ln>
              <a:solidFill>
                <a:srgbClr val="59B3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2" name="Group 211"/>
          <p:cNvGrpSpPr/>
          <p:nvPr/>
        </p:nvGrpSpPr>
        <p:grpSpPr>
          <a:xfrm>
            <a:off x="5233310" y="2403281"/>
            <a:ext cx="1912209" cy="1411811"/>
            <a:chOff x="1187116" y="2403281"/>
            <a:chExt cx="1912209" cy="1411811"/>
          </a:xfrm>
        </p:grpSpPr>
        <p:sp>
          <p:nvSpPr>
            <p:cNvPr id="213" name="Rounded Rectangle 212"/>
            <p:cNvSpPr/>
            <p:nvPr/>
          </p:nvSpPr>
          <p:spPr>
            <a:xfrm>
              <a:off x="1187116" y="2826193"/>
              <a:ext cx="1912209" cy="988899"/>
            </a:xfrm>
            <a:prstGeom prst="roundRect">
              <a:avLst>
                <a:gd name="adj" fmla="val 4902"/>
              </a:avLst>
            </a:prstGeom>
            <a:solidFill>
              <a:srgbClr val="5BBD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Digital Footprint Diagnostics</a:t>
              </a:r>
            </a:p>
          </p:txBody>
        </p:sp>
        <p:sp>
          <p:nvSpPr>
            <p:cNvPr id="214" name="Oval 213"/>
            <p:cNvSpPr/>
            <p:nvPr/>
          </p:nvSpPr>
          <p:spPr>
            <a:xfrm>
              <a:off x="1735745" y="2403281"/>
              <a:ext cx="839587" cy="839587"/>
            </a:xfrm>
            <a:prstGeom prst="ellipse">
              <a:avLst/>
            </a:prstGeom>
            <a:solidFill>
              <a:schemeClr val="bg1"/>
            </a:solidFill>
            <a:ln>
              <a:solidFill>
                <a:srgbClr val="5BBD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5" name="Group 214"/>
          <p:cNvGrpSpPr/>
          <p:nvPr/>
        </p:nvGrpSpPr>
        <p:grpSpPr>
          <a:xfrm>
            <a:off x="7256407" y="2403281"/>
            <a:ext cx="1912209" cy="1411811"/>
            <a:chOff x="1187116" y="2403281"/>
            <a:chExt cx="1912209" cy="1411811"/>
          </a:xfrm>
        </p:grpSpPr>
        <p:sp>
          <p:nvSpPr>
            <p:cNvPr id="216" name="Rounded Rectangle 215"/>
            <p:cNvSpPr/>
            <p:nvPr/>
          </p:nvSpPr>
          <p:spPr>
            <a:xfrm>
              <a:off x="1187116" y="2826193"/>
              <a:ext cx="1912209" cy="988899"/>
            </a:xfrm>
            <a:prstGeom prst="roundRect">
              <a:avLst>
                <a:gd name="adj" fmla="val 4902"/>
              </a:avLst>
            </a:prstGeom>
            <a:solidFill>
              <a:srgbClr val="51C0C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Transformation </a:t>
              </a:r>
              <a:endPar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prstClr val="white"/>
                  </a:solidFill>
                  <a:effectLst/>
                  <a:uLnTx/>
                  <a:uFillTx/>
                  <a:latin typeface="Calibri" panose="020F0502020204030204" pitchFamily="34" charset="0"/>
                  <a:ea typeface="+mn-ea"/>
                  <a:cs typeface="+mn-cs"/>
                </a:rPr>
                <a:t>Road </a:t>
              </a: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Map</a:t>
              </a:r>
            </a:p>
          </p:txBody>
        </p:sp>
        <p:sp>
          <p:nvSpPr>
            <p:cNvPr id="217" name="Oval 216"/>
            <p:cNvSpPr/>
            <p:nvPr/>
          </p:nvSpPr>
          <p:spPr>
            <a:xfrm>
              <a:off x="1735745" y="2403281"/>
              <a:ext cx="839587" cy="839587"/>
            </a:xfrm>
            <a:prstGeom prst="ellipse">
              <a:avLst/>
            </a:prstGeom>
            <a:solidFill>
              <a:schemeClr val="bg1"/>
            </a:solidFill>
            <a:ln>
              <a:solidFill>
                <a:srgbClr val="51C0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8" name="Group 217"/>
          <p:cNvGrpSpPr/>
          <p:nvPr/>
        </p:nvGrpSpPr>
        <p:grpSpPr>
          <a:xfrm>
            <a:off x="9279503" y="2403281"/>
            <a:ext cx="1912209" cy="1411811"/>
            <a:chOff x="1187116" y="2403281"/>
            <a:chExt cx="1912209" cy="1411811"/>
          </a:xfrm>
        </p:grpSpPr>
        <p:sp>
          <p:nvSpPr>
            <p:cNvPr id="219" name="Rounded Rectangle 218"/>
            <p:cNvSpPr/>
            <p:nvPr/>
          </p:nvSpPr>
          <p:spPr>
            <a:xfrm>
              <a:off x="1187116" y="2826193"/>
              <a:ext cx="1912209" cy="988899"/>
            </a:xfrm>
            <a:prstGeom prst="roundRect">
              <a:avLst>
                <a:gd name="adj" fmla="val 4902"/>
              </a:avLst>
            </a:prstGeom>
            <a:solidFill>
              <a:srgbClr val="35B2C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Business Outcome Delivery</a:t>
              </a:r>
            </a:p>
          </p:txBody>
        </p:sp>
        <p:sp>
          <p:nvSpPr>
            <p:cNvPr id="220" name="Oval 219"/>
            <p:cNvSpPr/>
            <p:nvPr/>
          </p:nvSpPr>
          <p:spPr>
            <a:xfrm>
              <a:off x="1735745" y="2403281"/>
              <a:ext cx="839587" cy="839587"/>
            </a:xfrm>
            <a:prstGeom prst="ellipse">
              <a:avLst/>
            </a:prstGeom>
            <a:solidFill>
              <a:schemeClr val="bg1"/>
            </a:solidFill>
            <a:ln>
              <a:solidFill>
                <a:srgbClr val="35B2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1" name="Download Icon">
            <a:hlinkClick r:id="" action="ppaction://noaction"/>
            <a:extLst>
              <a:ext uri="{FF2B5EF4-FFF2-40B4-BE49-F238E27FC236}">
                <a16:creationId xmlns:a16="http://schemas.microsoft.com/office/drawing/2014/main" id="{172170BC-E07E-4F82-A66A-2D9B61722B67}"/>
              </a:ext>
            </a:extLst>
          </p:cNvPr>
          <p:cNvSpPr>
            <a:spLocks noChangeAspect="1" noEditPoints="1"/>
          </p:cNvSpPr>
          <p:nvPr/>
        </p:nvSpPr>
        <p:spPr bwMode="auto">
          <a:xfrm rot="16200000">
            <a:off x="1913275" y="2583296"/>
            <a:ext cx="491975" cy="494904"/>
          </a:xfrm>
          <a:custGeom>
            <a:avLst/>
            <a:gdLst>
              <a:gd name="T0" fmla="*/ 901 w 1236"/>
              <a:gd name="T1" fmla="*/ 644 h 1237"/>
              <a:gd name="T2" fmla="*/ 893 w 1236"/>
              <a:gd name="T3" fmla="*/ 664 h 1237"/>
              <a:gd name="T4" fmla="*/ 636 w 1236"/>
              <a:gd name="T5" fmla="*/ 921 h 1237"/>
              <a:gd name="T6" fmla="*/ 618 w 1236"/>
              <a:gd name="T7" fmla="*/ 928 h 1237"/>
              <a:gd name="T8" fmla="*/ 599 w 1236"/>
              <a:gd name="T9" fmla="*/ 921 h 1237"/>
              <a:gd name="T10" fmla="*/ 342 w 1236"/>
              <a:gd name="T11" fmla="*/ 663 h 1237"/>
              <a:gd name="T12" fmla="*/ 334 w 1236"/>
              <a:gd name="T13" fmla="*/ 644 h 1237"/>
              <a:gd name="T14" fmla="*/ 342 w 1236"/>
              <a:gd name="T15" fmla="*/ 626 h 1237"/>
              <a:gd name="T16" fmla="*/ 360 w 1236"/>
              <a:gd name="T17" fmla="*/ 619 h 1237"/>
              <a:gd name="T18" fmla="*/ 515 w 1236"/>
              <a:gd name="T19" fmla="*/ 619 h 1237"/>
              <a:gd name="T20" fmla="*/ 515 w 1236"/>
              <a:gd name="T21" fmla="*/ 335 h 1237"/>
              <a:gd name="T22" fmla="*/ 522 w 1236"/>
              <a:gd name="T23" fmla="*/ 317 h 1237"/>
              <a:gd name="T24" fmla="*/ 541 w 1236"/>
              <a:gd name="T25" fmla="*/ 309 h 1237"/>
              <a:gd name="T26" fmla="*/ 695 w 1236"/>
              <a:gd name="T27" fmla="*/ 309 h 1237"/>
              <a:gd name="T28" fmla="*/ 713 w 1236"/>
              <a:gd name="T29" fmla="*/ 317 h 1237"/>
              <a:gd name="T30" fmla="*/ 721 w 1236"/>
              <a:gd name="T31" fmla="*/ 335 h 1237"/>
              <a:gd name="T32" fmla="*/ 721 w 1236"/>
              <a:gd name="T33" fmla="*/ 619 h 1237"/>
              <a:gd name="T34" fmla="*/ 875 w 1236"/>
              <a:gd name="T35" fmla="*/ 619 h 1237"/>
              <a:gd name="T36" fmla="*/ 894 w 1236"/>
              <a:gd name="T37" fmla="*/ 626 h 1237"/>
              <a:gd name="T38" fmla="*/ 901 w 1236"/>
              <a:gd name="T39" fmla="*/ 644 h 1237"/>
              <a:gd name="T40" fmla="*/ 1030 w 1236"/>
              <a:gd name="T41" fmla="*/ 619 h 1237"/>
              <a:gd name="T42" fmla="*/ 997 w 1236"/>
              <a:gd name="T43" fmla="*/ 459 h 1237"/>
              <a:gd name="T44" fmla="*/ 909 w 1236"/>
              <a:gd name="T45" fmla="*/ 327 h 1237"/>
              <a:gd name="T46" fmla="*/ 778 w 1236"/>
              <a:gd name="T47" fmla="*/ 239 h 1237"/>
              <a:gd name="T48" fmla="*/ 618 w 1236"/>
              <a:gd name="T49" fmla="*/ 206 h 1237"/>
              <a:gd name="T50" fmla="*/ 458 w 1236"/>
              <a:gd name="T51" fmla="*/ 239 h 1237"/>
              <a:gd name="T52" fmla="*/ 326 w 1236"/>
              <a:gd name="T53" fmla="*/ 327 h 1237"/>
              <a:gd name="T54" fmla="*/ 238 w 1236"/>
              <a:gd name="T55" fmla="*/ 459 h 1237"/>
              <a:gd name="T56" fmla="*/ 206 w 1236"/>
              <a:gd name="T57" fmla="*/ 619 h 1237"/>
              <a:gd name="T58" fmla="*/ 238 w 1236"/>
              <a:gd name="T59" fmla="*/ 778 h 1237"/>
              <a:gd name="T60" fmla="*/ 326 w 1236"/>
              <a:gd name="T61" fmla="*/ 910 h 1237"/>
              <a:gd name="T62" fmla="*/ 458 w 1236"/>
              <a:gd name="T63" fmla="*/ 998 h 1237"/>
              <a:gd name="T64" fmla="*/ 618 w 1236"/>
              <a:gd name="T65" fmla="*/ 1031 h 1237"/>
              <a:gd name="T66" fmla="*/ 778 w 1236"/>
              <a:gd name="T67" fmla="*/ 998 h 1237"/>
              <a:gd name="T68" fmla="*/ 909 w 1236"/>
              <a:gd name="T69" fmla="*/ 910 h 1237"/>
              <a:gd name="T70" fmla="*/ 997 w 1236"/>
              <a:gd name="T71" fmla="*/ 778 h 1237"/>
              <a:gd name="T72" fmla="*/ 1030 w 1236"/>
              <a:gd name="T73" fmla="*/ 619 h 1237"/>
              <a:gd name="T74" fmla="*/ 1236 w 1236"/>
              <a:gd name="T75" fmla="*/ 619 h 1237"/>
              <a:gd name="T76" fmla="*/ 1153 w 1236"/>
              <a:gd name="T77" fmla="*/ 929 h 1237"/>
              <a:gd name="T78" fmla="*/ 928 w 1236"/>
              <a:gd name="T79" fmla="*/ 1154 h 1237"/>
              <a:gd name="T80" fmla="*/ 618 w 1236"/>
              <a:gd name="T81" fmla="*/ 1237 h 1237"/>
              <a:gd name="T82" fmla="*/ 307 w 1236"/>
              <a:gd name="T83" fmla="*/ 1154 h 1237"/>
              <a:gd name="T84" fmla="*/ 82 w 1236"/>
              <a:gd name="T85" fmla="*/ 929 h 1237"/>
              <a:gd name="T86" fmla="*/ 0 w 1236"/>
              <a:gd name="T87" fmla="*/ 619 h 1237"/>
              <a:gd name="T88" fmla="*/ 82 w 1236"/>
              <a:gd name="T89" fmla="*/ 308 h 1237"/>
              <a:gd name="T90" fmla="*/ 307 w 1236"/>
              <a:gd name="T91" fmla="*/ 83 h 1237"/>
              <a:gd name="T92" fmla="*/ 618 w 1236"/>
              <a:gd name="T93" fmla="*/ 0 h 1237"/>
              <a:gd name="T94" fmla="*/ 928 w 1236"/>
              <a:gd name="T95" fmla="*/ 83 h 1237"/>
              <a:gd name="T96" fmla="*/ 1153 w 1236"/>
              <a:gd name="T97" fmla="*/ 308 h 1237"/>
              <a:gd name="T98" fmla="*/ 1236 w 1236"/>
              <a:gd name="T99" fmla="*/ 619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36" h="1237">
                <a:moveTo>
                  <a:pt x="901" y="644"/>
                </a:moveTo>
                <a:cubicBezTo>
                  <a:pt x="901" y="651"/>
                  <a:pt x="899" y="657"/>
                  <a:pt x="893" y="664"/>
                </a:cubicBezTo>
                <a:lnTo>
                  <a:pt x="636" y="921"/>
                </a:lnTo>
                <a:cubicBezTo>
                  <a:pt x="632" y="925"/>
                  <a:pt x="625" y="928"/>
                  <a:pt x="618" y="928"/>
                </a:cubicBezTo>
                <a:cubicBezTo>
                  <a:pt x="610" y="928"/>
                  <a:pt x="604" y="925"/>
                  <a:pt x="599" y="921"/>
                </a:cubicBezTo>
                <a:lnTo>
                  <a:pt x="342" y="663"/>
                </a:lnTo>
                <a:cubicBezTo>
                  <a:pt x="337" y="658"/>
                  <a:pt x="334" y="652"/>
                  <a:pt x="334" y="644"/>
                </a:cubicBezTo>
                <a:cubicBezTo>
                  <a:pt x="334" y="637"/>
                  <a:pt x="337" y="631"/>
                  <a:pt x="342" y="626"/>
                </a:cubicBezTo>
                <a:cubicBezTo>
                  <a:pt x="347" y="621"/>
                  <a:pt x="353" y="619"/>
                  <a:pt x="360" y="619"/>
                </a:cubicBezTo>
                <a:lnTo>
                  <a:pt x="515" y="619"/>
                </a:lnTo>
                <a:lnTo>
                  <a:pt x="515" y="335"/>
                </a:lnTo>
                <a:cubicBezTo>
                  <a:pt x="515" y="328"/>
                  <a:pt x="517" y="322"/>
                  <a:pt x="522" y="317"/>
                </a:cubicBezTo>
                <a:cubicBezTo>
                  <a:pt x="528" y="312"/>
                  <a:pt x="534" y="309"/>
                  <a:pt x="541" y="309"/>
                </a:cubicBezTo>
                <a:lnTo>
                  <a:pt x="695" y="309"/>
                </a:lnTo>
                <a:cubicBezTo>
                  <a:pt x="702" y="309"/>
                  <a:pt x="708" y="312"/>
                  <a:pt x="713" y="317"/>
                </a:cubicBezTo>
                <a:cubicBezTo>
                  <a:pt x="718" y="322"/>
                  <a:pt x="721" y="328"/>
                  <a:pt x="721" y="335"/>
                </a:cubicBezTo>
                <a:lnTo>
                  <a:pt x="721" y="619"/>
                </a:lnTo>
                <a:lnTo>
                  <a:pt x="875" y="619"/>
                </a:lnTo>
                <a:cubicBezTo>
                  <a:pt x="883" y="619"/>
                  <a:pt x="889" y="621"/>
                  <a:pt x="894" y="626"/>
                </a:cubicBezTo>
                <a:cubicBezTo>
                  <a:pt x="899" y="631"/>
                  <a:pt x="901" y="637"/>
                  <a:pt x="901" y="644"/>
                </a:cubicBezTo>
                <a:close/>
                <a:moveTo>
                  <a:pt x="1030" y="619"/>
                </a:moveTo>
                <a:cubicBezTo>
                  <a:pt x="1030" y="563"/>
                  <a:pt x="1019" y="510"/>
                  <a:pt x="997" y="459"/>
                </a:cubicBezTo>
                <a:cubicBezTo>
                  <a:pt x="976" y="408"/>
                  <a:pt x="946" y="364"/>
                  <a:pt x="909" y="327"/>
                </a:cubicBezTo>
                <a:cubicBezTo>
                  <a:pt x="872" y="290"/>
                  <a:pt x="828" y="261"/>
                  <a:pt x="778" y="239"/>
                </a:cubicBezTo>
                <a:cubicBezTo>
                  <a:pt x="727" y="217"/>
                  <a:pt x="674" y="206"/>
                  <a:pt x="618" y="206"/>
                </a:cubicBezTo>
                <a:cubicBezTo>
                  <a:pt x="562" y="206"/>
                  <a:pt x="509" y="217"/>
                  <a:pt x="458" y="239"/>
                </a:cubicBezTo>
                <a:cubicBezTo>
                  <a:pt x="407" y="261"/>
                  <a:pt x="363" y="290"/>
                  <a:pt x="326" y="327"/>
                </a:cubicBezTo>
                <a:cubicBezTo>
                  <a:pt x="289" y="364"/>
                  <a:pt x="260" y="408"/>
                  <a:pt x="238" y="459"/>
                </a:cubicBezTo>
                <a:cubicBezTo>
                  <a:pt x="217" y="510"/>
                  <a:pt x="206" y="563"/>
                  <a:pt x="206" y="619"/>
                </a:cubicBezTo>
                <a:cubicBezTo>
                  <a:pt x="206" y="674"/>
                  <a:pt x="217" y="728"/>
                  <a:pt x="238" y="778"/>
                </a:cubicBezTo>
                <a:cubicBezTo>
                  <a:pt x="260" y="829"/>
                  <a:pt x="289" y="873"/>
                  <a:pt x="326" y="910"/>
                </a:cubicBezTo>
                <a:cubicBezTo>
                  <a:pt x="363" y="947"/>
                  <a:pt x="407" y="976"/>
                  <a:pt x="458" y="998"/>
                </a:cubicBezTo>
                <a:cubicBezTo>
                  <a:pt x="509" y="1020"/>
                  <a:pt x="562" y="1031"/>
                  <a:pt x="618" y="1031"/>
                </a:cubicBezTo>
                <a:cubicBezTo>
                  <a:pt x="674" y="1031"/>
                  <a:pt x="727" y="1020"/>
                  <a:pt x="778" y="998"/>
                </a:cubicBezTo>
                <a:cubicBezTo>
                  <a:pt x="828" y="976"/>
                  <a:pt x="872" y="947"/>
                  <a:pt x="909" y="910"/>
                </a:cubicBezTo>
                <a:cubicBezTo>
                  <a:pt x="946" y="873"/>
                  <a:pt x="976" y="829"/>
                  <a:pt x="997" y="778"/>
                </a:cubicBezTo>
                <a:cubicBezTo>
                  <a:pt x="1019" y="728"/>
                  <a:pt x="1030" y="674"/>
                  <a:pt x="1030" y="619"/>
                </a:cubicBezTo>
                <a:close/>
                <a:moveTo>
                  <a:pt x="1236" y="619"/>
                </a:moveTo>
                <a:cubicBezTo>
                  <a:pt x="1236" y="731"/>
                  <a:pt x="1208" y="834"/>
                  <a:pt x="1153" y="929"/>
                </a:cubicBezTo>
                <a:cubicBezTo>
                  <a:pt x="1098" y="1024"/>
                  <a:pt x="1023" y="1099"/>
                  <a:pt x="928" y="1154"/>
                </a:cubicBezTo>
                <a:cubicBezTo>
                  <a:pt x="833" y="1209"/>
                  <a:pt x="730" y="1237"/>
                  <a:pt x="618" y="1237"/>
                </a:cubicBezTo>
                <a:cubicBezTo>
                  <a:pt x="506" y="1237"/>
                  <a:pt x="402" y="1209"/>
                  <a:pt x="307" y="1154"/>
                </a:cubicBezTo>
                <a:cubicBezTo>
                  <a:pt x="213" y="1099"/>
                  <a:pt x="138" y="1024"/>
                  <a:pt x="82" y="929"/>
                </a:cubicBezTo>
                <a:cubicBezTo>
                  <a:pt x="27" y="834"/>
                  <a:pt x="0" y="731"/>
                  <a:pt x="0" y="619"/>
                </a:cubicBezTo>
                <a:cubicBezTo>
                  <a:pt x="0" y="506"/>
                  <a:pt x="27" y="403"/>
                  <a:pt x="82" y="308"/>
                </a:cubicBezTo>
                <a:cubicBezTo>
                  <a:pt x="138" y="214"/>
                  <a:pt x="213" y="139"/>
                  <a:pt x="307" y="83"/>
                </a:cubicBezTo>
                <a:cubicBezTo>
                  <a:pt x="402" y="28"/>
                  <a:pt x="506" y="0"/>
                  <a:pt x="618" y="0"/>
                </a:cubicBezTo>
                <a:cubicBezTo>
                  <a:pt x="730" y="0"/>
                  <a:pt x="833" y="28"/>
                  <a:pt x="928" y="83"/>
                </a:cubicBezTo>
                <a:cubicBezTo>
                  <a:pt x="1023" y="139"/>
                  <a:pt x="1098" y="214"/>
                  <a:pt x="1153" y="308"/>
                </a:cubicBezTo>
                <a:cubicBezTo>
                  <a:pt x="1208" y="403"/>
                  <a:pt x="1236" y="506"/>
                  <a:pt x="1236" y="619"/>
                </a:cubicBezTo>
                <a:close/>
              </a:path>
            </a:pathLst>
          </a:custGeom>
          <a:solidFill>
            <a:srgbClr val="64B64F"/>
          </a:solidFill>
          <a:ln w="0">
            <a:noFill/>
            <a:prstDash val="solid"/>
            <a:rou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Sitemap Icon">
            <a:extLst>
              <a:ext uri="{FF2B5EF4-FFF2-40B4-BE49-F238E27FC236}">
                <a16:creationId xmlns:a16="http://schemas.microsoft.com/office/drawing/2014/main" id="{627A9B7C-FF9C-43D8-8070-904821EABB8C}"/>
              </a:ext>
            </a:extLst>
          </p:cNvPr>
          <p:cNvSpPr>
            <a:spLocks noChangeAspect="1"/>
          </p:cNvSpPr>
          <p:nvPr/>
        </p:nvSpPr>
        <p:spPr bwMode="auto">
          <a:xfrm>
            <a:off x="3941413" y="2588646"/>
            <a:ext cx="472110" cy="405009"/>
          </a:xfrm>
          <a:custGeom>
            <a:avLst/>
            <a:gdLst>
              <a:gd name="T0" fmla="*/ 1443 w 1443"/>
              <a:gd name="T1" fmla="*/ 1159 h 1236"/>
              <a:gd name="T2" fmla="*/ 1366 w 1443"/>
              <a:gd name="T3" fmla="*/ 1236 h 1236"/>
              <a:gd name="T4" fmla="*/ 1054 w 1443"/>
              <a:gd name="T5" fmla="*/ 1214 h 1236"/>
              <a:gd name="T6" fmla="*/ 1031 w 1443"/>
              <a:gd name="T7" fmla="*/ 901 h 1236"/>
              <a:gd name="T8" fmla="*/ 1108 w 1443"/>
              <a:gd name="T9" fmla="*/ 824 h 1236"/>
              <a:gd name="T10" fmla="*/ 1186 w 1443"/>
              <a:gd name="T11" fmla="*/ 670 h 1236"/>
              <a:gd name="T12" fmla="*/ 773 w 1443"/>
              <a:gd name="T13" fmla="*/ 824 h 1236"/>
              <a:gd name="T14" fmla="*/ 905 w 1443"/>
              <a:gd name="T15" fmla="*/ 847 h 1236"/>
              <a:gd name="T16" fmla="*/ 928 w 1443"/>
              <a:gd name="T17" fmla="*/ 1159 h 1236"/>
              <a:gd name="T18" fmla="*/ 851 w 1443"/>
              <a:gd name="T19" fmla="*/ 1236 h 1236"/>
              <a:gd name="T20" fmla="*/ 538 w 1443"/>
              <a:gd name="T21" fmla="*/ 1214 h 1236"/>
              <a:gd name="T22" fmla="*/ 516 w 1443"/>
              <a:gd name="T23" fmla="*/ 901 h 1236"/>
              <a:gd name="T24" fmla="*/ 593 w 1443"/>
              <a:gd name="T25" fmla="*/ 824 h 1236"/>
              <a:gd name="T26" fmla="*/ 670 w 1443"/>
              <a:gd name="T27" fmla="*/ 670 h 1236"/>
              <a:gd name="T28" fmla="*/ 258 w 1443"/>
              <a:gd name="T29" fmla="*/ 824 h 1236"/>
              <a:gd name="T30" fmla="*/ 390 w 1443"/>
              <a:gd name="T31" fmla="*/ 847 h 1236"/>
              <a:gd name="T32" fmla="*/ 413 w 1443"/>
              <a:gd name="T33" fmla="*/ 1159 h 1236"/>
              <a:gd name="T34" fmla="*/ 335 w 1443"/>
              <a:gd name="T35" fmla="*/ 1236 h 1236"/>
              <a:gd name="T36" fmla="*/ 23 w 1443"/>
              <a:gd name="T37" fmla="*/ 1214 h 1236"/>
              <a:gd name="T38" fmla="*/ 0 w 1443"/>
              <a:gd name="T39" fmla="*/ 901 h 1236"/>
              <a:gd name="T40" fmla="*/ 78 w 1443"/>
              <a:gd name="T41" fmla="*/ 824 h 1236"/>
              <a:gd name="T42" fmla="*/ 155 w 1443"/>
              <a:gd name="T43" fmla="*/ 670 h 1236"/>
              <a:gd name="T44" fmla="*/ 258 w 1443"/>
              <a:gd name="T45" fmla="*/ 567 h 1236"/>
              <a:gd name="T46" fmla="*/ 670 w 1443"/>
              <a:gd name="T47" fmla="*/ 412 h 1236"/>
              <a:gd name="T48" fmla="*/ 538 w 1443"/>
              <a:gd name="T49" fmla="*/ 389 h 1236"/>
              <a:gd name="T50" fmla="*/ 516 w 1443"/>
              <a:gd name="T51" fmla="*/ 77 h 1236"/>
              <a:gd name="T52" fmla="*/ 593 w 1443"/>
              <a:gd name="T53" fmla="*/ 0 h 1236"/>
              <a:gd name="T54" fmla="*/ 905 w 1443"/>
              <a:gd name="T55" fmla="*/ 22 h 1236"/>
              <a:gd name="T56" fmla="*/ 928 w 1443"/>
              <a:gd name="T57" fmla="*/ 335 h 1236"/>
              <a:gd name="T58" fmla="*/ 851 w 1443"/>
              <a:gd name="T59" fmla="*/ 412 h 1236"/>
              <a:gd name="T60" fmla="*/ 773 w 1443"/>
              <a:gd name="T61" fmla="*/ 567 h 1236"/>
              <a:gd name="T62" fmla="*/ 1258 w 1443"/>
              <a:gd name="T63" fmla="*/ 597 h 1236"/>
              <a:gd name="T64" fmla="*/ 1289 w 1443"/>
              <a:gd name="T65" fmla="*/ 824 h 1236"/>
              <a:gd name="T66" fmla="*/ 1421 w 1443"/>
              <a:gd name="T67" fmla="*/ 84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3" h="1236">
                <a:moveTo>
                  <a:pt x="1443" y="901"/>
                </a:moveTo>
                <a:lnTo>
                  <a:pt x="1443" y="1159"/>
                </a:lnTo>
                <a:cubicBezTo>
                  <a:pt x="1443" y="1181"/>
                  <a:pt x="1436" y="1199"/>
                  <a:pt x="1421" y="1214"/>
                </a:cubicBezTo>
                <a:cubicBezTo>
                  <a:pt x="1406" y="1229"/>
                  <a:pt x="1387" y="1236"/>
                  <a:pt x="1366" y="1236"/>
                </a:cubicBezTo>
                <a:lnTo>
                  <a:pt x="1108" y="1236"/>
                </a:lnTo>
                <a:cubicBezTo>
                  <a:pt x="1087" y="1236"/>
                  <a:pt x="1069" y="1229"/>
                  <a:pt x="1054" y="1214"/>
                </a:cubicBezTo>
                <a:cubicBezTo>
                  <a:pt x="1038" y="1199"/>
                  <a:pt x="1031" y="1181"/>
                  <a:pt x="1031" y="1159"/>
                </a:cubicBezTo>
                <a:lnTo>
                  <a:pt x="1031" y="901"/>
                </a:lnTo>
                <a:cubicBezTo>
                  <a:pt x="1031" y="880"/>
                  <a:pt x="1038" y="862"/>
                  <a:pt x="1054" y="847"/>
                </a:cubicBezTo>
                <a:cubicBezTo>
                  <a:pt x="1069" y="832"/>
                  <a:pt x="1087" y="824"/>
                  <a:pt x="1108" y="824"/>
                </a:cubicBezTo>
                <a:lnTo>
                  <a:pt x="1186" y="824"/>
                </a:lnTo>
                <a:lnTo>
                  <a:pt x="1186" y="670"/>
                </a:lnTo>
                <a:lnTo>
                  <a:pt x="773" y="670"/>
                </a:lnTo>
                <a:lnTo>
                  <a:pt x="773" y="824"/>
                </a:lnTo>
                <a:lnTo>
                  <a:pt x="851" y="824"/>
                </a:lnTo>
                <a:cubicBezTo>
                  <a:pt x="872" y="824"/>
                  <a:pt x="890" y="832"/>
                  <a:pt x="905" y="847"/>
                </a:cubicBezTo>
                <a:cubicBezTo>
                  <a:pt x="920" y="862"/>
                  <a:pt x="928" y="880"/>
                  <a:pt x="928" y="901"/>
                </a:cubicBezTo>
                <a:lnTo>
                  <a:pt x="928" y="1159"/>
                </a:lnTo>
                <a:cubicBezTo>
                  <a:pt x="928" y="1181"/>
                  <a:pt x="920" y="1199"/>
                  <a:pt x="905" y="1214"/>
                </a:cubicBezTo>
                <a:cubicBezTo>
                  <a:pt x="890" y="1229"/>
                  <a:pt x="872" y="1236"/>
                  <a:pt x="851" y="1236"/>
                </a:cubicBezTo>
                <a:lnTo>
                  <a:pt x="593" y="1236"/>
                </a:lnTo>
                <a:cubicBezTo>
                  <a:pt x="572" y="1236"/>
                  <a:pt x="553" y="1229"/>
                  <a:pt x="538" y="1214"/>
                </a:cubicBezTo>
                <a:cubicBezTo>
                  <a:pt x="523" y="1199"/>
                  <a:pt x="516" y="1181"/>
                  <a:pt x="516" y="1159"/>
                </a:cubicBezTo>
                <a:lnTo>
                  <a:pt x="516" y="901"/>
                </a:lnTo>
                <a:cubicBezTo>
                  <a:pt x="516" y="880"/>
                  <a:pt x="523" y="862"/>
                  <a:pt x="538" y="847"/>
                </a:cubicBezTo>
                <a:cubicBezTo>
                  <a:pt x="553" y="832"/>
                  <a:pt x="572" y="824"/>
                  <a:pt x="593" y="824"/>
                </a:cubicBezTo>
                <a:lnTo>
                  <a:pt x="670" y="824"/>
                </a:lnTo>
                <a:lnTo>
                  <a:pt x="670" y="670"/>
                </a:lnTo>
                <a:lnTo>
                  <a:pt x="258" y="670"/>
                </a:lnTo>
                <a:lnTo>
                  <a:pt x="258" y="824"/>
                </a:lnTo>
                <a:lnTo>
                  <a:pt x="335" y="824"/>
                </a:lnTo>
                <a:cubicBezTo>
                  <a:pt x="357" y="824"/>
                  <a:pt x="375" y="832"/>
                  <a:pt x="390" y="847"/>
                </a:cubicBezTo>
                <a:cubicBezTo>
                  <a:pt x="405" y="862"/>
                  <a:pt x="413" y="880"/>
                  <a:pt x="413" y="901"/>
                </a:cubicBezTo>
                <a:lnTo>
                  <a:pt x="413" y="1159"/>
                </a:lnTo>
                <a:cubicBezTo>
                  <a:pt x="413" y="1181"/>
                  <a:pt x="405" y="1199"/>
                  <a:pt x="390" y="1214"/>
                </a:cubicBezTo>
                <a:cubicBezTo>
                  <a:pt x="375" y="1229"/>
                  <a:pt x="357" y="1236"/>
                  <a:pt x="335" y="1236"/>
                </a:cubicBezTo>
                <a:lnTo>
                  <a:pt x="78" y="1236"/>
                </a:lnTo>
                <a:cubicBezTo>
                  <a:pt x="56" y="1236"/>
                  <a:pt x="38" y="1229"/>
                  <a:pt x="23" y="1214"/>
                </a:cubicBezTo>
                <a:cubicBezTo>
                  <a:pt x="8" y="1199"/>
                  <a:pt x="0" y="1181"/>
                  <a:pt x="0" y="1159"/>
                </a:cubicBezTo>
                <a:lnTo>
                  <a:pt x="0" y="901"/>
                </a:lnTo>
                <a:cubicBezTo>
                  <a:pt x="0" y="880"/>
                  <a:pt x="8" y="862"/>
                  <a:pt x="23" y="847"/>
                </a:cubicBezTo>
                <a:cubicBezTo>
                  <a:pt x="38" y="832"/>
                  <a:pt x="56" y="824"/>
                  <a:pt x="78" y="824"/>
                </a:cubicBezTo>
                <a:lnTo>
                  <a:pt x="155" y="824"/>
                </a:lnTo>
                <a:lnTo>
                  <a:pt x="155" y="670"/>
                </a:lnTo>
                <a:cubicBezTo>
                  <a:pt x="155" y="642"/>
                  <a:pt x="165" y="618"/>
                  <a:pt x="186" y="597"/>
                </a:cubicBezTo>
                <a:cubicBezTo>
                  <a:pt x="206" y="577"/>
                  <a:pt x="230" y="567"/>
                  <a:pt x="258" y="567"/>
                </a:cubicBezTo>
                <a:lnTo>
                  <a:pt x="670" y="567"/>
                </a:lnTo>
                <a:lnTo>
                  <a:pt x="670" y="412"/>
                </a:lnTo>
                <a:lnTo>
                  <a:pt x="593" y="412"/>
                </a:lnTo>
                <a:cubicBezTo>
                  <a:pt x="572" y="412"/>
                  <a:pt x="553" y="404"/>
                  <a:pt x="538" y="389"/>
                </a:cubicBezTo>
                <a:cubicBezTo>
                  <a:pt x="523" y="374"/>
                  <a:pt x="516" y="356"/>
                  <a:pt x="516" y="335"/>
                </a:cubicBezTo>
                <a:lnTo>
                  <a:pt x="516" y="77"/>
                </a:lnTo>
                <a:cubicBezTo>
                  <a:pt x="516" y="56"/>
                  <a:pt x="523" y="37"/>
                  <a:pt x="538" y="22"/>
                </a:cubicBezTo>
                <a:cubicBezTo>
                  <a:pt x="553" y="7"/>
                  <a:pt x="572" y="0"/>
                  <a:pt x="593" y="0"/>
                </a:cubicBezTo>
                <a:lnTo>
                  <a:pt x="851" y="0"/>
                </a:lnTo>
                <a:cubicBezTo>
                  <a:pt x="872" y="0"/>
                  <a:pt x="890" y="7"/>
                  <a:pt x="905" y="22"/>
                </a:cubicBezTo>
                <a:cubicBezTo>
                  <a:pt x="920" y="37"/>
                  <a:pt x="928" y="56"/>
                  <a:pt x="928" y="77"/>
                </a:cubicBezTo>
                <a:lnTo>
                  <a:pt x="928" y="335"/>
                </a:lnTo>
                <a:cubicBezTo>
                  <a:pt x="928" y="356"/>
                  <a:pt x="920" y="374"/>
                  <a:pt x="905" y="389"/>
                </a:cubicBezTo>
                <a:cubicBezTo>
                  <a:pt x="890" y="404"/>
                  <a:pt x="872" y="412"/>
                  <a:pt x="851" y="412"/>
                </a:cubicBezTo>
                <a:lnTo>
                  <a:pt x="773" y="412"/>
                </a:lnTo>
                <a:lnTo>
                  <a:pt x="773" y="567"/>
                </a:lnTo>
                <a:lnTo>
                  <a:pt x="1186" y="567"/>
                </a:lnTo>
                <a:cubicBezTo>
                  <a:pt x="1213" y="567"/>
                  <a:pt x="1238" y="577"/>
                  <a:pt x="1258" y="597"/>
                </a:cubicBezTo>
                <a:cubicBezTo>
                  <a:pt x="1278" y="618"/>
                  <a:pt x="1289" y="642"/>
                  <a:pt x="1289" y="670"/>
                </a:cubicBezTo>
                <a:lnTo>
                  <a:pt x="1289" y="824"/>
                </a:lnTo>
                <a:lnTo>
                  <a:pt x="1366" y="824"/>
                </a:lnTo>
                <a:cubicBezTo>
                  <a:pt x="1387" y="824"/>
                  <a:pt x="1406" y="832"/>
                  <a:pt x="1421" y="847"/>
                </a:cubicBezTo>
                <a:cubicBezTo>
                  <a:pt x="1436" y="862"/>
                  <a:pt x="1443" y="880"/>
                  <a:pt x="1443" y="901"/>
                </a:cubicBezTo>
                <a:close/>
              </a:path>
            </a:pathLst>
          </a:custGeom>
          <a:solidFill>
            <a:srgbClr val="59B384"/>
          </a:solidFill>
          <a:ln w="0">
            <a:noFill/>
            <a:prstDash val="solid"/>
            <a:rou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Random Icon">
            <a:extLst>
              <a:ext uri="{FF2B5EF4-FFF2-40B4-BE49-F238E27FC236}">
                <a16:creationId xmlns:a16="http://schemas.microsoft.com/office/drawing/2014/main" id="{09E3AEE0-C4C1-44FF-83E0-F4CF88E70D4F}"/>
              </a:ext>
            </a:extLst>
          </p:cNvPr>
          <p:cNvSpPr>
            <a:spLocks noChangeAspect="1" noEditPoints="1"/>
          </p:cNvSpPr>
          <p:nvPr/>
        </p:nvSpPr>
        <p:spPr bwMode="auto">
          <a:xfrm>
            <a:off x="5953542" y="2601300"/>
            <a:ext cx="493952" cy="443548"/>
          </a:xfrm>
          <a:custGeom>
            <a:avLst/>
            <a:gdLst>
              <a:gd name="T0" fmla="*/ 426 w 1442"/>
              <a:gd name="T1" fmla="*/ 581 h 1288"/>
              <a:gd name="T2" fmla="*/ 363 w 1442"/>
              <a:gd name="T3" fmla="*/ 472 h 1288"/>
              <a:gd name="T4" fmla="*/ 271 w 1442"/>
              <a:gd name="T5" fmla="*/ 398 h 1288"/>
              <a:gd name="T6" fmla="*/ 25 w 1442"/>
              <a:gd name="T7" fmla="*/ 386 h 1288"/>
              <a:gd name="T8" fmla="*/ 0 w 1442"/>
              <a:gd name="T9" fmla="*/ 360 h 1288"/>
              <a:gd name="T10" fmla="*/ 7 w 1442"/>
              <a:gd name="T11" fmla="*/ 187 h 1288"/>
              <a:gd name="T12" fmla="*/ 206 w 1442"/>
              <a:gd name="T13" fmla="*/ 180 h 1288"/>
              <a:gd name="T14" fmla="*/ 1442 w 1442"/>
              <a:gd name="T15" fmla="*/ 1005 h 1288"/>
              <a:gd name="T16" fmla="*/ 1178 w 1442"/>
              <a:gd name="T17" fmla="*/ 1281 h 1288"/>
              <a:gd name="T18" fmla="*/ 1141 w 1442"/>
              <a:gd name="T19" fmla="*/ 1280 h 1288"/>
              <a:gd name="T20" fmla="*/ 1133 w 1442"/>
              <a:gd name="T21" fmla="*/ 1108 h 1288"/>
              <a:gd name="T22" fmla="*/ 1000 w 1442"/>
              <a:gd name="T23" fmla="*/ 1109 h 1288"/>
              <a:gd name="T24" fmla="*/ 884 w 1442"/>
              <a:gd name="T25" fmla="*/ 1104 h 1288"/>
              <a:gd name="T26" fmla="*/ 781 w 1442"/>
              <a:gd name="T27" fmla="*/ 1080 h 1288"/>
              <a:gd name="T28" fmla="*/ 687 w 1442"/>
              <a:gd name="T29" fmla="*/ 1025 h 1288"/>
              <a:gd name="T30" fmla="*/ 598 w 1442"/>
              <a:gd name="T31" fmla="*/ 926 h 1288"/>
              <a:gd name="T32" fmla="*/ 737 w 1442"/>
              <a:gd name="T33" fmla="*/ 765 h 1288"/>
              <a:gd name="T34" fmla="*/ 811 w 1442"/>
              <a:gd name="T35" fmla="*/ 861 h 1288"/>
              <a:gd name="T36" fmla="*/ 927 w 1442"/>
              <a:gd name="T37" fmla="*/ 901 h 1288"/>
              <a:gd name="T38" fmla="*/ 1133 w 1442"/>
              <a:gd name="T39" fmla="*/ 747 h 1288"/>
              <a:gd name="T40" fmla="*/ 1159 w 1442"/>
              <a:gd name="T41" fmla="*/ 721 h 1288"/>
              <a:gd name="T42" fmla="*/ 1435 w 1442"/>
              <a:gd name="T43" fmla="*/ 986 h 1288"/>
              <a:gd name="T44" fmla="*/ 1442 w 1442"/>
              <a:gd name="T45" fmla="*/ 1005 h 1288"/>
              <a:gd name="T46" fmla="*/ 1435 w 1442"/>
              <a:gd name="T47" fmla="*/ 302 h 1288"/>
              <a:gd name="T48" fmla="*/ 1159 w 1442"/>
              <a:gd name="T49" fmla="*/ 567 h 1288"/>
              <a:gd name="T50" fmla="*/ 1133 w 1442"/>
              <a:gd name="T51" fmla="*/ 541 h 1288"/>
              <a:gd name="T52" fmla="*/ 927 w 1442"/>
              <a:gd name="T53" fmla="*/ 386 h 1288"/>
              <a:gd name="T54" fmla="*/ 802 w 1442"/>
              <a:gd name="T55" fmla="*/ 435 h 1288"/>
              <a:gd name="T56" fmla="*/ 724 w 1442"/>
              <a:gd name="T57" fmla="*/ 546 h 1288"/>
              <a:gd name="T58" fmla="*/ 622 w 1442"/>
              <a:gd name="T59" fmla="*/ 773 h 1288"/>
              <a:gd name="T60" fmla="*/ 527 w 1442"/>
              <a:gd name="T61" fmla="*/ 939 h 1288"/>
              <a:gd name="T62" fmla="*/ 395 w 1442"/>
              <a:gd name="T63" fmla="*/ 1060 h 1288"/>
              <a:gd name="T64" fmla="*/ 206 w 1442"/>
              <a:gd name="T65" fmla="*/ 1108 h 1288"/>
              <a:gd name="T66" fmla="*/ 7 w 1442"/>
              <a:gd name="T67" fmla="*/ 1100 h 1288"/>
              <a:gd name="T68" fmla="*/ 0 w 1442"/>
              <a:gd name="T69" fmla="*/ 927 h 1288"/>
              <a:gd name="T70" fmla="*/ 25 w 1442"/>
              <a:gd name="T71" fmla="*/ 901 h 1288"/>
              <a:gd name="T72" fmla="*/ 276 w 1442"/>
              <a:gd name="T73" fmla="*/ 889 h 1288"/>
              <a:gd name="T74" fmla="*/ 372 w 1442"/>
              <a:gd name="T75" fmla="*/ 804 h 1288"/>
              <a:gd name="T76" fmla="*/ 471 w 1442"/>
              <a:gd name="T77" fmla="*/ 604 h 1288"/>
              <a:gd name="T78" fmla="*/ 555 w 1442"/>
              <a:gd name="T79" fmla="*/ 430 h 1288"/>
              <a:gd name="T80" fmla="*/ 666 w 1442"/>
              <a:gd name="T81" fmla="*/ 282 h 1288"/>
              <a:gd name="T82" fmla="*/ 824 w 1442"/>
              <a:gd name="T83" fmla="*/ 193 h 1288"/>
              <a:gd name="T84" fmla="*/ 1133 w 1442"/>
              <a:gd name="T85" fmla="*/ 180 h 1288"/>
              <a:gd name="T86" fmla="*/ 1140 w 1442"/>
              <a:gd name="T87" fmla="*/ 7 h 1288"/>
              <a:gd name="T88" fmla="*/ 1178 w 1442"/>
              <a:gd name="T89" fmla="*/ 8 h 1288"/>
              <a:gd name="T90" fmla="*/ 1442 w 1442"/>
              <a:gd name="T91" fmla="*/ 283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2" h="1288">
                <a:moveTo>
                  <a:pt x="536" y="361"/>
                </a:moveTo>
                <a:cubicBezTo>
                  <a:pt x="504" y="411"/>
                  <a:pt x="467" y="484"/>
                  <a:pt x="426" y="581"/>
                </a:cubicBezTo>
                <a:cubicBezTo>
                  <a:pt x="414" y="557"/>
                  <a:pt x="404" y="537"/>
                  <a:pt x="396" y="523"/>
                </a:cubicBezTo>
                <a:cubicBezTo>
                  <a:pt x="388" y="508"/>
                  <a:pt x="377" y="491"/>
                  <a:pt x="363" y="472"/>
                </a:cubicBezTo>
                <a:cubicBezTo>
                  <a:pt x="350" y="452"/>
                  <a:pt x="336" y="437"/>
                  <a:pt x="322" y="426"/>
                </a:cubicBezTo>
                <a:cubicBezTo>
                  <a:pt x="308" y="415"/>
                  <a:pt x="292" y="406"/>
                  <a:pt x="271" y="398"/>
                </a:cubicBezTo>
                <a:cubicBezTo>
                  <a:pt x="251" y="390"/>
                  <a:pt x="229" y="386"/>
                  <a:pt x="206" y="386"/>
                </a:cubicBezTo>
                <a:lnTo>
                  <a:pt x="25" y="386"/>
                </a:lnTo>
                <a:cubicBezTo>
                  <a:pt x="18" y="386"/>
                  <a:pt x="12" y="384"/>
                  <a:pt x="7" y="379"/>
                </a:cubicBezTo>
                <a:cubicBezTo>
                  <a:pt x="2" y="374"/>
                  <a:pt x="0" y="368"/>
                  <a:pt x="0" y="360"/>
                </a:cubicBezTo>
                <a:lnTo>
                  <a:pt x="0" y="206"/>
                </a:lnTo>
                <a:cubicBezTo>
                  <a:pt x="0" y="198"/>
                  <a:pt x="2" y="192"/>
                  <a:pt x="7" y="187"/>
                </a:cubicBezTo>
                <a:cubicBezTo>
                  <a:pt x="12" y="183"/>
                  <a:pt x="18" y="180"/>
                  <a:pt x="25" y="180"/>
                </a:cubicBezTo>
                <a:lnTo>
                  <a:pt x="206" y="180"/>
                </a:lnTo>
                <a:cubicBezTo>
                  <a:pt x="340" y="180"/>
                  <a:pt x="450" y="240"/>
                  <a:pt x="536" y="361"/>
                </a:cubicBezTo>
                <a:close/>
                <a:moveTo>
                  <a:pt x="1442" y="1005"/>
                </a:moveTo>
                <a:cubicBezTo>
                  <a:pt x="1442" y="1012"/>
                  <a:pt x="1440" y="1018"/>
                  <a:pt x="1435" y="1023"/>
                </a:cubicBezTo>
                <a:lnTo>
                  <a:pt x="1178" y="1281"/>
                </a:lnTo>
                <a:cubicBezTo>
                  <a:pt x="1173" y="1285"/>
                  <a:pt x="1167" y="1288"/>
                  <a:pt x="1159" y="1288"/>
                </a:cubicBezTo>
                <a:cubicBezTo>
                  <a:pt x="1152" y="1288"/>
                  <a:pt x="1146" y="1285"/>
                  <a:pt x="1141" y="1280"/>
                </a:cubicBezTo>
                <a:cubicBezTo>
                  <a:pt x="1136" y="1275"/>
                  <a:pt x="1133" y="1269"/>
                  <a:pt x="1133" y="1262"/>
                </a:cubicBezTo>
                <a:lnTo>
                  <a:pt x="1133" y="1108"/>
                </a:lnTo>
                <a:cubicBezTo>
                  <a:pt x="1116" y="1108"/>
                  <a:pt x="1093" y="1108"/>
                  <a:pt x="1065" y="1108"/>
                </a:cubicBezTo>
                <a:cubicBezTo>
                  <a:pt x="1036" y="1108"/>
                  <a:pt x="1015" y="1108"/>
                  <a:pt x="1000" y="1109"/>
                </a:cubicBezTo>
                <a:cubicBezTo>
                  <a:pt x="985" y="1109"/>
                  <a:pt x="965" y="1109"/>
                  <a:pt x="941" y="1108"/>
                </a:cubicBezTo>
                <a:cubicBezTo>
                  <a:pt x="917" y="1107"/>
                  <a:pt x="898" y="1106"/>
                  <a:pt x="884" y="1104"/>
                </a:cubicBezTo>
                <a:cubicBezTo>
                  <a:pt x="870" y="1102"/>
                  <a:pt x="853" y="1099"/>
                  <a:pt x="832" y="1095"/>
                </a:cubicBezTo>
                <a:cubicBezTo>
                  <a:pt x="812" y="1092"/>
                  <a:pt x="795" y="1087"/>
                  <a:pt x="781" y="1080"/>
                </a:cubicBezTo>
                <a:cubicBezTo>
                  <a:pt x="768" y="1074"/>
                  <a:pt x="752" y="1067"/>
                  <a:pt x="735" y="1058"/>
                </a:cubicBezTo>
                <a:cubicBezTo>
                  <a:pt x="717" y="1048"/>
                  <a:pt x="701" y="1038"/>
                  <a:pt x="687" y="1025"/>
                </a:cubicBezTo>
                <a:cubicBezTo>
                  <a:pt x="673" y="1013"/>
                  <a:pt x="659" y="999"/>
                  <a:pt x="643" y="982"/>
                </a:cubicBezTo>
                <a:cubicBezTo>
                  <a:pt x="627" y="966"/>
                  <a:pt x="612" y="947"/>
                  <a:pt x="598" y="926"/>
                </a:cubicBezTo>
                <a:cubicBezTo>
                  <a:pt x="630" y="876"/>
                  <a:pt x="666" y="803"/>
                  <a:pt x="707" y="707"/>
                </a:cubicBezTo>
                <a:cubicBezTo>
                  <a:pt x="719" y="731"/>
                  <a:pt x="729" y="750"/>
                  <a:pt x="737" y="765"/>
                </a:cubicBezTo>
                <a:cubicBezTo>
                  <a:pt x="745" y="780"/>
                  <a:pt x="756" y="797"/>
                  <a:pt x="770" y="816"/>
                </a:cubicBezTo>
                <a:cubicBezTo>
                  <a:pt x="783" y="835"/>
                  <a:pt x="797" y="850"/>
                  <a:pt x="811" y="861"/>
                </a:cubicBezTo>
                <a:cubicBezTo>
                  <a:pt x="825" y="872"/>
                  <a:pt x="841" y="882"/>
                  <a:pt x="862" y="890"/>
                </a:cubicBezTo>
                <a:cubicBezTo>
                  <a:pt x="882" y="897"/>
                  <a:pt x="904" y="901"/>
                  <a:pt x="927" y="901"/>
                </a:cubicBezTo>
                <a:lnTo>
                  <a:pt x="1133" y="901"/>
                </a:lnTo>
                <a:lnTo>
                  <a:pt x="1133" y="747"/>
                </a:lnTo>
                <a:cubicBezTo>
                  <a:pt x="1133" y="739"/>
                  <a:pt x="1136" y="733"/>
                  <a:pt x="1140" y="728"/>
                </a:cubicBezTo>
                <a:cubicBezTo>
                  <a:pt x="1145" y="723"/>
                  <a:pt x="1152" y="721"/>
                  <a:pt x="1159" y="721"/>
                </a:cubicBezTo>
                <a:cubicBezTo>
                  <a:pt x="1165" y="721"/>
                  <a:pt x="1172" y="724"/>
                  <a:pt x="1178" y="729"/>
                </a:cubicBezTo>
                <a:lnTo>
                  <a:pt x="1435" y="986"/>
                </a:lnTo>
                <a:cubicBezTo>
                  <a:pt x="1440" y="991"/>
                  <a:pt x="1442" y="997"/>
                  <a:pt x="1442" y="1004"/>
                </a:cubicBezTo>
                <a:lnTo>
                  <a:pt x="1442" y="1005"/>
                </a:lnTo>
                <a:close/>
                <a:moveTo>
                  <a:pt x="1442" y="283"/>
                </a:moveTo>
                <a:cubicBezTo>
                  <a:pt x="1442" y="291"/>
                  <a:pt x="1440" y="297"/>
                  <a:pt x="1435" y="302"/>
                </a:cubicBezTo>
                <a:lnTo>
                  <a:pt x="1178" y="559"/>
                </a:lnTo>
                <a:cubicBezTo>
                  <a:pt x="1173" y="564"/>
                  <a:pt x="1167" y="567"/>
                  <a:pt x="1159" y="567"/>
                </a:cubicBezTo>
                <a:cubicBezTo>
                  <a:pt x="1152" y="567"/>
                  <a:pt x="1146" y="564"/>
                  <a:pt x="1141" y="559"/>
                </a:cubicBezTo>
                <a:cubicBezTo>
                  <a:pt x="1136" y="554"/>
                  <a:pt x="1133" y="548"/>
                  <a:pt x="1133" y="541"/>
                </a:cubicBezTo>
                <a:lnTo>
                  <a:pt x="1133" y="386"/>
                </a:lnTo>
                <a:lnTo>
                  <a:pt x="927" y="386"/>
                </a:lnTo>
                <a:cubicBezTo>
                  <a:pt x="901" y="386"/>
                  <a:pt x="878" y="390"/>
                  <a:pt x="857" y="398"/>
                </a:cubicBezTo>
                <a:cubicBezTo>
                  <a:pt x="836" y="406"/>
                  <a:pt x="818" y="418"/>
                  <a:pt x="802" y="435"/>
                </a:cubicBezTo>
                <a:cubicBezTo>
                  <a:pt x="785" y="451"/>
                  <a:pt x="772" y="467"/>
                  <a:pt x="761" y="484"/>
                </a:cubicBezTo>
                <a:cubicBezTo>
                  <a:pt x="749" y="501"/>
                  <a:pt x="737" y="522"/>
                  <a:pt x="724" y="546"/>
                </a:cubicBezTo>
                <a:cubicBezTo>
                  <a:pt x="707" y="580"/>
                  <a:pt x="686" y="626"/>
                  <a:pt x="661" y="684"/>
                </a:cubicBezTo>
                <a:cubicBezTo>
                  <a:pt x="646" y="720"/>
                  <a:pt x="633" y="749"/>
                  <a:pt x="622" y="773"/>
                </a:cubicBezTo>
                <a:cubicBezTo>
                  <a:pt x="611" y="798"/>
                  <a:pt x="596" y="826"/>
                  <a:pt x="578" y="858"/>
                </a:cubicBezTo>
                <a:cubicBezTo>
                  <a:pt x="560" y="890"/>
                  <a:pt x="543" y="917"/>
                  <a:pt x="527" y="939"/>
                </a:cubicBezTo>
                <a:cubicBezTo>
                  <a:pt x="510" y="960"/>
                  <a:pt x="490" y="982"/>
                  <a:pt x="467" y="1005"/>
                </a:cubicBezTo>
                <a:cubicBezTo>
                  <a:pt x="444" y="1028"/>
                  <a:pt x="420" y="1047"/>
                  <a:pt x="395" y="1060"/>
                </a:cubicBezTo>
                <a:cubicBezTo>
                  <a:pt x="370" y="1074"/>
                  <a:pt x="341" y="1085"/>
                  <a:pt x="309" y="1094"/>
                </a:cubicBezTo>
                <a:cubicBezTo>
                  <a:pt x="277" y="1103"/>
                  <a:pt x="242" y="1108"/>
                  <a:pt x="206" y="1108"/>
                </a:cubicBezTo>
                <a:lnTo>
                  <a:pt x="25" y="1108"/>
                </a:lnTo>
                <a:cubicBezTo>
                  <a:pt x="18" y="1108"/>
                  <a:pt x="12" y="1105"/>
                  <a:pt x="7" y="1100"/>
                </a:cubicBezTo>
                <a:cubicBezTo>
                  <a:pt x="2" y="1095"/>
                  <a:pt x="0" y="1089"/>
                  <a:pt x="0" y="1082"/>
                </a:cubicBezTo>
                <a:lnTo>
                  <a:pt x="0" y="927"/>
                </a:lnTo>
                <a:cubicBezTo>
                  <a:pt x="0" y="920"/>
                  <a:pt x="2" y="914"/>
                  <a:pt x="7" y="909"/>
                </a:cubicBezTo>
                <a:cubicBezTo>
                  <a:pt x="12" y="904"/>
                  <a:pt x="18" y="901"/>
                  <a:pt x="25" y="901"/>
                </a:cubicBezTo>
                <a:lnTo>
                  <a:pt x="206" y="901"/>
                </a:lnTo>
                <a:cubicBezTo>
                  <a:pt x="232" y="901"/>
                  <a:pt x="255" y="897"/>
                  <a:pt x="276" y="889"/>
                </a:cubicBezTo>
                <a:cubicBezTo>
                  <a:pt x="297" y="881"/>
                  <a:pt x="315" y="869"/>
                  <a:pt x="331" y="853"/>
                </a:cubicBezTo>
                <a:cubicBezTo>
                  <a:pt x="347" y="837"/>
                  <a:pt x="361" y="821"/>
                  <a:pt x="372" y="804"/>
                </a:cubicBezTo>
                <a:cubicBezTo>
                  <a:pt x="384" y="787"/>
                  <a:pt x="396" y="766"/>
                  <a:pt x="409" y="741"/>
                </a:cubicBezTo>
                <a:cubicBezTo>
                  <a:pt x="426" y="708"/>
                  <a:pt x="447" y="662"/>
                  <a:pt x="471" y="604"/>
                </a:cubicBezTo>
                <a:cubicBezTo>
                  <a:pt x="487" y="568"/>
                  <a:pt x="500" y="538"/>
                  <a:pt x="511" y="514"/>
                </a:cubicBezTo>
                <a:cubicBezTo>
                  <a:pt x="522" y="490"/>
                  <a:pt x="537" y="462"/>
                  <a:pt x="555" y="430"/>
                </a:cubicBezTo>
                <a:cubicBezTo>
                  <a:pt x="573" y="397"/>
                  <a:pt x="590" y="371"/>
                  <a:pt x="606" y="349"/>
                </a:cubicBezTo>
                <a:cubicBezTo>
                  <a:pt x="623" y="328"/>
                  <a:pt x="643" y="305"/>
                  <a:pt x="666" y="282"/>
                </a:cubicBezTo>
                <a:cubicBezTo>
                  <a:pt x="689" y="259"/>
                  <a:pt x="713" y="241"/>
                  <a:pt x="738" y="227"/>
                </a:cubicBezTo>
                <a:cubicBezTo>
                  <a:pt x="763" y="214"/>
                  <a:pt x="792" y="202"/>
                  <a:pt x="824" y="193"/>
                </a:cubicBezTo>
                <a:cubicBezTo>
                  <a:pt x="856" y="185"/>
                  <a:pt x="891" y="180"/>
                  <a:pt x="927" y="180"/>
                </a:cubicBezTo>
                <a:lnTo>
                  <a:pt x="1133" y="180"/>
                </a:lnTo>
                <a:lnTo>
                  <a:pt x="1133" y="26"/>
                </a:lnTo>
                <a:cubicBezTo>
                  <a:pt x="1133" y="18"/>
                  <a:pt x="1136" y="12"/>
                  <a:pt x="1140" y="7"/>
                </a:cubicBezTo>
                <a:cubicBezTo>
                  <a:pt x="1145" y="2"/>
                  <a:pt x="1152" y="0"/>
                  <a:pt x="1159" y="0"/>
                </a:cubicBezTo>
                <a:cubicBezTo>
                  <a:pt x="1165" y="0"/>
                  <a:pt x="1172" y="2"/>
                  <a:pt x="1178" y="8"/>
                </a:cubicBezTo>
                <a:lnTo>
                  <a:pt x="1435" y="265"/>
                </a:lnTo>
                <a:cubicBezTo>
                  <a:pt x="1440" y="269"/>
                  <a:pt x="1442" y="276"/>
                  <a:pt x="1442" y="283"/>
                </a:cubicBezTo>
                <a:close/>
              </a:path>
            </a:pathLst>
          </a:custGeom>
          <a:solidFill>
            <a:srgbClr val="5BBDA8"/>
          </a:solidFill>
          <a:ln w="0">
            <a:noFill/>
            <a:prstDash val="solid"/>
            <a:rou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Road Icon">
            <a:extLst>
              <a:ext uri="{FF2B5EF4-FFF2-40B4-BE49-F238E27FC236}">
                <a16:creationId xmlns:a16="http://schemas.microsoft.com/office/drawing/2014/main" id="{87B8E909-6F89-4430-B04C-02D42E043585}"/>
              </a:ext>
            </a:extLst>
          </p:cNvPr>
          <p:cNvSpPr>
            <a:spLocks noChangeAspect="1" noEditPoints="1"/>
          </p:cNvSpPr>
          <p:nvPr/>
        </p:nvSpPr>
        <p:spPr bwMode="auto">
          <a:xfrm>
            <a:off x="7971464" y="2621212"/>
            <a:ext cx="482092" cy="339876"/>
          </a:xfrm>
          <a:custGeom>
            <a:avLst/>
            <a:gdLst>
              <a:gd name="T0" fmla="*/ 854 w 1465"/>
              <a:gd name="T1" fmla="*/ 596 h 1031"/>
              <a:gd name="T2" fmla="*/ 854 w 1465"/>
              <a:gd name="T3" fmla="*/ 593 h 1031"/>
              <a:gd name="T4" fmla="*/ 834 w 1465"/>
              <a:gd name="T5" fmla="*/ 335 h 1031"/>
              <a:gd name="T6" fmla="*/ 826 w 1465"/>
              <a:gd name="T7" fmla="*/ 317 h 1031"/>
              <a:gd name="T8" fmla="*/ 807 w 1465"/>
              <a:gd name="T9" fmla="*/ 310 h 1031"/>
              <a:gd name="T10" fmla="*/ 657 w 1465"/>
              <a:gd name="T11" fmla="*/ 310 h 1031"/>
              <a:gd name="T12" fmla="*/ 639 w 1465"/>
              <a:gd name="T13" fmla="*/ 317 h 1031"/>
              <a:gd name="T14" fmla="*/ 630 w 1465"/>
              <a:gd name="T15" fmla="*/ 335 h 1031"/>
              <a:gd name="T16" fmla="*/ 611 w 1465"/>
              <a:gd name="T17" fmla="*/ 593 h 1031"/>
              <a:gd name="T18" fmla="*/ 611 w 1465"/>
              <a:gd name="T19" fmla="*/ 596 h 1031"/>
              <a:gd name="T20" fmla="*/ 617 w 1465"/>
              <a:gd name="T21" fmla="*/ 612 h 1031"/>
              <a:gd name="T22" fmla="*/ 634 w 1465"/>
              <a:gd name="T23" fmla="*/ 619 h 1031"/>
              <a:gd name="T24" fmla="*/ 830 w 1465"/>
              <a:gd name="T25" fmla="*/ 619 h 1031"/>
              <a:gd name="T26" fmla="*/ 847 w 1465"/>
              <a:gd name="T27" fmla="*/ 612 h 1031"/>
              <a:gd name="T28" fmla="*/ 854 w 1465"/>
              <a:gd name="T29" fmla="*/ 596 h 1031"/>
              <a:gd name="T30" fmla="*/ 1465 w 1465"/>
              <a:gd name="T31" fmla="*/ 972 h 1031"/>
              <a:gd name="T32" fmla="*/ 1428 w 1465"/>
              <a:gd name="T33" fmla="*/ 1031 h 1031"/>
              <a:gd name="T34" fmla="*/ 861 w 1465"/>
              <a:gd name="T35" fmla="*/ 1031 h 1031"/>
              <a:gd name="T36" fmla="*/ 879 w 1465"/>
              <a:gd name="T37" fmla="*/ 1023 h 1031"/>
              <a:gd name="T38" fmla="*/ 885 w 1465"/>
              <a:gd name="T39" fmla="*/ 1005 h 1031"/>
              <a:gd name="T40" fmla="*/ 869 w 1465"/>
              <a:gd name="T41" fmla="*/ 799 h 1031"/>
              <a:gd name="T42" fmla="*/ 860 w 1465"/>
              <a:gd name="T43" fmla="*/ 781 h 1031"/>
              <a:gd name="T44" fmla="*/ 842 w 1465"/>
              <a:gd name="T45" fmla="*/ 773 h 1031"/>
              <a:gd name="T46" fmla="*/ 623 w 1465"/>
              <a:gd name="T47" fmla="*/ 773 h 1031"/>
              <a:gd name="T48" fmla="*/ 604 w 1465"/>
              <a:gd name="T49" fmla="*/ 781 h 1031"/>
              <a:gd name="T50" fmla="*/ 595 w 1465"/>
              <a:gd name="T51" fmla="*/ 799 h 1031"/>
              <a:gd name="T52" fmla="*/ 579 w 1465"/>
              <a:gd name="T53" fmla="*/ 1005 h 1031"/>
              <a:gd name="T54" fmla="*/ 586 w 1465"/>
              <a:gd name="T55" fmla="*/ 1023 h 1031"/>
              <a:gd name="T56" fmla="*/ 603 w 1465"/>
              <a:gd name="T57" fmla="*/ 1031 h 1031"/>
              <a:gd name="T58" fmla="*/ 37 w 1465"/>
              <a:gd name="T59" fmla="*/ 1031 h 1031"/>
              <a:gd name="T60" fmla="*/ 0 w 1465"/>
              <a:gd name="T61" fmla="*/ 972 h 1031"/>
              <a:gd name="T62" fmla="*/ 21 w 1465"/>
              <a:gd name="T63" fmla="*/ 879 h 1031"/>
              <a:gd name="T64" fmla="*/ 356 w 1465"/>
              <a:gd name="T65" fmla="*/ 38 h 1031"/>
              <a:gd name="T66" fmla="*/ 377 w 1465"/>
              <a:gd name="T67" fmla="*/ 12 h 1031"/>
              <a:gd name="T68" fmla="*/ 408 w 1465"/>
              <a:gd name="T69" fmla="*/ 0 h 1031"/>
              <a:gd name="T70" fmla="*/ 681 w 1465"/>
              <a:gd name="T71" fmla="*/ 0 h 1031"/>
              <a:gd name="T72" fmla="*/ 662 w 1465"/>
              <a:gd name="T73" fmla="*/ 8 h 1031"/>
              <a:gd name="T74" fmla="*/ 653 w 1465"/>
              <a:gd name="T75" fmla="*/ 26 h 1031"/>
              <a:gd name="T76" fmla="*/ 641 w 1465"/>
              <a:gd name="T77" fmla="*/ 181 h 1031"/>
              <a:gd name="T78" fmla="*/ 648 w 1465"/>
              <a:gd name="T79" fmla="*/ 199 h 1031"/>
              <a:gd name="T80" fmla="*/ 665 w 1465"/>
              <a:gd name="T81" fmla="*/ 206 h 1031"/>
              <a:gd name="T82" fmla="*/ 799 w 1465"/>
              <a:gd name="T83" fmla="*/ 206 h 1031"/>
              <a:gd name="T84" fmla="*/ 817 w 1465"/>
              <a:gd name="T85" fmla="*/ 199 h 1031"/>
              <a:gd name="T86" fmla="*/ 823 w 1465"/>
              <a:gd name="T87" fmla="*/ 181 h 1031"/>
              <a:gd name="T88" fmla="*/ 811 w 1465"/>
              <a:gd name="T89" fmla="*/ 26 h 1031"/>
              <a:gd name="T90" fmla="*/ 802 w 1465"/>
              <a:gd name="T91" fmla="*/ 8 h 1031"/>
              <a:gd name="T92" fmla="*/ 784 w 1465"/>
              <a:gd name="T93" fmla="*/ 0 h 1031"/>
              <a:gd name="T94" fmla="*/ 1057 w 1465"/>
              <a:gd name="T95" fmla="*/ 0 h 1031"/>
              <a:gd name="T96" fmla="*/ 1087 w 1465"/>
              <a:gd name="T97" fmla="*/ 12 h 1031"/>
              <a:gd name="T98" fmla="*/ 1108 w 1465"/>
              <a:gd name="T99" fmla="*/ 38 h 1031"/>
              <a:gd name="T100" fmla="*/ 1444 w 1465"/>
              <a:gd name="T101" fmla="*/ 879 h 1031"/>
              <a:gd name="T102" fmla="*/ 1465 w 1465"/>
              <a:gd name="T103" fmla="*/ 972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5" h="1031">
                <a:moveTo>
                  <a:pt x="854" y="596"/>
                </a:moveTo>
                <a:lnTo>
                  <a:pt x="854" y="593"/>
                </a:lnTo>
                <a:lnTo>
                  <a:pt x="834" y="335"/>
                </a:lnTo>
                <a:cubicBezTo>
                  <a:pt x="834" y="328"/>
                  <a:pt x="831" y="322"/>
                  <a:pt x="826" y="317"/>
                </a:cubicBezTo>
                <a:cubicBezTo>
                  <a:pt x="820" y="312"/>
                  <a:pt x="814" y="310"/>
                  <a:pt x="807" y="310"/>
                </a:cubicBezTo>
                <a:lnTo>
                  <a:pt x="657" y="310"/>
                </a:lnTo>
                <a:cubicBezTo>
                  <a:pt x="650" y="310"/>
                  <a:pt x="644" y="312"/>
                  <a:pt x="639" y="317"/>
                </a:cubicBezTo>
                <a:cubicBezTo>
                  <a:pt x="633" y="322"/>
                  <a:pt x="631" y="328"/>
                  <a:pt x="630" y="335"/>
                </a:cubicBezTo>
                <a:lnTo>
                  <a:pt x="611" y="593"/>
                </a:lnTo>
                <a:lnTo>
                  <a:pt x="611" y="596"/>
                </a:lnTo>
                <a:cubicBezTo>
                  <a:pt x="610" y="603"/>
                  <a:pt x="612" y="608"/>
                  <a:pt x="617" y="612"/>
                </a:cubicBezTo>
                <a:cubicBezTo>
                  <a:pt x="622" y="617"/>
                  <a:pt x="628" y="619"/>
                  <a:pt x="634" y="619"/>
                </a:cubicBezTo>
                <a:lnTo>
                  <a:pt x="830" y="619"/>
                </a:lnTo>
                <a:cubicBezTo>
                  <a:pt x="837" y="619"/>
                  <a:pt x="843" y="617"/>
                  <a:pt x="847" y="612"/>
                </a:cubicBezTo>
                <a:cubicBezTo>
                  <a:pt x="852" y="608"/>
                  <a:pt x="854" y="603"/>
                  <a:pt x="854" y="596"/>
                </a:cubicBezTo>
                <a:close/>
                <a:moveTo>
                  <a:pt x="1465" y="972"/>
                </a:moveTo>
                <a:cubicBezTo>
                  <a:pt x="1465" y="1011"/>
                  <a:pt x="1453" y="1031"/>
                  <a:pt x="1428" y="1031"/>
                </a:cubicBezTo>
                <a:lnTo>
                  <a:pt x="861" y="1031"/>
                </a:lnTo>
                <a:cubicBezTo>
                  <a:pt x="868" y="1031"/>
                  <a:pt x="874" y="1028"/>
                  <a:pt x="879" y="1023"/>
                </a:cubicBezTo>
                <a:cubicBezTo>
                  <a:pt x="884" y="1018"/>
                  <a:pt x="886" y="1012"/>
                  <a:pt x="885" y="1005"/>
                </a:cubicBezTo>
                <a:lnTo>
                  <a:pt x="869" y="799"/>
                </a:lnTo>
                <a:cubicBezTo>
                  <a:pt x="869" y="792"/>
                  <a:pt x="866" y="786"/>
                  <a:pt x="860" y="781"/>
                </a:cubicBezTo>
                <a:cubicBezTo>
                  <a:pt x="855" y="776"/>
                  <a:pt x="849" y="773"/>
                  <a:pt x="842" y="773"/>
                </a:cubicBezTo>
                <a:lnTo>
                  <a:pt x="623" y="773"/>
                </a:lnTo>
                <a:cubicBezTo>
                  <a:pt x="616" y="773"/>
                  <a:pt x="610" y="776"/>
                  <a:pt x="604" y="781"/>
                </a:cubicBezTo>
                <a:cubicBezTo>
                  <a:pt x="599" y="786"/>
                  <a:pt x="596" y="792"/>
                  <a:pt x="595" y="799"/>
                </a:cubicBezTo>
                <a:lnTo>
                  <a:pt x="579" y="1005"/>
                </a:lnTo>
                <a:cubicBezTo>
                  <a:pt x="579" y="1012"/>
                  <a:pt x="581" y="1018"/>
                  <a:pt x="586" y="1023"/>
                </a:cubicBezTo>
                <a:cubicBezTo>
                  <a:pt x="591" y="1028"/>
                  <a:pt x="596" y="1031"/>
                  <a:pt x="603" y="1031"/>
                </a:cubicBezTo>
                <a:lnTo>
                  <a:pt x="37" y="1031"/>
                </a:lnTo>
                <a:cubicBezTo>
                  <a:pt x="12" y="1031"/>
                  <a:pt x="0" y="1011"/>
                  <a:pt x="0" y="972"/>
                </a:cubicBezTo>
                <a:cubicBezTo>
                  <a:pt x="0" y="943"/>
                  <a:pt x="7" y="912"/>
                  <a:pt x="21" y="879"/>
                </a:cubicBezTo>
                <a:lnTo>
                  <a:pt x="356" y="38"/>
                </a:lnTo>
                <a:cubicBezTo>
                  <a:pt x="361" y="28"/>
                  <a:pt x="368" y="19"/>
                  <a:pt x="377" y="12"/>
                </a:cubicBezTo>
                <a:cubicBezTo>
                  <a:pt x="387" y="4"/>
                  <a:pt x="397" y="0"/>
                  <a:pt x="408" y="0"/>
                </a:cubicBezTo>
                <a:lnTo>
                  <a:pt x="681" y="0"/>
                </a:lnTo>
                <a:cubicBezTo>
                  <a:pt x="674" y="0"/>
                  <a:pt x="668" y="3"/>
                  <a:pt x="662" y="8"/>
                </a:cubicBezTo>
                <a:cubicBezTo>
                  <a:pt x="657" y="13"/>
                  <a:pt x="654" y="19"/>
                  <a:pt x="653" y="26"/>
                </a:cubicBezTo>
                <a:lnTo>
                  <a:pt x="641" y="181"/>
                </a:lnTo>
                <a:cubicBezTo>
                  <a:pt x="641" y="188"/>
                  <a:pt x="643" y="194"/>
                  <a:pt x="648" y="199"/>
                </a:cubicBezTo>
                <a:cubicBezTo>
                  <a:pt x="653" y="204"/>
                  <a:pt x="658" y="206"/>
                  <a:pt x="665" y="206"/>
                </a:cubicBezTo>
                <a:lnTo>
                  <a:pt x="799" y="206"/>
                </a:lnTo>
                <a:cubicBezTo>
                  <a:pt x="806" y="206"/>
                  <a:pt x="812" y="204"/>
                  <a:pt x="817" y="199"/>
                </a:cubicBezTo>
                <a:cubicBezTo>
                  <a:pt x="822" y="194"/>
                  <a:pt x="824" y="188"/>
                  <a:pt x="823" y="181"/>
                </a:cubicBezTo>
                <a:lnTo>
                  <a:pt x="811" y="26"/>
                </a:lnTo>
                <a:cubicBezTo>
                  <a:pt x="811" y="19"/>
                  <a:pt x="808" y="13"/>
                  <a:pt x="802" y="8"/>
                </a:cubicBezTo>
                <a:cubicBezTo>
                  <a:pt x="797" y="3"/>
                  <a:pt x="791" y="0"/>
                  <a:pt x="784" y="0"/>
                </a:cubicBezTo>
                <a:lnTo>
                  <a:pt x="1057" y="0"/>
                </a:lnTo>
                <a:cubicBezTo>
                  <a:pt x="1067" y="0"/>
                  <a:pt x="1078" y="4"/>
                  <a:pt x="1087" y="12"/>
                </a:cubicBezTo>
                <a:cubicBezTo>
                  <a:pt x="1097" y="19"/>
                  <a:pt x="1104" y="28"/>
                  <a:pt x="1108" y="38"/>
                </a:cubicBezTo>
                <a:lnTo>
                  <a:pt x="1444" y="879"/>
                </a:lnTo>
                <a:cubicBezTo>
                  <a:pt x="1458" y="912"/>
                  <a:pt x="1465" y="943"/>
                  <a:pt x="1465" y="972"/>
                </a:cubicBezTo>
                <a:close/>
              </a:path>
            </a:pathLst>
          </a:custGeom>
          <a:solidFill>
            <a:srgbClr val="51C0C3"/>
          </a:solidFill>
          <a:ln w="0">
            <a:noFill/>
            <a:prstDash val="solid"/>
            <a:rou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Cogs Icon">
            <a:extLst>
              <a:ext uri="{FF2B5EF4-FFF2-40B4-BE49-F238E27FC236}">
                <a16:creationId xmlns:a16="http://schemas.microsoft.com/office/drawing/2014/main" id="{1075FC56-9179-4A60-9F61-A6C6D6D01035}"/>
              </a:ext>
            </a:extLst>
          </p:cNvPr>
          <p:cNvSpPr>
            <a:spLocks noChangeAspect="1" noEditPoints="1"/>
          </p:cNvSpPr>
          <p:nvPr/>
        </p:nvSpPr>
        <p:spPr bwMode="auto">
          <a:xfrm>
            <a:off x="9988550" y="2612605"/>
            <a:ext cx="458013" cy="420936"/>
          </a:xfrm>
          <a:custGeom>
            <a:avLst/>
            <a:gdLst>
              <a:gd name="T0" fmla="*/ 515 w 1546"/>
              <a:gd name="T1" fmla="*/ 502 h 1418"/>
              <a:gd name="T2" fmla="*/ 370 w 1546"/>
              <a:gd name="T3" fmla="*/ 854 h 1418"/>
              <a:gd name="T4" fmla="*/ 721 w 1546"/>
              <a:gd name="T5" fmla="*/ 708 h 1418"/>
              <a:gd name="T6" fmla="*/ 1237 w 1546"/>
              <a:gd name="T7" fmla="*/ 1018 h 1418"/>
              <a:gd name="T8" fmla="*/ 1164 w 1546"/>
              <a:gd name="T9" fmla="*/ 1194 h 1418"/>
              <a:gd name="T10" fmla="*/ 1340 w 1546"/>
              <a:gd name="T11" fmla="*/ 1121 h 1418"/>
              <a:gd name="T12" fmla="*/ 1237 w 1546"/>
              <a:gd name="T13" fmla="*/ 193 h 1418"/>
              <a:gd name="T14" fmla="*/ 1164 w 1546"/>
              <a:gd name="T15" fmla="*/ 369 h 1418"/>
              <a:gd name="T16" fmla="*/ 1340 w 1546"/>
              <a:gd name="T17" fmla="*/ 296 h 1418"/>
              <a:gd name="T18" fmla="*/ 1025 w 1546"/>
              <a:gd name="T19" fmla="*/ 800 h 1418"/>
              <a:gd name="T20" fmla="*/ 862 w 1546"/>
              <a:gd name="T21" fmla="*/ 889 h 1418"/>
              <a:gd name="T22" fmla="*/ 934 w 1546"/>
              <a:gd name="T23" fmla="*/ 1013 h 1418"/>
              <a:gd name="T24" fmla="*/ 787 w 1546"/>
              <a:gd name="T25" fmla="*/ 1127 h 1418"/>
              <a:gd name="T26" fmla="*/ 614 w 1546"/>
              <a:gd name="T27" fmla="*/ 1204 h 1418"/>
              <a:gd name="T28" fmla="*/ 424 w 1546"/>
              <a:gd name="T29" fmla="*/ 1218 h 1418"/>
              <a:gd name="T30" fmla="*/ 337 w 1546"/>
              <a:gd name="T31" fmla="*/ 1055 h 1418"/>
              <a:gd name="T32" fmla="*/ 209 w 1546"/>
              <a:gd name="T33" fmla="*/ 1126 h 1418"/>
              <a:gd name="T34" fmla="*/ 132 w 1546"/>
              <a:gd name="T35" fmla="*/ 940 h 1418"/>
              <a:gd name="T36" fmla="*/ 19 w 1546"/>
              <a:gd name="T37" fmla="*/ 805 h 1418"/>
              <a:gd name="T38" fmla="*/ 0 w 1546"/>
              <a:gd name="T39" fmla="*/ 633 h 1418"/>
              <a:gd name="T40" fmla="*/ 143 w 1546"/>
              <a:gd name="T41" fmla="*/ 589 h 1418"/>
              <a:gd name="T42" fmla="*/ 91 w 1546"/>
              <a:gd name="T43" fmla="*/ 419 h 1418"/>
              <a:gd name="T44" fmla="*/ 226 w 1546"/>
              <a:gd name="T45" fmla="*/ 284 h 1418"/>
              <a:gd name="T46" fmla="*/ 398 w 1546"/>
              <a:gd name="T47" fmla="*/ 337 h 1418"/>
              <a:gd name="T48" fmla="*/ 590 w 1546"/>
              <a:gd name="T49" fmla="*/ 193 h 1418"/>
              <a:gd name="T50" fmla="*/ 633 w 1546"/>
              <a:gd name="T51" fmla="*/ 337 h 1418"/>
              <a:gd name="T52" fmla="*/ 804 w 1546"/>
              <a:gd name="T53" fmla="*/ 284 h 1418"/>
              <a:gd name="T54" fmla="*/ 932 w 1546"/>
              <a:gd name="T55" fmla="*/ 435 h 1418"/>
              <a:gd name="T56" fmla="*/ 889 w 1546"/>
              <a:gd name="T57" fmla="*/ 593 h 1418"/>
              <a:gd name="T58" fmla="*/ 1031 w 1546"/>
              <a:gd name="T59" fmla="*/ 635 h 1418"/>
              <a:gd name="T60" fmla="*/ 1426 w 1546"/>
              <a:gd name="T61" fmla="*/ 1202 h 1418"/>
              <a:gd name="T62" fmla="*/ 1440 w 1546"/>
              <a:gd name="T63" fmla="*/ 1361 h 1418"/>
              <a:gd name="T64" fmla="*/ 1261 w 1546"/>
              <a:gd name="T65" fmla="*/ 1325 h 1418"/>
              <a:gd name="T66" fmla="*/ 1171 w 1546"/>
              <a:gd name="T67" fmla="*/ 1380 h 1418"/>
              <a:gd name="T68" fmla="*/ 1031 w 1546"/>
              <a:gd name="T69" fmla="*/ 1355 h 1418"/>
              <a:gd name="T70" fmla="*/ 928 w 1546"/>
              <a:gd name="T71" fmla="*/ 1177 h 1418"/>
              <a:gd name="T72" fmla="*/ 1072 w 1546"/>
              <a:gd name="T73" fmla="*/ 997 h 1418"/>
              <a:gd name="T74" fmla="*/ 1062 w 1546"/>
              <a:gd name="T75" fmla="*/ 865 h 1418"/>
              <a:gd name="T76" fmla="*/ 1171 w 1546"/>
              <a:gd name="T77" fmla="*/ 862 h 1418"/>
              <a:gd name="T78" fmla="*/ 1261 w 1546"/>
              <a:gd name="T79" fmla="*/ 916 h 1418"/>
              <a:gd name="T80" fmla="*/ 1440 w 1546"/>
              <a:gd name="T81" fmla="*/ 881 h 1418"/>
              <a:gd name="T82" fmla="*/ 1426 w 1546"/>
              <a:gd name="T83" fmla="*/ 1039 h 1418"/>
              <a:gd name="T84" fmla="*/ 1546 w 1546"/>
              <a:gd name="T85" fmla="*/ 353 h 1418"/>
              <a:gd name="T86" fmla="*/ 1443 w 1546"/>
              <a:gd name="T87" fmla="*/ 531 h 1418"/>
              <a:gd name="T88" fmla="*/ 1303 w 1546"/>
              <a:gd name="T89" fmla="*/ 556 h 1418"/>
              <a:gd name="T90" fmla="*/ 1213 w 1546"/>
              <a:gd name="T91" fmla="*/ 501 h 1418"/>
              <a:gd name="T92" fmla="*/ 1034 w 1546"/>
              <a:gd name="T93" fmla="*/ 536 h 1418"/>
              <a:gd name="T94" fmla="*/ 1048 w 1546"/>
              <a:gd name="T95" fmla="*/ 378 h 1418"/>
              <a:gd name="T96" fmla="*/ 1048 w 1546"/>
              <a:gd name="T97" fmla="*/ 215 h 1418"/>
              <a:gd name="T98" fmla="*/ 1034 w 1546"/>
              <a:gd name="T99" fmla="*/ 56 h 1418"/>
              <a:gd name="T100" fmla="*/ 1134 w 1546"/>
              <a:gd name="T101" fmla="*/ 0 h 1418"/>
              <a:gd name="T102" fmla="*/ 1237 w 1546"/>
              <a:gd name="T103" fmla="*/ 90 h 1418"/>
              <a:gd name="T104" fmla="*/ 1340 w 1546"/>
              <a:gd name="T105" fmla="*/ 0 h 1418"/>
              <a:gd name="T106" fmla="*/ 1402 w 1546"/>
              <a:gd name="T107" fmla="*/ 173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6" h="1418">
                <a:moveTo>
                  <a:pt x="721" y="708"/>
                </a:moveTo>
                <a:cubicBezTo>
                  <a:pt x="721" y="652"/>
                  <a:pt x="701" y="603"/>
                  <a:pt x="661" y="563"/>
                </a:cubicBezTo>
                <a:cubicBezTo>
                  <a:pt x="621" y="523"/>
                  <a:pt x="572" y="502"/>
                  <a:pt x="515" y="502"/>
                </a:cubicBezTo>
                <a:cubicBezTo>
                  <a:pt x="458" y="502"/>
                  <a:pt x="410" y="523"/>
                  <a:pt x="370" y="563"/>
                </a:cubicBezTo>
                <a:cubicBezTo>
                  <a:pt x="329" y="603"/>
                  <a:pt x="309" y="652"/>
                  <a:pt x="309" y="708"/>
                </a:cubicBezTo>
                <a:cubicBezTo>
                  <a:pt x="309" y="765"/>
                  <a:pt x="329" y="814"/>
                  <a:pt x="370" y="854"/>
                </a:cubicBezTo>
                <a:cubicBezTo>
                  <a:pt x="410" y="894"/>
                  <a:pt x="458" y="915"/>
                  <a:pt x="515" y="915"/>
                </a:cubicBezTo>
                <a:cubicBezTo>
                  <a:pt x="572" y="915"/>
                  <a:pt x="621" y="894"/>
                  <a:pt x="661" y="854"/>
                </a:cubicBezTo>
                <a:cubicBezTo>
                  <a:pt x="701" y="814"/>
                  <a:pt x="721" y="765"/>
                  <a:pt x="721" y="708"/>
                </a:cubicBezTo>
                <a:close/>
                <a:moveTo>
                  <a:pt x="1340" y="1121"/>
                </a:moveTo>
                <a:cubicBezTo>
                  <a:pt x="1340" y="1093"/>
                  <a:pt x="1330" y="1069"/>
                  <a:pt x="1309" y="1048"/>
                </a:cubicBezTo>
                <a:cubicBezTo>
                  <a:pt x="1289" y="1028"/>
                  <a:pt x="1265" y="1018"/>
                  <a:pt x="1237" y="1018"/>
                </a:cubicBezTo>
                <a:cubicBezTo>
                  <a:pt x="1209" y="1018"/>
                  <a:pt x="1185" y="1028"/>
                  <a:pt x="1164" y="1048"/>
                </a:cubicBezTo>
                <a:cubicBezTo>
                  <a:pt x="1144" y="1069"/>
                  <a:pt x="1134" y="1093"/>
                  <a:pt x="1134" y="1121"/>
                </a:cubicBezTo>
                <a:cubicBezTo>
                  <a:pt x="1134" y="1149"/>
                  <a:pt x="1144" y="1173"/>
                  <a:pt x="1164" y="1194"/>
                </a:cubicBezTo>
                <a:cubicBezTo>
                  <a:pt x="1184" y="1214"/>
                  <a:pt x="1208" y="1224"/>
                  <a:pt x="1237" y="1224"/>
                </a:cubicBezTo>
                <a:cubicBezTo>
                  <a:pt x="1265" y="1224"/>
                  <a:pt x="1289" y="1214"/>
                  <a:pt x="1310" y="1194"/>
                </a:cubicBezTo>
                <a:cubicBezTo>
                  <a:pt x="1330" y="1173"/>
                  <a:pt x="1340" y="1149"/>
                  <a:pt x="1340" y="1121"/>
                </a:cubicBezTo>
                <a:close/>
                <a:moveTo>
                  <a:pt x="1340" y="296"/>
                </a:moveTo>
                <a:cubicBezTo>
                  <a:pt x="1340" y="268"/>
                  <a:pt x="1330" y="244"/>
                  <a:pt x="1309" y="224"/>
                </a:cubicBezTo>
                <a:cubicBezTo>
                  <a:pt x="1289" y="203"/>
                  <a:pt x="1265" y="193"/>
                  <a:pt x="1237" y="193"/>
                </a:cubicBezTo>
                <a:cubicBezTo>
                  <a:pt x="1209" y="193"/>
                  <a:pt x="1185" y="203"/>
                  <a:pt x="1164" y="224"/>
                </a:cubicBezTo>
                <a:cubicBezTo>
                  <a:pt x="1144" y="244"/>
                  <a:pt x="1134" y="268"/>
                  <a:pt x="1134" y="296"/>
                </a:cubicBezTo>
                <a:cubicBezTo>
                  <a:pt x="1134" y="325"/>
                  <a:pt x="1144" y="349"/>
                  <a:pt x="1164" y="369"/>
                </a:cubicBezTo>
                <a:cubicBezTo>
                  <a:pt x="1184" y="389"/>
                  <a:pt x="1208" y="399"/>
                  <a:pt x="1237" y="399"/>
                </a:cubicBezTo>
                <a:cubicBezTo>
                  <a:pt x="1265" y="399"/>
                  <a:pt x="1289" y="389"/>
                  <a:pt x="1310" y="369"/>
                </a:cubicBezTo>
                <a:cubicBezTo>
                  <a:pt x="1330" y="349"/>
                  <a:pt x="1340" y="325"/>
                  <a:pt x="1340" y="296"/>
                </a:cubicBezTo>
                <a:close/>
                <a:moveTo>
                  <a:pt x="1031" y="635"/>
                </a:moveTo>
                <a:lnTo>
                  <a:pt x="1031" y="784"/>
                </a:lnTo>
                <a:cubicBezTo>
                  <a:pt x="1031" y="790"/>
                  <a:pt x="1029" y="795"/>
                  <a:pt x="1025" y="800"/>
                </a:cubicBezTo>
                <a:cubicBezTo>
                  <a:pt x="1021" y="805"/>
                  <a:pt x="1017" y="808"/>
                  <a:pt x="1012" y="808"/>
                </a:cubicBezTo>
                <a:lnTo>
                  <a:pt x="887" y="828"/>
                </a:lnTo>
                <a:cubicBezTo>
                  <a:pt x="881" y="846"/>
                  <a:pt x="873" y="867"/>
                  <a:pt x="862" y="889"/>
                </a:cubicBezTo>
                <a:cubicBezTo>
                  <a:pt x="880" y="915"/>
                  <a:pt x="904" y="945"/>
                  <a:pt x="934" y="981"/>
                </a:cubicBezTo>
                <a:cubicBezTo>
                  <a:pt x="938" y="987"/>
                  <a:pt x="940" y="992"/>
                  <a:pt x="940" y="997"/>
                </a:cubicBezTo>
                <a:cubicBezTo>
                  <a:pt x="940" y="1004"/>
                  <a:pt x="938" y="1009"/>
                  <a:pt x="934" y="1013"/>
                </a:cubicBezTo>
                <a:cubicBezTo>
                  <a:pt x="922" y="1029"/>
                  <a:pt x="900" y="1053"/>
                  <a:pt x="868" y="1085"/>
                </a:cubicBezTo>
                <a:cubicBezTo>
                  <a:pt x="836" y="1117"/>
                  <a:pt x="815" y="1133"/>
                  <a:pt x="804" y="1133"/>
                </a:cubicBezTo>
                <a:cubicBezTo>
                  <a:pt x="798" y="1133"/>
                  <a:pt x="793" y="1131"/>
                  <a:pt x="787" y="1127"/>
                </a:cubicBezTo>
                <a:lnTo>
                  <a:pt x="695" y="1055"/>
                </a:lnTo>
                <a:cubicBezTo>
                  <a:pt x="675" y="1065"/>
                  <a:pt x="654" y="1073"/>
                  <a:pt x="633" y="1080"/>
                </a:cubicBezTo>
                <a:cubicBezTo>
                  <a:pt x="627" y="1138"/>
                  <a:pt x="621" y="1179"/>
                  <a:pt x="614" y="1204"/>
                </a:cubicBezTo>
                <a:cubicBezTo>
                  <a:pt x="611" y="1217"/>
                  <a:pt x="603" y="1224"/>
                  <a:pt x="590" y="1224"/>
                </a:cubicBezTo>
                <a:lnTo>
                  <a:pt x="441" y="1224"/>
                </a:lnTo>
                <a:cubicBezTo>
                  <a:pt x="435" y="1224"/>
                  <a:pt x="429" y="1222"/>
                  <a:pt x="424" y="1218"/>
                </a:cubicBezTo>
                <a:cubicBezTo>
                  <a:pt x="420" y="1214"/>
                  <a:pt x="417" y="1209"/>
                  <a:pt x="416" y="1204"/>
                </a:cubicBezTo>
                <a:lnTo>
                  <a:pt x="398" y="1080"/>
                </a:lnTo>
                <a:cubicBezTo>
                  <a:pt x="380" y="1075"/>
                  <a:pt x="359" y="1067"/>
                  <a:pt x="337" y="1055"/>
                </a:cubicBezTo>
                <a:lnTo>
                  <a:pt x="242" y="1127"/>
                </a:lnTo>
                <a:cubicBezTo>
                  <a:pt x="239" y="1131"/>
                  <a:pt x="233" y="1133"/>
                  <a:pt x="226" y="1133"/>
                </a:cubicBezTo>
                <a:cubicBezTo>
                  <a:pt x="220" y="1133"/>
                  <a:pt x="215" y="1131"/>
                  <a:pt x="209" y="1126"/>
                </a:cubicBezTo>
                <a:cubicBezTo>
                  <a:pt x="132" y="1055"/>
                  <a:pt x="94" y="1012"/>
                  <a:pt x="94" y="997"/>
                </a:cubicBezTo>
                <a:cubicBezTo>
                  <a:pt x="94" y="993"/>
                  <a:pt x="95" y="988"/>
                  <a:pt x="99" y="982"/>
                </a:cubicBezTo>
                <a:cubicBezTo>
                  <a:pt x="105" y="975"/>
                  <a:pt x="116" y="960"/>
                  <a:pt x="132" y="940"/>
                </a:cubicBezTo>
                <a:cubicBezTo>
                  <a:pt x="149" y="919"/>
                  <a:pt x="161" y="902"/>
                  <a:pt x="170" y="890"/>
                </a:cubicBezTo>
                <a:cubicBezTo>
                  <a:pt x="158" y="867"/>
                  <a:pt x="148" y="845"/>
                  <a:pt x="142" y="824"/>
                </a:cubicBezTo>
                <a:lnTo>
                  <a:pt x="19" y="805"/>
                </a:lnTo>
                <a:cubicBezTo>
                  <a:pt x="14" y="805"/>
                  <a:pt x="10" y="802"/>
                  <a:pt x="6" y="797"/>
                </a:cubicBezTo>
                <a:cubicBezTo>
                  <a:pt x="2" y="793"/>
                  <a:pt x="0" y="788"/>
                  <a:pt x="0" y="782"/>
                </a:cubicBezTo>
                <a:lnTo>
                  <a:pt x="0" y="633"/>
                </a:lnTo>
                <a:cubicBezTo>
                  <a:pt x="0" y="627"/>
                  <a:pt x="2" y="622"/>
                  <a:pt x="6" y="617"/>
                </a:cubicBezTo>
                <a:cubicBezTo>
                  <a:pt x="10" y="612"/>
                  <a:pt x="14" y="609"/>
                  <a:pt x="19" y="609"/>
                </a:cubicBezTo>
                <a:lnTo>
                  <a:pt x="143" y="589"/>
                </a:lnTo>
                <a:cubicBezTo>
                  <a:pt x="149" y="571"/>
                  <a:pt x="158" y="550"/>
                  <a:pt x="169" y="528"/>
                </a:cubicBezTo>
                <a:cubicBezTo>
                  <a:pt x="151" y="502"/>
                  <a:pt x="127" y="472"/>
                  <a:pt x="97" y="436"/>
                </a:cubicBezTo>
                <a:cubicBezTo>
                  <a:pt x="93" y="430"/>
                  <a:pt x="91" y="424"/>
                  <a:pt x="91" y="419"/>
                </a:cubicBezTo>
                <a:cubicBezTo>
                  <a:pt x="91" y="413"/>
                  <a:pt x="93" y="408"/>
                  <a:pt x="97" y="403"/>
                </a:cubicBezTo>
                <a:cubicBezTo>
                  <a:pt x="109" y="387"/>
                  <a:pt x="131" y="363"/>
                  <a:pt x="163" y="332"/>
                </a:cubicBezTo>
                <a:cubicBezTo>
                  <a:pt x="195" y="300"/>
                  <a:pt x="216" y="284"/>
                  <a:pt x="226" y="284"/>
                </a:cubicBezTo>
                <a:cubicBezTo>
                  <a:pt x="232" y="284"/>
                  <a:pt x="238" y="286"/>
                  <a:pt x="243" y="290"/>
                </a:cubicBezTo>
                <a:lnTo>
                  <a:pt x="336" y="362"/>
                </a:lnTo>
                <a:cubicBezTo>
                  <a:pt x="354" y="353"/>
                  <a:pt x="375" y="344"/>
                  <a:pt x="398" y="337"/>
                </a:cubicBezTo>
                <a:cubicBezTo>
                  <a:pt x="404" y="279"/>
                  <a:pt x="410" y="237"/>
                  <a:pt x="416" y="213"/>
                </a:cubicBezTo>
                <a:cubicBezTo>
                  <a:pt x="420" y="200"/>
                  <a:pt x="428" y="193"/>
                  <a:pt x="441" y="193"/>
                </a:cubicBezTo>
                <a:lnTo>
                  <a:pt x="590" y="193"/>
                </a:lnTo>
                <a:cubicBezTo>
                  <a:pt x="596" y="193"/>
                  <a:pt x="602" y="195"/>
                  <a:pt x="606" y="199"/>
                </a:cubicBezTo>
                <a:cubicBezTo>
                  <a:pt x="611" y="203"/>
                  <a:pt x="614" y="208"/>
                  <a:pt x="614" y="213"/>
                </a:cubicBezTo>
                <a:lnTo>
                  <a:pt x="633" y="337"/>
                </a:lnTo>
                <a:cubicBezTo>
                  <a:pt x="651" y="342"/>
                  <a:pt x="671" y="350"/>
                  <a:pt x="693" y="362"/>
                </a:cubicBezTo>
                <a:lnTo>
                  <a:pt x="788" y="290"/>
                </a:lnTo>
                <a:cubicBezTo>
                  <a:pt x="793" y="286"/>
                  <a:pt x="798" y="284"/>
                  <a:pt x="804" y="284"/>
                </a:cubicBezTo>
                <a:cubicBezTo>
                  <a:pt x="810" y="284"/>
                  <a:pt x="816" y="286"/>
                  <a:pt x="821" y="291"/>
                </a:cubicBezTo>
                <a:cubicBezTo>
                  <a:pt x="899" y="362"/>
                  <a:pt x="937" y="405"/>
                  <a:pt x="937" y="419"/>
                </a:cubicBezTo>
                <a:cubicBezTo>
                  <a:pt x="937" y="424"/>
                  <a:pt x="935" y="429"/>
                  <a:pt x="932" y="435"/>
                </a:cubicBezTo>
                <a:cubicBezTo>
                  <a:pt x="925" y="443"/>
                  <a:pt x="914" y="458"/>
                  <a:pt x="898" y="478"/>
                </a:cubicBezTo>
                <a:cubicBezTo>
                  <a:pt x="882" y="499"/>
                  <a:pt x="870" y="515"/>
                  <a:pt x="862" y="527"/>
                </a:cubicBezTo>
                <a:cubicBezTo>
                  <a:pt x="874" y="552"/>
                  <a:pt x="883" y="574"/>
                  <a:pt x="889" y="593"/>
                </a:cubicBezTo>
                <a:lnTo>
                  <a:pt x="1011" y="611"/>
                </a:lnTo>
                <a:cubicBezTo>
                  <a:pt x="1017" y="612"/>
                  <a:pt x="1021" y="615"/>
                  <a:pt x="1025" y="620"/>
                </a:cubicBezTo>
                <a:cubicBezTo>
                  <a:pt x="1029" y="624"/>
                  <a:pt x="1031" y="629"/>
                  <a:pt x="1031" y="635"/>
                </a:cubicBezTo>
                <a:close/>
                <a:moveTo>
                  <a:pt x="1546" y="1064"/>
                </a:moveTo>
                <a:lnTo>
                  <a:pt x="1546" y="1177"/>
                </a:lnTo>
                <a:cubicBezTo>
                  <a:pt x="1546" y="1186"/>
                  <a:pt x="1506" y="1194"/>
                  <a:pt x="1426" y="1202"/>
                </a:cubicBezTo>
                <a:cubicBezTo>
                  <a:pt x="1419" y="1216"/>
                  <a:pt x="1411" y="1230"/>
                  <a:pt x="1402" y="1244"/>
                </a:cubicBezTo>
                <a:cubicBezTo>
                  <a:pt x="1429" y="1305"/>
                  <a:pt x="1443" y="1342"/>
                  <a:pt x="1443" y="1355"/>
                </a:cubicBezTo>
                <a:cubicBezTo>
                  <a:pt x="1443" y="1357"/>
                  <a:pt x="1442" y="1359"/>
                  <a:pt x="1440" y="1361"/>
                </a:cubicBezTo>
                <a:cubicBezTo>
                  <a:pt x="1374" y="1399"/>
                  <a:pt x="1341" y="1418"/>
                  <a:pt x="1340" y="1418"/>
                </a:cubicBezTo>
                <a:cubicBezTo>
                  <a:pt x="1335" y="1418"/>
                  <a:pt x="1323" y="1405"/>
                  <a:pt x="1303" y="1380"/>
                </a:cubicBezTo>
                <a:cubicBezTo>
                  <a:pt x="1282" y="1355"/>
                  <a:pt x="1268" y="1336"/>
                  <a:pt x="1261" y="1325"/>
                </a:cubicBezTo>
                <a:cubicBezTo>
                  <a:pt x="1250" y="1326"/>
                  <a:pt x="1242" y="1327"/>
                  <a:pt x="1237" y="1327"/>
                </a:cubicBezTo>
                <a:cubicBezTo>
                  <a:pt x="1231" y="1327"/>
                  <a:pt x="1223" y="1326"/>
                  <a:pt x="1213" y="1325"/>
                </a:cubicBezTo>
                <a:cubicBezTo>
                  <a:pt x="1205" y="1336"/>
                  <a:pt x="1191" y="1355"/>
                  <a:pt x="1171" y="1380"/>
                </a:cubicBezTo>
                <a:cubicBezTo>
                  <a:pt x="1150" y="1405"/>
                  <a:pt x="1138" y="1418"/>
                  <a:pt x="1134" y="1418"/>
                </a:cubicBezTo>
                <a:cubicBezTo>
                  <a:pt x="1133" y="1418"/>
                  <a:pt x="1099" y="1399"/>
                  <a:pt x="1034" y="1361"/>
                </a:cubicBezTo>
                <a:cubicBezTo>
                  <a:pt x="1032" y="1359"/>
                  <a:pt x="1031" y="1357"/>
                  <a:pt x="1031" y="1355"/>
                </a:cubicBezTo>
                <a:cubicBezTo>
                  <a:pt x="1031" y="1342"/>
                  <a:pt x="1044" y="1305"/>
                  <a:pt x="1072" y="1244"/>
                </a:cubicBezTo>
                <a:cubicBezTo>
                  <a:pt x="1062" y="1230"/>
                  <a:pt x="1054" y="1216"/>
                  <a:pt x="1048" y="1202"/>
                </a:cubicBezTo>
                <a:cubicBezTo>
                  <a:pt x="968" y="1194"/>
                  <a:pt x="928" y="1186"/>
                  <a:pt x="928" y="1177"/>
                </a:cubicBezTo>
                <a:lnTo>
                  <a:pt x="928" y="1064"/>
                </a:lnTo>
                <a:cubicBezTo>
                  <a:pt x="928" y="1056"/>
                  <a:pt x="968" y="1047"/>
                  <a:pt x="1048" y="1039"/>
                </a:cubicBezTo>
                <a:cubicBezTo>
                  <a:pt x="1054" y="1024"/>
                  <a:pt x="1063" y="1010"/>
                  <a:pt x="1072" y="997"/>
                </a:cubicBezTo>
                <a:cubicBezTo>
                  <a:pt x="1044" y="937"/>
                  <a:pt x="1031" y="900"/>
                  <a:pt x="1031" y="886"/>
                </a:cubicBezTo>
                <a:cubicBezTo>
                  <a:pt x="1031" y="884"/>
                  <a:pt x="1032" y="882"/>
                  <a:pt x="1034" y="881"/>
                </a:cubicBezTo>
                <a:cubicBezTo>
                  <a:pt x="1036" y="880"/>
                  <a:pt x="1045" y="874"/>
                  <a:pt x="1062" y="865"/>
                </a:cubicBezTo>
                <a:cubicBezTo>
                  <a:pt x="1079" y="855"/>
                  <a:pt x="1094" y="846"/>
                  <a:pt x="1110" y="837"/>
                </a:cubicBezTo>
                <a:cubicBezTo>
                  <a:pt x="1125" y="829"/>
                  <a:pt x="1133" y="824"/>
                  <a:pt x="1134" y="824"/>
                </a:cubicBezTo>
                <a:cubicBezTo>
                  <a:pt x="1138" y="824"/>
                  <a:pt x="1150" y="837"/>
                  <a:pt x="1171" y="862"/>
                </a:cubicBezTo>
                <a:cubicBezTo>
                  <a:pt x="1191" y="887"/>
                  <a:pt x="1205" y="905"/>
                  <a:pt x="1213" y="916"/>
                </a:cubicBezTo>
                <a:cubicBezTo>
                  <a:pt x="1223" y="915"/>
                  <a:pt x="1231" y="914"/>
                  <a:pt x="1237" y="914"/>
                </a:cubicBezTo>
                <a:cubicBezTo>
                  <a:pt x="1242" y="914"/>
                  <a:pt x="1250" y="915"/>
                  <a:pt x="1261" y="916"/>
                </a:cubicBezTo>
                <a:cubicBezTo>
                  <a:pt x="1288" y="878"/>
                  <a:pt x="1313" y="848"/>
                  <a:pt x="1335" y="826"/>
                </a:cubicBezTo>
                <a:lnTo>
                  <a:pt x="1340" y="824"/>
                </a:lnTo>
                <a:cubicBezTo>
                  <a:pt x="1342" y="824"/>
                  <a:pt x="1375" y="843"/>
                  <a:pt x="1440" y="881"/>
                </a:cubicBezTo>
                <a:cubicBezTo>
                  <a:pt x="1442" y="882"/>
                  <a:pt x="1443" y="884"/>
                  <a:pt x="1443" y="886"/>
                </a:cubicBezTo>
                <a:cubicBezTo>
                  <a:pt x="1443" y="900"/>
                  <a:pt x="1429" y="937"/>
                  <a:pt x="1402" y="997"/>
                </a:cubicBezTo>
                <a:cubicBezTo>
                  <a:pt x="1411" y="1010"/>
                  <a:pt x="1419" y="1024"/>
                  <a:pt x="1426" y="1039"/>
                </a:cubicBezTo>
                <a:cubicBezTo>
                  <a:pt x="1506" y="1047"/>
                  <a:pt x="1546" y="1056"/>
                  <a:pt x="1546" y="1064"/>
                </a:cubicBezTo>
                <a:close/>
                <a:moveTo>
                  <a:pt x="1546" y="240"/>
                </a:moveTo>
                <a:lnTo>
                  <a:pt x="1546" y="353"/>
                </a:lnTo>
                <a:cubicBezTo>
                  <a:pt x="1546" y="361"/>
                  <a:pt x="1506" y="370"/>
                  <a:pt x="1426" y="378"/>
                </a:cubicBezTo>
                <a:cubicBezTo>
                  <a:pt x="1419" y="392"/>
                  <a:pt x="1411" y="406"/>
                  <a:pt x="1402" y="419"/>
                </a:cubicBezTo>
                <a:cubicBezTo>
                  <a:pt x="1429" y="480"/>
                  <a:pt x="1443" y="517"/>
                  <a:pt x="1443" y="531"/>
                </a:cubicBezTo>
                <a:cubicBezTo>
                  <a:pt x="1443" y="533"/>
                  <a:pt x="1442" y="535"/>
                  <a:pt x="1440" y="536"/>
                </a:cubicBezTo>
                <a:cubicBezTo>
                  <a:pt x="1374" y="574"/>
                  <a:pt x="1341" y="593"/>
                  <a:pt x="1340" y="593"/>
                </a:cubicBezTo>
                <a:cubicBezTo>
                  <a:pt x="1335" y="593"/>
                  <a:pt x="1323" y="581"/>
                  <a:pt x="1303" y="556"/>
                </a:cubicBezTo>
                <a:cubicBezTo>
                  <a:pt x="1282" y="530"/>
                  <a:pt x="1268" y="512"/>
                  <a:pt x="1261" y="501"/>
                </a:cubicBezTo>
                <a:cubicBezTo>
                  <a:pt x="1250" y="502"/>
                  <a:pt x="1242" y="502"/>
                  <a:pt x="1237" y="502"/>
                </a:cubicBezTo>
                <a:cubicBezTo>
                  <a:pt x="1231" y="502"/>
                  <a:pt x="1223" y="502"/>
                  <a:pt x="1213" y="501"/>
                </a:cubicBezTo>
                <a:cubicBezTo>
                  <a:pt x="1205" y="512"/>
                  <a:pt x="1191" y="530"/>
                  <a:pt x="1171" y="556"/>
                </a:cubicBezTo>
                <a:cubicBezTo>
                  <a:pt x="1150" y="581"/>
                  <a:pt x="1138" y="593"/>
                  <a:pt x="1134" y="593"/>
                </a:cubicBezTo>
                <a:cubicBezTo>
                  <a:pt x="1133" y="593"/>
                  <a:pt x="1099" y="574"/>
                  <a:pt x="1034" y="536"/>
                </a:cubicBezTo>
                <a:cubicBezTo>
                  <a:pt x="1032" y="535"/>
                  <a:pt x="1031" y="533"/>
                  <a:pt x="1031" y="531"/>
                </a:cubicBezTo>
                <a:cubicBezTo>
                  <a:pt x="1031" y="517"/>
                  <a:pt x="1044" y="480"/>
                  <a:pt x="1072" y="419"/>
                </a:cubicBezTo>
                <a:cubicBezTo>
                  <a:pt x="1062" y="406"/>
                  <a:pt x="1054" y="392"/>
                  <a:pt x="1048" y="378"/>
                </a:cubicBezTo>
                <a:cubicBezTo>
                  <a:pt x="968" y="370"/>
                  <a:pt x="928" y="361"/>
                  <a:pt x="928" y="353"/>
                </a:cubicBezTo>
                <a:lnTo>
                  <a:pt x="928" y="240"/>
                </a:lnTo>
                <a:cubicBezTo>
                  <a:pt x="928" y="231"/>
                  <a:pt x="968" y="223"/>
                  <a:pt x="1048" y="215"/>
                </a:cubicBezTo>
                <a:cubicBezTo>
                  <a:pt x="1054" y="199"/>
                  <a:pt x="1063" y="185"/>
                  <a:pt x="1072" y="173"/>
                </a:cubicBezTo>
                <a:cubicBezTo>
                  <a:pt x="1044" y="112"/>
                  <a:pt x="1031" y="75"/>
                  <a:pt x="1031" y="62"/>
                </a:cubicBezTo>
                <a:cubicBezTo>
                  <a:pt x="1031" y="60"/>
                  <a:pt x="1032" y="58"/>
                  <a:pt x="1034" y="56"/>
                </a:cubicBezTo>
                <a:cubicBezTo>
                  <a:pt x="1036" y="55"/>
                  <a:pt x="1045" y="50"/>
                  <a:pt x="1062" y="40"/>
                </a:cubicBezTo>
                <a:cubicBezTo>
                  <a:pt x="1079" y="31"/>
                  <a:pt x="1094" y="21"/>
                  <a:pt x="1110" y="13"/>
                </a:cubicBezTo>
                <a:cubicBezTo>
                  <a:pt x="1125" y="4"/>
                  <a:pt x="1133" y="0"/>
                  <a:pt x="1134" y="0"/>
                </a:cubicBezTo>
                <a:cubicBezTo>
                  <a:pt x="1138" y="0"/>
                  <a:pt x="1150" y="13"/>
                  <a:pt x="1171" y="37"/>
                </a:cubicBezTo>
                <a:cubicBezTo>
                  <a:pt x="1191" y="62"/>
                  <a:pt x="1205" y="81"/>
                  <a:pt x="1213" y="92"/>
                </a:cubicBezTo>
                <a:cubicBezTo>
                  <a:pt x="1223" y="91"/>
                  <a:pt x="1231" y="90"/>
                  <a:pt x="1237" y="90"/>
                </a:cubicBezTo>
                <a:cubicBezTo>
                  <a:pt x="1242" y="90"/>
                  <a:pt x="1250" y="91"/>
                  <a:pt x="1261" y="92"/>
                </a:cubicBezTo>
                <a:cubicBezTo>
                  <a:pt x="1288" y="54"/>
                  <a:pt x="1313" y="24"/>
                  <a:pt x="1335" y="2"/>
                </a:cubicBezTo>
                <a:lnTo>
                  <a:pt x="1340" y="0"/>
                </a:lnTo>
                <a:cubicBezTo>
                  <a:pt x="1342" y="0"/>
                  <a:pt x="1375" y="19"/>
                  <a:pt x="1440" y="56"/>
                </a:cubicBezTo>
                <a:cubicBezTo>
                  <a:pt x="1442" y="58"/>
                  <a:pt x="1443" y="60"/>
                  <a:pt x="1443" y="62"/>
                </a:cubicBezTo>
                <a:cubicBezTo>
                  <a:pt x="1443" y="75"/>
                  <a:pt x="1429" y="112"/>
                  <a:pt x="1402" y="173"/>
                </a:cubicBezTo>
                <a:cubicBezTo>
                  <a:pt x="1411" y="185"/>
                  <a:pt x="1419" y="199"/>
                  <a:pt x="1426" y="215"/>
                </a:cubicBezTo>
                <a:cubicBezTo>
                  <a:pt x="1506" y="223"/>
                  <a:pt x="1546" y="231"/>
                  <a:pt x="1546" y="240"/>
                </a:cubicBezTo>
                <a:close/>
              </a:path>
            </a:pathLst>
          </a:custGeom>
          <a:solidFill>
            <a:srgbClr val="35B2CF"/>
          </a:solidFill>
          <a:ln w="0">
            <a:noFill/>
            <a:prstDash val="solid"/>
            <a:rou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4" name="Group 13"/>
          <p:cNvGrpSpPr/>
          <p:nvPr/>
        </p:nvGrpSpPr>
        <p:grpSpPr>
          <a:xfrm>
            <a:off x="1188255" y="4678507"/>
            <a:ext cx="9993582" cy="1056021"/>
            <a:chOff x="1188255" y="4678507"/>
            <a:chExt cx="9993582" cy="1056021"/>
          </a:xfrm>
        </p:grpSpPr>
        <p:sp>
          <p:nvSpPr>
            <p:cNvPr id="96" name="Rectangle: Rounded Corners 133">
              <a:extLst>
                <a:ext uri="{FF2B5EF4-FFF2-40B4-BE49-F238E27FC236}">
                  <a16:creationId xmlns:a16="http://schemas.microsoft.com/office/drawing/2014/main" id="{352A822E-60B4-4C2D-8175-AC4D4D339302}"/>
                </a:ext>
              </a:extLst>
            </p:cNvPr>
            <p:cNvSpPr/>
            <p:nvPr/>
          </p:nvSpPr>
          <p:spPr>
            <a:xfrm>
              <a:off x="1188255" y="4678507"/>
              <a:ext cx="9993582" cy="1056021"/>
            </a:xfrm>
            <a:prstGeom prst="roundRect">
              <a:avLst>
                <a:gd name="adj" fmla="val 0"/>
              </a:avLst>
            </a:prstGeom>
            <a:solidFill>
              <a:srgbClr val="F7F7F7"/>
            </a:solidFill>
            <a:ln w="9525">
              <a:gradFill flip="none" rotWithShape="1">
                <a:gsLst>
                  <a:gs pos="0">
                    <a:srgbClr val="70AD47"/>
                  </a:gs>
                  <a:gs pos="100000">
                    <a:srgbClr val="1BA1F1"/>
                  </a:gs>
                </a:gsLst>
                <a:lin ang="10800000" scaled="1"/>
              </a:gradFill>
            </a:ln>
          </p:spPr>
          <p:style>
            <a:lnRef idx="2">
              <a:schemeClr val="accent1">
                <a:shade val="50000"/>
              </a:schemeClr>
            </a:lnRef>
            <a:fillRef idx="1">
              <a:schemeClr val="accent1"/>
            </a:fillRef>
            <a:effectRef idx="0">
              <a:schemeClr val="accent1"/>
            </a:effectRef>
            <a:fontRef idx="minor">
              <a:schemeClr val="lt1"/>
            </a:fontRef>
          </p:style>
          <p:txBody>
            <a:bodyPr lIns="182880" tIns="0" rIns="182880" bIns="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a:ln>
                  <a:noFill/>
                </a:ln>
                <a:solidFill>
                  <a:prstClr val="black">
                    <a:lumMod val="75000"/>
                    <a:lumOff val="25000"/>
                  </a:prstClr>
                </a:solidFill>
                <a:effectLst/>
                <a:uLnTx/>
                <a:uFillTx/>
                <a:latin typeface="Calibri "/>
                <a:ea typeface="+mn-ea"/>
                <a:cs typeface="+mn-cs"/>
              </a:endParaRPr>
            </a:p>
          </p:txBody>
        </p:sp>
        <p:sp>
          <p:nvSpPr>
            <p:cNvPr id="97" name="Rectangle 96">
              <a:extLst>
                <a:ext uri="{FF2B5EF4-FFF2-40B4-BE49-F238E27FC236}">
                  <a16:creationId xmlns:a16="http://schemas.microsoft.com/office/drawing/2014/main" id="{B0AB6133-32C2-4BF7-BB7D-C18D4F5AFE1C}"/>
                </a:ext>
              </a:extLst>
            </p:cNvPr>
            <p:cNvSpPr/>
            <p:nvPr/>
          </p:nvSpPr>
          <p:spPr>
            <a:xfrm>
              <a:off x="1226534" y="4778242"/>
              <a:ext cx="1793827" cy="830997"/>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Identify business pain points &amp; problem statements</a:t>
              </a:r>
            </a:p>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Develop Business Case</a:t>
              </a:r>
            </a:p>
          </p:txBody>
        </p:sp>
        <p:sp>
          <p:nvSpPr>
            <p:cNvPr id="98" name="Rectangle 97">
              <a:extLst>
                <a:ext uri="{FF2B5EF4-FFF2-40B4-BE49-F238E27FC236}">
                  <a16:creationId xmlns:a16="http://schemas.microsoft.com/office/drawing/2014/main" id="{E8E6E5C7-F0FC-4576-8460-BA6142AFBF57}"/>
                </a:ext>
              </a:extLst>
            </p:cNvPr>
            <p:cNvSpPr/>
            <p:nvPr/>
          </p:nvSpPr>
          <p:spPr>
            <a:xfrm>
              <a:off x="3160259" y="4814043"/>
              <a:ext cx="1990995" cy="646331"/>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Develop intricate business and IT dependency mapping</a:t>
              </a:r>
            </a:p>
          </p:txBody>
        </p:sp>
        <p:sp>
          <p:nvSpPr>
            <p:cNvPr id="99" name="Rectangle 98">
              <a:extLst>
                <a:ext uri="{FF2B5EF4-FFF2-40B4-BE49-F238E27FC236}">
                  <a16:creationId xmlns:a16="http://schemas.microsoft.com/office/drawing/2014/main" id="{B240CC27-83FA-486B-886B-579F2DABD44F}"/>
                </a:ext>
              </a:extLst>
            </p:cNvPr>
            <p:cNvSpPr/>
            <p:nvPr/>
          </p:nvSpPr>
          <p:spPr>
            <a:xfrm>
              <a:off x="5189843" y="4807614"/>
              <a:ext cx="1945881" cy="830997"/>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Tool based in-depth process analysis</a:t>
              </a:r>
            </a:p>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Identify bottlenecks &amp; hotspots</a:t>
              </a:r>
            </a:p>
          </p:txBody>
        </p:sp>
        <p:sp>
          <p:nvSpPr>
            <p:cNvPr id="100" name="Rectangle 99">
              <a:extLst>
                <a:ext uri="{FF2B5EF4-FFF2-40B4-BE49-F238E27FC236}">
                  <a16:creationId xmlns:a16="http://schemas.microsoft.com/office/drawing/2014/main" id="{ABE9A6AD-8F23-4530-8925-A672BF868E63}"/>
                </a:ext>
              </a:extLst>
            </p:cNvPr>
            <p:cNvSpPr/>
            <p:nvPr/>
          </p:nvSpPr>
          <p:spPr>
            <a:xfrm>
              <a:off x="7161329" y="4825691"/>
              <a:ext cx="2007287" cy="646331"/>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Synergistic solution levers across IT layers of Business Process, App &amp; Infra </a:t>
              </a:r>
            </a:p>
          </p:txBody>
        </p:sp>
        <p:sp>
          <p:nvSpPr>
            <p:cNvPr id="101" name="Rectangle 100">
              <a:extLst>
                <a:ext uri="{FF2B5EF4-FFF2-40B4-BE49-F238E27FC236}">
                  <a16:creationId xmlns:a16="http://schemas.microsoft.com/office/drawing/2014/main" id="{FE94165E-1F72-44B9-AF66-86296BFF742C}"/>
                </a:ext>
              </a:extLst>
            </p:cNvPr>
            <p:cNvSpPr/>
            <p:nvPr/>
          </p:nvSpPr>
          <p:spPr>
            <a:xfrm>
              <a:off x="9210387" y="4782213"/>
              <a:ext cx="1971449" cy="830997"/>
            </a:xfrm>
            <a:prstGeom prst="rect">
              <a:avLst/>
            </a:prstGeom>
          </p:spPr>
          <p:txBody>
            <a:bodyPr wrap="square">
              <a:spAutoFit/>
            </a:bodyPr>
            <a:lstStyle/>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Digital Operating Models - Dashboard</a:t>
              </a:r>
            </a:p>
            <a:p>
              <a:pPr marL="112181" marR="0" lvl="0" indent="-11218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4546A">
                      <a:lumMod val="75000"/>
                      <a:lumOff val="25000"/>
                    </a:srgbClr>
                  </a:solidFill>
                  <a:effectLst/>
                  <a:uLnTx/>
                  <a:uFillTx/>
                  <a:latin typeface="Calibri" panose="020F0502020204030204" pitchFamily="34" charset="0"/>
                  <a:ea typeface="+mn-ea"/>
                  <a:cs typeface="+mn-cs"/>
                </a:rPr>
                <a:t>Monitor &amp; Improve Biz. Metrics </a:t>
              </a:r>
            </a:p>
          </p:txBody>
        </p:sp>
        <p:cxnSp>
          <p:nvCxnSpPr>
            <p:cNvPr id="105" name="Straight Connector 104">
              <a:extLst>
                <a:ext uri="{FF2B5EF4-FFF2-40B4-BE49-F238E27FC236}">
                  <a16:creationId xmlns:a16="http://schemas.microsoft.com/office/drawing/2014/main" id="{405BDDB5-42F5-4451-876E-D310A7C5402C}"/>
                </a:ext>
              </a:extLst>
            </p:cNvPr>
            <p:cNvCxnSpPr/>
            <p:nvPr/>
          </p:nvCxnSpPr>
          <p:spPr>
            <a:xfrm flipH="1">
              <a:off x="9158780" y="4694897"/>
              <a:ext cx="0" cy="1039631"/>
            </a:xfrm>
            <a:prstGeom prst="line">
              <a:avLst/>
            </a:prstGeom>
            <a:ln w="635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a:extLst>
                <a:ext uri="{FF2B5EF4-FFF2-40B4-BE49-F238E27FC236}">
                  <a16:creationId xmlns:a16="http://schemas.microsoft.com/office/drawing/2014/main" id="{405BDDB5-42F5-4451-876E-D310A7C5402C}"/>
                </a:ext>
              </a:extLst>
            </p:cNvPr>
            <p:cNvCxnSpPr/>
            <p:nvPr/>
          </p:nvCxnSpPr>
          <p:spPr>
            <a:xfrm flipH="1">
              <a:off x="7160299" y="4694897"/>
              <a:ext cx="0" cy="1039631"/>
            </a:xfrm>
            <a:prstGeom prst="line">
              <a:avLst/>
            </a:prstGeom>
            <a:ln w="635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405BDDB5-42F5-4451-876E-D310A7C5402C}"/>
                </a:ext>
              </a:extLst>
            </p:cNvPr>
            <p:cNvCxnSpPr/>
            <p:nvPr/>
          </p:nvCxnSpPr>
          <p:spPr>
            <a:xfrm flipH="1">
              <a:off x="5170548" y="4694897"/>
              <a:ext cx="0" cy="1039631"/>
            </a:xfrm>
            <a:prstGeom prst="line">
              <a:avLst/>
            </a:prstGeom>
            <a:ln w="635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a:extLst>
                <a:ext uri="{FF2B5EF4-FFF2-40B4-BE49-F238E27FC236}">
                  <a16:creationId xmlns:a16="http://schemas.microsoft.com/office/drawing/2014/main" id="{405BDDB5-42F5-4451-876E-D310A7C5402C}"/>
                </a:ext>
              </a:extLst>
            </p:cNvPr>
            <p:cNvCxnSpPr/>
            <p:nvPr/>
          </p:nvCxnSpPr>
          <p:spPr>
            <a:xfrm flipH="1">
              <a:off x="3131409" y="4694897"/>
              <a:ext cx="0" cy="1039631"/>
            </a:xfrm>
            <a:prstGeom prst="line">
              <a:avLst/>
            </a:prstGeom>
            <a:ln w="635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66" name="Group 65"/>
          <p:cNvGrpSpPr/>
          <p:nvPr/>
        </p:nvGrpSpPr>
        <p:grpSpPr>
          <a:xfrm>
            <a:off x="8763847" y="215593"/>
            <a:ext cx="2695352" cy="282408"/>
            <a:chOff x="8145350" y="225859"/>
            <a:chExt cx="2695352" cy="282408"/>
          </a:xfrm>
        </p:grpSpPr>
        <p:grpSp>
          <p:nvGrpSpPr>
            <p:cNvPr id="67" name="Group 66"/>
            <p:cNvGrpSpPr/>
            <p:nvPr/>
          </p:nvGrpSpPr>
          <p:grpSpPr>
            <a:xfrm>
              <a:off x="8335160" y="246313"/>
              <a:ext cx="2505542" cy="212634"/>
              <a:chOff x="299631" y="452732"/>
              <a:chExt cx="3147489" cy="320558"/>
            </a:xfrm>
          </p:grpSpPr>
          <p:grpSp>
            <p:nvGrpSpPr>
              <p:cNvPr id="70" name="Group 69"/>
              <p:cNvGrpSpPr/>
              <p:nvPr/>
            </p:nvGrpSpPr>
            <p:grpSpPr>
              <a:xfrm>
                <a:off x="299631" y="484807"/>
                <a:ext cx="270857" cy="281833"/>
                <a:chOff x="299631" y="484807"/>
                <a:chExt cx="270857" cy="281833"/>
              </a:xfrm>
            </p:grpSpPr>
            <p:sp>
              <p:nvSpPr>
                <p:cNvPr id="80" name="Oval 79"/>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81" name="Picture 80" descr="http://i1.cpcache.com/product_zoom/1264121174/skydiving_icon_business_cards.jpg?height=250&amp;width=250&amp;padToSquare=tru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71" name="TextBox 70"/>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72" name="Group 71"/>
              <p:cNvGrpSpPr/>
              <p:nvPr/>
            </p:nvGrpSpPr>
            <p:grpSpPr>
              <a:xfrm>
                <a:off x="1298515" y="490776"/>
                <a:ext cx="271717" cy="275864"/>
                <a:chOff x="5057725" y="5770940"/>
                <a:chExt cx="496562" cy="496562"/>
              </a:xfrm>
            </p:grpSpPr>
            <p:sp>
              <p:nvSpPr>
                <p:cNvPr id="78" name="Oval 77"/>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79" name="Picture 4" descr="http://sr.photos3.fotosearch.com/bthumb/CSP/CSP345/k3453379.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73" name="TextBox 72"/>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74" name="Group 73"/>
              <p:cNvGrpSpPr/>
              <p:nvPr/>
            </p:nvGrpSpPr>
            <p:grpSpPr>
              <a:xfrm>
                <a:off x="2310382" y="479627"/>
                <a:ext cx="304919" cy="293663"/>
                <a:chOff x="8469842" y="5748867"/>
                <a:chExt cx="496562" cy="496562"/>
              </a:xfrm>
            </p:grpSpPr>
            <p:sp>
              <p:nvSpPr>
                <p:cNvPr id="76" name="Oval 75"/>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77" name="Picture 2" descr="http://www.kewauneeprcommittee.com/High_hurdles.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75" name="TextBox 74"/>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68" name="Rounded Rectangle 67"/>
            <p:cNvSpPr/>
            <p:nvPr/>
          </p:nvSpPr>
          <p:spPr>
            <a:xfrm>
              <a:off x="8980833" y="229034"/>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9" name="Rounded Rectangle 68"/>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2155884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ounded Rectangle 47"/>
          <p:cNvSpPr/>
          <p:nvPr/>
        </p:nvSpPr>
        <p:spPr>
          <a:xfrm>
            <a:off x="84383" y="410332"/>
            <a:ext cx="11950251" cy="5629594"/>
          </a:xfrm>
          <a:prstGeom prst="roundRect">
            <a:avLst>
              <a:gd name="adj" fmla="val 3608"/>
            </a:avLst>
          </a:prstGeom>
          <a:solidFill>
            <a:srgbClr val="E7E6E6">
              <a:lumMod val="85000"/>
              <a:alpha val="20000"/>
            </a:srgbClr>
          </a:solidFill>
          <a:ln w="9525" cap="flat" cmpd="sng" algn="ctr">
            <a:solidFill>
              <a:srgbClr val="5B9BD5"/>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
        <p:nvSpPr>
          <p:cNvPr id="14" name="Title 1"/>
          <p:cNvSpPr txBox="1">
            <a:spLocks/>
          </p:cNvSpPr>
          <p:nvPr/>
        </p:nvSpPr>
        <p:spPr>
          <a:xfrm>
            <a:off x="262232" y="49736"/>
            <a:ext cx="11180064" cy="1060704"/>
          </a:xfrm>
          <a:prstGeom prst="rect">
            <a:avLst/>
          </a:prstGeom>
        </p:spPr>
        <p:txBody>
          <a:bodyPr vert="horz" lIns="0" tIns="0" rIns="0" bIns="0" rtlCol="0" anchor="t" anchorCtr="0">
            <a:noAutofit/>
          </a:bodyPr>
          <a:lstStyle>
            <a:lvl1pPr defTabSz="914355">
              <a:lnSpc>
                <a:spcPct val="90000"/>
              </a:lnSpc>
              <a:spcBef>
                <a:spcPct val="0"/>
              </a:spcBef>
              <a:buNone/>
              <a:defRPr>
                <a:solidFill>
                  <a:schemeClr val="accent1"/>
                </a:solidFill>
                <a:latin typeface="Segoe UI" panose="020B0502040204020203" pitchFamily="34" charset="0"/>
                <a:ea typeface="+mj-ea"/>
                <a:cs typeface="Segoe UI" panose="020B0502040204020203" pitchFamily="34" charset="0"/>
              </a:defRPr>
            </a:lvl1pPr>
          </a:lstStyle>
          <a:p>
            <a:pPr marL="0" marR="0" lvl="0" indent="0" algn="l" defTabSz="914355" rtl="0" eaLnBrk="1" fontAlgn="auto" latinLnBrk="0" hangingPunct="1">
              <a:lnSpc>
                <a:spcPct val="90000"/>
              </a:lnSpc>
              <a:spcBef>
                <a:spcPct val="0"/>
              </a:spcBef>
              <a:spcAft>
                <a:spcPts val="0"/>
              </a:spcAft>
              <a:buClrTx/>
              <a:buSzTx/>
              <a:buFontTx/>
              <a:buNone/>
              <a:tabLst/>
              <a:defRPr/>
            </a:pPr>
            <a:r>
              <a:rPr kumimoji="0" lang="en-US" sz="1867" b="0" i="0" u="none" strike="noStrike" kern="1200" cap="none" spc="0" normalizeH="0" baseline="0" noProof="0" dirty="0" smtClean="0">
                <a:ln>
                  <a:noFill/>
                </a:ln>
                <a:solidFill>
                  <a:srgbClr val="2956CD"/>
                </a:solidFill>
                <a:effectLst/>
                <a:uLnTx/>
                <a:uFillTx/>
                <a:latin typeface="Segoe UI Semibold" panose="020B0702040204020203" pitchFamily="34" charset="0"/>
                <a:ea typeface="+mj-ea"/>
                <a:cs typeface="Segoe UI Semibold" panose="020B0702040204020203" pitchFamily="34" charset="0"/>
              </a:rPr>
              <a:t>BVM in Action – Improving Billing &amp; Payments Efficiency </a:t>
            </a:r>
            <a:endParaRPr kumimoji="0" lang="en-US" sz="1867" b="0" i="0" u="sng" strike="noStrike" kern="1200" cap="none" spc="0" normalizeH="0" baseline="0" noProof="0" dirty="0">
              <a:ln>
                <a:noFill/>
              </a:ln>
              <a:solidFill>
                <a:srgbClr val="2956CD"/>
              </a:solidFill>
              <a:effectLst/>
              <a:uLnTx/>
              <a:uFillTx/>
              <a:latin typeface="Segoe UI Semibold" panose="020B0702040204020203" pitchFamily="34" charset="0"/>
              <a:ea typeface="+mj-ea"/>
              <a:cs typeface="Segoe UI Semibold" panose="020B0702040204020203" pitchFamily="34" charset="0"/>
            </a:endParaRPr>
          </a:p>
        </p:txBody>
      </p:sp>
      <p:sp>
        <p:nvSpPr>
          <p:cNvPr id="112" name="Footer Placeholder 3"/>
          <p:cNvSpPr>
            <a:spLocks noGrp="1"/>
          </p:cNvSpPr>
          <p:nvPr>
            <p:ph type="ftr" sz="quarter" idx="15"/>
          </p:nvPr>
        </p:nvSpPr>
        <p:spPr>
          <a:xfrm>
            <a:off x="5502887" y="6402578"/>
            <a:ext cx="6096000" cy="207264"/>
          </a:xfrm>
          <a:prstGeom prst="rect">
            <a:avLst/>
          </a:prstGeom>
        </p:spPr>
        <p:txBody>
          <a:bodyPr vert="horz"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3A0"/>
                </a:solidFill>
                <a:effectLst/>
                <a:uLnTx/>
                <a:uFillTx/>
                <a:latin typeface="Arial" panose="020B0604020202020204"/>
                <a:ea typeface="+mn-ea"/>
                <a:cs typeface="+mn-cs"/>
              </a:rPr>
              <a:t>© </a:t>
            </a:r>
            <a:r>
              <a:rPr kumimoji="0" lang="en-US" sz="1000" b="0" i="0" u="none" strike="noStrike" kern="1200" cap="none" spc="0" normalizeH="0" baseline="0" noProof="0" dirty="0" smtClean="0">
                <a:ln>
                  <a:noFill/>
                </a:ln>
                <a:solidFill>
                  <a:srgbClr val="0033A0"/>
                </a:solidFill>
                <a:effectLst/>
                <a:uLnTx/>
                <a:uFillTx/>
                <a:latin typeface="Arial" panose="020B0604020202020204"/>
                <a:ea typeface="+mn-ea"/>
                <a:cs typeface="+mn-cs"/>
              </a:rPr>
              <a:t>2019 </a:t>
            </a:r>
            <a:r>
              <a:rPr kumimoji="0" lang="en-US" sz="1000" b="0" i="0" u="none" strike="noStrike" kern="1200" cap="none" spc="0" normalizeH="0" baseline="0" noProof="0" dirty="0">
                <a:ln>
                  <a:noFill/>
                </a:ln>
                <a:solidFill>
                  <a:srgbClr val="0033A0"/>
                </a:solidFill>
                <a:effectLst/>
                <a:uLnTx/>
                <a:uFillTx/>
                <a:latin typeface="Arial" panose="020B0604020202020204"/>
                <a:ea typeface="+mn-ea"/>
                <a:cs typeface="+mn-cs"/>
              </a:rPr>
              <a:t>Cognizant</a:t>
            </a:r>
          </a:p>
        </p:txBody>
      </p:sp>
      <p:sp>
        <p:nvSpPr>
          <p:cNvPr id="4" name="Slide Number Placeholder 3"/>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1200" b="1" i="0" u="none" strike="noStrike" kern="1200" cap="none" spc="0" normalizeH="0" baseline="0" noProof="0" smtClean="0">
                <a:ln>
                  <a:noFill/>
                </a:ln>
                <a:solidFill>
                  <a:srgbClr val="00B14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200" b="1" i="0" u="none" strike="noStrike" kern="1200" cap="none" spc="0" normalizeH="0" baseline="0" noProof="0" dirty="0">
              <a:ln>
                <a:noFill/>
              </a:ln>
              <a:solidFill>
                <a:srgbClr val="00B140"/>
              </a:solidFill>
              <a:effectLst/>
              <a:uLnTx/>
              <a:uFillTx/>
              <a:latin typeface="Arial" panose="020B0604020202020204"/>
              <a:ea typeface="+mn-ea"/>
              <a:cs typeface="+mn-cs"/>
            </a:endParaRPr>
          </a:p>
        </p:txBody>
      </p:sp>
      <p:sp>
        <p:nvSpPr>
          <p:cNvPr id="49" name="Rectangle 48"/>
          <p:cNvSpPr/>
          <p:nvPr/>
        </p:nvSpPr>
        <p:spPr>
          <a:xfrm>
            <a:off x="134282" y="2961006"/>
            <a:ext cx="4219703" cy="492443"/>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2. Followed by baselining of Business KPI : We studied the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illing &amp; Payments’ </a:t>
            </a: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rocess and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found</a:t>
            </a:r>
            <a:endPar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graphicFrame>
        <p:nvGraphicFramePr>
          <p:cNvPr id="50" name="Table 49"/>
          <p:cNvGraphicFramePr>
            <a:graphicFrameLocks noGrp="1"/>
          </p:cNvGraphicFramePr>
          <p:nvPr>
            <p:extLst/>
          </p:nvPr>
        </p:nvGraphicFramePr>
        <p:xfrm>
          <a:off x="341610" y="3535448"/>
          <a:ext cx="3710686" cy="1188720"/>
        </p:xfrm>
        <a:graphic>
          <a:graphicData uri="http://schemas.openxmlformats.org/drawingml/2006/table">
            <a:tbl>
              <a:tblPr firstRow="1" bandRow="1"/>
              <a:tblGrid>
                <a:gridCol w="1299621">
                  <a:extLst>
                    <a:ext uri="{9D8B030D-6E8A-4147-A177-3AD203B41FA5}">
                      <a16:colId xmlns:a16="http://schemas.microsoft.com/office/drawing/2014/main" val="223713029"/>
                    </a:ext>
                  </a:extLst>
                </a:gridCol>
                <a:gridCol w="1047207">
                  <a:extLst>
                    <a:ext uri="{9D8B030D-6E8A-4147-A177-3AD203B41FA5}">
                      <a16:colId xmlns:a16="http://schemas.microsoft.com/office/drawing/2014/main" val="2152451853"/>
                    </a:ext>
                  </a:extLst>
                </a:gridCol>
                <a:gridCol w="1363858">
                  <a:extLst>
                    <a:ext uri="{9D8B030D-6E8A-4147-A177-3AD203B41FA5}">
                      <a16:colId xmlns:a16="http://schemas.microsoft.com/office/drawing/2014/main" val="278727203"/>
                    </a:ext>
                  </a:extLst>
                </a:gridCol>
              </a:tblGrid>
              <a:tr h="406963">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100" dirty="0" smtClean="0">
                          <a:solidFill>
                            <a:schemeClr val="tx2">
                              <a:lumMod val="85000"/>
                              <a:lumOff val="15000"/>
                            </a:schemeClr>
                          </a:solidFill>
                          <a:latin typeface="Segoe UI Semibold" panose="020B0702040204020203" pitchFamily="34" charset="0"/>
                          <a:cs typeface="Segoe UI Semibold" panose="020B0702040204020203" pitchFamily="34" charset="0"/>
                        </a:rPr>
                        <a:t>KPI</a:t>
                      </a:r>
                      <a:endParaRPr lang="en-US" sz="11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100" dirty="0" smtClean="0">
                          <a:solidFill>
                            <a:schemeClr val="tx2">
                              <a:lumMod val="85000"/>
                              <a:lumOff val="15000"/>
                            </a:schemeClr>
                          </a:solidFill>
                          <a:latin typeface="Segoe UI Semibold" panose="020B0702040204020203" pitchFamily="34" charset="0"/>
                          <a:cs typeface="Segoe UI Semibold" panose="020B0702040204020203" pitchFamily="34" charset="0"/>
                        </a:rPr>
                        <a:t>Actual Performance</a:t>
                      </a:r>
                      <a:endParaRPr lang="en-US" sz="11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100" dirty="0" smtClean="0">
                          <a:solidFill>
                            <a:schemeClr val="tx2">
                              <a:lumMod val="85000"/>
                              <a:lumOff val="15000"/>
                            </a:schemeClr>
                          </a:solidFill>
                          <a:latin typeface="Segoe UI Semibold" panose="020B0702040204020203" pitchFamily="34" charset="0"/>
                          <a:cs typeface="Segoe UI Semibold" panose="020B0702040204020203" pitchFamily="34" charset="0"/>
                        </a:rPr>
                        <a:t>Benchmark</a:t>
                      </a:r>
                      <a:endParaRPr lang="en-US" sz="11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extLst>
                  <a:ext uri="{0D108BD9-81ED-4DB2-BD59-A6C34878D82A}">
                    <a16:rowId xmlns:a16="http://schemas.microsoft.com/office/drawing/2014/main" val="1156341887"/>
                  </a:ext>
                </a:extLst>
              </a:tr>
              <a:tr h="726720">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ctr"/>
                      <a:r>
                        <a:rPr lang="en-US" sz="1100" dirty="0" smtClean="0">
                          <a:solidFill>
                            <a:schemeClr val="tx2">
                              <a:lumMod val="85000"/>
                              <a:lumOff val="15000"/>
                            </a:schemeClr>
                          </a:solidFill>
                          <a:latin typeface="Segoe UI Semibold" panose="020B0702040204020203" pitchFamily="34" charset="0"/>
                          <a:cs typeface="Segoe UI Semibold" panose="020B0702040204020203" pitchFamily="34" charset="0"/>
                        </a:rPr>
                        <a:t>Cycle time to generate</a:t>
                      </a:r>
                      <a:r>
                        <a:rPr lang="en-US" sz="1100" baseline="0" dirty="0" smtClean="0">
                          <a:solidFill>
                            <a:schemeClr val="tx2">
                              <a:lumMod val="85000"/>
                              <a:lumOff val="15000"/>
                            </a:schemeClr>
                          </a:solidFill>
                          <a:latin typeface="Segoe UI Semibold" panose="020B0702040204020203" pitchFamily="34" charset="0"/>
                          <a:cs typeface="Segoe UI Semibold" panose="020B0702040204020203" pitchFamily="34" charset="0"/>
                        </a:rPr>
                        <a:t> Correct and Complete Invoice</a:t>
                      </a:r>
                      <a:endParaRPr lang="en-US" sz="11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ctr"/>
                      <a:r>
                        <a:rPr lang="en-US" sz="1100" baseline="0" dirty="0" smtClean="0">
                          <a:solidFill>
                            <a:srgbClr val="FF0000"/>
                          </a:solidFill>
                          <a:latin typeface="Segoe UI Semibold" panose="020B0702040204020203" pitchFamily="34" charset="0"/>
                          <a:cs typeface="Segoe UI Semibold" panose="020B0702040204020203" pitchFamily="34" charset="0"/>
                        </a:rPr>
                        <a:t>X</a:t>
                      </a:r>
                      <a:endParaRPr lang="en-US" sz="1100" baseline="30000" dirty="0">
                        <a:solidFill>
                          <a:srgbClr val="FF0000"/>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l"/>
                      <a:r>
                        <a:rPr lang="en-US" sz="1100" dirty="0" smtClean="0">
                          <a:solidFill>
                            <a:schemeClr val="tx2">
                              <a:lumMod val="85000"/>
                              <a:lumOff val="15000"/>
                            </a:schemeClr>
                          </a:solidFill>
                          <a:latin typeface="Segoe UI Semibold" panose="020B0702040204020203" pitchFamily="34" charset="0"/>
                          <a:cs typeface="Segoe UI Semibold" panose="020B0702040204020203" pitchFamily="34" charset="0"/>
                        </a:rPr>
                        <a:t>   BIC:</a:t>
                      </a:r>
                      <a:r>
                        <a:rPr lang="en-US" sz="1100" baseline="0" dirty="0" smtClean="0">
                          <a:solidFill>
                            <a:schemeClr val="tx2">
                              <a:lumMod val="85000"/>
                              <a:lumOff val="15000"/>
                            </a:schemeClr>
                          </a:solidFill>
                          <a:latin typeface="Segoe UI Semibold" panose="020B0702040204020203" pitchFamily="34" charset="0"/>
                          <a:cs typeface="Segoe UI Semibold" panose="020B0702040204020203" pitchFamily="34" charset="0"/>
                        </a:rPr>
                        <a:t> 2 Days</a:t>
                      </a: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3769271022"/>
                  </a:ext>
                </a:extLst>
              </a:tr>
            </a:tbl>
          </a:graphicData>
        </a:graphic>
      </p:graphicFrame>
      <p:sp>
        <p:nvSpPr>
          <p:cNvPr id="52" name="Rectangle 51"/>
          <p:cNvSpPr/>
          <p:nvPr/>
        </p:nvSpPr>
        <p:spPr>
          <a:xfrm>
            <a:off x="334711" y="4806167"/>
            <a:ext cx="3368479" cy="246221"/>
          </a:xfrm>
          <a:prstGeom prst="rect">
            <a:avLst/>
          </a:prstGeom>
        </p:spPr>
        <p:txBody>
          <a:bodyPr wrap="square">
            <a:spAutoFit/>
          </a:body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smtClean="0">
                <a:ln>
                  <a:noFill/>
                </a:ln>
                <a:solidFill>
                  <a:srgbClr val="000000">
                    <a:lumMod val="95000"/>
                    <a:lumOff val="5000"/>
                  </a:srgbClr>
                </a:solidFill>
                <a:effectLst/>
                <a:uLnTx/>
                <a:uFillTx/>
                <a:latin typeface="Segoe UI" panose="020B0502040204020203" pitchFamily="34" charset="0"/>
                <a:ea typeface="+mn-ea"/>
                <a:cs typeface="Segoe UI" panose="020B0502040204020203" pitchFamily="34" charset="0"/>
              </a:rPr>
              <a:t> </a:t>
            </a:r>
            <a:r>
              <a:rPr kumimoji="0" lang="en-US" sz="1000" b="0" i="1" u="none" strike="noStrike" kern="1200" cap="none" spc="0" normalizeH="0" baseline="0" noProof="0" dirty="0">
                <a:ln>
                  <a:noFill/>
                </a:ln>
                <a:solidFill>
                  <a:srgbClr val="000000">
                    <a:lumMod val="95000"/>
                    <a:lumOff val="5000"/>
                  </a:srgbClr>
                </a:solidFill>
                <a:effectLst/>
                <a:uLnTx/>
                <a:uFillTx/>
                <a:latin typeface="Segoe UI" panose="020B0502040204020203" pitchFamily="34" charset="0"/>
                <a:ea typeface="+mn-ea"/>
                <a:cs typeface="Segoe UI" panose="020B0502040204020203" pitchFamily="34" charset="0"/>
              </a:rPr>
              <a:t>Benchmarks procured under license from © APQC 2017</a:t>
            </a:r>
          </a:p>
        </p:txBody>
      </p:sp>
      <p:sp>
        <p:nvSpPr>
          <p:cNvPr id="53" name="Rectangle 52"/>
          <p:cNvSpPr/>
          <p:nvPr/>
        </p:nvSpPr>
        <p:spPr>
          <a:xfrm>
            <a:off x="113129" y="647769"/>
            <a:ext cx="4146740" cy="492443"/>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1.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We start by identifying Apps from inventory, related business process &amp; respective business KPI…</a:t>
            </a:r>
            <a:endPar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54" name="Straight Connector 53"/>
          <p:cNvCxnSpPr/>
          <p:nvPr/>
        </p:nvCxnSpPr>
        <p:spPr>
          <a:xfrm>
            <a:off x="242021" y="2690043"/>
            <a:ext cx="3810275" cy="0"/>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55" name="Rounded Rectangle 54"/>
          <p:cNvSpPr/>
          <p:nvPr/>
        </p:nvSpPr>
        <p:spPr>
          <a:xfrm>
            <a:off x="317684" y="5388506"/>
            <a:ext cx="3603940" cy="659976"/>
          </a:xfrm>
          <a:prstGeom prst="roundRect">
            <a:avLst>
              <a:gd name="adj" fmla="val 13044"/>
            </a:avLst>
          </a:prstGeom>
          <a:solidFill>
            <a:schemeClr val="accent4">
              <a:lumMod val="20000"/>
              <a:lumOff val="80000"/>
            </a:schemeClr>
          </a:solidFill>
          <a:ln w="635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Calibri" panose="020F0502020204030204"/>
              <a:ea typeface="+mn-ea"/>
              <a:cs typeface="+mn-cs"/>
            </a:endParaRPr>
          </a:p>
        </p:txBody>
      </p:sp>
      <p:sp>
        <p:nvSpPr>
          <p:cNvPr id="56" name="Rectangle 55"/>
          <p:cNvSpPr/>
          <p:nvPr/>
        </p:nvSpPr>
        <p:spPr>
          <a:xfrm>
            <a:off x="341610" y="5393117"/>
            <a:ext cx="3459481" cy="692497"/>
          </a:xfrm>
          <a:prstGeom prst="rect">
            <a:avLst/>
          </a:prstGeom>
          <a:noFill/>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smtClean="0">
                <a:ln>
                  <a:noFill/>
                </a:ln>
                <a:solidFill>
                  <a:srgbClr val="000000">
                    <a:lumMod val="75000"/>
                    <a:lumOff val="25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voice (Correct &amp; Complete) Accuracy is one of the key aspects of Billing and Payments</a:t>
            </a:r>
            <a:endParaRPr kumimoji="0" lang="en-US" sz="13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0" name="Straight Connector 59"/>
          <p:cNvCxnSpPr/>
          <p:nvPr/>
        </p:nvCxnSpPr>
        <p:spPr>
          <a:xfrm>
            <a:off x="4166246" y="754211"/>
            <a:ext cx="0" cy="5267180"/>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61" name="Rectangle 60"/>
          <p:cNvSpPr/>
          <p:nvPr/>
        </p:nvSpPr>
        <p:spPr>
          <a:xfrm>
            <a:off x="4339630" y="550662"/>
            <a:ext cx="7517347" cy="492443"/>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3. Digital Footprint Diagnostics is performed on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presentative business </a:t>
            </a: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transaction data to determine the business process and IT hotspots…</a:t>
            </a:r>
          </a:p>
        </p:txBody>
      </p:sp>
      <p:sp>
        <p:nvSpPr>
          <p:cNvPr id="65" name="TextBox 64"/>
          <p:cNvSpPr txBox="1"/>
          <p:nvPr/>
        </p:nvSpPr>
        <p:spPr>
          <a:xfrm>
            <a:off x="4736145" y="974308"/>
            <a:ext cx="3141159" cy="318030"/>
          </a:xfrm>
          <a:prstGeom prst="rect">
            <a:avLst/>
          </a:prstGeom>
          <a:noFill/>
        </p:spPr>
        <p:txBody>
          <a:bodyPr wrap="square" lIns="162556" tIns="81277" rIns="162556" bIns="81277" rtlCol="0">
            <a:spAutoFit/>
          </a:bodyPr>
          <a:lstStyle>
            <a:defPPr>
              <a:defRPr lang="en-US"/>
            </a:defPPr>
            <a:lvl1pPr defTabSz="609510">
              <a:defRPr sz="1000">
                <a:solidFill>
                  <a:srgbClr val="FF0000"/>
                </a:solidFill>
                <a:latin typeface="Segoe UI Semibold" panose="020B0702040204020203" pitchFamily="34" charset="0"/>
                <a:ea typeface="+mj-ea"/>
                <a:cs typeface="Segoe UI Semibold" panose="020B0702040204020203" pitchFamily="34" charset="0"/>
              </a:defRPr>
            </a:lvl1pPr>
          </a:lstStyle>
          <a:p>
            <a:pPr marL="0" marR="0" lvl="0" indent="0" algn="r" defTabSz="60949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C00000"/>
                </a:solidFill>
                <a:effectLst/>
                <a:uLnTx/>
                <a:uFillTx/>
                <a:latin typeface="Segoe UI Semibold" panose="020B0702040204020203" pitchFamily="34" charset="0"/>
                <a:ea typeface="+mj-ea"/>
                <a:cs typeface="Segoe UI Semibold" panose="020B0702040204020203" pitchFamily="34" charset="0"/>
              </a:rPr>
              <a:t>Customer Not properly signed for the service</a:t>
            </a:r>
            <a:endParaRPr kumimoji="0" lang="en-US" sz="1000" b="0" i="0" u="none" strike="noStrike" kern="0" cap="none" spc="0" normalizeH="0" baseline="0" noProof="0" dirty="0">
              <a:ln>
                <a:noFill/>
              </a:ln>
              <a:solidFill>
                <a:srgbClr val="C00000"/>
              </a:solidFill>
              <a:effectLst/>
              <a:uLnTx/>
              <a:uFillTx/>
              <a:latin typeface="Segoe UI Semibold" panose="020B0702040204020203" pitchFamily="34" charset="0"/>
              <a:ea typeface="+mj-ea"/>
              <a:cs typeface="Segoe UI Semibold" panose="020B0702040204020203" pitchFamily="34" charset="0"/>
            </a:endParaRPr>
          </a:p>
        </p:txBody>
      </p:sp>
      <p:cxnSp>
        <p:nvCxnSpPr>
          <p:cNvPr id="68" name="Straight Connector 67"/>
          <p:cNvCxnSpPr/>
          <p:nvPr/>
        </p:nvCxnSpPr>
        <p:spPr>
          <a:xfrm>
            <a:off x="4475030" y="2606362"/>
            <a:ext cx="7316739" cy="0"/>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69" name="Rectangle 68"/>
          <p:cNvSpPr/>
          <p:nvPr/>
        </p:nvSpPr>
        <p:spPr>
          <a:xfrm>
            <a:off x="4309660" y="2649543"/>
            <a:ext cx="4303764" cy="292388"/>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4.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ossible RCs for Invoice Inaccuracy…</a:t>
            </a:r>
            <a:endPar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1" name="Straight Connector 70"/>
          <p:cNvCxnSpPr/>
          <p:nvPr/>
        </p:nvCxnSpPr>
        <p:spPr>
          <a:xfrm>
            <a:off x="8514078" y="2690043"/>
            <a:ext cx="0" cy="3385533"/>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72" name="Rectangle 71"/>
          <p:cNvSpPr/>
          <p:nvPr/>
        </p:nvSpPr>
        <p:spPr>
          <a:xfrm>
            <a:off x="8649679" y="2692227"/>
            <a:ext cx="3373303" cy="492443"/>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6</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 </a:t>
            </a: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onitor Business KPIs, IT BSLAs, via </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ID dashboard </a:t>
            </a: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to ascertain high performance</a:t>
            </a:r>
          </a:p>
        </p:txBody>
      </p:sp>
      <p:sp>
        <p:nvSpPr>
          <p:cNvPr id="74" name="TextBox 73"/>
          <p:cNvSpPr txBox="1"/>
          <p:nvPr/>
        </p:nvSpPr>
        <p:spPr>
          <a:xfrm>
            <a:off x="8687324" y="5726698"/>
            <a:ext cx="3190851" cy="338554"/>
          </a:xfrm>
          <a:prstGeom prst="rect">
            <a:avLst/>
          </a:prstGeom>
        </p:spPr>
        <p:txBody>
          <a:bodyPr wrap="square">
            <a:spAutoFit/>
          </a:bodyPr>
          <a:lstStyle>
            <a:defPPr>
              <a:defRPr lang="en-US"/>
            </a:defPPr>
            <a:lvl1pPr defTabSz="457178">
              <a:defRPr sz="1000" i="1">
                <a:solidFill>
                  <a:schemeClr val="tx2">
                    <a:lumMod val="95000"/>
                    <a:lumOff val="5000"/>
                  </a:schemeClr>
                </a:solidFill>
                <a:latin typeface="Segoe UI" panose="020B0502040204020203" pitchFamily="34" charset="0"/>
                <a:cs typeface="Segoe UI" panose="020B0502040204020203" pitchFamily="34" charset="0"/>
              </a:defRPr>
            </a:lvl1p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rPr>
              <a:t>Note : Illustrative KPI tree depicted here is based on relevance to </a:t>
            </a:r>
            <a:r>
              <a:rPr kumimoji="0" lang="en-US" sz="800" b="0" i="1" u="none" strike="noStrike" kern="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Billing process</a:t>
            </a:r>
            <a:endParaRPr kumimoji="0" lang="en-US" sz="800" b="0" i="1"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p:txBody>
      </p:sp>
      <p:sp>
        <p:nvSpPr>
          <p:cNvPr id="33" name="TextBox 32"/>
          <p:cNvSpPr txBox="1"/>
          <p:nvPr/>
        </p:nvSpPr>
        <p:spPr>
          <a:xfrm>
            <a:off x="6694452" y="2275730"/>
            <a:ext cx="1677383" cy="318030"/>
          </a:xfrm>
          <a:prstGeom prst="rect">
            <a:avLst/>
          </a:prstGeom>
          <a:noFill/>
        </p:spPr>
        <p:txBody>
          <a:bodyPr wrap="square" lIns="162556" tIns="81277" rIns="162556" bIns="81277" rtlCol="0">
            <a:spAutoFit/>
          </a:bodyPr>
          <a:lstStyle>
            <a:defPPr>
              <a:defRPr lang="en-US"/>
            </a:defPPr>
            <a:lvl1pPr defTabSz="609510">
              <a:defRPr sz="1000">
                <a:solidFill>
                  <a:srgbClr val="FF0000"/>
                </a:solidFill>
                <a:latin typeface="Segoe UI Semibold" panose="020B0702040204020203" pitchFamily="34" charset="0"/>
                <a:ea typeface="+mj-ea"/>
                <a:cs typeface="Segoe UI Semibold" panose="020B0702040204020203" pitchFamily="34" charset="0"/>
              </a:defRPr>
            </a:lvl1pPr>
          </a:lstStyle>
          <a:p>
            <a:pPr marL="0" marR="0" lvl="0" indent="0" algn="r" defTabSz="60949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C00000"/>
                </a:solidFill>
                <a:effectLst/>
                <a:uLnTx/>
                <a:uFillTx/>
                <a:latin typeface="Segoe UI Semibold" panose="020B0702040204020203" pitchFamily="34" charset="0"/>
                <a:ea typeface="+mj-ea"/>
                <a:cs typeface="Segoe UI Semibold" panose="020B0702040204020203" pitchFamily="34" charset="0"/>
              </a:rPr>
              <a:t>Wrong data entry</a:t>
            </a:r>
            <a:endParaRPr kumimoji="0" lang="en-US" sz="1000" b="0" i="0" u="none" strike="noStrike" kern="0" cap="none" spc="0" normalizeH="0" baseline="0" noProof="0" dirty="0">
              <a:ln>
                <a:noFill/>
              </a:ln>
              <a:solidFill>
                <a:srgbClr val="C00000"/>
              </a:solidFill>
              <a:effectLst/>
              <a:uLnTx/>
              <a:uFillTx/>
              <a:latin typeface="Segoe UI Semibold" panose="020B0702040204020203" pitchFamily="34" charset="0"/>
              <a:ea typeface="+mj-ea"/>
              <a:cs typeface="Segoe UI Semibold" panose="020B0702040204020203" pitchFamily="34" charset="0"/>
            </a:endParaRPr>
          </a:p>
        </p:txBody>
      </p:sp>
      <p:sp>
        <p:nvSpPr>
          <p:cNvPr id="35" name="Rectangle 34"/>
          <p:cNvSpPr/>
          <p:nvPr/>
        </p:nvSpPr>
        <p:spPr>
          <a:xfrm rot="10800000" flipV="1">
            <a:off x="8681816" y="2210773"/>
            <a:ext cx="3157823" cy="338554"/>
          </a:xfrm>
          <a:prstGeom prst="rect">
            <a:avLst/>
          </a:prstGeom>
        </p:spPr>
        <p:txBody>
          <a:bodyPr wrap="square">
            <a:spAutoFit/>
          </a:body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Note: Illustrative DFD flow according to the current bottlenecks in the Billing process</a:t>
            </a:r>
            <a:endParaRPr kumimoji="0" lang="en-US" sz="800" b="0" i="1"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p:txBody>
      </p:sp>
      <p:grpSp>
        <p:nvGrpSpPr>
          <p:cNvPr id="39" name="Group 38"/>
          <p:cNvGrpSpPr/>
          <p:nvPr/>
        </p:nvGrpSpPr>
        <p:grpSpPr>
          <a:xfrm>
            <a:off x="4315051" y="1077817"/>
            <a:ext cx="7935124" cy="1507757"/>
            <a:chOff x="-8416" y="1722580"/>
            <a:chExt cx="9389671" cy="2571335"/>
          </a:xfrm>
        </p:grpSpPr>
        <p:sp>
          <p:nvSpPr>
            <p:cNvPr id="44" name="Rectangle 43"/>
            <p:cNvSpPr/>
            <p:nvPr/>
          </p:nvSpPr>
          <p:spPr>
            <a:xfrm>
              <a:off x="172052" y="2582678"/>
              <a:ext cx="1032216" cy="494240"/>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Customer Sign Up</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45" name="Rectangle 44"/>
            <p:cNvSpPr/>
            <p:nvPr/>
          </p:nvSpPr>
          <p:spPr>
            <a:xfrm>
              <a:off x="1791150" y="2561277"/>
              <a:ext cx="976971" cy="550910"/>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Payment Service</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46" name="Rectangle 45"/>
            <p:cNvSpPr/>
            <p:nvPr/>
          </p:nvSpPr>
          <p:spPr>
            <a:xfrm>
              <a:off x="1384388" y="3454803"/>
              <a:ext cx="1031092" cy="552010"/>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Discount/Tax calculatio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47" name="Rectangle 46"/>
            <p:cNvSpPr/>
            <p:nvPr/>
          </p:nvSpPr>
          <p:spPr>
            <a:xfrm>
              <a:off x="3392098" y="2563545"/>
              <a:ext cx="923962" cy="602777"/>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Load Data from billing Sources</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51" name="Rectangle 50"/>
            <p:cNvSpPr/>
            <p:nvPr/>
          </p:nvSpPr>
          <p:spPr>
            <a:xfrm>
              <a:off x="5046972" y="2573539"/>
              <a:ext cx="969143" cy="564421"/>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Validate Bills</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63" name="Rectangle 62"/>
            <p:cNvSpPr/>
            <p:nvPr/>
          </p:nvSpPr>
          <p:spPr>
            <a:xfrm>
              <a:off x="6549800" y="2555464"/>
              <a:ext cx="1038490" cy="573831"/>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Bill/Invoice ID generated</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cxnSp>
          <p:nvCxnSpPr>
            <p:cNvPr id="73" name="Straight Arrow Connector 72"/>
            <p:cNvCxnSpPr/>
            <p:nvPr/>
          </p:nvCxnSpPr>
          <p:spPr>
            <a:xfrm>
              <a:off x="1222938" y="2828069"/>
              <a:ext cx="58763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2764651" y="2829950"/>
              <a:ext cx="64640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4338681" y="2864933"/>
              <a:ext cx="71104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6036470" y="2850347"/>
              <a:ext cx="53421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p:cNvCxnSpPr/>
            <p:nvPr/>
          </p:nvCxnSpPr>
          <p:spPr>
            <a:xfrm rot="10800000" flipV="1">
              <a:off x="1831056" y="2864931"/>
              <a:ext cx="1561043" cy="563099"/>
            </a:xfrm>
            <a:prstGeom prst="curvedConnector3">
              <a:avLst>
                <a:gd name="adj1" fmla="val 50000"/>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696374" y="2130948"/>
              <a:ext cx="0" cy="479401"/>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45" idx="0"/>
            </p:cNvCxnSpPr>
            <p:nvPr/>
          </p:nvCxnSpPr>
          <p:spPr>
            <a:xfrm flipH="1" flipV="1">
              <a:off x="2279156" y="2086201"/>
              <a:ext cx="480" cy="47507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flipV="1">
              <a:off x="5530061" y="2157288"/>
              <a:ext cx="1232" cy="42888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H="1" flipV="1">
              <a:off x="7077468" y="2133791"/>
              <a:ext cx="1232" cy="42888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2361488" y="2130013"/>
              <a:ext cx="276408" cy="32429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Arial" panose="020B0604020202020204"/>
                  <a:ea typeface="+mn-ea"/>
                  <a:cs typeface="+mn-cs"/>
                </a:rPr>
                <a:t>A</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Rounded Rectangle 83"/>
            <p:cNvSpPr/>
            <p:nvPr/>
          </p:nvSpPr>
          <p:spPr>
            <a:xfrm>
              <a:off x="2693708" y="2222604"/>
              <a:ext cx="1255876" cy="278704"/>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TextBox 84"/>
            <p:cNvSpPr txBox="1"/>
            <p:nvPr/>
          </p:nvSpPr>
          <p:spPr>
            <a:xfrm>
              <a:off x="-8416" y="1722580"/>
              <a:ext cx="1186081" cy="4330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100 % (100</a:t>
              </a:r>
              <a:r>
                <a:rPr kumimoji="0" lang="en-US" sz="105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a:t>
              </a:r>
              <a:endParaRPr kumimoji="0" lang="en-US" sz="105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86" name="TextBox 85"/>
            <p:cNvSpPr txBox="1"/>
            <p:nvPr/>
          </p:nvSpPr>
          <p:spPr>
            <a:xfrm>
              <a:off x="664784" y="2051240"/>
              <a:ext cx="1750696"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100 % (100) - 4 h 30 mi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87" name="TextBox 86"/>
            <p:cNvSpPr txBox="1"/>
            <p:nvPr/>
          </p:nvSpPr>
          <p:spPr>
            <a:xfrm>
              <a:off x="2652434" y="2119064"/>
              <a:ext cx="1429993"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82% (82) - 2 days 2 h</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88" name="TextBox 87"/>
            <p:cNvSpPr txBox="1"/>
            <p:nvPr/>
          </p:nvSpPr>
          <p:spPr>
            <a:xfrm>
              <a:off x="4187150" y="2241744"/>
              <a:ext cx="1982111"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82 % (82) - 5 h 30 mi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89" name="TextBox 88"/>
            <p:cNvSpPr txBox="1"/>
            <p:nvPr/>
          </p:nvSpPr>
          <p:spPr>
            <a:xfrm>
              <a:off x="5637807" y="2065636"/>
              <a:ext cx="2141185"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75 % (75) - 2 h 45 mi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90" name="TextBox 89"/>
            <p:cNvSpPr txBox="1"/>
            <p:nvPr/>
          </p:nvSpPr>
          <p:spPr>
            <a:xfrm>
              <a:off x="7424962" y="1807250"/>
              <a:ext cx="1956293"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65 % (65) - 7 h 45 mi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91" name="TextBox 90"/>
            <p:cNvSpPr txBox="1"/>
            <p:nvPr/>
          </p:nvSpPr>
          <p:spPr>
            <a:xfrm>
              <a:off x="2709810" y="3528850"/>
              <a:ext cx="1829031" cy="367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75 % (75) - 3 h 35 min</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sp>
          <p:nvSpPr>
            <p:cNvPr id="92" name="Rounded Rectangle 91"/>
            <p:cNvSpPr/>
            <p:nvPr/>
          </p:nvSpPr>
          <p:spPr>
            <a:xfrm>
              <a:off x="2731342" y="3510726"/>
              <a:ext cx="1449546" cy="396602"/>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Rounded Rectangle 92"/>
            <p:cNvSpPr/>
            <p:nvPr/>
          </p:nvSpPr>
          <p:spPr>
            <a:xfrm>
              <a:off x="5697273" y="2085302"/>
              <a:ext cx="1281656" cy="404315"/>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4" name="Rounded Rectangle 93"/>
            <p:cNvSpPr/>
            <p:nvPr/>
          </p:nvSpPr>
          <p:spPr>
            <a:xfrm>
              <a:off x="7476997" y="1775539"/>
              <a:ext cx="1464069" cy="309763"/>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Oval 94"/>
            <p:cNvSpPr/>
            <p:nvPr/>
          </p:nvSpPr>
          <p:spPr>
            <a:xfrm>
              <a:off x="6016115" y="3278270"/>
              <a:ext cx="243260" cy="24326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Arial" panose="020B0604020202020204"/>
                  <a:ea typeface="+mn-ea"/>
                  <a:cs typeface="+mn-cs"/>
                </a:rPr>
                <a:t>C</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6" name="Oval 95"/>
            <p:cNvSpPr/>
            <p:nvPr/>
          </p:nvSpPr>
          <p:spPr>
            <a:xfrm>
              <a:off x="7498072" y="2209907"/>
              <a:ext cx="243260" cy="24326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Arial" panose="020B0604020202020204"/>
                  <a:ea typeface="+mn-ea"/>
                  <a:cs typeface="+mn-cs"/>
                </a:rPr>
                <a:t>D</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7" name="Oval 96"/>
            <p:cNvSpPr/>
            <p:nvPr/>
          </p:nvSpPr>
          <p:spPr>
            <a:xfrm>
              <a:off x="2751995" y="3935971"/>
              <a:ext cx="248672" cy="35794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Arial" panose="020B0604020202020204"/>
                  <a:ea typeface="+mn-ea"/>
                  <a:cs typeface="+mn-cs"/>
                </a:rPr>
                <a:t>B</a:t>
              </a:r>
              <a:endPar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98" name="TextBox 97"/>
          <p:cNvSpPr txBox="1"/>
          <p:nvPr/>
        </p:nvSpPr>
        <p:spPr>
          <a:xfrm>
            <a:off x="9525154" y="1907995"/>
            <a:ext cx="2498058" cy="318030"/>
          </a:xfrm>
          <a:prstGeom prst="rect">
            <a:avLst/>
          </a:prstGeom>
          <a:noFill/>
        </p:spPr>
        <p:txBody>
          <a:bodyPr wrap="square" lIns="162556" tIns="81277" rIns="162556" bIns="81277" rtlCol="0">
            <a:spAutoFit/>
          </a:bodyPr>
          <a:lstStyle>
            <a:defPPr>
              <a:defRPr lang="en-US"/>
            </a:defPPr>
            <a:lvl1pPr defTabSz="609510">
              <a:defRPr sz="1000">
                <a:solidFill>
                  <a:srgbClr val="FF0000"/>
                </a:solidFill>
                <a:latin typeface="Segoe UI Semibold" panose="020B0702040204020203" pitchFamily="34" charset="0"/>
                <a:ea typeface="+mj-ea"/>
                <a:cs typeface="Segoe UI Semibold" panose="020B0702040204020203" pitchFamily="34" charset="0"/>
              </a:defRPr>
            </a:lvl1pPr>
          </a:lstStyle>
          <a:p>
            <a:pPr marL="0" marR="0" lvl="0" indent="0" algn="r" defTabSz="60949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C00000"/>
                </a:solidFill>
                <a:effectLst/>
                <a:uLnTx/>
                <a:uFillTx/>
                <a:latin typeface="Segoe UI Semibold" panose="020B0702040204020203" pitchFamily="34" charset="0"/>
                <a:ea typeface="+mj-ea"/>
                <a:cs typeface="Segoe UI Semibold" panose="020B0702040204020203" pitchFamily="34" charset="0"/>
              </a:rPr>
              <a:t>Some Invoices lost during generation</a:t>
            </a:r>
            <a:endParaRPr kumimoji="0" lang="en-US" sz="1000" b="0" i="0" u="none" strike="noStrike" kern="0" cap="none" spc="0" normalizeH="0" baseline="0" noProof="0" dirty="0">
              <a:ln>
                <a:noFill/>
              </a:ln>
              <a:solidFill>
                <a:srgbClr val="C00000"/>
              </a:solidFill>
              <a:effectLst/>
              <a:uLnTx/>
              <a:uFillTx/>
              <a:latin typeface="Segoe UI Semibold" panose="020B0702040204020203" pitchFamily="34" charset="0"/>
              <a:ea typeface="+mj-ea"/>
              <a:cs typeface="Segoe UI Semibold" panose="020B0702040204020203" pitchFamily="34" charset="0"/>
            </a:endParaRPr>
          </a:p>
        </p:txBody>
      </p:sp>
      <p:sp>
        <p:nvSpPr>
          <p:cNvPr id="99" name="TextBox 98"/>
          <p:cNvSpPr txBox="1"/>
          <p:nvPr/>
        </p:nvSpPr>
        <p:spPr>
          <a:xfrm>
            <a:off x="7549124" y="981106"/>
            <a:ext cx="2926277" cy="318030"/>
          </a:xfrm>
          <a:prstGeom prst="rect">
            <a:avLst/>
          </a:prstGeom>
          <a:noFill/>
        </p:spPr>
        <p:txBody>
          <a:bodyPr wrap="square" lIns="162556" tIns="81277" rIns="162556" bIns="81277" rtlCol="0">
            <a:spAutoFit/>
          </a:bodyPr>
          <a:lstStyle>
            <a:defPPr>
              <a:defRPr lang="en-US"/>
            </a:defPPr>
            <a:lvl1pPr defTabSz="609510">
              <a:defRPr sz="1000">
                <a:solidFill>
                  <a:srgbClr val="FF0000"/>
                </a:solidFill>
                <a:latin typeface="Segoe UI Semibold" panose="020B0702040204020203" pitchFamily="34" charset="0"/>
                <a:ea typeface="+mj-ea"/>
                <a:cs typeface="Segoe UI Semibold" panose="020B0702040204020203" pitchFamily="34" charset="0"/>
              </a:defRPr>
            </a:lvl1pPr>
          </a:lstStyle>
          <a:p>
            <a:pPr marL="0" marR="0" lvl="0" indent="0" algn="r" defTabSz="60949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C00000"/>
                </a:solidFill>
                <a:effectLst/>
                <a:uLnTx/>
                <a:uFillTx/>
                <a:latin typeface="Segoe UI Semibold" panose="020B0702040204020203" pitchFamily="34" charset="0"/>
                <a:ea typeface="+mj-ea"/>
                <a:cs typeface="Segoe UI Semibold" panose="020B0702040204020203" pitchFamily="34" charset="0"/>
              </a:rPr>
              <a:t>Validation takes time/Wrong Validation</a:t>
            </a:r>
            <a:endParaRPr kumimoji="0" lang="en-US" sz="1000" b="0" i="0" u="none" strike="noStrike" kern="0" cap="none" spc="0" normalizeH="0" baseline="0" noProof="0" dirty="0">
              <a:ln>
                <a:noFill/>
              </a:ln>
              <a:solidFill>
                <a:srgbClr val="C00000"/>
              </a:solidFill>
              <a:effectLst/>
              <a:uLnTx/>
              <a:uFillTx/>
              <a:latin typeface="Segoe UI Semibold" panose="020B0702040204020203" pitchFamily="34" charset="0"/>
              <a:ea typeface="+mj-ea"/>
              <a:cs typeface="Segoe UI Semibold" panose="020B0702040204020203" pitchFamily="34" charset="0"/>
            </a:endParaRPr>
          </a:p>
        </p:txBody>
      </p:sp>
      <p:cxnSp>
        <p:nvCxnSpPr>
          <p:cNvPr id="100" name="Straight Connector 99"/>
          <p:cNvCxnSpPr/>
          <p:nvPr/>
        </p:nvCxnSpPr>
        <p:spPr>
          <a:xfrm>
            <a:off x="6353829" y="2983631"/>
            <a:ext cx="0" cy="1078735"/>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02" name="Rectangle 101"/>
          <p:cNvSpPr/>
          <p:nvPr/>
        </p:nvSpPr>
        <p:spPr>
          <a:xfrm>
            <a:off x="6429143" y="4539460"/>
            <a:ext cx="2155275" cy="318030"/>
          </a:xfrm>
          <a:prstGeom prst="rect">
            <a:avLst/>
          </a:prstGeom>
          <a:noFill/>
        </p:spPr>
        <p:txBody>
          <a:bodyPr wrap="square" lIns="162556" tIns="81277" rIns="162556" bIns="81277" rtlCol="0">
            <a:spAutoFit/>
          </a:bodyPr>
          <a:lstStyle/>
          <a:p>
            <a:pPr marL="0" marR="0" lvl="0" indent="0" algn="ctr" defTabSz="6095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C00000"/>
                </a:solidFill>
                <a:effectLst/>
                <a:uLnTx/>
                <a:uFillTx/>
                <a:latin typeface="Segoe UI Semibold" panose="020B0702040204020203" pitchFamily="34" charset="0"/>
                <a:ea typeface="+mn-ea"/>
                <a:cs typeface="+mn-cs"/>
              </a:rPr>
              <a:t>IT Solutions</a:t>
            </a:r>
          </a:p>
        </p:txBody>
      </p:sp>
      <p:cxnSp>
        <p:nvCxnSpPr>
          <p:cNvPr id="103" name="Straight Connector 102"/>
          <p:cNvCxnSpPr/>
          <p:nvPr/>
        </p:nvCxnSpPr>
        <p:spPr>
          <a:xfrm>
            <a:off x="6327122" y="4641773"/>
            <a:ext cx="0" cy="1366527"/>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06" name="Rectangle 105"/>
          <p:cNvSpPr/>
          <p:nvPr/>
        </p:nvSpPr>
        <p:spPr>
          <a:xfrm>
            <a:off x="4306267" y="4520248"/>
            <a:ext cx="2155275" cy="318030"/>
          </a:xfrm>
          <a:prstGeom prst="rect">
            <a:avLst/>
          </a:prstGeom>
          <a:noFill/>
        </p:spPr>
        <p:txBody>
          <a:bodyPr wrap="square" lIns="162556" tIns="81277" rIns="162556" bIns="81277" rtlCol="0">
            <a:spAutoFit/>
          </a:bodyPr>
          <a:lstStyle/>
          <a:p>
            <a:pPr marL="0" marR="0" lvl="0" indent="0" algn="ctr" defTabSz="6095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C00000"/>
                </a:solidFill>
                <a:effectLst/>
                <a:uLnTx/>
                <a:uFillTx/>
                <a:latin typeface="Segoe UI Semibold" panose="020B0702040204020203" pitchFamily="34" charset="0"/>
                <a:ea typeface="+mn-ea"/>
                <a:cs typeface="+mn-cs"/>
              </a:rPr>
              <a:t>Process Solutions</a:t>
            </a:r>
          </a:p>
        </p:txBody>
      </p:sp>
      <p:sp>
        <p:nvSpPr>
          <p:cNvPr id="17" name="Rectangle 16"/>
          <p:cNvSpPr/>
          <p:nvPr/>
        </p:nvSpPr>
        <p:spPr>
          <a:xfrm>
            <a:off x="4165185" y="4759189"/>
            <a:ext cx="2193948" cy="1200329"/>
          </a:xfrm>
          <a:prstGeom prst="rect">
            <a:avLst/>
          </a:prstGeom>
        </p:spPr>
        <p:txBody>
          <a:bodyPr wrap="square">
            <a:spAutoFit/>
          </a:bodyPr>
          <a:lstStyle/>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onitoring tools to auto collect and analyze Customer Feedback data </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al time email Notification sync up</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onitoring the Monthly Invoices to be sent to Customers</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I enabled </a:t>
            </a: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pproach in creating and handling Invoices for eradicating any Manual Intervention</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utomated rules </a:t>
            </a:r>
            <a:r>
              <a:rPr kumimoji="0" lang="en-US" sz="800" b="0" i="0" u="none" strike="noStrike" kern="1200" cap="none" spc="0" normalizeH="0" baseline="0" noProof="0" dirty="0" smtClean="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engine</a:t>
            </a:r>
            <a:endPar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7" name="Rectangle 106"/>
          <p:cNvSpPr/>
          <p:nvPr/>
        </p:nvSpPr>
        <p:spPr>
          <a:xfrm>
            <a:off x="6326672" y="4719718"/>
            <a:ext cx="2195721" cy="1446550"/>
          </a:xfrm>
          <a:prstGeom prst="rect">
            <a:avLst/>
          </a:prstGeom>
        </p:spPr>
        <p:txBody>
          <a:bodyPr wrap="square">
            <a:spAutoFit/>
          </a:bodyPr>
          <a:lstStyle/>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solve </a:t>
            </a:r>
            <a:r>
              <a:rPr kumimoji="0" lang="en-US" sz="800" b="0" i="0" u="none" strike="noStrike" kern="1200" cap="none" spc="0" normalizeH="0" baseline="0" noProof="0" dirty="0" smtClean="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illing </a:t>
            </a: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sync issue via bug fixes</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Secure cloud-based platform for seamless exchange of Billing information</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I based solution for Automating Alert Management of </a:t>
            </a:r>
            <a:r>
              <a:rPr kumimoji="0" lang="en-US" sz="800" b="0" i="0" u="none" strike="noStrike" kern="1200" cap="none" spc="0" normalizeH="0" baseline="0" noProof="0" dirty="0" smtClean="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lug Ins</a:t>
            </a:r>
            <a:endPar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PI-based connectivity, service based architecture, configurable business rules, and robust data architecture</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24*7 support for syncing </a:t>
            </a:r>
            <a:r>
              <a:rPr kumimoji="0" lang="en-US" sz="800" b="0" i="0" u="none" strike="noStrike" kern="1200" cap="none" spc="0" normalizeH="0" baseline="0" noProof="0" dirty="0" smtClean="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illing  updates</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utomated valuation &amp; validation models</a:t>
            </a:r>
          </a:p>
          <a:p>
            <a:pPr marL="76197" marR="0" lvl="0" indent="-7619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347BB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08" name="Straight Connector 107"/>
          <p:cNvCxnSpPr/>
          <p:nvPr/>
        </p:nvCxnSpPr>
        <p:spPr>
          <a:xfrm>
            <a:off x="4300230" y="4317557"/>
            <a:ext cx="4130110" cy="0"/>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09" name="Slide Number Placeholder 4"/>
          <p:cNvSpPr txBox="1">
            <a:spLocks/>
          </p:cNvSpPr>
          <p:nvPr/>
        </p:nvSpPr>
        <p:spPr>
          <a:xfrm>
            <a:off x="512064" y="6400800"/>
            <a:ext cx="304800" cy="207264"/>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B140"/>
                </a:solidFill>
                <a:effectLst/>
                <a:uLnTx/>
                <a:uFillTx/>
                <a:latin typeface="Arial" panose="020B0604020202020204"/>
                <a:ea typeface="+mn-ea"/>
                <a:cs typeface="+mn-cs"/>
              </a:rPr>
              <a:t>4</a:t>
            </a:r>
            <a:endParaRPr kumimoji="0" lang="en-US" sz="1200" b="1" i="0" u="none" strike="noStrike" kern="1200" cap="none" spc="0" normalizeH="0" baseline="0" noProof="0" dirty="0">
              <a:ln>
                <a:noFill/>
              </a:ln>
              <a:solidFill>
                <a:srgbClr val="00B140"/>
              </a:solidFill>
              <a:effectLst/>
              <a:uLnTx/>
              <a:uFillTx/>
              <a:latin typeface="Arial" panose="020B0604020202020204"/>
              <a:ea typeface="+mn-ea"/>
              <a:cs typeface="+mn-cs"/>
            </a:endParaRPr>
          </a:p>
        </p:txBody>
      </p:sp>
      <p:sp>
        <p:nvSpPr>
          <p:cNvPr id="111" name="Rectangle 110"/>
          <p:cNvSpPr/>
          <p:nvPr/>
        </p:nvSpPr>
        <p:spPr>
          <a:xfrm>
            <a:off x="169092" y="4988396"/>
            <a:ext cx="4002305" cy="400110"/>
          </a:xfrm>
          <a:prstGeom prst="rect">
            <a:avLst/>
          </a:prstGeom>
        </p:spPr>
        <p:txBody>
          <a:bodyPr wrap="square">
            <a:spAutoFit/>
          </a:body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smtClean="0">
                <a:ln>
                  <a:noFill/>
                </a:ln>
                <a:solidFill>
                  <a:srgbClr val="000000">
                    <a:lumMod val="95000"/>
                    <a:lumOff val="5000"/>
                  </a:srgbClr>
                </a:solidFill>
                <a:effectLst/>
                <a:uLnTx/>
                <a:uFillTx/>
                <a:latin typeface="Segoe UI" panose="020B0502040204020203" pitchFamily="34" charset="0"/>
                <a:ea typeface="+mn-ea"/>
                <a:cs typeface="Segoe UI" panose="020B0502040204020203" pitchFamily="34" charset="0"/>
              </a:rPr>
              <a:t> </a:t>
            </a:r>
            <a:r>
              <a:rPr kumimoji="0" lang="en-US" sz="1000" b="0" i="1" u="none" strike="noStrike" kern="120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Note: Actual Performance to be determined post Baselining of actual data</a:t>
            </a:r>
            <a:endParaRPr kumimoji="0" lang="en-US" sz="1000" b="0" i="1"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p:txBody>
      </p:sp>
      <p:sp>
        <p:nvSpPr>
          <p:cNvPr id="104" name="Rectangle 103"/>
          <p:cNvSpPr/>
          <p:nvPr/>
        </p:nvSpPr>
        <p:spPr>
          <a:xfrm>
            <a:off x="4315051" y="4316319"/>
            <a:ext cx="4303764" cy="292388"/>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5</a:t>
            </a:r>
            <a:r>
              <a:rPr kumimoji="0" lang="en-US" sz="1300" b="0" i="0" u="none" strike="noStrike" kern="1200" cap="none" spc="0" normalizeH="0" baseline="0" noProof="0" dirty="0" smtClean="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 Recommended Solutions</a:t>
            </a:r>
            <a:endParaRPr kumimoji="0" lang="en-US" sz="1300" b="0" i="0" u="none" strike="noStrike" kern="1200" cap="none" spc="0" normalizeH="0" baseline="0" noProof="0" dirty="0">
              <a:ln>
                <a:noFill/>
              </a:ln>
              <a:solidFill>
                <a:srgbClr val="BDCFFF">
                  <a:lumMod val="50000"/>
                </a:srgb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70" name="Rectangle 69"/>
          <p:cNvSpPr/>
          <p:nvPr/>
        </p:nvSpPr>
        <p:spPr>
          <a:xfrm>
            <a:off x="4591947" y="4079611"/>
            <a:ext cx="3868520" cy="215444"/>
          </a:xfrm>
          <a:prstGeom prst="rect">
            <a:avLst/>
          </a:prstGeom>
        </p:spPr>
        <p:txBody>
          <a:bodyPr wrap="square">
            <a:spAutoFit/>
          </a:bodyPr>
          <a:lstStyle/>
          <a:p>
            <a:pPr marL="0" marR="0" lvl="0" indent="0" algn="ctr" defTabSz="457167"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smtClean="0">
                <a:ln>
                  <a:noFill/>
                </a:ln>
                <a:solidFill>
                  <a:srgbClr val="C00000"/>
                </a:solidFill>
                <a:effectLst/>
                <a:uLnTx/>
                <a:uFillTx/>
                <a:latin typeface="Segoe UI" panose="020B0502040204020203" pitchFamily="34" charset="0"/>
                <a:ea typeface="+mn-ea"/>
                <a:cs typeface="Segoe UI" panose="020B0502040204020203" pitchFamily="34" charset="0"/>
              </a:rPr>
              <a:t>Note: Illustrative analysis, linked to Billing processes</a:t>
            </a:r>
            <a:endParaRPr kumimoji="0" lang="en-US" sz="800" b="0" i="1" u="none" strike="noStrike" kern="120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p:txBody>
      </p:sp>
      <p:graphicFrame>
        <p:nvGraphicFramePr>
          <p:cNvPr id="5" name="Table 4"/>
          <p:cNvGraphicFramePr>
            <a:graphicFrameLocks noGrp="1"/>
          </p:cNvGraphicFramePr>
          <p:nvPr>
            <p:extLst/>
          </p:nvPr>
        </p:nvGraphicFramePr>
        <p:xfrm>
          <a:off x="185637" y="1205211"/>
          <a:ext cx="3848110" cy="1114143"/>
        </p:xfrm>
        <a:graphic>
          <a:graphicData uri="http://schemas.openxmlformats.org/drawingml/2006/table">
            <a:tbl>
              <a:tblPr firstRow="1" bandRow="1">
                <a:effectLst>
                  <a:outerShdw blurRad="50800" dist="50800" dir="5400000" sx="91000" sy="91000" algn="ctr" rotWithShape="0">
                    <a:srgbClr val="000000"/>
                  </a:outerShdw>
                  <a:reflection endPos="17000" dist="50800" dir="5400000" sy="-100000" algn="bl" rotWithShape="0"/>
                </a:effectLst>
                <a:tableStyleId>{5C22544A-7EE6-4342-B048-85BDC9FD1C3A}</a:tableStyleId>
              </a:tblPr>
              <a:tblGrid>
                <a:gridCol w="1983182">
                  <a:extLst>
                    <a:ext uri="{9D8B030D-6E8A-4147-A177-3AD203B41FA5}">
                      <a16:colId xmlns:a16="http://schemas.microsoft.com/office/drawing/2014/main" val="2546794431"/>
                    </a:ext>
                  </a:extLst>
                </a:gridCol>
                <a:gridCol w="1864928">
                  <a:extLst>
                    <a:ext uri="{9D8B030D-6E8A-4147-A177-3AD203B41FA5}">
                      <a16:colId xmlns:a16="http://schemas.microsoft.com/office/drawing/2014/main" val="1318226371"/>
                    </a:ext>
                  </a:extLst>
                </a:gridCol>
              </a:tblGrid>
              <a:tr h="262949">
                <a:tc>
                  <a:txBody>
                    <a:bodyPr/>
                    <a:lstStyle/>
                    <a:p>
                      <a:pPr algn="ctr"/>
                      <a:r>
                        <a:rPr lang="en-US" sz="1050" dirty="0" smtClean="0">
                          <a:latin typeface="Segoe UI Semibold" panose="020B0702040204020203" pitchFamily="34" charset="0"/>
                          <a:cs typeface="Segoe UI Semibold" panose="020B0702040204020203" pitchFamily="34" charset="0"/>
                        </a:rPr>
                        <a:t>Business</a:t>
                      </a:r>
                      <a:r>
                        <a:rPr lang="en-US" sz="1050" baseline="0" dirty="0" smtClean="0">
                          <a:latin typeface="Segoe UI Semibold" panose="020B0702040204020203" pitchFamily="34" charset="0"/>
                          <a:cs typeface="Segoe UI Semibold" panose="020B0702040204020203" pitchFamily="34" charset="0"/>
                        </a:rPr>
                        <a:t> Process</a:t>
                      </a:r>
                      <a:endParaRPr lang="en-US" sz="1050" dirty="0">
                        <a:latin typeface="Segoe UI Semibold" panose="020B0702040204020203" pitchFamily="34" charset="0"/>
                        <a:cs typeface="Segoe UI Semibold" panose="020B0702040204020203" pitchFamily="34" charset="0"/>
                      </a:endParaRPr>
                    </a:p>
                  </a:txBody>
                  <a:tcPr>
                    <a:solidFill>
                      <a:srgbClr val="0070C0"/>
                    </a:solidFill>
                  </a:tcPr>
                </a:tc>
                <a:tc>
                  <a:txBody>
                    <a:bodyPr/>
                    <a:lstStyle/>
                    <a:p>
                      <a:pPr algn="ctr"/>
                      <a:r>
                        <a:rPr lang="en-US" sz="1050" dirty="0" smtClean="0">
                          <a:latin typeface="Segoe UI Semibold" panose="020B0702040204020203" pitchFamily="34" charset="0"/>
                          <a:cs typeface="Segoe UI Semibold" panose="020B0702040204020203" pitchFamily="34" charset="0"/>
                        </a:rPr>
                        <a:t>Business KPI</a:t>
                      </a:r>
                      <a:endParaRPr lang="en-US" sz="1050" dirty="0">
                        <a:latin typeface="Segoe UI Semibold" panose="020B0702040204020203" pitchFamily="34" charset="0"/>
                        <a:cs typeface="Segoe UI Semibold" panose="020B0702040204020203" pitchFamily="34" charset="0"/>
                      </a:endParaRPr>
                    </a:p>
                  </a:txBody>
                  <a:tcPr>
                    <a:solidFill>
                      <a:srgbClr val="0070C0"/>
                    </a:solidFill>
                  </a:tcPr>
                </a:tc>
                <a:extLst>
                  <a:ext uri="{0D108BD9-81ED-4DB2-BD59-A6C34878D82A}">
                    <a16:rowId xmlns:a16="http://schemas.microsoft.com/office/drawing/2014/main" val="1597393207"/>
                  </a:ext>
                </a:extLst>
              </a:tr>
              <a:tr h="851194">
                <a:tc>
                  <a:txBody>
                    <a:bodyPr/>
                    <a:lstStyle/>
                    <a:p>
                      <a:r>
                        <a:rPr lang="en-US" sz="1050" baseline="0" dirty="0" smtClean="0">
                          <a:latin typeface="Segoe UI Semibold" panose="020B0702040204020203" pitchFamily="34" charset="0"/>
                          <a:cs typeface="Segoe UI Semibold" panose="020B0702040204020203" pitchFamily="34" charset="0"/>
                        </a:rPr>
                        <a:t> </a:t>
                      </a:r>
                    </a:p>
                    <a:p>
                      <a:r>
                        <a:rPr lang="en-US" sz="1050" baseline="0" dirty="0" smtClean="0">
                          <a:latin typeface="Segoe UI Semibold" panose="020B0702040204020203" pitchFamily="34" charset="0"/>
                          <a:cs typeface="Segoe UI Semibold" panose="020B0702040204020203" pitchFamily="34" charset="0"/>
                        </a:rPr>
                        <a:t>Billing: Invoice Creation &amp; Processing</a:t>
                      </a:r>
                      <a:endParaRPr lang="en-US" sz="1050" dirty="0">
                        <a:latin typeface="Segoe UI Semibold" panose="020B0702040204020203" pitchFamily="34" charset="0"/>
                        <a:cs typeface="Segoe UI Semibold" panose="020B0702040204020203" pitchFamily="34" charset="0"/>
                      </a:endParaRPr>
                    </a:p>
                  </a:txBody>
                  <a:tcPr>
                    <a:gradFill flip="none" rotWithShape="1">
                      <a:gsLst>
                        <a:gs pos="0">
                          <a:schemeClr val="accent6">
                            <a:lumMod val="20000"/>
                            <a:lumOff val="8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tcPr>
                </a:tc>
                <a:tc>
                  <a:txBody>
                    <a:bodyPr/>
                    <a:lstStyle/>
                    <a:p>
                      <a:endParaRPr lang="en-US" sz="1050" dirty="0" smtClean="0">
                        <a:latin typeface="Segoe UI Semibold" panose="020B0702040204020203" pitchFamily="34" charset="0"/>
                        <a:cs typeface="Segoe UI Semibold" panose="020B0702040204020203" pitchFamily="34" charset="0"/>
                      </a:endParaRPr>
                    </a:p>
                    <a:p>
                      <a:r>
                        <a:rPr lang="en-US" sz="1050" dirty="0" smtClean="0">
                          <a:latin typeface="Segoe UI Semibold" panose="020B0702040204020203" pitchFamily="34" charset="0"/>
                          <a:cs typeface="Segoe UI Semibold" panose="020B0702040204020203" pitchFamily="34" charset="0"/>
                        </a:rPr>
                        <a:t>Cycle Time for creating</a:t>
                      </a:r>
                      <a:r>
                        <a:rPr lang="en-US" sz="1050" baseline="0" dirty="0" smtClean="0">
                          <a:latin typeface="Segoe UI Semibold" panose="020B0702040204020203" pitchFamily="34" charset="0"/>
                          <a:cs typeface="Segoe UI Semibold" panose="020B0702040204020203" pitchFamily="34" charset="0"/>
                        </a:rPr>
                        <a:t> Correct and Complete Invoices</a:t>
                      </a:r>
                      <a:endParaRPr lang="en-US" sz="1050" dirty="0">
                        <a:latin typeface="Segoe UI Semibold" panose="020B0702040204020203" pitchFamily="34" charset="0"/>
                        <a:cs typeface="Segoe UI Semibold" panose="020B0702040204020203" pitchFamily="34" charset="0"/>
                      </a:endParaRPr>
                    </a:p>
                  </a:txBody>
                  <a:tcPr>
                    <a:gradFill flip="none" rotWithShape="1">
                      <a:gsLst>
                        <a:gs pos="0">
                          <a:schemeClr val="accent6">
                            <a:lumMod val="20000"/>
                            <a:lumOff val="80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tcPr>
                </a:tc>
                <a:extLst>
                  <a:ext uri="{0D108BD9-81ED-4DB2-BD59-A6C34878D82A}">
                    <a16:rowId xmlns:a16="http://schemas.microsoft.com/office/drawing/2014/main" val="2768215788"/>
                  </a:ext>
                </a:extLst>
              </a:tr>
            </a:tbl>
          </a:graphicData>
        </a:graphic>
      </p:graphicFrame>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51819" y="2970293"/>
            <a:ext cx="1936318" cy="1122286"/>
          </a:xfrm>
          <a:prstGeom prst="rect">
            <a:avLst/>
          </a:prstGeom>
        </p:spPr>
      </p:pic>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78566" y="2971308"/>
            <a:ext cx="2007596" cy="1123751"/>
          </a:xfrm>
          <a:prstGeom prst="rect">
            <a:avLst/>
          </a:prstGeom>
        </p:spPr>
      </p:pic>
      <p:sp>
        <p:nvSpPr>
          <p:cNvPr id="114" name="Rectangle 113"/>
          <p:cNvSpPr/>
          <p:nvPr/>
        </p:nvSpPr>
        <p:spPr>
          <a:xfrm>
            <a:off x="11077490" y="1517599"/>
            <a:ext cx="877618" cy="336478"/>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3A0"/>
                </a:solidFill>
                <a:effectLst/>
                <a:uLnTx/>
                <a:uFillTx/>
                <a:latin typeface="Segoe UI" panose="020B0502040204020203" pitchFamily="34" charset="0"/>
                <a:ea typeface="+mn-ea"/>
                <a:cs typeface="Segoe UI" panose="020B0502040204020203" pitchFamily="34" charset="0"/>
              </a:rPr>
              <a:t>Invoices Dispatch</a:t>
            </a:r>
            <a:endParaRPr kumimoji="0" lang="en-US" sz="800" b="0" i="0" u="none" strike="noStrike" kern="1200" cap="none" spc="0" normalizeH="0" baseline="0" noProof="0" dirty="0">
              <a:ln>
                <a:noFill/>
              </a:ln>
              <a:solidFill>
                <a:srgbClr val="0033A0"/>
              </a:solidFill>
              <a:effectLst/>
              <a:uLnTx/>
              <a:uFillTx/>
              <a:latin typeface="Segoe UI" panose="020B0502040204020203" pitchFamily="34" charset="0"/>
              <a:ea typeface="+mn-ea"/>
              <a:cs typeface="Segoe UI" panose="020B0502040204020203" pitchFamily="34" charset="0"/>
            </a:endParaRPr>
          </a:p>
        </p:txBody>
      </p:sp>
      <p:cxnSp>
        <p:nvCxnSpPr>
          <p:cNvPr id="115" name="Straight Arrow Connector 114"/>
          <p:cNvCxnSpPr/>
          <p:nvPr/>
        </p:nvCxnSpPr>
        <p:spPr>
          <a:xfrm>
            <a:off x="10764526" y="1692871"/>
            <a:ext cx="339189"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urved Connector 14"/>
          <p:cNvCxnSpPr/>
          <p:nvPr/>
        </p:nvCxnSpPr>
        <p:spPr>
          <a:xfrm flipV="1">
            <a:off x="6374292" y="1706094"/>
            <a:ext cx="2140456" cy="515549"/>
          </a:xfrm>
          <a:prstGeom prst="curvedConnector3">
            <a:avLst>
              <a:gd name="adj1" fmla="val 6525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11552173" y="1273854"/>
            <a:ext cx="4381" cy="216109"/>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27599" y="3312697"/>
            <a:ext cx="3285014" cy="2409931"/>
          </a:xfrm>
          <a:prstGeom prst="rect">
            <a:avLst/>
          </a:prstGeom>
        </p:spPr>
      </p:pic>
    </p:spTree>
    <p:extLst>
      <p:ext uri="{BB962C8B-B14F-4D97-AF65-F5344CB8AC3E}">
        <p14:creationId xmlns:p14="http://schemas.microsoft.com/office/powerpoint/2010/main" val="27520017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1696700" cy="618385"/>
          </a:xfrm>
        </p:spPr>
        <p:txBody>
          <a:bodyPr>
            <a:normAutofit fontScale="90000"/>
          </a:bodyPr>
          <a:lstStyle/>
          <a:p>
            <a:r>
              <a:rPr lang="en-US" dirty="0" smtClean="0"/>
              <a:t>Integrated Build and Run Organization for Optimized and Accelerated Delivery</a:t>
            </a:r>
            <a:endParaRPr lang="en-US" dirty="0">
              <a:latin typeface="Calibri" panose="020F0502020204030204" pitchFamily="34" charset="0"/>
            </a:endParaRPr>
          </a:p>
        </p:txBody>
      </p:sp>
      <p:sp>
        <p:nvSpPr>
          <p:cNvPr id="178" name="Rectangle 177"/>
          <p:cNvSpPr/>
          <p:nvPr/>
        </p:nvSpPr>
        <p:spPr>
          <a:xfrm>
            <a:off x="10007335" y="1834940"/>
            <a:ext cx="995019" cy="274341"/>
          </a:xfrm>
          <a:prstGeom prst="rect">
            <a:avLst/>
          </a:prstGeom>
          <a:solidFill>
            <a:sysClr val="window" lastClr="FFFFFF"/>
          </a:solidFill>
          <a:ln w="12700" cap="flat" cmpd="sng" algn="ctr">
            <a:noFill/>
            <a:prstDash val="solid"/>
            <a:miter lim="800000"/>
          </a:ln>
          <a:effectLst/>
        </p:spPr>
        <p:txBody>
          <a:bodyPr spcFirstLastPara="0" vert="horz" wrap="square" lIns="0" tIns="0" rIns="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spcBef>
                <a:spcPct val="0"/>
              </a:spcBef>
              <a:defRPr/>
            </a:pPr>
            <a:r>
              <a:rPr lang="en-US" sz="1600" dirty="0">
                <a:solidFill>
                  <a:prstClr val="black"/>
                </a:solidFill>
                <a:latin typeface="Calibri" panose="020F0502020204030204"/>
              </a:rPr>
              <a:t>Kanban</a:t>
            </a:r>
            <a:endParaRPr lang="en-US" sz="1067" dirty="0">
              <a:solidFill>
                <a:prstClr val="black"/>
              </a:solidFill>
              <a:latin typeface="Calibri" panose="020F0502020204030204"/>
            </a:endParaRPr>
          </a:p>
        </p:txBody>
      </p:sp>
      <p:grpSp>
        <p:nvGrpSpPr>
          <p:cNvPr id="194" name="Group 193"/>
          <p:cNvGrpSpPr/>
          <p:nvPr/>
        </p:nvGrpSpPr>
        <p:grpSpPr>
          <a:xfrm>
            <a:off x="450923" y="1295400"/>
            <a:ext cx="11131477" cy="4875651"/>
            <a:chOff x="338192" y="820012"/>
            <a:chExt cx="11609184" cy="5743330"/>
          </a:xfrm>
        </p:grpSpPr>
        <p:sp>
          <p:nvSpPr>
            <p:cNvPr id="197" name="Rounded Rectangle 196"/>
            <p:cNvSpPr/>
            <p:nvPr/>
          </p:nvSpPr>
          <p:spPr>
            <a:xfrm>
              <a:off x="10348366" y="1832884"/>
              <a:ext cx="1371600" cy="1097280"/>
            </a:xfrm>
            <a:prstGeom prst="round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sp>
          <p:nvSpPr>
            <p:cNvPr id="198" name="Rounded Rectangle 197"/>
            <p:cNvSpPr/>
            <p:nvPr/>
          </p:nvSpPr>
          <p:spPr>
            <a:xfrm>
              <a:off x="10264570" y="1900507"/>
              <a:ext cx="1371600" cy="1097280"/>
            </a:xfrm>
            <a:prstGeom prst="round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sp>
          <p:nvSpPr>
            <p:cNvPr id="201" name="Rounded Rectangle 200"/>
            <p:cNvSpPr/>
            <p:nvPr/>
          </p:nvSpPr>
          <p:spPr>
            <a:xfrm>
              <a:off x="10194058" y="1980121"/>
              <a:ext cx="1371600" cy="1097280"/>
            </a:xfrm>
            <a:prstGeom prst="round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sp>
          <p:nvSpPr>
            <p:cNvPr id="234" name="Rounded Rectangle 233"/>
            <p:cNvSpPr/>
            <p:nvPr/>
          </p:nvSpPr>
          <p:spPr>
            <a:xfrm>
              <a:off x="10118576" y="820012"/>
              <a:ext cx="1828800" cy="5029201"/>
            </a:xfrm>
            <a:prstGeom prst="roundRect">
              <a:avLst>
                <a:gd name="adj" fmla="val 12794"/>
              </a:avLst>
            </a:prstGeom>
            <a:noFill/>
            <a:ln w="635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38" name="Rounded Rectangle 237"/>
            <p:cNvSpPr/>
            <p:nvPr/>
          </p:nvSpPr>
          <p:spPr>
            <a:xfrm>
              <a:off x="624857" y="908020"/>
              <a:ext cx="1463040" cy="1981200"/>
            </a:xfrm>
            <a:prstGeom prst="roundRect">
              <a:avLst>
                <a:gd name="adj" fmla="val 13760"/>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39" name="Rounded Rectangle 238"/>
            <p:cNvSpPr/>
            <p:nvPr/>
          </p:nvSpPr>
          <p:spPr>
            <a:xfrm>
              <a:off x="666339" y="4442847"/>
              <a:ext cx="1463040" cy="1390245"/>
            </a:xfrm>
            <a:prstGeom prst="roundRect">
              <a:avLst>
                <a:gd name="adj" fmla="val 13760"/>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40" name="Rounded Rectangle 239"/>
            <p:cNvSpPr/>
            <p:nvPr/>
          </p:nvSpPr>
          <p:spPr>
            <a:xfrm>
              <a:off x="624857" y="2965420"/>
              <a:ext cx="1463040" cy="2819400"/>
            </a:xfrm>
            <a:prstGeom prst="roundRect">
              <a:avLst>
                <a:gd name="adj" fmla="val 10853"/>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48" name="Rounded Rectangle 247"/>
            <p:cNvSpPr/>
            <p:nvPr/>
          </p:nvSpPr>
          <p:spPr>
            <a:xfrm>
              <a:off x="343100" y="820012"/>
              <a:ext cx="1825315" cy="5029201"/>
            </a:xfrm>
            <a:prstGeom prst="roundRect">
              <a:avLst>
                <a:gd name="adj" fmla="val 12794"/>
              </a:avLst>
            </a:prstGeom>
            <a:noFill/>
            <a:ln w="635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49" name="Left Arrow 248"/>
            <p:cNvSpPr/>
            <p:nvPr/>
          </p:nvSpPr>
          <p:spPr>
            <a:xfrm rot="10800000">
              <a:off x="2302816" y="5156533"/>
              <a:ext cx="7812788" cy="914400"/>
            </a:xfrm>
            <a:prstGeom prst="leftArrow">
              <a:avLst>
                <a:gd name="adj1" fmla="val 43821"/>
                <a:gd name="adj2" fmla="val 58551"/>
              </a:avLst>
            </a:prstGeom>
            <a:noFill/>
            <a:ln w="12700" cap="flat" cmpd="sng" algn="ctr">
              <a:solidFill>
                <a:sysClr val="windowText" lastClr="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400" kern="0" dirty="0">
                <a:solidFill>
                  <a:srgbClr val="FFFFFF"/>
                </a:solidFill>
                <a:latin typeface="Lucida Sans Unicode"/>
              </a:endParaRPr>
            </a:p>
          </p:txBody>
        </p:sp>
        <p:sp>
          <p:nvSpPr>
            <p:cNvPr id="250" name="Down Arrow 249"/>
            <p:cNvSpPr/>
            <p:nvPr/>
          </p:nvSpPr>
          <p:spPr>
            <a:xfrm>
              <a:off x="4552539" y="1807180"/>
              <a:ext cx="548640" cy="548640"/>
            </a:xfrm>
            <a:prstGeom prst="downArrow">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51" name="Rectangle 250"/>
            <p:cNvSpPr/>
            <p:nvPr/>
          </p:nvSpPr>
          <p:spPr>
            <a:xfrm>
              <a:off x="2159945" y="2331648"/>
              <a:ext cx="1116224" cy="76135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solidFill>
                  <a:latin typeface="Calibri" panose="020F0502020204030204"/>
                </a:rPr>
                <a:t>Product Engineering Team(s)</a:t>
              </a:r>
            </a:p>
          </p:txBody>
        </p:sp>
        <p:sp>
          <p:nvSpPr>
            <p:cNvPr id="252" name="Rectangle 251"/>
            <p:cNvSpPr/>
            <p:nvPr/>
          </p:nvSpPr>
          <p:spPr>
            <a:xfrm>
              <a:off x="2184902" y="1626558"/>
              <a:ext cx="1243215" cy="326294"/>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solidFill>
                  <a:latin typeface="Calibri" panose="020F0502020204030204"/>
                </a:rPr>
                <a:t>Product Backlog</a:t>
              </a:r>
            </a:p>
          </p:txBody>
        </p:sp>
        <p:sp>
          <p:nvSpPr>
            <p:cNvPr id="253" name="Rectangle 252"/>
            <p:cNvSpPr/>
            <p:nvPr/>
          </p:nvSpPr>
          <p:spPr>
            <a:xfrm>
              <a:off x="2184400" y="3970499"/>
              <a:ext cx="828675" cy="543824"/>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solidFill>
                  <a:latin typeface="Calibri" panose="020F0502020204030204"/>
                </a:rPr>
                <a:t>Sprint </a:t>
              </a:r>
            </a:p>
            <a:p>
              <a:r>
                <a:rPr lang="en-US" sz="1200" dirty="0">
                  <a:solidFill>
                    <a:prstClr val="black"/>
                  </a:solidFill>
                  <a:latin typeface="Calibri" panose="020F0502020204030204"/>
                </a:rPr>
                <a:t>Execution</a:t>
              </a:r>
            </a:p>
          </p:txBody>
        </p:sp>
        <p:sp>
          <p:nvSpPr>
            <p:cNvPr id="254" name="TextBox 127"/>
            <p:cNvSpPr txBox="1"/>
            <p:nvPr/>
          </p:nvSpPr>
          <p:spPr>
            <a:xfrm>
              <a:off x="707116" y="941904"/>
              <a:ext cx="1097280" cy="483248"/>
            </a:xfrm>
            <a:prstGeom prst="rect">
              <a:avLst/>
            </a:prstGeom>
            <a:solidFill>
              <a:sysClr val="window" lastClr="FFFFFF"/>
            </a:solidFill>
            <a:ln>
              <a:noFill/>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333" dirty="0">
                  <a:solidFill>
                    <a:prstClr val="black"/>
                  </a:solidFill>
                  <a:latin typeface="Calibri" panose="020F0502020204030204"/>
                </a:rPr>
                <a:t>Vision &amp; Strategy</a:t>
              </a:r>
              <a:endParaRPr lang="en-US" sz="1067" dirty="0">
                <a:solidFill>
                  <a:prstClr val="black">
                    <a:lumMod val="50000"/>
                    <a:lumOff val="50000"/>
                  </a:prstClr>
                </a:solidFill>
                <a:latin typeface="Calibri" panose="020F0502020204030204"/>
              </a:endParaRPr>
            </a:p>
          </p:txBody>
        </p:sp>
        <p:sp>
          <p:nvSpPr>
            <p:cNvPr id="255" name="TextBox 104"/>
            <p:cNvSpPr txBox="1"/>
            <p:nvPr/>
          </p:nvSpPr>
          <p:spPr>
            <a:xfrm>
              <a:off x="478516" y="1916538"/>
              <a:ext cx="1554480" cy="217529"/>
            </a:xfrm>
            <a:prstGeom prst="rect">
              <a:avLst/>
            </a:prstGeom>
            <a:solidFill>
              <a:sysClr val="window" lastClr="FFFFFF"/>
            </a:solidFill>
            <a:ln>
              <a:noFill/>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dirty="0">
                  <a:solidFill>
                    <a:prstClr val="black"/>
                  </a:solidFill>
                  <a:latin typeface="Calibri" panose="020F0502020204030204"/>
                </a:rPr>
                <a:t>Business Initiatives</a:t>
              </a:r>
              <a:endParaRPr lang="en-US" sz="1067" dirty="0">
                <a:solidFill>
                  <a:prstClr val="black">
                    <a:lumMod val="50000"/>
                    <a:lumOff val="50000"/>
                  </a:prstClr>
                </a:solidFill>
                <a:latin typeface="Calibri" panose="020F0502020204030204"/>
              </a:endParaRPr>
            </a:p>
          </p:txBody>
        </p:sp>
        <p:cxnSp>
          <p:nvCxnSpPr>
            <p:cNvPr id="256" name="Straight Arrow Connector 255"/>
            <p:cNvCxnSpPr/>
            <p:nvPr/>
          </p:nvCxnSpPr>
          <p:spPr>
            <a:xfrm>
              <a:off x="1255757" y="1532473"/>
              <a:ext cx="0" cy="365760"/>
            </a:xfrm>
            <a:prstGeom prst="straightConnector1">
              <a:avLst/>
            </a:prstGeom>
            <a:solidFill>
              <a:sysClr val="window" lastClr="FFFFFF"/>
            </a:solidFill>
            <a:ln w="28575" cap="flat" cmpd="sng" algn="ctr">
              <a:solidFill>
                <a:sysClr val="window" lastClr="FFFFFF">
                  <a:lumMod val="50000"/>
                </a:sysClr>
              </a:solidFill>
              <a:prstDash val="solid"/>
              <a:miter lim="800000"/>
              <a:tailEnd type="arrow"/>
            </a:ln>
            <a:effectLst/>
          </p:spPr>
        </p:cxnSp>
        <p:sp>
          <p:nvSpPr>
            <p:cNvPr id="257" name="TextBox 140"/>
            <p:cNvSpPr txBox="1"/>
            <p:nvPr/>
          </p:nvSpPr>
          <p:spPr>
            <a:xfrm>
              <a:off x="5935998" y="5495593"/>
              <a:ext cx="1645920" cy="193435"/>
            </a:xfrm>
            <a:prstGeom prst="rect">
              <a:avLst/>
            </a:prstGeom>
            <a:noFill/>
            <a:ln>
              <a:noFill/>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67" b="1" dirty="0">
                  <a:solidFill>
                    <a:prstClr val="black"/>
                  </a:solidFill>
                  <a:latin typeface="Calibri" panose="020F0502020204030204"/>
                </a:rPr>
                <a:t>Delivered Epics (PSIs)</a:t>
              </a:r>
              <a:endParaRPr lang="en-US" sz="667" b="1" dirty="0">
                <a:solidFill>
                  <a:prstClr val="black">
                    <a:lumMod val="50000"/>
                    <a:lumOff val="50000"/>
                  </a:prstClr>
                </a:solidFill>
                <a:latin typeface="Calibri" panose="020F0502020204030204"/>
              </a:endParaRPr>
            </a:p>
          </p:txBody>
        </p:sp>
        <p:grpSp>
          <p:nvGrpSpPr>
            <p:cNvPr id="258" name="Group 257"/>
            <p:cNvGrpSpPr/>
            <p:nvPr/>
          </p:nvGrpSpPr>
          <p:grpSpPr>
            <a:xfrm>
              <a:off x="694990" y="3130042"/>
              <a:ext cx="1121534" cy="1325858"/>
              <a:chOff x="1784483" y="3129002"/>
              <a:chExt cx="1121534" cy="1325858"/>
            </a:xfrm>
          </p:grpSpPr>
          <p:sp>
            <p:nvSpPr>
              <p:cNvPr id="379" name="Down Arrow 378"/>
              <p:cNvSpPr/>
              <p:nvPr/>
            </p:nvSpPr>
            <p:spPr>
              <a:xfrm>
                <a:off x="1784483" y="3129002"/>
                <a:ext cx="1121534" cy="1325858"/>
              </a:xfrm>
              <a:prstGeom prst="downArrow">
                <a:avLst>
                  <a:gd name="adj1" fmla="val 59680"/>
                  <a:gd name="adj2" fmla="val 47010"/>
                </a:avLst>
              </a:prstGeom>
              <a:solidFill>
                <a:sysClr val="window" lastClr="FFFFFF"/>
              </a:solidFill>
              <a:ln w="9525"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380" name="TextBox 150"/>
              <p:cNvSpPr txBox="1"/>
              <p:nvPr/>
            </p:nvSpPr>
            <p:spPr>
              <a:xfrm rot="5400000">
                <a:off x="1884729" y="3386109"/>
                <a:ext cx="921040" cy="438813"/>
              </a:xfrm>
              <a:prstGeom prst="rect">
                <a:avLst/>
              </a:prstGeom>
              <a:noFill/>
              <a:ln>
                <a:no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067" dirty="0">
                    <a:solidFill>
                      <a:prstClr val="black"/>
                    </a:solidFill>
                    <a:latin typeface="Calibri" panose="020F0502020204030204"/>
                  </a:rPr>
                  <a:t>Portfolio Themes</a:t>
                </a:r>
                <a:endParaRPr lang="en-US" sz="800" dirty="0">
                  <a:solidFill>
                    <a:prstClr val="black">
                      <a:lumMod val="50000"/>
                      <a:lumOff val="50000"/>
                    </a:prstClr>
                  </a:solidFill>
                  <a:latin typeface="Calibri" panose="020F0502020204030204"/>
                </a:endParaRPr>
              </a:p>
            </p:txBody>
          </p:sp>
        </p:grpSp>
        <p:grpSp>
          <p:nvGrpSpPr>
            <p:cNvPr id="259" name="Group 258"/>
            <p:cNvGrpSpPr/>
            <p:nvPr/>
          </p:nvGrpSpPr>
          <p:grpSpPr>
            <a:xfrm>
              <a:off x="597389" y="4752166"/>
              <a:ext cx="1316736" cy="914400"/>
              <a:chOff x="1752014" y="4752166"/>
              <a:chExt cx="1316736" cy="914400"/>
            </a:xfrm>
          </p:grpSpPr>
          <p:sp>
            <p:nvSpPr>
              <p:cNvPr id="341" name="Rectangle 340"/>
              <p:cNvSpPr/>
              <p:nvPr/>
            </p:nvSpPr>
            <p:spPr>
              <a:xfrm>
                <a:off x="1752014" y="4752166"/>
                <a:ext cx="1316736" cy="91440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grpSp>
            <p:nvGrpSpPr>
              <p:cNvPr id="342" name="Group 341"/>
              <p:cNvGrpSpPr/>
              <p:nvPr/>
            </p:nvGrpSpPr>
            <p:grpSpPr>
              <a:xfrm>
                <a:off x="1788953" y="4785882"/>
                <a:ext cx="1242858" cy="846969"/>
                <a:chOff x="1752675" y="4783159"/>
                <a:chExt cx="1242858" cy="846969"/>
              </a:xfrm>
            </p:grpSpPr>
            <p:grpSp>
              <p:nvGrpSpPr>
                <p:cNvPr id="343" name="Group 342"/>
                <p:cNvGrpSpPr/>
                <p:nvPr/>
              </p:nvGrpSpPr>
              <p:grpSpPr>
                <a:xfrm>
                  <a:off x="1752675" y="4783159"/>
                  <a:ext cx="365760" cy="846969"/>
                  <a:chOff x="1727288" y="4751763"/>
                  <a:chExt cx="274218" cy="846969"/>
                </a:xfrm>
              </p:grpSpPr>
              <p:sp>
                <p:nvSpPr>
                  <p:cNvPr id="368" name="Freeform 367"/>
                  <p:cNvSpPr/>
                  <p:nvPr/>
                </p:nvSpPr>
                <p:spPr>
                  <a:xfrm>
                    <a:off x="1727288" y="475176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9" name="Freeform 368"/>
                  <p:cNvSpPr/>
                  <p:nvPr/>
                </p:nvSpPr>
                <p:spPr>
                  <a:xfrm>
                    <a:off x="1727288" y="482928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0" name="Freeform 369"/>
                  <p:cNvSpPr/>
                  <p:nvPr/>
                </p:nvSpPr>
                <p:spPr>
                  <a:xfrm>
                    <a:off x="1727288" y="490680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1" name="Freeform 370"/>
                  <p:cNvSpPr/>
                  <p:nvPr/>
                </p:nvSpPr>
                <p:spPr>
                  <a:xfrm>
                    <a:off x="1727288" y="498432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2" name="Freeform 371"/>
                  <p:cNvSpPr/>
                  <p:nvPr/>
                </p:nvSpPr>
                <p:spPr>
                  <a:xfrm>
                    <a:off x="1727288" y="506184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3" name="Freeform 372"/>
                  <p:cNvSpPr/>
                  <p:nvPr/>
                </p:nvSpPr>
                <p:spPr>
                  <a:xfrm>
                    <a:off x="1727288" y="5133752"/>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74" name="Freeform 373"/>
                  <p:cNvSpPr/>
                  <p:nvPr/>
                </p:nvSpPr>
                <p:spPr>
                  <a:xfrm>
                    <a:off x="1727288" y="5210626"/>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75" name="Freeform 374"/>
                  <p:cNvSpPr/>
                  <p:nvPr/>
                </p:nvSpPr>
                <p:spPr>
                  <a:xfrm>
                    <a:off x="1727288" y="528826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6" name="Freeform 375"/>
                  <p:cNvSpPr/>
                  <p:nvPr/>
                </p:nvSpPr>
                <p:spPr>
                  <a:xfrm>
                    <a:off x="1727288" y="536578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77" name="Freeform 376"/>
                  <p:cNvSpPr/>
                  <p:nvPr/>
                </p:nvSpPr>
                <p:spPr>
                  <a:xfrm>
                    <a:off x="1727288" y="5443303"/>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78" name="Freeform 377"/>
                  <p:cNvSpPr/>
                  <p:nvPr/>
                </p:nvSpPr>
                <p:spPr>
                  <a:xfrm>
                    <a:off x="1727288" y="5520177"/>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grpSp>
            <p:grpSp>
              <p:nvGrpSpPr>
                <p:cNvPr id="344" name="Group 343"/>
                <p:cNvGrpSpPr/>
                <p:nvPr/>
              </p:nvGrpSpPr>
              <p:grpSpPr>
                <a:xfrm>
                  <a:off x="2191054" y="4783159"/>
                  <a:ext cx="365760" cy="846969"/>
                  <a:chOff x="1727288" y="4751763"/>
                  <a:chExt cx="274218" cy="846969"/>
                </a:xfrm>
              </p:grpSpPr>
              <p:sp>
                <p:nvSpPr>
                  <p:cNvPr id="357" name="Freeform 356"/>
                  <p:cNvSpPr/>
                  <p:nvPr/>
                </p:nvSpPr>
                <p:spPr>
                  <a:xfrm>
                    <a:off x="1727288" y="475176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8" name="Freeform 357"/>
                  <p:cNvSpPr/>
                  <p:nvPr/>
                </p:nvSpPr>
                <p:spPr>
                  <a:xfrm>
                    <a:off x="1727288" y="482928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9" name="Freeform 358"/>
                  <p:cNvSpPr/>
                  <p:nvPr/>
                </p:nvSpPr>
                <p:spPr>
                  <a:xfrm>
                    <a:off x="1727288" y="490680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0" name="Freeform 359"/>
                  <p:cNvSpPr/>
                  <p:nvPr/>
                </p:nvSpPr>
                <p:spPr>
                  <a:xfrm>
                    <a:off x="1727288" y="498432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1" name="Freeform 360"/>
                  <p:cNvSpPr/>
                  <p:nvPr/>
                </p:nvSpPr>
                <p:spPr>
                  <a:xfrm>
                    <a:off x="1727288" y="506184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2" name="Freeform 361"/>
                  <p:cNvSpPr/>
                  <p:nvPr/>
                </p:nvSpPr>
                <p:spPr>
                  <a:xfrm>
                    <a:off x="1727288" y="5133752"/>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63" name="Freeform 362"/>
                  <p:cNvSpPr/>
                  <p:nvPr/>
                </p:nvSpPr>
                <p:spPr>
                  <a:xfrm>
                    <a:off x="1727288" y="5210626"/>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64" name="Freeform 363"/>
                  <p:cNvSpPr/>
                  <p:nvPr/>
                </p:nvSpPr>
                <p:spPr>
                  <a:xfrm>
                    <a:off x="1727288" y="528826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5" name="Freeform 364"/>
                  <p:cNvSpPr/>
                  <p:nvPr/>
                </p:nvSpPr>
                <p:spPr>
                  <a:xfrm>
                    <a:off x="1727288" y="536578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66" name="Freeform 365"/>
                  <p:cNvSpPr/>
                  <p:nvPr/>
                </p:nvSpPr>
                <p:spPr>
                  <a:xfrm>
                    <a:off x="1727288" y="5443303"/>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67" name="Freeform 366"/>
                  <p:cNvSpPr/>
                  <p:nvPr/>
                </p:nvSpPr>
                <p:spPr>
                  <a:xfrm>
                    <a:off x="1727288" y="5520177"/>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grpSp>
            <p:grpSp>
              <p:nvGrpSpPr>
                <p:cNvPr id="345" name="Group 344"/>
                <p:cNvGrpSpPr/>
                <p:nvPr/>
              </p:nvGrpSpPr>
              <p:grpSpPr>
                <a:xfrm>
                  <a:off x="2629773" y="4783159"/>
                  <a:ext cx="365760" cy="846969"/>
                  <a:chOff x="1727288" y="4751763"/>
                  <a:chExt cx="274218" cy="846969"/>
                </a:xfrm>
              </p:grpSpPr>
              <p:sp>
                <p:nvSpPr>
                  <p:cNvPr id="346" name="Freeform 345"/>
                  <p:cNvSpPr/>
                  <p:nvPr/>
                </p:nvSpPr>
                <p:spPr>
                  <a:xfrm>
                    <a:off x="1727288" y="475176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47" name="Freeform 346"/>
                  <p:cNvSpPr/>
                  <p:nvPr/>
                </p:nvSpPr>
                <p:spPr>
                  <a:xfrm>
                    <a:off x="1727288" y="482928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48" name="Freeform 347"/>
                  <p:cNvSpPr/>
                  <p:nvPr/>
                </p:nvSpPr>
                <p:spPr>
                  <a:xfrm>
                    <a:off x="1727288" y="490680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49" name="Freeform 348"/>
                  <p:cNvSpPr/>
                  <p:nvPr/>
                </p:nvSpPr>
                <p:spPr>
                  <a:xfrm>
                    <a:off x="1727288" y="498432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0" name="Freeform 349"/>
                  <p:cNvSpPr/>
                  <p:nvPr/>
                </p:nvSpPr>
                <p:spPr>
                  <a:xfrm>
                    <a:off x="1727288" y="5061843"/>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1" name="Freeform 350"/>
                  <p:cNvSpPr/>
                  <p:nvPr/>
                </p:nvSpPr>
                <p:spPr>
                  <a:xfrm>
                    <a:off x="1727288" y="5133752"/>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52" name="Freeform 351"/>
                  <p:cNvSpPr/>
                  <p:nvPr/>
                </p:nvSpPr>
                <p:spPr>
                  <a:xfrm>
                    <a:off x="1727288" y="5210626"/>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53" name="Freeform 352"/>
                  <p:cNvSpPr/>
                  <p:nvPr/>
                </p:nvSpPr>
                <p:spPr>
                  <a:xfrm>
                    <a:off x="1727288" y="528826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4" name="Freeform 353"/>
                  <p:cNvSpPr/>
                  <p:nvPr/>
                </p:nvSpPr>
                <p:spPr>
                  <a:xfrm>
                    <a:off x="1727288" y="5365784"/>
                    <a:ext cx="274218" cy="73592"/>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55" name="Freeform 354"/>
                  <p:cNvSpPr/>
                  <p:nvPr/>
                </p:nvSpPr>
                <p:spPr>
                  <a:xfrm>
                    <a:off x="1727288" y="5443303"/>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56" name="Freeform 355"/>
                  <p:cNvSpPr/>
                  <p:nvPr/>
                </p:nvSpPr>
                <p:spPr>
                  <a:xfrm>
                    <a:off x="1727288" y="5520177"/>
                    <a:ext cx="274218" cy="78555"/>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grpSp>
          </p:grpSp>
        </p:grpSp>
        <p:sp>
          <p:nvSpPr>
            <p:cNvPr id="260" name="Rectangle 259"/>
            <p:cNvSpPr/>
            <p:nvPr/>
          </p:nvSpPr>
          <p:spPr>
            <a:xfrm>
              <a:off x="555878" y="4431069"/>
              <a:ext cx="1399761" cy="326294"/>
            </a:xfrm>
            <a:prstGeom prst="rect">
              <a:avLst/>
            </a:prstGeom>
            <a:solidFill>
              <a:sysClr val="window" lastClr="FFFFFF"/>
            </a:solid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dirty="0">
                  <a:solidFill>
                    <a:prstClr val="black"/>
                  </a:solidFill>
                  <a:latin typeface="Calibri" panose="020F0502020204030204"/>
                </a:rPr>
                <a:t>Enterprise Backlog</a:t>
              </a:r>
            </a:p>
          </p:txBody>
        </p:sp>
        <p:sp>
          <p:nvSpPr>
            <p:cNvPr id="261" name="Down Arrow 260"/>
            <p:cNvSpPr/>
            <p:nvPr/>
          </p:nvSpPr>
          <p:spPr>
            <a:xfrm>
              <a:off x="6235978" y="889090"/>
              <a:ext cx="548640" cy="548640"/>
            </a:xfrm>
            <a:prstGeom prst="downArrow">
              <a:avLst/>
            </a:prstGeom>
            <a:solidFill>
              <a:sysClr val="window" lastClr="FFFFFF">
                <a:lumMod val="75000"/>
              </a:sys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grpSp>
          <p:nvGrpSpPr>
            <p:cNvPr id="262" name="Group 261"/>
            <p:cNvGrpSpPr/>
            <p:nvPr/>
          </p:nvGrpSpPr>
          <p:grpSpPr>
            <a:xfrm>
              <a:off x="6326266" y="1434399"/>
              <a:ext cx="365760" cy="640080"/>
              <a:chOff x="5074436" y="1642317"/>
              <a:chExt cx="365760" cy="640080"/>
            </a:xfrm>
          </p:grpSpPr>
          <p:sp>
            <p:nvSpPr>
              <p:cNvPr id="332" name="Rectangle 331"/>
              <p:cNvSpPr/>
              <p:nvPr/>
            </p:nvSpPr>
            <p:spPr>
              <a:xfrm>
                <a:off x="5074436" y="1642317"/>
                <a:ext cx="365760" cy="64008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grpSp>
            <p:nvGrpSpPr>
              <p:cNvPr id="333" name="Group 332"/>
              <p:cNvGrpSpPr>
                <a:grpSpLocks noChangeAspect="1"/>
              </p:cNvGrpSpPr>
              <p:nvPr/>
            </p:nvGrpSpPr>
            <p:grpSpPr>
              <a:xfrm>
                <a:off x="5120207" y="1688038"/>
                <a:ext cx="274218" cy="548638"/>
                <a:chOff x="1676400" y="1398645"/>
                <a:chExt cx="1371600" cy="4060708"/>
              </a:xfrm>
              <a:gradFill>
                <a:gsLst>
                  <a:gs pos="0">
                    <a:sysClr val="windowText" lastClr="000000"/>
                  </a:gs>
                  <a:gs pos="52000">
                    <a:sysClr val="windowText" lastClr="000000">
                      <a:lumMod val="40000"/>
                      <a:lumOff val="60000"/>
                    </a:sysClr>
                  </a:gs>
                  <a:gs pos="100000">
                    <a:sysClr val="windowText" lastClr="000000">
                      <a:lumMod val="60000"/>
                      <a:lumOff val="40000"/>
                    </a:sysClr>
                  </a:gs>
                </a:gsLst>
                <a:lin ang="5400000" scaled="1"/>
              </a:gradFill>
              <a:effectLst/>
            </p:grpSpPr>
            <p:sp>
              <p:nvSpPr>
                <p:cNvPr id="334" name="Freeform 333"/>
                <p:cNvSpPr/>
                <p:nvPr/>
              </p:nvSpPr>
              <p:spPr>
                <a:xfrm>
                  <a:off x="1676400" y="1398645"/>
                  <a:ext cx="1371600" cy="544686"/>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35" name="Freeform 334"/>
                <p:cNvSpPr/>
                <p:nvPr/>
              </p:nvSpPr>
              <p:spPr>
                <a:xfrm>
                  <a:off x="1676400" y="1972404"/>
                  <a:ext cx="1371600" cy="544686"/>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36" name="Freeform 335"/>
                <p:cNvSpPr/>
                <p:nvPr/>
              </p:nvSpPr>
              <p:spPr>
                <a:xfrm>
                  <a:off x="1676400" y="2546163"/>
                  <a:ext cx="1371600" cy="544686"/>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37" name="Freeform 336"/>
                <p:cNvSpPr/>
                <p:nvPr/>
              </p:nvSpPr>
              <p:spPr>
                <a:xfrm>
                  <a:off x="1676400" y="3119922"/>
                  <a:ext cx="1371600" cy="544687"/>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38" name="Freeform 337"/>
                <p:cNvSpPr/>
                <p:nvPr/>
              </p:nvSpPr>
              <p:spPr>
                <a:xfrm>
                  <a:off x="1676400" y="3693681"/>
                  <a:ext cx="1371600" cy="544687"/>
                </a:xfrm>
                <a:custGeom>
                  <a:avLst/>
                  <a:gdLst>
                    <a:gd name="connsiteX0" fmla="*/ 0 w 1371600"/>
                    <a:gd name="connsiteY0" fmla="*/ 0 h 544687"/>
                    <a:gd name="connsiteX1" fmla="*/ 1371600 w 1371600"/>
                    <a:gd name="connsiteY1" fmla="*/ 0 h 544687"/>
                    <a:gd name="connsiteX2" fmla="*/ 1371600 w 1371600"/>
                    <a:gd name="connsiteY2" fmla="*/ 544687 h 544687"/>
                    <a:gd name="connsiteX3" fmla="*/ 0 w 1371600"/>
                    <a:gd name="connsiteY3" fmla="*/ 544687 h 544687"/>
                    <a:gd name="connsiteX4" fmla="*/ 0 w 1371600"/>
                    <a:gd name="connsiteY4" fmla="*/ 0 h 5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44687">
                      <a:moveTo>
                        <a:pt x="0" y="0"/>
                      </a:moveTo>
                      <a:lnTo>
                        <a:pt x="1371600" y="0"/>
                      </a:lnTo>
                      <a:lnTo>
                        <a:pt x="1371600" y="544687"/>
                      </a:lnTo>
                      <a:lnTo>
                        <a:pt x="0" y="544687"/>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r>
                    <a:rPr lang="en-US" sz="2133" dirty="0">
                      <a:solidFill>
                        <a:prstClr val="white"/>
                      </a:solidFill>
                      <a:latin typeface="Calibri" panose="020F0502020204030204"/>
                    </a:rPr>
                    <a:t> </a:t>
                  </a:r>
                </a:p>
              </p:txBody>
            </p:sp>
            <p:sp>
              <p:nvSpPr>
                <p:cNvPr id="339" name="Freeform 338"/>
                <p:cNvSpPr/>
                <p:nvPr/>
              </p:nvSpPr>
              <p:spPr>
                <a:xfrm>
                  <a:off x="1676400" y="4267433"/>
                  <a:ext cx="1371600" cy="581420"/>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sp>
              <p:nvSpPr>
                <p:cNvPr id="340" name="Freeform 339"/>
                <p:cNvSpPr/>
                <p:nvPr/>
              </p:nvSpPr>
              <p:spPr>
                <a:xfrm>
                  <a:off x="1676400" y="4877933"/>
                  <a:ext cx="1371600" cy="581420"/>
                </a:xfrm>
                <a:custGeom>
                  <a:avLst/>
                  <a:gdLst>
                    <a:gd name="connsiteX0" fmla="*/ 0 w 1371600"/>
                    <a:gd name="connsiteY0" fmla="*/ 0 h 581421"/>
                    <a:gd name="connsiteX1" fmla="*/ 1371600 w 1371600"/>
                    <a:gd name="connsiteY1" fmla="*/ 0 h 581421"/>
                    <a:gd name="connsiteX2" fmla="*/ 1371600 w 1371600"/>
                    <a:gd name="connsiteY2" fmla="*/ 581421 h 581421"/>
                    <a:gd name="connsiteX3" fmla="*/ 0 w 1371600"/>
                    <a:gd name="connsiteY3" fmla="*/ 581421 h 581421"/>
                    <a:gd name="connsiteX4" fmla="*/ 0 w 1371600"/>
                    <a:gd name="connsiteY4" fmla="*/ 0 h 5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581421">
                      <a:moveTo>
                        <a:pt x="0" y="0"/>
                      </a:moveTo>
                      <a:lnTo>
                        <a:pt x="1371600" y="0"/>
                      </a:lnTo>
                      <a:lnTo>
                        <a:pt x="1371600" y="581421"/>
                      </a:lnTo>
                      <a:lnTo>
                        <a:pt x="0" y="581421"/>
                      </a:lnTo>
                      <a:lnTo>
                        <a:pt x="0" y="0"/>
                      </a:lnTo>
                      <a:close/>
                    </a:path>
                  </a:pathLst>
                </a:custGeom>
                <a:grpFill/>
                <a:ln w="12700" cap="flat" cmpd="sng" algn="ctr">
                  <a:solidFill>
                    <a:sysClr val="window" lastClr="FFFFFF">
                      <a:hueOff val="0"/>
                      <a:satOff val="0"/>
                      <a:lumOff val="0"/>
                      <a:alphaOff val="0"/>
                    </a:sysClr>
                  </a:solidFill>
                  <a:prstDash val="solid"/>
                  <a:miter lim="800000"/>
                </a:ln>
                <a:effectLst/>
              </p:spPr>
              <p:txBody>
                <a:bodyPr spcFirstLastPara="0" vert="horz" wrap="square" lIns="98213" tIns="98213" rIns="98213" bIns="982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18690">
                    <a:lnSpc>
                      <a:spcPct val="90000"/>
                    </a:lnSpc>
                    <a:spcBef>
                      <a:spcPct val="0"/>
                    </a:spcBef>
                    <a:spcAft>
                      <a:spcPct val="35000"/>
                    </a:spcAft>
                    <a:defRPr/>
                  </a:pPr>
                  <a:endParaRPr lang="en-US" sz="2133" dirty="0">
                    <a:solidFill>
                      <a:prstClr val="white"/>
                    </a:solidFill>
                    <a:latin typeface="Calibri" panose="020F0502020204030204"/>
                  </a:endParaRPr>
                </a:p>
              </p:txBody>
            </p:sp>
          </p:grpSp>
        </p:grpSp>
        <p:sp>
          <p:nvSpPr>
            <p:cNvPr id="263" name="Rectangle 262"/>
            <p:cNvSpPr/>
            <p:nvPr/>
          </p:nvSpPr>
          <p:spPr>
            <a:xfrm>
              <a:off x="2132086" y="3251576"/>
              <a:ext cx="1117295" cy="326294"/>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solidFill>
                  <a:latin typeface="Calibri" panose="020F0502020204030204"/>
                </a:rPr>
                <a:t>Sprint Backlog</a:t>
              </a:r>
            </a:p>
          </p:txBody>
        </p:sp>
        <p:sp>
          <p:nvSpPr>
            <p:cNvPr id="264" name="Rounded Rectangle 263"/>
            <p:cNvSpPr/>
            <p:nvPr/>
          </p:nvSpPr>
          <p:spPr>
            <a:xfrm>
              <a:off x="2150533" y="820012"/>
              <a:ext cx="7918704" cy="5062173"/>
            </a:xfrm>
            <a:prstGeom prst="roundRect">
              <a:avLst>
                <a:gd name="adj" fmla="val 3025"/>
              </a:avLst>
            </a:prstGeom>
            <a:noFill/>
            <a:ln w="635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grpSp>
          <p:nvGrpSpPr>
            <p:cNvPr id="265" name="Group 264"/>
            <p:cNvGrpSpPr/>
            <p:nvPr/>
          </p:nvGrpSpPr>
          <p:grpSpPr>
            <a:xfrm>
              <a:off x="945880" y="2264928"/>
              <a:ext cx="619755" cy="447255"/>
              <a:chOff x="2037941" y="2240864"/>
              <a:chExt cx="619755" cy="447255"/>
            </a:xfrm>
          </p:grpSpPr>
          <p:pic>
            <p:nvPicPr>
              <p:cNvPr id="325" name="Picture 324" descr="C:\Users\ar259291\AppData\Local\Microsoft\Windows\Temporary Internet Files\Content.IE5\DRON5YPJ\MC90043160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64722" y="2240864"/>
                <a:ext cx="161910" cy="158664"/>
              </a:xfrm>
              <a:prstGeom prst="rect">
                <a:avLst/>
              </a:prstGeom>
              <a:solidFill>
                <a:sysClr val="window" lastClr="FFFFFF"/>
              </a:solidFill>
              <a:extLst/>
            </p:spPr>
          </p:pic>
          <p:pic>
            <p:nvPicPr>
              <p:cNvPr id="326" name="Picture 325" descr="C:\Users\ar259291\AppData\Local\Microsoft\Windows\Temporary Internet Files\Content.IE5\WKDIUPPB\MC90043164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5786" y="2529455"/>
                <a:ext cx="161910" cy="158664"/>
              </a:xfrm>
              <a:prstGeom prst="rect">
                <a:avLst/>
              </a:prstGeom>
              <a:solidFill>
                <a:sysClr val="window" lastClr="FFFFFF"/>
              </a:solidFill>
              <a:extLst/>
            </p:spPr>
          </p:pic>
          <p:pic>
            <p:nvPicPr>
              <p:cNvPr id="327" name="Picture 326" descr="C:\Users\ar259291\AppData\Local\Microsoft\Windows\Temporary Internet Files\Content.IE5\WKDIUPPB\MC900431640.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37941" y="2529455"/>
                <a:ext cx="161910" cy="158664"/>
              </a:xfrm>
              <a:prstGeom prst="rect">
                <a:avLst/>
              </a:prstGeom>
              <a:solidFill>
                <a:sysClr val="window" lastClr="FFFFFF"/>
              </a:solidFill>
              <a:extLst/>
            </p:spPr>
          </p:pic>
          <p:grpSp>
            <p:nvGrpSpPr>
              <p:cNvPr id="328" name="Group 327"/>
              <p:cNvGrpSpPr/>
              <p:nvPr/>
            </p:nvGrpSpPr>
            <p:grpSpPr>
              <a:xfrm>
                <a:off x="2199851" y="2389624"/>
                <a:ext cx="295935" cy="219163"/>
                <a:chOff x="2199851" y="2389624"/>
                <a:chExt cx="295935" cy="219163"/>
              </a:xfrm>
            </p:grpSpPr>
            <p:cxnSp>
              <p:nvCxnSpPr>
                <p:cNvPr id="329" name="Straight Connector 328"/>
                <p:cNvCxnSpPr>
                  <a:endCxn id="326" idx="1"/>
                </p:cNvCxnSpPr>
                <p:nvPr/>
              </p:nvCxnSpPr>
              <p:spPr>
                <a:xfrm>
                  <a:off x="2345250" y="2389624"/>
                  <a:ext cx="150536" cy="219163"/>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30" name="Straight Connector 329"/>
                <p:cNvCxnSpPr>
                  <a:stCxn id="325" idx="2"/>
                  <a:endCxn id="327" idx="3"/>
                </p:cNvCxnSpPr>
                <p:nvPr/>
              </p:nvCxnSpPr>
              <p:spPr>
                <a:xfrm flipH="1">
                  <a:off x="2199851" y="2399528"/>
                  <a:ext cx="145826" cy="209259"/>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31" name="Straight Connector 330"/>
                <p:cNvCxnSpPr>
                  <a:stCxn id="326" idx="1"/>
                  <a:endCxn id="327" idx="3"/>
                </p:cNvCxnSpPr>
                <p:nvPr/>
              </p:nvCxnSpPr>
              <p:spPr>
                <a:xfrm flipH="1">
                  <a:off x="2199851" y="2608787"/>
                  <a:ext cx="295935" cy="0"/>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grpSp>
        </p:grpSp>
        <p:sp>
          <p:nvSpPr>
            <p:cNvPr id="266" name="Rectangle 265"/>
            <p:cNvSpPr/>
            <p:nvPr/>
          </p:nvSpPr>
          <p:spPr>
            <a:xfrm>
              <a:off x="342049" y="2693842"/>
              <a:ext cx="1827412" cy="32629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prstClr val="black"/>
                  </a:solidFill>
                  <a:latin typeface="Calibri" panose="020F0502020204030204"/>
                </a:rPr>
                <a:t>Product Management</a:t>
              </a:r>
            </a:p>
          </p:txBody>
        </p:sp>
        <p:sp>
          <p:nvSpPr>
            <p:cNvPr id="267" name="Bent Arrow 266"/>
            <p:cNvSpPr/>
            <p:nvPr/>
          </p:nvSpPr>
          <p:spPr>
            <a:xfrm rot="5400000" flipV="1">
              <a:off x="4925638" y="795307"/>
              <a:ext cx="457200" cy="2194560"/>
            </a:xfrm>
            <a:prstGeom prst="bentArrow">
              <a:avLst>
                <a:gd name="adj1" fmla="val 12561"/>
                <a:gd name="adj2" fmla="val 25000"/>
                <a:gd name="adj3" fmla="val 34951"/>
                <a:gd name="adj4" fmla="val 23849"/>
              </a:avLst>
            </a:prstGeom>
            <a:solidFill>
              <a:sysClr val="window" lastClr="FFFFFF">
                <a:lumMod val="75000"/>
              </a:sys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sp>
          <p:nvSpPr>
            <p:cNvPr id="268" name="Bent Arrow 267"/>
            <p:cNvSpPr/>
            <p:nvPr/>
          </p:nvSpPr>
          <p:spPr>
            <a:xfrm rot="16200000" flipH="1" flipV="1">
              <a:off x="7643064" y="795307"/>
              <a:ext cx="457200" cy="2194560"/>
            </a:xfrm>
            <a:prstGeom prst="bentArrow">
              <a:avLst>
                <a:gd name="adj1" fmla="val 12561"/>
                <a:gd name="adj2" fmla="val 25000"/>
                <a:gd name="adj3" fmla="val 34951"/>
                <a:gd name="adj4" fmla="val 23849"/>
              </a:avLst>
            </a:prstGeom>
            <a:solidFill>
              <a:sysClr val="window" lastClr="FFFFFF">
                <a:lumMod val="75000"/>
              </a:sys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a:solidFill>
                  <a:prstClr val="white"/>
                </a:solidFill>
                <a:latin typeface="Calibri" panose="020F0502020204030204"/>
              </a:endParaRPr>
            </a:p>
          </p:txBody>
        </p:sp>
        <p:grpSp>
          <p:nvGrpSpPr>
            <p:cNvPr id="269" name="Group 268"/>
            <p:cNvGrpSpPr/>
            <p:nvPr/>
          </p:nvGrpSpPr>
          <p:grpSpPr>
            <a:xfrm>
              <a:off x="10080017" y="2127669"/>
              <a:ext cx="1599683" cy="802184"/>
              <a:chOff x="8931831" y="2233802"/>
              <a:chExt cx="1599683" cy="802184"/>
            </a:xfrm>
          </p:grpSpPr>
          <p:grpSp>
            <p:nvGrpSpPr>
              <p:cNvPr id="317" name="Group 316"/>
              <p:cNvGrpSpPr/>
              <p:nvPr/>
            </p:nvGrpSpPr>
            <p:grpSpPr>
              <a:xfrm>
                <a:off x="9476735" y="2233802"/>
                <a:ext cx="509874" cy="489514"/>
                <a:chOff x="9476735" y="2233802"/>
                <a:chExt cx="509874" cy="489514"/>
              </a:xfrm>
            </p:grpSpPr>
            <p:pic>
              <p:nvPicPr>
                <p:cNvPr id="319" name="Picture 318" descr="C:\Users\ar259291\AppData\Local\Microsoft\Windows\Temporary Internet Files\Content.IE5\S3N4CMVM\MC900431615.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643864" y="2233802"/>
                  <a:ext cx="186228" cy="182880"/>
                </a:xfrm>
                <a:prstGeom prst="rect">
                  <a:avLst/>
                </a:prstGeom>
                <a:solidFill>
                  <a:sysClr val="window" lastClr="FFFFFF"/>
                </a:solidFill>
                <a:extLst/>
              </p:spPr>
            </p:pic>
            <p:pic>
              <p:nvPicPr>
                <p:cNvPr id="320" name="Picture 319" descr="C:\Users\ar259291\AppData\Local\Microsoft\Windows\Temporary Internet Files\Content.IE5\WKDIUPPB\MC900432610.PN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476735" y="2540436"/>
                  <a:ext cx="145257" cy="182880"/>
                </a:xfrm>
                <a:prstGeom prst="rect">
                  <a:avLst/>
                </a:prstGeom>
                <a:solidFill>
                  <a:sysClr val="window" lastClr="FFFFFF"/>
                </a:solidFill>
                <a:effectLst>
                  <a:softEdge rad="12700"/>
                </a:effectLst>
                <a:extLst/>
              </p:spPr>
            </p:pic>
            <p:pic>
              <p:nvPicPr>
                <p:cNvPr id="321" name="Picture 320" descr="C:\Users\ar259291\AppData\Local\Microsoft\Windows\Temporary Internet Files\Content.IE5\WKDIUPPB\MC900431644.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b="-2216"/>
                <a:stretch/>
              </p:blipFill>
              <p:spPr bwMode="auto">
                <a:xfrm>
                  <a:off x="9859395" y="2540055"/>
                  <a:ext cx="127214" cy="182880"/>
                </a:xfrm>
                <a:prstGeom prst="flowChartConnector">
                  <a:avLst/>
                </a:prstGeom>
                <a:solidFill>
                  <a:sysClr val="window" lastClr="FFFFFF"/>
                </a:solidFill>
                <a:extLst/>
              </p:spPr>
            </p:pic>
            <p:cxnSp>
              <p:nvCxnSpPr>
                <p:cNvPr id="322" name="Straight Connector 321"/>
                <p:cNvCxnSpPr>
                  <a:stCxn id="319" idx="2"/>
                  <a:endCxn id="321" idx="2"/>
                </p:cNvCxnSpPr>
                <p:nvPr/>
              </p:nvCxnSpPr>
              <p:spPr>
                <a:xfrm>
                  <a:off x="9736978" y="2416682"/>
                  <a:ext cx="122417" cy="214813"/>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23" name="Straight Connector 322"/>
                <p:cNvCxnSpPr>
                  <a:endCxn id="320" idx="3"/>
                </p:cNvCxnSpPr>
                <p:nvPr/>
              </p:nvCxnSpPr>
              <p:spPr>
                <a:xfrm flipH="1">
                  <a:off x="9621992" y="2434856"/>
                  <a:ext cx="106799" cy="197020"/>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24" name="Straight Connector 323"/>
                <p:cNvCxnSpPr>
                  <a:stCxn id="321" idx="2"/>
                  <a:endCxn id="320" idx="3"/>
                </p:cNvCxnSpPr>
                <p:nvPr/>
              </p:nvCxnSpPr>
              <p:spPr>
                <a:xfrm flipH="1">
                  <a:off x="9621992" y="2631495"/>
                  <a:ext cx="237403" cy="381"/>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grpSp>
          <p:sp>
            <p:nvSpPr>
              <p:cNvPr id="318" name="Rectangle 317"/>
              <p:cNvSpPr/>
              <p:nvPr/>
            </p:nvSpPr>
            <p:spPr>
              <a:xfrm>
                <a:off x="8931831" y="2762125"/>
                <a:ext cx="1599683" cy="273861"/>
              </a:xfrm>
              <a:prstGeom prst="rect">
                <a:avLst/>
              </a:prstGeom>
              <a:noFill/>
              <a:ln w="12700" cap="flat" cmpd="sng" algn="ctr">
                <a:noFill/>
                <a:prstDash val="solid"/>
                <a:miter lim="800000"/>
              </a:ln>
              <a:effectLst/>
            </p:spPr>
            <p:txBody>
              <a:bodyPr spcFirstLastPara="0" vert="horz" wrap="square" lIns="0" tIns="0" rIns="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spcBef>
                    <a:spcPct val="0"/>
                  </a:spcBef>
                  <a:defRPr/>
                </a:pPr>
                <a:r>
                  <a:rPr lang="en-US" sz="1067" dirty="0">
                    <a:solidFill>
                      <a:prstClr val="black"/>
                    </a:solidFill>
                    <a:latin typeface="Calibri" panose="020F0502020204030204"/>
                  </a:rPr>
                  <a:t>Service Reliability Engineering (SRE)</a:t>
                </a:r>
              </a:p>
            </p:txBody>
          </p:sp>
        </p:grpSp>
        <p:sp>
          <p:nvSpPr>
            <p:cNvPr id="270" name="Rounded Rectangle 269"/>
            <p:cNvSpPr/>
            <p:nvPr/>
          </p:nvSpPr>
          <p:spPr>
            <a:xfrm>
              <a:off x="338192" y="5923262"/>
              <a:ext cx="11609183" cy="640080"/>
            </a:xfrm>
            <a:prstGeom prst="roundRect">
              <a:avLst/>
            </a:prstGeom>
            <a:solidFill>
              <a:sysClr val="window" lastClr="FFFFFF">
                <a:lumMod val="95000"/>
              </a:sysClr>
            </a:solidFill>
            <a:ln w="6350" cap="flat" cmpd="sng" algn="ctr">
              <a:solidFill>
                <a:sysClr val="windowText" lastClr="000000"/>
              </a:solidFill>
              <a:prstDash val="dash"/>
              <a:miter lim="800000"/>
            </a:ln>
            <a:effectLst/>
          </p:spPr>
          <p:txBody>
            <a:bodyPr rtlCol="0" anchor="ctr"/>
            <a:lstStyle/>
            <a:p>
              <a:pPr algn="ctr">
                <a:defRPr/>
              </a:pPr>
              <a:endParaRPr lang="en-US" sz="1200" b="1" kern="0" dirty="0">
                <a:solidFill>
                  <a:prstClr val="black"/>
                </a:solidFill>
                <a:latin typeface="Calibri" panose="020F0502020204030204"/>
              </a:endParaRPr>
            </a:p>
          </p:txBody>
        </p:sp>
        <p:sp>
          <p:nvSpPr>
            <p:cNvPr id="271" name="Freeform 53"/>
            <p:cNvSpPr/>
            <p:nvPr/>
          </p:nvSpPr>
          <p:spPr>
            <a:xfrm>
              <a:off x="10224461" y="5968868"/>
              <a:ext cx="1645920" cy="174014"/>
            </a:xfrm>
            <a:prstGeom prst="roundRect">
              <a:avLst/>
            </a:prstGeom>
            <a:noFill/>
            <a:ln w="6350" cap="flat" cmpd="sng" algn="ctr">
              <a:solidFill>
                <a:sysClr val="windowText" lastClr="000000">
                  <a:lumMod val="50000"/>
                  <a:lumOff val="50000"/>
                </a:sysClr>
              </a:solidFill>
              <a:prstDash val="solid"/>
              <a:miter lim="800000"/>
            </a:ln>
            <a:effectLst/>
          </p:spPr>
          <p:txBody>
            <a:bodyPr spcFirstLastPara="0" vert="horz" wrap="square" lIns="71120" tIns="71120" rIns="71120" bIns="711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lnSpc>
                  <a:spcPct val="90000"/>
                </a:lnSpc>
                <a:spcBef>
                  <a:spcPct val="0"/>
                </a:spcBef>
                <a:spcAft>
                  <a:spcPct val="35000"/>
                </a:spcAft>
                <a:defRPr/>
              </a:pPr>
              <a:r>
                <a:rPr lang="en-US" sz="1067" dirty="0">
                  <a:solidFill>
                    <a:prstClr val="black"/>
                  </a:solidFill>
                  <a:latin typeface="Calibri" panose="020F0502020204030204"/>
                </a:rPr>
                <a:t>Help Desk &amp; Support</a:t>
              </a:r>
            </a:p>
          </p:txBody>
        </p:sp>
        <p:grpSp>
          <p:nvGrpSpPr>
            <p:cNvPr id="272" name="Group 271"/>
            <p:cNvGrpSpPr/>
            <p:nvPr/>
          </p:nvGrpSpPr>
          <p:grpSpPr>
            <a:xfrm>
              <a:off x="2308401" y="5971030"/>
              <a:ext cx="7680960" cy="544544"/>
              <a:chOff x="990600" y="4810382"/>
              <a:chExt cx="7223760" cy="1127410"/>
            </a:xfrm>
            <a:solidFill>
              <a:sysClr val="window" lastClr="FFFFFF"/>
            </a:solidFill>
          </p:grpSpPr>
          <p:sp>
            <p:nvSpPr>
              <p:cNvPr id="314" name="Freeform 53"/>
              <p:cNvSpPr/>
              <p:nvPr/>
            </p:nvSpPr>
            <p:spPr>
              <a:xfrm>
                <a:off x="990600" y="4810382"/>
                <a:ext cx="7223760" cy="360274"/>
              </a:xfrm>
              <a:prstGeom prst="roundRect">
                <a:avLst/>
              </a:prstGeom>
              <a:noFill/>
              <a:ln w="6350" cap="flat" cmpd="sng" algn="ctr">
                <a:solidFill>
                  <a:sysClr val="windowText" lastClr="000000">
                    <a:lumMod val="50000"/>
                    <a:lumOff val="50000"/>
                  </a:sysClr>
                </a:solidFill>
                <a:prstDash val="solid"/>
                <a:miter lim="800000"/>
              </a:ln>
              <a:effectLst/>
            </p:spPr>
            <p:txBody>
              <a:bodyPr spcFirstLastPara="0" vert="horz" wrap="square" lIns="71120" tIns="71120" rIns="71120" bIns="711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lnSpc>
                    <a:spcPct val="90000"/>
                  </a:lnSpc>
                  <a:spcBef>
                    <a:spcPct val="0"/>
                  </a:spcBef>
                  <a:spcAft>
                    <a:spcPct val="35000"/>
                  </a:spcAft>
                  <a:defRPr/>
                </a:pPr>
                <a:r>
                  <a:rPr lang="en-US" sz="1067" dirty="0">
                    <a:solidFill>
                      <a:prstClr val="black"/>
                    </a:solidFill>
                    <a:latin typeface="Calibri" panose="020F0502020204030204"/>
                  </a:rPr>
                  <a:t>Architecture, Design, Usability</a:t>
                </a:r>
              </a:p>
            </p:txBody>
          </p:sp>
          <p:sp>
            <p:nvSpPr>
              <p:cNvPr id="315" name="Freeform 54"/>
              <p:cNvSpPr/>
              <p:nvPr/>
            </p:nvSpPr>
            <p:spPr>
              <a:xfrm>
                <a:off x="990600" y="5198308"/>
                <a:ext cx="7223760" cy="360274"/>
              </a:xfrm>
              <a:prstGeom prst="roundRect">
                <a:avLst/>
              </a:prstGeom>
              <a:noFill/>
              <a:ln w="6350" cap="flat" cmpd="sng" algn="ctr">
                <a:solidFill>
                  <a:sysClr val="windowText" lastClr="000000">
                    <a:lumMod val="50000"/>
                    <a:lumOff val="50000"/>
                  </a:sysClr>
                </a:solidFill>
                <a:prstDash val="solid"/>
                <a:miter lim="800000"/>
              </a:ln>
              <a:effectLst/>
            </p:spPr>
            <p:txBody>
              <a:bodyPr spcFirstLastPara="0" vert="horz" wrap="square" lIns="71120" tIns="71120" rIns="71120" bIns="711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lnSpc>
                    <a:spcPct val="90000"/>
                  </a:lnSpc>
                  <a:spcBef>
                    <a:spcPct val="0"/>
                  </a:spcBef>
                  <a:spcAft>
                    <a:spcPct val="35000"/>
                  </a:spcAft>
                  <a:defRPr/>
                </a:pPr>
                <a:r>
                  <a:rPr lang="en-US" sz="1200" b="1" dirty="0">
                    <a:solidFill>
                      <a:prstClr val="black"/>
                    </a:solidFill>
                    <a:latin typeface="Calibri" panose="020F0502020204030204"/>
                  </a:rPr>
                  <a:t>DevSecOps  Platform </a:t>
                </a:r>
              </a:p>
            </p:txBody>
          </p:sp>
          <p:sp>
            <p:nvSpPr>
              <p:cNvPr id="316" name="Freeform 55"/>
              <p:cNvSpPr/>
              <p:nvPr/>
            </p:nvSpPr>
            <p:spPr>
              <a:xfrm>
                <a:off x="990600" y="5577518"/>
                <a:ext cx="7223760" cy="360274"/>
              </a:xfrm>
              <a:prstGeom prst="roundRect">
                <a:avLst/>
              </a:prstGeom>
              <a:noFill/>
              <a:ln w="6350" cap="flat" cmpd="sng" algn="ctr">
                <a:solidFill>
                  <a:sysClr val="windowText" lastClr="000000">
                    <a:lumMod val="50000"/>
                    <a:lumOff val="50000"/>
                  </a:sysClr>
                </a:solidFill>
                <a:prstDash val="solid"/>
                <a:miter lim="800000"/>
              </a:ln>
              <a:effectLst/>
            </p:spPr>
            <p:txBody>
              <a:bodyPr spcFirstLastPara="0" vert="horz" wrap="square" lIns="71120" tIns="71120" rIns="71120" bIns="7112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lnSpc>
                    <a:spcPct val="90000"/>
                  </a:lnSpc>
                  <a:spcBef>
                    <a:spcPct val="0"/>
                  </a:spcBef>
                  <a:spcAft>
                    <a:spcPct val="35000"/>
                  </a:spcAft>
                  <a:defRPr/>
                </a:pPr>
                <a:r>
                  <a:rPr lang="en-US" sz="1067" dirty="0">
                    <a:solidFill>
                      <a:prstClr val="black"/>
                    </a:solidFill>
                    <a:latin typeface="Calibri" panose="020F0502020204030204"/>
                  </a:rPr>
                  <a:t>Analytics, Insights &amp; Governance</a:t>
                </a:r>
              </a:p>
            </p:txBody>
          </p:sp>
        </p:grpSp>
        <p:sp>
          <p:nvSpPr>
            <p:cNvPr id="273" name="Rounded Rectangle 272"/>
            <p:cNvSpPr/>
            <p:nvPr/>
          </p:nvSpPr>
          <p:spPr>
            <a:xfrm>
              <a:off x="474659" y="6060422"/>
              <a:ext cx="1609380" cy="365760"/>
            </a:xfrm>
            <a:prstGeom prst="roundRect">
              <a:avLst/>
            </a:prstGeom>
            <a:solidFill>
              <a:sysClr val="window" lastClr="FFFFFF">
                <a:lumMod val="85000"/>
              </a:sysClr>
            </a:solidFill>
            <a:ln w="12700" cap="flat" cmpd="sng" algn="ctr">
              <a:noFill/>
              <a:prstDash val="solid"/>
              <a:miter lim="800000"/>
            </a:ln>
            <a:effectLst/>
          </p:spPr>
          <p:txBody>
            <a:bodyPr rtlCol="0" anchor="ctr"/>
            <a:lstStyle/>
            <a:p>
              <a:pPr algn="ctr">
                <a:defRPr/>
              </a:pPr>
              <a:r>
                <a:rPr lang="en-US" sz="1200" b="1" kern="0" dirty="0">
                  <a:solidFill>
                    <a:prstClr val="black"/>
                  </a:solidFill>
                  <a:latin typeface="Calibri" panose="020F0502020204030204"/>
                </a:rPr>
                <a:t>Shared Services</a:t>
              </a:r>
            </a:p>
          </p:txBody>
        </p:sp>
        <p:sp>
          <p:nvSpPr>
            <p:cNvPr id="274" name="TextBox 96"/>
            <p:cNvSpPr txBox="1"/>
            <p:nvPr/>
          </p:nvSpPr>
          <p:spPr>
            <a:xfrm>
              <a:off x="3779228" y="5369530"/>
              <a:ext cx="1828800" cy="398804"/>
            </a:xfrm>
            <a:prstGeom prst="rect">
              <a:avLst/>
            </a:prstGeom>
            <a:noFill/>
          </p:spPr>
          <p:txBody>
            <a:bodyPr wrap="square" tIns="12192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Calibri" panose="020F0502020204030204"/>
                </a:rPr>
                <a:t>Release Train</a:t>
              </a:r>
            </a:p>
          </p:txBody>
        </p:sp>
        <p:sp>
          <p:nvSpPr>
            <p:cNvPr id="275" name="TextBox 274"/>
            <p:cNvSpPr txBox="1"/>
            <p:nvPr/>
          </p:nvSpPr>
          <p:spPr>
            <a:xfrm>
              <a:off x="4267200" y="1714500"/>
              <a:ext cx="2059628" cy="374710"/>
            </a:xfrm>
            <a:prstGeom prst="rect">
              <a:avLst/>
            </a:prstGeom>
            <a:noFill/>
          </p:spPr>
          <p:txBody>
            <a:bodyPr wrap="square" rtlCol="0">
              <a:spAutoFit/>
            </a:bodyPr>
            <a:lstStyle/>
            <a:p>
              <a:pPr algn="ctr"/>
              <a:r>
                <a:rPr lang="en-US" sz="1467" b="1" dirty="0">
                  <a:solidFill>
                    <a:srgbClr val="C00000"/>
                  </a:solidFill>
                  <a:latin typeface="Calibri" panose="020F0502020204030204"/>
                </a:rPr>
                <a:t>Scaled DevOps</a:t>
              </a:r>
              <a:endParaRPr lang="en-US" sz="1400" b="1" dirty="0">
                <a:solidFill>
                  <a:srgbClr val="C00000"/>
                </a:solidFill>
                <a:latin typeface="Calibri" panose="020F0502020204030204"/>
              </a:endParaRPr>
            </a:p>
          </p:txBody>
        </p:sp>
        <p:grpSp>
          <p:nvGrpSpPr>
            <p:cNvPr id="276" name="Group 275"/>
            <p:cNvGrpSpPr/>
            <p:nvPr/>
          </p:nvGrpSpPr>
          <p:grpSpPr>
            <a:xfrm>
              <a:off x="3465757" y="2126516"/>
              <a:ext cx="1391270" cy="1012864"/>
              <a:chOff x="5159775" y="2292478"/>
              <a:chExt cx="1391270" cy="1012864"/>
            </a:xfrm>
          </p:grpSpPr>
          <p:cxnSp>
            <p:nvCxnSpPr>
              <p:cNvPr id="304" name="Straight Connector 303"/>
              <p:cNvCxnSpPr/>
              <p:nvPr/>
            </p:nvCxnSpPr>
            <p:spPr>
              <a:xfrm>
                <a:off x="5957506" y="2459914"/>
                <a:ext cx="211158" cy="354239"/>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05" name="Straight Connector 304"/>
              <p:cNvCxnSpPr/>
              <p:nvPr/>
            </p:nvCxnSpPr>
            <p:spPr>
              <a:xfrm flipH="1">
                <a:off x="5581381" y="2457636"/>
                <a:ext cx="205242" cy="356055"/>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306" name="Straight Connector 305"/>
              <p:cNvCxnSpPr/>
              <p:nvPr/>
            </p:nvCxnSpPr>
            <p:spPr>
              <a:xfrm flipH="1">
                <a:off x="5666504" y="2955719"/>
                <a:ext cx="389959" cy="1816"/>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pic>
            <p:nvPicPr>
              <p:cNvPr id="307" name="Picture 306" descr="C:\Users\ar259291\AppData\Local\Microsoft\Windows\Temporary Internet Files\Content.IE5\DRON5YPJ\MC90043160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85925" y="2292478"/>
                <a:ext cx="161910" cy="158664"/>
              </a:xfrm>
              <a:prstGeom prst="rect">
                <a:avLst/>
              </a:prstGeom>
              <a:solidFill>
                <a:sysClr val="window" lastClr="FFFFFF"/>
              </a:solidFill>
              <a:extLst/>
            </p:spPr>
          </p:pic>
          <p:pic>
            <p:nvPicPr>
              <p:cNvPr id="308" name="Picture 307" descr="C:\Users\ar259291\AppData\Local\Microsoft\Windows\Temporary Internet Files\Content.IE5\WKDIUPPB\MC900431644.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841442" y="2642188"/>
                <a:ext cx="220086" cy="216129"/>
              </a:xfrm>
              <a:prstGeom prst="rect">
                <a:avLst/>
              </a:prstGeom>
              <a:solidFill>
                <a:sysClr val="window" lastClr="FFFFFF"/>
              </a:solidFill>
              <a:extLst/>
            </p:spPr>
          </p:pic>
          <p:pic>
            <p:nvPicPr>
              <p:cNvPr id="309" name="Picture 308" descr="C:\Users\ar259291\AppData\Local\Microsoft\Windows\Temporary Internet Files\Content.IE5\S3N4CMVM\MC900431615.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745510" y="2578458"/>
                <a:ext cx="198078" cy="194517"/>
              </a:xfrm>
              <a:prstGeom prst="rect">
                <a:avLst/>
              </a:prstGeom>
              <a:solidFill>
                <a:sysClr val="window" lastClr="FFFFFF"/>
              </a:solidFill>
              <a:extLst/>
            </p:spPr>
          </p:pic>
          <p:pic>
            <p:nvPicPr>
              <p:cNvPr id="310" name="Picture 309" descr="C:\Users\ar259291\AppData\Local\Microsoft\Windows\Temporary Internet Files\Content.IE5\WKDIUPPB\MC900432610.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686257" y="2726548"/>
                <a:ext cx="176069" cy="172903"/>
              </a:xfrm>
              <a:prstGeom prst="rect">
                <a:avLst/>
              </a:prstGeom>
              <a:solidFill>
                <a:sysClr val="window" lastClr="FFFFFF"/>
              </a:solidFill>
              <a:effectLst>
                <a:softEdge rad="12700"/>
              </a:effectLst>
              <a:extLst/>
            </p:spPr>
          </p:pic>
          <p:sp>
            <p:nvSpPr>
              <p:cNvPr id="311" name="Rectangle 310"/>
              <p:cNvSpPr/>
              <p:nvPr/>
            </p:nvSpPr>
            <p:spPr>
              <a:xfrm>
                <a:off x="5159775" y="3003142"/>
                <a:ext cx="1391270" cy="302200"/>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1067" dirty="0">
                    <a:solidFill>
                      <a:prstClr val="black"/>
                    </a:solidFill>
                    <a:latin typeface="Calibri" panose="020F0502020204030204"/>
                  </a:rPr>
                  <a:t>Feature Scrum Team</a:t>
                </a:r>
                <a:endParaRPr lang="en-US" sz="667" dirty="0">
                  <a:solidFill>
                    <a:prstClr val="black"/>
                  </a:solidFill>
                  <a:latin typeface="Calibri" panose="020F0502020204030204"/>
                </a:endParaRPr>
              </a:p>
            </p:txBody>
          </p:sp>
          <p:pic>
            <p:nvPicPr>
              <p:cNvPr id="312" name="Picture 311" descr="C:\Users\ar259291\AppData\Local\Microsoft\Windows\Temporary Internet Files\Content.IE5\WKDIUPPB\MC90043164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28311" y="2865334"/>
                <a:ext cx="161910" cy="158664"/>
              </a:xfrm>
              <a:prstGeom prst="rect">
                <a:avLst/>
              </a:prstGeom>
              <a:solidFill>
                <a:sysClr val="window" lastClr="FFFFFF"/>
              </a:solidFill>
              <a:extLst/>
            </p:spPr>
          </p:pic>
          <p:pic>
            <p:nvPicPr>
              <p:cNvPr id="313" name="Picture 312" descr="C:\Users\ar259291\AppData\Local\Microsoft\Windows\Temporary Internet Files\Content.IE5\WKDIUPPB\MC900431640.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67261" y="2865334"/>
                <a:ext cx="161910" cy="158664"/>
              </a:xfrm>
              <a:prstGeom prst="rect">
                <a:avLst/>
              </a:prstGeom>
              <a:solidFill>
                <a:sysClr val="window" lastClr="FFFFFF"/>
              </a:solidFill>
              <a:extLst/>
            </p:spPr>
          </p:pic>
        </p:grpSp>
        <p:grpSp>
          <p:nvGrpSpPr>
            <p:cNvPr id="277" name="Group 276"/>
            <p:cNvGrpSpPr/>
            <p:nvPr/>
          </p:nvGrpSpPr>
          <p:grpSpPr>
            <a:xfrm>
              <a:off x="5787328" y="2126516"/>
              <a:ext cx="1391270" cy="1012864"/>
              <a:chOff x="5159775" y="2292478"/>
              <a:chExt cx="1391270" cy="1012864"/>
            </a:xfrm>
          </p:grpSpPr>
          <p:cxnSp>
            <p:nvCxnSpPr>
              <p:cNvPr id="294" name="Straight Connector 293"/>
              <p:cNvCxnSpPr/>
              <p:nvPr/>
            </p:nvCxnSpPr>
            <p:spPr>
              <a:xfrm>
                <a:off x="5957506" y="2459914"/>
                <a:ext cx="211158" cy="354239"/>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295" name="Straight Connector 294"/>
              <p:cNvCxnSpPr/>
              <p:nvPr/>
            </p:nvCxnSpPr>
            <p:spPr>
              <a:xfrm flipH="1">
                <a:off x="5581381" y="2457636"/>
                <a:ext cx="205242" cy="356055"/>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296" name="Straight Connector 295"/>
              <p:cNvCxnSpPr/>
              <p:nvPr/>
            </p:nvCxnSpPr>
            <p:spPr>
              <a:xfrm flipH="1">
                <a:off x="5666504" y="2955719"/>
                <a:ext cx="389959" cy="1816"/>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pic>
            <p:nvPicPr>
              <p:cNvPr id="297" name="Picture 296" descr="C:\Users\ar259291\AppData\Local\Microsoft\Windows\Temporary Internet Files\Content.IE5\DRON5YPJ\MC90043160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85925" y="2292478"/>
                <a:ext cx="161910" cy="158664"/>
              </a:xfrm>
              <a:prstGeom prst="rect">
                <a:avLst/>
              </a:prstGeom>
              <a:solidFill>
                <a:sysClr val="window" lastClr="FFFFFF"/>
              </a:solidFill>
              <a:extLst/>
            </p:spPr>
          </p:pic>
          <p:pic>
            <p:nvPicPr>
              <p:cNvPr id="298" name="Picture 297" descr="C:\Users\ar259291\AppData\Local\Microsoft\Windows\Temporary Internet Files\Content.IE5\WKDIUPPB\MC900431644.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841442" y="2642188"/>
                <a:ext cx="220086" cy="216129"/>
              </a:xfrm>
              <a:prstGeom prst="rect">
                <a:avLst/>
              </a:prstGeom>
              <a:solidFill>
                <a:sysClr val="window" lastClr="FFFFFF"/>
              </a:solidFill>
              <a:extLst/>
            </p:spPr>
          </p:pic>
          <p:pic>
            <p:nvPicPr>
              <p:cNvPr id="299" name="Picture 298" descr="C:\Users\ar259291\AppData\Local\Microsoft\Windows\Temporary Internet Files\Content.IE5\S3N4CMVM\MC900431615.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745510" y="2578458"/>
                <a:ext cx="198078" cy="194517"/>
              </a:xfrm>
              <a:prstGeom prst="rect">
                <a:avLst/>
              </a:prstGeom>
              <a:solidFill>
                <a:sysClr val="window" lastClr="FFFFFF"/>
              </a:solidFill>
              <a:extLst/>
            </p:spPr>
          </p:pic>
          <p:pic>
            <p:nvPicPr>
              <p:cNvPr id="300" name="Picture 299" descr="C:\Users\ar259291\AppData\Local\Microsoft\Windows\Temporary Internet Files\Content.IE5\WKDIUPPB\MC900432610.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686257" y="2726548"/>
                <a:ext cx="176069" cy="172903"/>
              </a:xfrm>
              <a:prstGeom prst="rect">
                <a:avLst/>
              </a:prstGeom>
              <a:solidFill>
                <a:sysClr val="window" lastClr="FFFFFF"/>
              </a:solidFill>
              <a:effectLst>
                <a:softEdge rad="12700"/>
              </a:effectLst>
              <a:extLst/>
            </p:spPr>
          </p:pic>
          <p:sp>
            <p:nvSpPr>
              <p:cNvPr id="301" name="Rectangle 300"/>
              <p:cNvSpPr/>
              <p:nvPr/>
            </p:nvSpPr>
            <p:spPr>
              <a:xfrm>
                <a:off x="5159775" y="3003142"/>
                <a:ext cx="1391270" cy="302200"/>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1067" dirty="0">
                    <a:solidFill>
                      <a:prstClr val="black"/>
                    </a:solidFill>
                    <a:latin typeface="Calibri" panose="020F0502020204030204"/>
                  </a:rPr>
                  <a:t>Feature Scrum Team</a:t>
                </a:r>
                <a:endParaRPr lang="en-US" sz="667" dirty="0">
                  <a:solidFill>
                    <a:prstClr val="black"/>
                  </a:solidFill>
                  <a:latin typeface="Calibri" panose="020F0502020204030204"/>
                </a:endParaRPr>
              </a:p>
            </p:txBody>
          </p:sp>
          <p:pic>
            <p:nvPicPr>
              <p:cNvPr id="302" name="Picture 301" descr="C:\Users\ar259291\AppData\Local\Microsoft\Windows\Temporary Internet Files\Content.IE5\WKDIUPPB\MC90043164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28311" y="2865334"/>
                <a:ext cx="161910" cy="158664"/>
              </a:xfrm>
              <a:prstGeom prst="rect">
                <a:avLst/>
              </a:prstGeom>
              <a:solidFill>
                <a:sysClr val="window" lastClr="FFFFFF"/>
              </a:solidFill>
              <a:extLst/>
            </p:spPr>
          </p:pic>
          <p:pic>
            <p:nvPicPr>
              <p:cNvPr id="303" name="Picture 302" descr="C:\Users\ar259291\AppData\Local\Microsoft\Windows\Temporary Internet Files\Content.IE5\WKDIUPPB\MC900431640.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67261" y="2865334"/>
                <a:ext cx="161910" cy="158664"/>
              </a:xfrm>
              <a:prstGeom prst="rect">
                <a:avLst/>
              </a:prstGeom>
              <a:solidFill>
                <a:sysClr val="window" lastClr="FFFFFF"/>
              </a:solidFill>
              <a:extLst/>
            </p:spPr>
          </p:pic>
        </p:grpSp>
        <p:grpSp>
          <p:nvGrpSpPr>
            <p:cNvPr id="278" name="Group 277"/>
            <p:cNvGrpSpPr/>
            <p:nvPr/>
          </p:nvGrpSpPr>
          <p:grpSpPr>
            <a:xfrm>
              <a:off x="8141622" y="2126516"/>
              <a:ext cx="1391270" cy="1012864"/>
              <a:chOff x="5159775" y="2292478"/>
              <a:chExt cx="1391270" cy="1012864"/>
            </a:xfrm>
          </p:grpSpPr>
          <p:cxnSp>
            <p:nvCxnSpPr>
              <p:cNvPr id="284" name="Straight Connector 283"/>
              <p:cNvCxnSpPr/>
              <p:nvPr/>
            </p:nvCxnSpPr>
            <p:spPr>
              <a:xfrm>
                <a:off x="5957506" y="2459914"/>
                <a:ext cx="211158" cy="354239"/>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285" name="Straight Connector 284"/>
              <p:cNvCxnSpPr/>
              <p:nvPr/>
            </p:nvCxnSpPr>
            <p:spPr>
              <a:xfrm flipH="1">
                <a:off x="5581381" y="2457636"/>
                <a:ext cx="205242" cy="356055"/>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cxnSp>
            <p:nvCxnSpPr>
              <p:cNvPr id="286" name="Straight Connector 285"/>
              <p:cNvCxnSpPr/>
              <p:nvPr/>
            </p:nvCxnSpPr>
            <p:spPr>
              <a:xfrm flipH="1">
                <a:off x="5666504" y="2955719"/>
                <a:ext cx="389959" cy="1816"/>
              </a:xfrm>
              <a:prstGeom prst="line">
                <a:avLst/>
              </a:prstGeom>
              <a:solidFill>
                <a:sysClr val="window" lastClr="FFFFFF"/>
              </a:solidFill>
              <a:ln w="9525" cap="flat" cmpd="sng" algn="ctr">
                <a:solidFill>
                  <a:sysClr val="windowText" lastClr="000000">
                    <a:lumMod val="50000"/>
                    <a:lumOff val="50000"/>
                  </a:sysClr>
                </a:solidFill>
                <a:prstDash val="solid"/>
                <a:miter lim="800000"/>
              </a:ln>
              <a:effectLst/>
            </p:spPr>
          </p:cxnSp>
          <p:pic>
            <p:nvPicPr>
              <p:cNvPr id="287" name="Picture 286" descr="C:\Users\ar259291\AppData\Local\Microsoft\Windows\Temporary Internet Files\Content.IE5\DRON5YPJ\MC90043160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85925" y="2292478"/>
                <a:ext cx="161910" cy="158664"/>
              </a:xfrm>
              <a:prstGeom prst="rect">
                <a:avLst/>
              </a:prstGeom>
              <a:solidFill>
                <a:sysClr val="window" lastClr="FFFFFF"/>
              </a:solidFill>
              <a:extLst/>
            </p:spPr>
          </p:pic>
          <p:pic>
            <p:nvPicPr>
              <p:cNvPr id="288" name="Picture 287" descr="C:\Users\ar259291\AppData\Local\Microsoft\Windows\Temporary Internet Files\Content.IE5\WKDIUPPB\MC900431644.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841442" y="2642188"/>
                <a:ext cx="220086" cy="216129"/>
              </a:xfrm>
              <a:prstGeom prst="rect">
                <a:avLst/>
              </a:prstGeom>
              <a:solidFill>
                <a:sysClr val="window" lastClr="FFFFFF"/>
              </a:solidFill>
              <a:extLst/>
            </p:spPr>
          </p:pic>
          <p:pic>
            <p:nvPicPr>
              <p:cNvPr id="289" name="Picture 288" descr="C:\Users\ar259291\AppData\Local\Microsoft\Windows\Temporary Internet Files\Content.IE5\S3N4CMVM\MC900431615.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745510" y="2578458"/>
                <a:ext cx="198078" cy="194517"/>
              </a:xfrm>
              <a:prstGeom prst="rect">
                <a:avLst/>
              </a:prstGeom>
              <a:solidFill>
                <a:sysClr val="window" lastClr="FFFFFF"/>
              </a:solidFill>
              <a:extLst/>
            </p:spPr>
          </p:pic>
          <p:pic>
            <p:nvPicPr>
              <p:cNvPr id="290" name="Picture 289" descr="C:\Users\ar259291\AppData\Local\Microsoft\Windows\Temporary Internet Files\Content.IE5\WKDIUPPB\MC900432610.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686257" y="2726548"/>
                <a:ext cx="176069" cy="172903"/>
              </a:xfrm>
              <a:prstGeom prst="rect">
                <a:avLst/>
              </a:prstGeom>
              <a:solidFill>
                <a:sysClr val="window" lastClr="FFFFFF"/>
              </a:solidFill>
              <a:effectLst>
                <a:softEdge rad="12700"/>
              </a:effectLst>
              <a:extLst/>
            </p:spPr>
          </p:pic>
          <p:sp>
            <p:nvSpPr>
              <p:cNvPr id="291" name="Rectangle 290"/>
              <p:cNvSpPr/>
              <p:nvPr/>
            </p:nvSpPr>
            <p:spPr>
              <a:xfrm>
                <a:off x="5159775" y="3003142"/>
                <a:ext cx="1391270" cy="302200"/>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1067" dirty="0">
                    <a:solidFill>
                      <a:prstClr val="black"/>
                    </a:solidFill>
                    <a:latin typeface="Calibri" panose="020F0502020204030204"/>
                  </a:rPr>
                  <a:t>Feature Scrum Team</a:t>
                </a:r>
                <a:endParaRPr lang="en-US" sz="667" dirty="0">
                  <a:solidFill>
                    <a:prstClr val="black"/>
                  </a:solidFill>
                  <a:latin typeface="Calibri" panose="020F0502020204030204"/>
                </a:endParaRPr>
              </a:p>
            </p:txBody>
          </p:sp>
          <p:pic>
            <p:nvPicPr>
              <p:cNvPr id="292" name="Picture 291" descr="C:\Users\ar259291\AppData\Local\Microsoft\Windows\Temporary Internet Files\Content.IE5\WKDIUPPB\MC90043164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28311" y="2865334"/>
                <a:ext cx="161910" cy="158664"/>
              </a:xfrm>
              <a:prstGeom prst="rect">
                <a:avLst/>
              </a:prstGeom>
              <a:solidFill>
                <a:sysClr val="window" lastClr="FFFFFF"/>
              </a:solidFill>
              <a:extLst/>
            </p:spPr>
          </p:pic>
          <p:pic>
            <p:nvPicPr>
              <p:cNvPr id="293" name="Picture 292" descr="C:\Users\ar259291\AppData\Local\Microsoft\Windows\Temporary Internet Files\Content.IE5\WKDIUPPB\MC900431640.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67261" y="2865334"/>
                <a:ext cx="161910" cy="158664"/>
              </a:xfrm>
              <a:prstGeom prst="rect">
                <a:avLst/>
              </a:prstGeom>
              <a:solidFill>
                <a:sysClr val="window" lastClr="FFFFFF"/>
              </a:solidFill>
              <a:extLst/>
            </p:spPr>
          </p:pic>
        </p:grpSp>
        <p:pic>
          <p:nvPicPr>
            <p:cNvPr id="279" name="Picture 27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009900" y="3053938"/>
              <a:ext cx="2241083" cy="2470562"/>
            </a:xfrm>
            <a:prstGeom prst="rect">
              <a:avLst/>
            </a:prstGeom>
          </p:spPr>
        </p:pic>
        <p:pic>
          <p:nvPicPr>
            <p:cNvPr id="280" name="Picture 27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48453" y="3053938"/>
              <a:ext cx="2241083" cy="2470562"/>
            </a:xfrm>
            <a:prstGeom prst="rect">
              <a:avLst/>
            </a:prstGeom>
          </p:spPr>
        </p:pic>
        <p:pic>
          <p:nvPicPr>
            <p:cNvPr id="281" name="Picture 28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687006" y="3053938"/>
              <a:ext cx="2241083" cy="2470562"/>
            </a:xfrm>
            <a:prstGeom prst="rect">
              <a:avLst/>
            </a:prstGeom>
          </p:spPr>
        </p:pic>
        <p:sp>
          <p:nvSpPr>
            <p:cNvPr id="282" name="Rounded Rectangle 281"/>
            <p:cNvSpPr/>
            <p:nvPr/>
          </p:nvSpPr>
          <p:spPr>
            <a:xfrm>
              <a:off x="342051" y="2132824"/>
              <a:ext cx="11534618" cy="914400"/>
            </a:xfrm>
            <a:prstGeom prst="roundRect">
              <a:avLst>
                <a:gd name="adj" fmla="val 9792"/>
              </a:avLst>
            </a:prstGeom>
            <a:solidFill>
              <a:srgbClr val="5B9BD5">
                <a:lumMod val="20000"/>
                <a:lumOff val="80000"/>
                <a:alpha val="50196"/>
              </a:srgbClr>
            </a:solidFill>
            <a:ln w="12700" cap="flat" cmpd="sng" algn="ctr">
              <a:no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sp>
          <p:nvSpPr>
            <p:cNvPr id="283" name="Rounded Rectangle 282"/>
            <p:cNvSpPr/>
            <p:nvPr/>
          </p:nvSpPr>
          <p:spPr>
            <a:xfrm>
              <a:off x="2158012" y="2115597"/>
              <a:ext cx="9718657" cy="986329"/>
            </a:xfrm>
            <a:prstGeom prst="roundRect">
              <a:avLst>
                <a:gd name="adj" fmla="val 14074"/>
              </a:avLst>
            </a:prstGeom>
            <a:noFill/>
            <a:ln w="12700" cap="flat" cmpd="sng" algn="ctr">
              <a:solidFill>
                <a:srgbClr val="5B9BD5">
                  <a:shade val="50000"/>
                </a:srgbClr>
              </a:solidFill>
              <a:prstDash val="solid"/>
              <a:miter lim="800000"/>
            </a:ln>
            <a:effectLst/>
          </p:spPr>
          <p:txBody>
            <a:bodyPr rtlCol="0" anchor="ctr"/>
            <a:lstStyle/>
            <a:p>
              <a:pPr algn="ctr">
                <a:defRPr/>
              </a:pPr>
              <a:endParaRPr lang="en-US" sz="1400" kern="0">
                <a:solidFill>
                  <a:prstClr val="white"/>
                </a:solidFill>
                <a:latin typeface="Calibri" panose="020F0502020204030204"/>
              </a:endParaRPr>
            </a:p>
          </p:txBody>
        </p:sp>
      </p:grpSp>
      <p:sp>
        <p:nvSpPr>
          <p:cNvPr id="381" name="Rectangle 380"/>
          <p:cNvSpPr/>
          <p:nvPr/>
        </p:nvSpPr>
        <p:spPr>
          <a:xfrm>
            <a:off x="-9138" y="3232574"/>
            <a:ext cx="995019" cy="274341"/>
          </a:xfrm>
          <a:prstGeom prst="rect">
            <a:avLst/>
          </a:prstGeom>
          <a:solidFill>
            <a:sysClr val="window" lastClr="FFFFFF"/>
          </a:solidFill>
          <a:ln w="12700" cap="flat" cmpd="sng" algn="ctr">
            <a:noFill/>
            <a:prstDash val="solid"/>
            <a:miter lim="800000"/>
          </a:ln>
          <a:effectLst/>
        </p:spPr>
        <p:txBody>
          <a:bodyPr spcFirstLastPara="0" vert="horz" wrap="square" lIns="0" tIns="0" rIns="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4569">
              <a:spcBef>
                <a:spcPct val="0"/>
              </a:spcBef>
              <a:defRPr/>
            </a:pPr>
            <a:r>
              <a:rPr lang="en-US" sz="1600" dirty="0">
                <a:solidFill>
                  <a:prstClr val="black"/>
                </a:solidFill>
                <a:latin typeface="Calibri" panose="020F0502020204030204"/>
              </a:rPr>
              <a:t>Kanban</a:t>
            </a:r>
            <a:endParaRPr lang="en-US" sz="1067" dirty="0">
              <a:solidFill>
                <a:prstClr val="black"/>
              </a:solidFill>
              <a:latin typeface="Calibri" panose="020F0502020204030204"/>
            </a:endParaRPr>
          </a:p>
        </p:txBody>
      </p:sp>
      <p:sp>
        <p:nvSpPr>
          <p:cNvPr id="382" name="TextBox 113"/>
          <p:cNvSpPr txBox="1"/>
          <p:nvPr/>
        </p:nvSpPr>
        <p:spPr>
          <a:xfrm>
            <a:off x="222068" y="761129"/>
            <a:ext cx="2044395" cy="4205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133" b="1" dirty="0">
                <a:solidFill>
                  <a:prstClr val="black"/>
                </a:solidFill>
                <a:latin typeface="Calibri" panose="020F0502020204030204"/>
              </a:rPr>
              <a:t>PLAN</a:t>
            </a:r>
            <a:endParaRPr lang="en-US" sz="2667" b="1" dirty="0">
              <a:solidFill>
                <a:prstClr val="black"/>
              </a:solidFill>
              <a:latin typeface="Calibri" panose="020F0502020204030204"/>
            </a:endParaRPr>
          </a:p>
        </p:txBody>
      </p:sp>
      <p:sp>
        <p:nvSpPr>
          <p:cNvPr id="383" name="TextBox 121"/>
          <p:cNvSpPr txBox="1"/>
          <p:nvPr/>
        </p:nvSpPr>
        <p:spPr>
          <a:xfrm>
            <a:off x="5271059" y="777884"/>
            <a:ext cx="2044395" cy="4205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133" b="1" dirty="0">
                <a:solidFill>
                  <a:prstClr val="black"/>
                </a:solidFill>
                <a:latin typeface="Calibri" panose="020F0502020204030204"/>
              </a:rPr>
              <a:t>BUILD</a:t>
            </a:r>
            <a:endParaRPr lang="en-US" sz="2667" b="1" dirty="0">
              <a:solidFill>
                <a:prstClr val="black"/>
              </a:solidFill>
              <a:latin typeface="Calibri" panose="020F0502020204030204"/>
            </a:endParaRPr>
          </a:p>
        </p:txBody>
      </p:sp>
      <p:sp>
        <p:nvSpPr>
          <p:cNvPr id="384" name="TextBox 122"/>
          <p:cNvSpPr txBox="1"/>
          <p:nvPr/>
        </p:nvSpPr>
        <p:spPr>
          <a:xfrm>
            <a:off x="9659080" y="777884"/>
            <a:ext cx="2044395" cy="4205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133" b="1" dirty="0">
                <a:solidFill>
                  <a:prstClr val="black"/>
                </a:solidFill>
                <a:latin typeface="Calibri" panose="020F0502020204030204"/>
              </a:rPr>
              <a:t>RUN</a:t>
            </a:r>
            <a:endParaRPr lang="en-US" sz="2667" b="1" dirty="0">
              <a:solidFill>
                <a:prstClr val="black"/>
              </a:solidFill>
              <a:latin typeface="Calibri" panose="020F0502020204030204"/>
            </a:endParaRPr>
          </a:p>
        </p:txBody>
      </p:sp>
    </p:spTree>
    <p:extLst>
      <p:ext uri="{BB962C8B-B14F-4D97-AF65-F5344CB8AC3E}">
        <p14:creationId xmlns:p14="http://schemas.microsoft.com/office/powerpoint/2010/main" val="22005241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FP 1 &amp; 2 Solution Tenets</a:t>
            </a:r>
            <a:endParaRPr lang="en-US" dirty="0"/>
          </a:p>
        </p:txBody>
      </p:sp>
    </p:spTree>
    <p:extLst>
      <p:ext uri="{BB962C8B-B14F-4D97-AF65-F5344CB8AC3E}">
        <p14:creationId xmlns:p14="http://schemas.microsoft.com/office/powerpoint/2010/main" val="29340572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806" y="111355"/>
            <a:ext cx="10515600"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smtClean="0"/>
              <a:t>Hotel-In-A-Box to improve Speed, Scale and Quality</a:t>
            </a:r>
            <a:endParaRPr lang="en-US" sz="2200" b="0" dirty="0"/>
          </a:p>
        </p:txBody>
      </p:sp>
      <p:grpSp>
        <p:nvGrpSpPr>
          <p:cNvPr id="4" name="Group 3"/>
          <p:cNvGrpSpPr/>
          <p:nvPr/>
        </p:nvGrpSpPr>
        <p:grpSpPr>
          <a:xfrm>
            <a:off x="880746" y="930217"/>
            <a:ext cx="11110529" cy="4861220"/>
            <a:chOff x="19399" y="745650"/>
            <a:chExt cx="7407019" cy="3240813"/>
          </a:xfrm>
        </p:grpSpPr>
        <p:sp>
          <p:nvSpPr>
            <p:cNvPr id="5" name="Rectangle 4"/>
            <p:cNvSpPr/>
            <p:nvPr/>
          </p:nvSpPr>
          <p:spPr>
            <a:xfrm>
              <a:off x="745841" y="3511068"/>
              <a:ext cx="2633472" cy="466790"/>
            </a:xfrm>
            <a:prstGeom prst="rect">
              <a:avLst/>
            </a:prstGeom>
            <a:solidFill>
              <a:srgbClr val="CCFF99"/>
            </a:solidFill>
            <a:ln w="9525" cap="flat" cmpd="sng" algn="ctr">
              <a:noFill/>
              <a:prstDash val="solid"/>
            </a:ln>
            <a:effectLst>
              <a:outerShdw blurRad="88900" dist="88900" dir="5400000" sx="88000" sy="88000" algn="t" rotWithShape="0">
                <a:prstClr val="black">
                  <a:alpha val="40000"/>
                </a:prstClr>
              </a:outerShdw>
            </a:effectLst>
          </p:spPr>
          <p:txBody>
            <a:bodyPr lIns="0" rIns="0" rtlCol="0" anchor="ctr"/>
            <a:lstStyle/>
            <a:p>
              <a:pPr algn="ctr" defTabSz="1371600"/>
              <a:endParaRPr lang="en-US" sz="1200" b="1" kern="0" dirty="0">
                <a:solidFill>
                  <a:srgbClr val="7BA0FF">
                    <a:lumMod val="50000"/>
                  </a:srgbClr>
                </a:solidFill>
                <a:latin typeface="Century Gothic" panose="020B0502020202020204" pitchFamily="34" charset="0"/>
              </a:endParaRPr>
            </a:p>
          </p:txBody>
        </p:sp>
        <p:grpSp>
          <p:nvGrpSpPr>
            <p:cNvPr id="6" name="Group 5"/>
            <p:cNvGrpSpPr/>
            <p:nvPr/>
          </p:nvGrpSpPr>
          <p:grpSpPr>
            <a:xfrm>
              <a:off x="2723889" y="1296416"/>
              <a:ext cx="1764518" cy="1624511"/>
              <a:chOff x="3703364" y="1511534"/>
              <a:chExt cx="2205648" cy="2030639"/>
            </a:xfrm>
          </p:grpSpPr>
          <p:sp>
            <p:nvSpPr>
              <p:cNvPr id="27" name="Isosceles Triangle 26"/>
              <p:cNvSpPr/>
              <p:nvPr/>
            </p:nvSpPr>
            <p:spPr bwMode="auto">
              <a:xfrm rot="1399443">
                <a:off x="5065282" y="1513898"/>
                <a:ext cx="187242" cy="171150"/>
              </a:xfrm>
              <a:prstGeom prst="triangle">
                <a:avLst/>
              </a:prstGeom>
              <a:solidFill>
                <a:srgbClr val="F79646"/>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28" name="Isosceles Triangle 27"/>
              <p:cNvSpPr/>
              <p:nvPr/>
            </p:nvSpPr>
            <p:spPr bwMode="auto">
              <a:xfrm rot="3979093">
                <a:off x="5624097" y="1931726"/>
                <a:ext cx="171150" cy="187242"/>
              </a:xfrm>
              <a:prstGeom prst="triangle">
                <a:avLst/>
              </a:prstGeom>
              <a:solidFill>
                <a:srgbClr val="FFC000"/>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29" name="Isosceles Triangle 28"/>
              <p:cNvSpPr/>
              <p:nvPr/>
            </p:nvSpPr>
            <p:spPr bwMode="auto">
              <a:xfrm rot="6457388">
                <a:off x="5729816" y="2592939"/>
                <a:ext cx="171150" cy="187242"/>
              </a:xfrm>
              <a:prstGeom prst="triangle">
                <a:avLst/>
              </a:prstGeom>
              <a:solidFill>
                <a:srgbClr val="00CC99"/>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0" name="Isosceles Triangle 29"/>
              <p:cNvSpPr/>
              <p:nvPr/>
            </p:nvSpPr>
            <p:spPr bwMode="auto">
              <a:xfrm rot="8269709">
                <a:off x="5384464" y="3136077"/>
                <a:ext cx="187242" cy="171150"/>
              </a:xfrm>
              <a:prstGeom prst="triangle">
                <a:avLst/>
              </a:prstGeom>
              <a:solidFill>
                <a:srgbClr val="D09E00"/>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1" name="Isosceles Triangle 30"/>
              <p:cNvSpPr/>
              <p:nvPr/>
            </p:nvSpPr>
            <p:spPr bwMode="auto">
              <a:xfrm rot="10800000">
                <a:off x="4699207" y="3371023"/>
                <a:ext cx="187242" cy="171150"/>
              </a:xfrm>
              <a:prstGeom prst="triangle">
                <a:avLst/>
              </a:prstGeom>
              <a:solidFill>
                <a:srgbClr val="993300"/>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2" name="Isosceles Triangle 31"/>
              <p:cNvSpPr/>
              <p:nvPr/>
            </p:nvSpPr>
            <p:spPr bwMode="auto">
              <a:xfrm rot="13324745">
                <a:off x="4041295" y="3133386"/>
                <a:ext cx="187242" cy="171150"/>
              </a:xfrm>
              <a:prstGeom prst="triangle">
                <a:avLst/>
              </a:prstGeom>
              <a:solidFill>
                <a:srgbClr val="CC3399"/>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3" name="Isosceles Triangle 32"/>
              <p:cNvSpPr/>
              <p:nvPr/>
            </p:nvSpPr>
            <p:spPr bwMode="auto">
              <a:xfrm rot="15529093">
                <a:off x="3711410" y="2573481"/>
                <a:ext cx="171150" cy="187242"/>
              </a:xfrm>
              <a:prstGeom prst="triangle">
                <a:avLst/>
              </a:prstGeom>
              <a:solidFill>
                <a:srgbClr val="00B0F0"/>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4" name="Isosceles Triangle 33"/>
              <p:cNvSpPr/>
              <p:nvPr/>
            </p:nvSpPr>
            <p:spPr bwMode="auto">
              <a:xfrm rot="18193263">
                <a:off x="3841021" y="1905951"/>
                <a:ext cx="171150" cy="187242"/>
              </a:xfrm>
              <a:prstGeom prst="triangle">
                <a:avLst/>
              </a:prstGeom>
              <a:solidFill>
                <a:srgbClr val="9BBB59"/>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5" name="Isosceles Triangle 34"/>
              <p:cNvSpPr/>
              <p:nvPr/>
            </p:nvSpPr>
            <p:spPr bwMode="auto">
              <a:xfrm rot="20333793">
                <a:off x="4345287" y="1511534"/>
                <a:ext cx="187242" cy="171150"/>
              </a:xfrm>
              <a:prstGeom prst="triangle">
                <a:avLst/>
              </a:prstGeom>
              <a:solidFill>
                <a:srgbClr val="8064A2"/>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lIns="147474" tIns="73739" rIns="147474" bIns="73739" anchor="ctr"/>
              <a:lstStyle/>
              <a:p>
                <a:pPr defTabSz="1097226">
                  <a:defRPr/>
                </a:pPr>
                <a:endParaRPr lang="en-US" sz="1200" kern="0" dirty="0">
                  <a:solidFill>
                    <a:prstClr val="black"/>
                  </a:solidFill>
                  <a:latin typeface="Calibri" panose="020F0502020204030204"/>
                </a:endParaRPr>
              </a:p>
            </p:txBody>
          </p:sp>
          <p:sp>
            <p:nvSpPr>
              <p:cNvPr id="36" name="Freeform 35"/>
              <p:cNvSpPr/>
              <p:nvPr/>
            </p:nvSpPr>
            <p:spPr>
              <a:xfrm>
                <a:off x="3881749" y="1676767"/>
                <a:ext cx="1838282" cy="1689800"/>
              </a:xfrm>
              <a:custGeom>
                <a:avLst/>
                <a:gdLst>
                  <a:gd name="connsiteX0" fmla="*/ 758537 w 2369128"/>
                  <a:gd name="connsiteY0" fmla="*/ 0 h 2317172"/>
                  <a:gd name="connsiteX1" fmla="*/ 758537 w 2369128"/>
                  <a:gd name="connsiteY1" fmla="*/ 0 h 2317172"/>
                  <a:gd name="connsiteX2" fmla="*/ 945573 w 2369128"/>
                  <a:gd name="connsiteY2" fmla="*/ 10391 h 2317172"/>
                  <a:gd name="connsiteX3" fmla="*/ 1589809 w 2369128"/>
                  <a:gd name="connsiteY3" fmla="*/ 0 h 2317172"/>
                  <a:gd name="connsiteX4" fmla="*/ 2234046 w 2369128"/>
                  <a:gd name="connsiteY4" fmla="*/ 519545 h 2317172"/>
                  <a:gd name="connsiteX5" fmla="*/ 2369128 w 2369128"/>
                  <a:gd name="connsiteY5" fmla="*/ 1340427 h 2317172"/>
                  <a:gd name="connsiteX6" fmla="*/ 1963882 w 2369128"/>
                  <a:gd name="connsiteY6" fmla="*/ 2036618 h 2317172"/>
                  <a:gd name="connsiteX7" fmla="*/ 1174173 w 2369128"/>
                  <a:gd name="connsiteY7" fmla="*/ 2317172 h 2317172"/>
                  <a:gd name="connsiteX8" fmla="*/ 405246 w 2369128"/>
                  <a:gd name="connsiteY8" fmla="*/ 2026227 h 2317172"/>
                  <a:gd name="connsiteX9" fmla="*/ 0 w 2369128"/>
                  <a:gd name="connsiteY9" fmla="*/ 1330036 h 2317172"/>
                  <a:gd name="connsiteX10" fmla="*/ 155864 w 2369128"/>
                  <a:gd name="connsiteY10" fmla="*/ 509154 h 2317172"/>
                  <a:gd name="connsiteX11" fmla="*/ 758537 w 2369128"/>
                  <a:gd name="connsiteY11" fmla="*/ 0 h 231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9128" h="2317172">
                    <a:moveTo>
                      <a:pt x="758537" y="0"/>
                    </a:moveTo>
                    <a:lnTo>
                      <a:pt x="758537" y="0"/>
                    </a:lnTo>
                    <a:cubicBezTo>
                      <a:pt x="820882" y="3464"/>
                      <a:pt x="883132" y="10391"/>
                      <a:pt x="945573" y="10391"/>
                    </a:cubicBezTo>
                    <a:cubicBezTo>
                      <a:pt x="1160346" y="10391"/>
                      <a:pt x="1375036" y="0"/>
                      <a:pt x="1589809" y="0"/>
                    </a:cubicBezTo>
                    <a:lnTo>
                      <a:pt x="2234046" y="519545"/>
                    </a:lnTo>
                    <a:lnTo>
                      <a:pt x="2369128" y="1340427"/>
                    </a:lnTo>
                    <a:lnTo>
                      <a:pt x="1963882" y="2036618"/>
                    </a:lnTo>
                    <a:lnTo>
                      <a:pt x="1174173" y="2317172"/>
                    </a:lnTo>
                    <a:lnTo>
                      <a:pt x="405246" y="2026227"/>
                    </a:lnTo>
                    <a:lnTo>
                      <a:pt x="0" y="1330036"/>
                    </a:lnTo>
                    <a:lnTo>
                      <a:pt x="155864" y="509154"/>
                    </a:lnTo>
                    <a:lnTo>
                      <a:pt x="758537" y="0"/>
                    </a:lnTo>
                    <a:close/>
                  </a:path>
                </a:pathLst>
              </a:custGeom>
              <a:solidFill>
                <a:srgbClr val="D9EFFF">
                  <a:alpha val="41000"/>
                </a:srgbClr>
              </a:solidFill>
              <a:ln w="19050" cap="flat" cmpd="sng" algn="ctr">
                <a:solidFill>
                  <a:srgbClr val="002060"/>
                </a:solidFill>
                <a:prstDash val="solid"/>
              </a:ln>
              <a:effectLst/>
            </p:spPr>
            <p:txBody>
              <a:bodyPr rtlCol="0" anchor="ctr"/>
              <a:lstStyle/>
              <a:p>
                <a:pPr algn="ctr" defTabSz="1097226">
                  <a:defRPr/>
                </a:pPr>
                <a:endParaRPr lang="en-US" sz="2880" kern="0" dirty="0">
                  <a:solidFill>
                    <a:prstClr val="black"/>
                  </a:solidFill>
                  <a:latin typeface="Calibri" panose="020F0502020204030204"/>
                </a:endParaRPr>
              </a:p>
            </p:txBody>
          </p:sp>
          <p:cxnSp>
            <p:nvCxnSpPr>
              <p:cNvPr id="37" name="Straight Connector 36"/>
              <p:cNvCxnSpPr>
                <a:stCxn id="36" idx="9"/>
                <a:endCxn id="36" idx="0"/>
              </p:cNvCxnSpPr>
              <p:nvPr/>
            </p:nvCxnSpPr>
            <p:spPr>
              <a:xfrm flipV="1">
                <a:off x="3881749" y="1676767"/>
                <a:ext cx="588573" cy="969930"/>
              </a:xfrm>
              <a:prstGeom prst="line">
                <a:avLst/>
              </a:prstGeom>
              <a:noFill/>
              <a:ln w="3175" cap="flat" cmpd="sng" algn="ctr">
                <a:solidFill>
                  <a:sysClr val="window" lastClr="FFFFFF">
                    <a:lumMod val="75000"/>
                  </a:sysClr>
                </a:solidFill>
                <a:prstDash val="sysDot"/>
              </a:ln>
              <a:effectLst/>
            </p:spPr>
          </p:cxnSp>
          <p:cxnSp>
            <p:nvCxnSpPr>
              <p:cNvPr id="38" name="Straight Connector 37"/>
              <p:cNvCxnSpPr>
                <a:stCxn id="36" idx="0"/>
                <a:endCxn id="36" idx="4"/>
              </p:cNvCxnSpPr>
              <p:nvPr/>
            </p:nvCxnSpPr>
            <p:spPr>
              <a:xfrm>
                <a:off x="4470322" y="1676767"/>
                <a:ext cx="1144895" cy="378879"/>
              </a:xfrm>
              <a:prstGeom prst="line">
                <a:avLst/>
              </a:prstGeom>
              <a:noFill/>
              <a:ln w="3175" cap="flat" cmpd="sng" algn="ctr">
                <a:solidFill>
                  <a:sysClr val="window" lastClr="FFFFFF">
                    <a:lumMod val="75000"/>
                  </a:sysClr>
                </a:solidFill>
                <a:prstDash val="sysDot"/>
              </a:ln>
              <a:effectLst/>
            </p:spPr>
          </p:cxnSp>
          <p:cxnSp>
            <p:nvCxnSpPr>
              <p:cNvPr id="39" name="Straight Connector 38"/>
              <p:cNvCxnSpPr>
                <a:stCxn id="36" idx="4"/>
                <a:endCxn id="36" idx="6"/>
              </p:cNvCxnSpPr>
              <p:nvPr/>
            </p:nvCxnSpPr>
            <p:spPr>
              <a:xfrm flipH="1">
                <a:off x="5405588" y="2055646"/>
                <a:ext cx="209629" cy="1106327"/>
              </a:xfrm>
              <a:prstGeom prst="line">
                <a:avLst/>
              </a:prstGeom>
              <a:noFill/>
              <a:ln w="3175" cap="flat" cmpd="sng" algn="ctr">
                <a:solidFill>
                  <a:sysClr val="window" lastClr="FFFFFF">
                    <a:lumMod val="75000"/>
                  </a:sysClr>
                </a:solidFill>
                <a:prstDash val="sysDot"/>
              </a:ln>
              <a:effectLst/>
            </p:spPr>
          </p:cxnSp>
          <p:cxnSp>
            <p:nvCxnSpPr>
              <p:cNvPr id="40" name="Straight Connector 39"/>
              <p:cNvCxnSpPr>
                <a:stCxn id="36" idx="8"/>
                <a:endCxn id="36" idx="6"/>
              </p:cNvCxnSpPr>
              <p:nvPr/>
            </p:nvCxnSpPr>
            <p:spPr>
              <a:xfrm>
                <a:off x="4196192" y="3154394"/>
                <a:ext cx="1209395" cy="7578"/>
              </a:xfrm>
              <a:prstGeom prst="line">
                <a:avLst/>
              </a:prstGeom>
              <a:noFill/>
              <a:ln w="3175" cap="flat" cmpd="sng" algn="ctr">
                <a:solidFill>
                  <a:sysClr val="window" lastClr="FFFFFF">
                    <a:lumMod val="75000"/>
                  </a:sysClr>
                </a:solidFill>
                <a:prstDash val="sysDot"/>
              </a:ln>
              <a:effectLst/>
            </p:spPr>
          </p:cxnSp>
          <p:cxnSp>
            <p:nvCxnSpPr>
              <p:cNvPr id="41" name="Straight Connector 40"/>
              <p:cNvCxnSpPr>
                <a:stCxn id="36" idx="8"/>
                <a:endCxn id="36" idx="10"/>
              </p:cNvCxnSpPr>
              <p:nvPr/>
            </p:nvCxnSpPr>
            <p:spPr>
              <a:xfrm flipH="1" flipV="1">
                <a:off x="4002689" y="2048068"/>
                <a:ext cx="193504" cy="1106327"/>
              </a:xfrm>
              <a:prstGeom prst="line">
                <a:avLst/>
              </a:prstGeom>
              <a:noFill/>
              <a:ln w="3175" cap="flat" cmpd="sng" algn="ctr">
                <a:solidFill>
                  <a:sysClr val="window" lastClr="FFFFFF">
                    <a:lumMod val="75000"/>
                  </a:sysClr>
                </a:solidFill>
                <a:prstDash val="sysDot"/>
              </a:ln>
              <a:effectLst/>
            </p:spPr>
          </p:cxnSp>
          <p:cxnSp>
            <p:nvCxnSpPr>
              <p:cNvPr id="42" name="Straight Connector 41"/>
              <p:cNvCxnSpPr>
                <a:stCxn id="36" idx="10"/>
                <a:endCxn id="36" idx="3"/>
              </p:cNvCxnSpPr>
              <p:nvPr/>
            </p:nvCxnSpPr>
            <p:spPr>
              <a:xfrm flipV="1">
                <a:off x="4002689" y="1676767"/>
                <a:ext cx="1112644" cy="371301"/>
              </a:xfrm>
              <a:prstGeom prst="line">
                <a:avLst/>
              </a:prstGeom>
              <a:noFill/>
              <a:ln w="3175" cap="flat" cmpd="sng" algn="ctr">
                <a:solidFill>
                  <a:sysClr val="window" lastClr="FFFFFF">
                    <a:lumMod val="75000"/>
                  </a:sysClr>
                </a:solidFill>
                <a:prstDash val="sysDot"/>
              </a:ln>
              <a:effectLst/>
            </p:spPr>
          </p:cxnSp>
          <p:cxnSp>
            <p:nvCxnSpPr>
              <p:cNvPr id="43" name="Straight Connector 42"/>
              <p:cNvCxnSpPr>
                <a:stCxn id="36" idx="3"/>
                <a:endCxn id="36" idx="5"/>
              </p:cNvCxnSpPr>
              <p:nvPr/>
            </p:nvCxnSpPr>
            <p:spPr>
              <a:xfrm>
                <a:off x="5115333" y="1676767"/>
                <a:ext cx="604698" cy="977508"/>
              </a:xfrm>
              <a:prstGeom prst="line">
                <a:avLst/>
              </a:prstGeom>
              <a:noFill/>
              <a:ln w="3175" cap="flat" cmpd="sng" algn="ctr">
                <a:solidFill>
                  <a:sysClr val="window" lastClr="FFFFFF">
                    <a:lumMod val="75000"/>
                  </a:sysClr>
                </a:solidFill>
                <a:prstDash val="sysDot"/>
              </a:ln>
              <a:effectLst/>
            </p:spPr>
          </p:cxnSp>
          <p:cxnSp>
            <p:nvCxnSpPr>
              <p:cNvPr id="44" name="Straight Connector 43"/>
              <p:cNvCxnSpPr>
                <a:stCxn id="36" idx="5"/>
                <a:endCxn id="36" idx="8"/>
              </p:cNvCxnSpPr>
              <p:nvPr/>
            </p:nvCxnSpPr>
            <p:spPr>
              <a:xfrm flipH="1">
                <a:off x="4196192" y="2654274"/>
                <a:ext cx="1523839" cy="500120"/>
              </a:xfrm>
              <a:prstGeom prst="line">
                <a:avLst/>
              </a:prstGeom>
              <a:noFill/>
              <a:ln w="3175" cap="flat" cmpd="sng" algn="ctr">
                <a:solidFill>
                  <a:sysClr val="window" lastClr="FFFFFF">
                    <a:lumMod val="75000"/>
                  </a:sysClr>
                </a:solidFill>
                <a:prstDash val="sysDot"/>
              </a:ln>
              <a:effectLst/>
            </p:spPr>
          </p:cxnSp>
          <p:cxnSp>
            <p:nvCxnSpPr>
              <p:cNvPr id="45" name="Straight Connector 44"/>
              <p:cNvCxnSpPr>
                <a:stCxn id="36" idx="8"/>
                <a:endCxn id="36" idx="0"/>
              </p:cNvCxnSpPr>
              <p:nvPr/>
            </p:nvCxnSpPr>
            <p:spPr>
              <a:xfrm flipV="1">
                <a:off x="4196192" y="1676767"/>
                <a:ext cx="274130" cy="1477628"/>
              </a:xfrm>
              <a:prstGeom prst="line">
                <a:avLst/>
              </a:prstGeom>
              <a:noFill/>
              <a:ln w="3175" cap="flat" cmpd="sng" algn="ctr">
                <a:solidFill>
                  <a:sysClr val="window" lastClr="FFFFFF">
                    <a:lumMod val="75000"/>
                  </a:sysClr>
                </a:solidFill>
                <a:prstDash val="sysDot"/>
              </a:ln>
              <a:effectLst/>
            </p:spPr>
          </p:cxnSp>
          <p:cxnSp>
            <p:nvCxnSpPr>
              <p:cNvPr id="46" name="Straight Connector 45"/>
              <p:cNvCxnSpPr>
                <a:stCxn id="36" idx="0"/>
                <a:endCxn id="36" idx="5"/>
              </p:cNvCxnSpPr>
              <p:nvPr/>
            </p:nvCxnSpPr>
            <p:spPr>
              <a:xfrm>
                <a:off x="4470322" y="1676767"/>
                <a:ext cx="1249709" cy="977508"/>
              </a:xfrm>
              <a:prstGeom prst="line">
                <a:avLst/>
              </a:prstGeom>
              <a:noFill/>
              <a:ln w="3175" cap="flat" cmpd="sng" algn="ctr">
                <a:solidFill>
                  <a:sysClr val="window" lastClr="FFFFFF">
                    <a:lumMod val="75000"/>
                  </a:sysClr>
                </a:solidFill>
                <a:prstDash val="sysDot"/>
              </a:ln>
              <a:effectLst/>
            </p:spPr>
          </p:cxnSp>
          <p:cxnSp>
            <p:nvCxnSpPr>
              <p:cNvPr id="47" name="Straight Connector 46"/>
              <p:cNvCxnSpPr>
                <a:stCxn id="36" idx="5"/>
                <a:endCxn id="36" idx="10"/>
              </p:cNvCxnSpPr>
              <p:nvPr/>
            </p:nvCxnSpPr>
            <p:spPr>
              <a:xfrm flipH="1" flipV="1">
                <a:off x="4002689" y="2048068"/>
                <a:ext cx="1717342" cy="606207"/>
              </a:xfrm>
              <a:prstGeom prst="line">
                <a:avLst/>
              </a:prstGeom>
              <a:noFill/>
              <a:ln w="3175" cap="flat" cmpd="sng" algn="ctr">
                <a:solidFill>
                  <a:sysClr val="window" lastClr="FFFFFF">
                    <a:lumMod val="75000"/>
                  </a:sysClr>
                </a:solidFill>
                <a:prstDash val="sysDot"/>
              </a:ln>
              <a:effectLst/>
            </p:spPr>
          </p:cxnSp>
          <p:cxnSp>
            <p:nvCxnSpPr>
              <p:cNvPr id="48" name="Straight Connector 47"/>
              <p:cNvCxnSpPr>
                <a:stCxn id="36" idx="10"/>
              </p:cNvCxnSpPr>
              <p:nvPr/>
            </p:nvCxnSpPr>
            <p:spPr>
              <a:xfrm>
                <a:off x="4002689" y="2048068"/>
                <a:ext cx="1410962" cy="1112642"/>
              </a:xfrm>
              <a:prstGeom prst="line">
                <a:avLst/>
              </a:prstGeom>
              <a:noFill/>
              <a:ln w="3175" cap="flat" cmpd="sng" algn="ctr">
                <a:solidFill>
                  <a:sysClr val="window" lastClr="FFFFFF">
                    <a:lumMod val="75000"/>
                  </a:sysClr>
                </a:solidFill>
                <a:prstDash val="sysDot"/>
              </a:ln>
              <a:effectLst/>
            </p:spPr>
          </p:cxnSp>
          <p:cxnSp>
            <p:nvCxnSpPr>
              <p:cNvPr id="49" name="Straight Connector 48"/>
              <p:cNvCxnSpPr>
                <a:stCxn id="36" idx="10"/>
                <a:endCxn id="36" idx="7"/>
              </p:cNvCxnSpPr>
              <p:nvPr/>
            </p:nvCxnSpPr>
            <p:spPr>
              <a:xfrm>
                <a:off x="4002689" y="2048068"/>
                <a:ext cx="790138" cy="1318499"/>
              </a:xfrm>
              <a:prstGeom prst="line">
                <a:avLst/>
              </a:prstGeom>
              <a:noFill/>
              <a:ln w="3175" cap="flat" cmpd="sng" algn="ctr">
                <a:solidFill>
                  <a:sysClr val="window" lastClr="FFFFFF">
                    <a:lumMod val="75000"/>
                  </a:sysClr>
                </a:solidFill>
                <a:prstDash val="sysDot"/>
              </a:ln>
              <a:effectLst/>
            </p:spPr>
          </p:cxnSp>
          <p:cxnSp>
            <p:nvCxnSpPr>
              <p:cNvPr id="50" name="Straight Connector 49"/>
              <p:cNvCxnSpPr>
                <a:stCxn id="36" idx="0"/>
                <a:endCxn id="36" idx="6"/>
              </p:cNvCxnSpPr>
              <p:nvPr/>
            </p:nvCxnSpPr>
            <p:spPr>
              <a:xfrm>
                <a:off x="4470322" y="1676767"/>
                <a:ext cx="935266" cy="1485205"/>
              </a:xfrm>
              <a:prstGeom prst="line">
                <a:avLst/>
              </a:prstGeom>
              <a:noFill/>
              <a:ln w="3175" cap="flat" cmpd="sng" algn="ctr">
                <a:solidFill>
                  <a:sysClr val="window" lastClr="FFFFFF">
                    <a:lumMod val="75000"/>
                  </a:sysClr>
                </a:solidFill>
                <a:prstDash val="sysDot"/>
              </a:ln>
              <a:effectLst/>
            </p:spPr>
          </p:cxnSp>
          <p:cxnSp>
            <p:nvCxnSpPr>
              <p:cNvPr id="51" name="Straight Connector 50"/>
              <p:cNvCxnSpPr>
                <a:stCxn id="36" idx="0"/>
                <a:endCxn id="36" idx="7"/>
              </p:cNvCxnSpPr>
              <p:nvPr/>
            </p:nvCxnSpPr>
            <p:spPr>
              <a:xfrm>
                <a:off x="4470322" y="1676767"/>
                <a:ext cx="322505" cy="1689800"/>
              </a:xfrm>
              <a:prstGeom prst="line">
                <a:avLst/>
              </a:prstGeom>
              <a:noFill/>
              <a:ln w="3175" cap="flat" cmpd="sng" algn="ctr">
                <a:solidFill>
                  <a:sysClr val="window" lastClr="FFFFFF">
                    <a:lumMod val="75000"/>
                  </a:sysClr>
                </a:solidFill>
                <a:prstDash val="sysDot"/>
              </a:ln>
              <a:effectLst/>
            </p:spPr>
          </p:cxnSp>
          <p:cxnSp>
            <p:nvCxnSpPr>
              <p:cNvPr id="52" name="Straight Connector 51"/>
              <p:cNvCxnSpPr>
                <a:stCxn id="36" idx="9"/>
                <a:endCxn id="36" idx="3"/>
              </p:cNvCxnSpPr>
              <p:nvPr/>
            </p:nvCxnSpPr>
            <p:spPr>
              <a:xfrm flipV="1">
                <a:off x="3881749" y="1676767"/>
                <a:ext cx="1233584" cy="969930"/>
              </a:xfrm>
              <a:prstGeom prst="line">
                <a:avLst/>
              </a:prstGeom>
              <a:noFill/>
              <a:ln w="3175" cap="flat" cmpd="sng" algn="ctr">
                <a:solidFill>
                  <a:sysClr val="window" lastClr="FFFFFF">
                    <a:lumMod val="75000"/>
                  </a:sysClr>
                </a:solidFill>
                <a:prstDash val="sysDot"/>
              </a:ln>
              <a:effectLst/>
            </p:spPr>
          </p:cxnSp>
          <p:cxnSp>
            <p:nvCxnSpPr>
              <p:cNvPr id="53" name="Straight Connector 52"/>
              <p:cNvCxnSpPr>
                <a:stCxn id="36" idx="9"/>
                <a:endCxn id="36" idx="4"/>
              </p:cNvCxnSpPr>
              <p:nvPr/>
            </p:nvCxnSpPr>
            <p:spPr>
              <a:xfrm flipV="1">
                <a:off x="3881749" y="2055646"/>
                <a:ext cx="1733468" cy="591051"/>
              </a:xfrm>
              <a:prstGeom prst="line">
                <a:avLst/>
              </a:prstGeom>
              <a:noFill/>
              <a:ln w="3175" cap="flat" cmpd="sng" algn="ctr">
                <a:solidFill>
                  <a:sysClr val="window" lastClr="FFFFFF">
                    <a:lumMod val="75000"/>
                  </a:sysClr>
                </a:solidFill>
                <a:prstDash val="sysDot"/>
              </a:ln>
              <a:effectLst/>
            </p:spPr>
          </p:cxnSp>
          <p:cxnSp>
            <p:nvCxnSpPr>
              <p:cNvPr id="54" name="Straight Connector 53"/>
              <p:cNvCxnSpPr>
                <a:stCxn id="36" idx="9"/>
                <a:endCxn id="36" idx="5"/>
              </p:cNvCxnSpPr>
              <p:nvPr/>
            </p:nvCxnSpPr>
            <p:spPr>
              <a:xfrm>
                <a:off x="3881749" y="2646697"/>
                <a:ext cx="1838282" cy="7578"/>
              </a:xfrm>
              <a:prstGeom prst="line">
                <a:avLst/>
              </a:prstGeom>
              <a:noFill/>
              <a:ln w="3175" cap="flat" cmpd="sng" algn="ctr">
                <a:solidFill>
                  <a:sysClr val="window" lastClr="FFFFFF">
                    <a:lumMod val="75000"/>
                  </a:sysClr>
                </a:solidFill>
                <a:prstDash val="sysDot"/>
              </a:ln>
              <a:effectLst/>
            </p:spPr>
          </p:cxnSp>
          <p:cxnSp>
            <p:nvCxnSpPr>
              <p:cNvPr id="55" name="Straight Connector 54"/>
              <p:cNvCxnSpPr>
                <a:stCxn id="36" idx="9"/>
                <a:endCxn id="36" idx="6"/>
              </p:cNvCxnSpPr>
              <p:nvPr/>
            </p:nvCxnSpPr>
            <p:spPr>
              <a:xfrm>
                <a:off x="3881749" y="2646697"/>
                <a:ext cx="1523839" cy="515275"/>
              </a:xfrm>
              <a:prstGeom prst="line">
                <a:avLst/>
              </a:prstGeom>
              <a:noFill/>
              <a:ln w="3175" cap="flat" cmpd="sng" algn="ctr">
                <a:solidFill>
                  <a:sysClr val="window" lastClr="FFFFFF">
                    <a:lumMod val="75000"/>
                  </a:sysClr>
                </a:solidFill>
                <a:prstDash val="sysDot"/>
              </a:ln>
              <a:effectLst/>
            </p:spPr>
          </p:cxnSp>
          <p:cxnSp>
            <p:nvCxnSpPr>
              <p:cNvPr id="56" name="Straight Connector 55"/>
              <p:cNvCxnSpPr>
                <a:stCxn id="36" idx="8"/>
                <a:endCxn id="36" idx="3"/>
              </p:cNvCxnSpPr>
              <p:nvPr/>
            </p:nvCxnSpPr>
            <p:spPr>
              <a:xfrm flipV="1">
                <a:off x="4196192" y="1676767"/>
                <a:ext cx="919140" cy="1477628"/>
              </a:xfrm>
              <a:prstGeom prst="line">
                <a:avLst/>
              </a:prstGeom>
              <a:noFill/>
              <a:ln w="3175" cap="flat" cmpd="sng" algn="ctr">
                <a:solidFill>
                  <a:sysClr val="window" lastClr="FFFFFF">
                    <a:lumMod val="75000"/>
                  </a:sysClr>
                </a:solidFill>
                <a:prstDash val="sysDot"/>
              </a:ln>
              <a:effectLst/>
            </p:spPr>
          </p:cxnSp>
          <p:cxnSp>
            <p:nvCxnSpPr>
              <p:cNvPr id="57" name="Straight Connector 56"/>
              <p:cNvCxnSpPr>
                <a:stCxn id="36" idx="8"/>
                <a:endCxn id="36" idx="4"/>
              </p:cNvCxnSpPr>
              <p:nvPr/>
            </p:nvCxnSpPr>
            <p:spPr>
              <a:xfrm flipV="1">
                <a:off x="4196192" y="2055646"/>
                <a:ext cx="1419025" cy="1098750"/>
              </a:xfrm>
              <a:prstGeom prst="line">
                <a:avLst/>
              </a:prstGeom>
              <a:noFill/>
              <a:ln w="3175" cap="flat" cmpd="sng" algn="ctr">
                <a:solidFill>
                  <a:sysClr val="window" lastClr="FFFFFF">
                    <a:lumMod val="75000"/>
                  </a:sysClr>
                </a:solidFill>
                <a:prstDash val="sysDot"/>
              </a:ln>
              <a:effectLst/>
            </p:spPr>
          </p:cxnSp>
          <p:cxnSp>
            <p:nvCxnSpPr>
              <p:cNvPr id="58" name="Straight Connector 57"/>
              <p:cNvCxnSpPr>
                <a:stCxn id="36" idx="7"/>
                <a:endCxn id="36" idx="3"/>
              </p:cNvCxnSpPr>
              <p:nvPr/>
            </p:nvCxnSpPr>
            <p:spPr>
              <a:xfrm flipV="1">
                <a:off x="4792827" y="1676767"/>
                <a:ext cx="322505" cy="1689800"/>
              </a:xfrm>
              <a:prstGeom prst="line">
                <a:avLst/>
              </a:prstGeom>
              <a:noFill/>
              <a:ln w="3175" cap="flat" cmpd="sng" algn="ctr">
                <a:solidFill>
                  <a:sysClr val="window" lastClr="FFFFFF">
                    <a:lumMod val="75000"/>
                  </a:sysClr>
                </a:solidFill>
                <a:prstDash val="sysDot"/>
              </a:ln>
              <a:effectLst/>
            </p:spPr>
          </p:cxnSp>
          <p:cxnSp>
            <p:nvCxnSpPr>
              <p:cNvPr id="59" name="Straight Connector 58"/>
              <p:cNvCxnSpPr>
                <a:stCxn id="36" idx="7"/>
                <a:endCxn id="36" idx="4"/>
              </p:cNvCxnSpPr>
              <p:nvPr/>
            </p:nvCxnSpPr>
            <p:spPr>
              <a:xfrm flipV="1">
                <a:off x="4792827" y="2055646"/>
                <a:ext cx="822389" cy="1310921"/>
              </a:xfrm>
              <a:prstGeom prst="line">
                <a:avLst/>
              </a:prstGeom>
              <a:noFill/>
              <a:ln w="3175" cap="flat" cmpd="sng" algn="ctr">
                <a:solidFill>
                  <a:sysClr val="window" lastClr="FFFFFF">
                    <a:lumMod val="75000"/>
                  </a:sysClr>
                </a:solidFill>
                <a:prstDash val="sysDot"/>
              </a:ln>
              <a:effectLst/>
            </p:spPr>
          </p:cxnSp>
          <p:cxnSp>
            <p:nvCxnSpPr>
              <p:cNvPr id="60" name="Straight Connector 59"/>
              <p:cNvCxnSpPr>
                <a:stCxn id="36" idx="7"/>
                <a:endCxn id="36" idx="5"/>
              </p:cNvCxnSpPr>
              <p:nvPr/>
            </p:nvCxnSpPr>
            <p:spPr>
              <a:xfrm flipV="1">
                <a:off x="4792827" y="2654274"/>
                <a:ext cx="927204" cy="712292"/>
              </a:xfrm>
              <a:prstGeom prst="line">
                <a:avLst/>
              </a:prstGeom>
              <a:noFill/>
              <a:ln w="3175" cap="flat" cmpd="sng" algn="ctr">
                <a:solidFill>
                  <a:sysClr val="window" lastClr="FFFFFF">
                    <a:lumMod val="75000"/>
                  </a:sysClr>
                </a:solidFill>
                <a:prstDash val="sysDot"/>
              </a:ln>
              <a:effectLst/>
            </p:spPr>
          </p:cxnSp>
          <p:cxnSp>
            <p:nvCxnSpPr>
              <p:cNvPr id="61" name="Straight Connector 60"/>
              <p:cNvCxnSpPr>
                <a:stCxn id="36" idx="7"/>
                <a:endCxn id="36" idx="9"/>
              </p:cNvCxnSpPr>
              <p:nvPr/>
            </p:nvCxnSpPr>
            <p:spPr>
              <a:xfrm flipH="1" flipV="1">
                <a:off x="3881749" y="2646697"/>
                <a:ext cx="911078" cy="719870"/>
              </a:xfrm>
              <a:prstGeom prst="line">
                <a:avLst/>
              </a:prstGeom>
              <a:noFill/>
              <a:ln w="3175" cap="flat" cmpd="sng" algn="ctr">
                <a:solidFill>
                  <a:sysClr val="window" lastClr="FFFFFF">
                    <a:lumMod val="75000"/>
                  </a:sysClr>
                </a:solidFill>
                <a:prstDash val="sysDot"/>
              </a:ln>
              <a:effectLst/>
            </p:spPr>
          </p:cxnSp>
          <p:cxnSp>
            <p:nvCxnSpPr>
              <p:cNvPr id="62" name="Straight Connector 61"/>
              <p:cNvCxnSpPr>
                <a:stCxn id="36" idx="10"/>
                <a:endCxn id="36" idx="4"/>
              </p:cNvCxnSpPr>
              <p:nvPr/>
            </p:nvCxnSpPr>
            <p:spPr>
              <a:xfrm>
                <a:off x="4002689" y="2048068"/>
                <a:ext cx="1612528" cy="7578"/>
              </a:xfrm>
              <a:prstGeom prst="line">
                <a:avLst/>
              </a:prstGeom>
              <a:noFill/>
              <a:ln w="3175" cap="flat" cmpd="sng" algn="ctr">
                <a:solidFill>
                  <a:sysClr val="window" lastClr="FFFFFF">
                    <a:lumMod val="75000"/>
                  </a:sysClr>
                </a:solidFill>
                <a:prstDash val="sysDot"/>
              </a:ln>
              <a:effectLst/>
            </p:spPr>
          </p:cxnSp>
          <p:cxnSp>
            <p:nvCxnSpPr>
              <p:cNvPr id="63" name="Straight Connector 62"/>
              <p:cNvCxnSpPr>
                <a:stCxn id="36" idx="3"/>
                <a:endCxn id="36" idx="6"/>
              </p:cNvCxnSpPr>
              <p:nvPr/>
            </p:nvCxnSpPr>
            <p:spPr>
              <a:xfrm>
                <a:off x="5115333" y="1676767"/>
                <a:ext cx="290255" cy="1485205"/>
              </a:xfrm>
              <a:prstGeom prst="line">
                <a:avLst/>
              </a:prstGeom>
              <a:noFill/>
              <a:ln w="3175" cap="flat" cmpd="sng" algn="ctr">
                <a:solidFill>
                  <a:sysClr val="window" lastClr="FFFFFF">
                    <a:lumMod val="75000"/>
                  </a:sysClr>
                </a:solidFill>
                <a:prstDash val="sysDot"/>
              </a:ln>
              <a:effectLst/>
            </p:spPr>
          </p:cxnSp>
          <p:pic>
            <p:nvPicPr>
              <p:cNvPr id="64" name="Picture 2" descr="http://lspeedsource.com/wp-content/uploads/2015/11/DM.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14155" y="1880512"/>
                <a:ext cx="1372246" cy="1254116"/>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4" descr="http://interfacing.com/uploads/images/Icons/Process-icon.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94871" y="927665"/>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cdn2.hubspot.net/hub/211206/file-323143666-png/images/marketing_automation_icon.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443688" y="1513678"/>
              <a:ext cx="365760" cy="36375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s://daks2k3a4ib2z.cloudfront.net/53ac37f59182e3ff47b6740d/53ac827b16c68a00485f984b_Belief-Icons-no-5.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90001" y="2136260"/>
              <a:ext cx="694474" cy="3906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http://www.nuemd.com/sites/default/files/icons/rcm-assesment-icon-200.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14924" y="2808454"/>
              <a:ext cx="332509" cy="33250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https://encrypted-tbn2.gstatic.com/images?q=tbn:ANd9GcQFIcESrhrWdIZkxQx_QGgyzNTjxpSNGs0JIWz8-Em2mbGMv1CC"/>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30685" y="3020149"/>
              <a:ext cx="384418" cy="3844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https://intrinium.com/wp-content/uploads/forensic.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33503" y="27837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0" descr="http://rigor.com/wp-content/uploads/2016/01/customer-experience1.jp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45342" y="210911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2" descr="http://baymcp.com/wp-content/uploads/2014/12/virtualization.pn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15320" r="15320"/>
            <a:stretch/>
          </p:blipFill>
          <p:spPr bwMode="auto">
            <a:xfrm>
              <a:off x="2477030" y="1408556"/>
              <a:ext cx="341647" cy="3325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4" descr="https://www.arraynetworks.com/images/pages/icons/performance-icon.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937329" y="918872"/>
              <a:ext cx="438912" cy="36576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3845611" y="3511068"/>
              <a:ext cx="2633472" cy="466790"/>
            </a:xfrm>
            <a:prstGeom prst="rect">
              <a:avLst/>
            </a:prstGeom>
            <a:solidFill>
              <a:srgbClr val="CCFF99"/>
            </a:solidFill>
            <a:ln w="9525" cap="flat" cmpd="sng" algn="ctr">
              <a:noFill/>
              <a:prstDash val="solid"/>
            </a:ln>
            <a:effectLst>
              <a:outerShdw blurRad="88900" dist="88900" dir="5400000" sx="88000" sy="88000" algn="t" rotWithShape="0">
                <a:prstClr val="black">
                  <a:alpha val="40000"/>
                </a:prstClr>
              </a:outerShdw>
            </a:effectLst>
          </p:spPr>
          <p:txBody>
            <a:bodyPr lIns="0" rIns="0" rtlCol="0" anchor="ctr"/>
            <a:lstStyle/>
            <a:p>
              <a:pPr algn="ctr" defTabSz="1371600"/>
              <a:endParaRPr lang="en-US" sz="1200" b="1" kern="0" dirty="0">
                <a:solidFill>
                  <a:srgbClr val="7BA0FF">
                    <a:lumMod val="50000"/>
                  </a:srgbClr>
                </a:solidFill>
                <a:latin typeface="Century Gothic" panose="020B0502020202020204" pitchFamily="34" charset="0"/>
              </a:endParaRPr>
            </a:p>
          </p:txBody>
        </p:sp>
        <p:sp>
          <p:nvSpPr>
            <p:cNvPr id="17" name="Rectangle 88"/>
            <p:cNvSpPr>
              <a:spLocks noChangeArrowheads="1"/>
            </p:cNvSpPr>
            <p:nvPr/>
          </p:nvSpPr>
          <p:spPr bwMode="auto">
            <a:xfrm>
              <a:off x="5070494" y="2010920"/>
              <a:ext cx="2194560"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defTabSz="1097226">
                <a:defRPr/>
              </a:pPr>
              <a:r>
                <a:rPr lang="en-US" sz="1200" b="1" dirty="0">
                  <a:solidFill>
                    <a:prstClr val="black"/>
                  </a:solidFill>
                  <a:cs typeface="Arial" charset="0"/>
                </a:rPr>
                <a:t>Script Less Automation Framework</a:t>
              </a:r>
            </a:p>
            <a:p>
              <a:pPr defTabSz="1097226">
                <a:defRPr/>
              </a:pPr>
              <a:r>
                <a:rPr lang="en-US" sz="1200" dirty="0">
                  <a:solidFill>
                    <a:prstClr val="black"/>
                  </a:solidFill>
                  <a:cs typeface="Arial" charset="0"/>
                </a:rPr>
                <a:t>Implement Scriptless Test Automation </a:t>
              </a:r>
              <a:r>
                <a:rPr lang="en-US" sz="1200" b="1" dirty="0">
                  <a:solidFill>
                    <a:prstClr val="black"/>
                  </a:solidFill>
                  <a:cs typeface="Arial" charset="0"/>
                </a:rPr>
                <a:t>via CITS</a:t>
              </a:r>
            </a:p>
          </p:txBody>
        </p:sp>
        <p:sp>
          <p:nvSpPr>
            <p:cNvPr id="18" name="Rectangle 3"/>
            <p:cNvSpPr>
              <a:spLocks noChangeArrowheads="1"/>
            </p:cNvSpPr>
            <p:nvPr/>
          </p:nvSpPr>
          <p:spPr bwMode="auto">
            <a:xfrm>
              <a:off x="19399" y="1378285"/>
              <a:ext cx="2267712"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defTabSz="1097226" fontAlgn="t">
                <a:defRPr/>
              </a:pPr>
              <a:r>
                <a:rPr lang="en-US" sz="1200" b="1" kern="0" dirty="0">
                  <a:solidFill>
                    <a:prstClr val="black"/>
                  </a:solidFill>
                  <a:cs typeface="Arial" charset="0"/>
                </a:rPr>
                <a:t>Certification Framework</a:t>
              </a:r>
            </a:p>
            <a:p>
              <a:pPr algn="r" defTabSz="1097226" fontAlgn="t">
                <a:defRPr/>
              </a:pPr>
              <a:r>
                <a:rPr lang="en-US" altLang="en-US" sz="1200" dirty="0">
                  <a:solidFill>
                    <a:prstClr val="black"/>
                  </a:solidFill>
                  <a:cs typeface="Arial" charset="0"/>
                </a:rPr>
                <a:t>Revenue Management, Property Management,CRS Migration,OTA/Partner onboarding, Loyalty Management</a:t>
              </a:r>
            </a:p>
          </p:txBody>
        </p:sp>
        <p:sp>
          <p:nvSpPr>
            <p:cNvPr id="19" name="Rectangle 78"/>
            <p:cNvSpPr>
              <a:spLocks noChangeArrowheads="1"/>
            </p:cNvSpPr>
            <p:nvPr/>
          </p:nvSpPr>
          <p:spPr bwMode="auto">
            <a:xfrm>
              <a:off x="4987553" y="2670449"/>
              <a:ext cx="2438865" cy="663854"/>
            </a:xfrm>
            <a:prstGeom prst="rect">
              <a:avLst/>
            </a:prstGeom>
            <a:pattFill prst="dkDnDiag">
              <a:fgClr>
                <a:schemeClr val="accent3">
                  <a:lumMod val="20000"/>
                  <a:lumOff val="80000"/>
                </a:schemeClr>
              </a:fgClr>
              <a:bgClr>
                <a:schemeClr val="bg1"/>
              </a:bgClr>
            </a:pattFill>
            <a:ln>
              <a:noFill/>
            </a:ln>
            <a:effectLst>
              <a:outerShdw blurRad="50800" dist="101600" dir="5400000" sx="89000" sy="89000" algn="t" rotWithShape="0">
                <a:prstClr val="black">
                  <a:alpha val="40000"/>
                </a:prstClr>
              </a:outerShdw>
            </a:effectLst>
            <a:extLst/>
          </p:spPr>
          <p:txBody>
            <a:bodyPr wrap="square" lIns="147474" tIns="73739" rIns="147474" bIns="73739"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defTabSz="1097226" fontAlgn="t">
                <a:defRPr/>
              </a:pPr>
              <a:r>
                <a:rPr lang="en-US" sz="1200" b="1" kern="0" dirty="0">
                  <a:solidFill>
                    <a:prstClr val="black"/>
                  </a:solidFill>
                  <a:cs typeface="Arial" charset="0"/>
                </a:rPr>
                <a:t>Reusable Test Assets across Hotels</a:t>
              </a:r>
            </a:p>
            <a:p>
              <a:pPr defTabSz="1097226" fontAlgn="t">
                <a:defRPr/>
              </a:pPr>
              <a:r>
                <a:rPr lang="en-US" altLang="en-US" sz="1200" u="sng" kern="0" dirty="0">
                  <a:solidFill>
                    <a:prstClr val="black"/>
                  </a:solidFill>
                  <a:cs typeface="Arial" charset="0"/>
                </a:rPr>
                <a:t>600+</a:t>
              </a:r>
              <a:r>
                <a:rPr lang="en-US" altLang="en-US" sz="1200" kern="0" dirty="0">
                  <a:solidFill>
                    <a:prstClr val="black"/>
                  </a:solidFill>
                  <a:cs typeface="Arial" charset="0"/>
                </a:rPr>
                <a:t> Functional Scenarios across all Hotel Functions</a:t>
              </a:r>
            </a:p>
            <a:p>
              <a:pPr defTabSz="1097226" fontAlgn="t">
                <a:defRPr/>
              </a:pPr>
              <a:r>
                <a:rPr lang="en-US" altLang="en-US" sz="1200" u="sng" kern="0" dirty="0">
                  <a:solidFill>
                    <a:prstClr val="black"/>
                  </a:solidFill>
                  <a:cs typeface="Arial" charset="0"/>
                </a:rPr>
                <a:t>250+ </a:t>
              </a:r>
              <a:r>
                <a:rPr lang="en-US" altLang="en-US" sz="1200" kern="0" dirty="0">
                  <a:solidFill>
                    <a:prstClr val="black"/>
                  </a:solidFill>
                  <a:cs typeface="Arial" charset="0"/>
                </a:rPr>
                <a:t>Critical Defect List</a:t>
              </a:r>
            </a:p>
            <a:p>
              <a:pPr defTabSz="1097226" fontAlgn="t">
                <a:defRPr/>
              </a:pPr>
              <a:r>
                <a:rPr lang="en-US" sz="1200" kern="0" dirty="0">
                  <a:solidFill>
                    <a:prstClr val="black"/>
                  </a:solidFill>
                  <a:latin typeface="Calibri" panose="020F0502020204030204"/>
                </a:rPr>
                <a:t>e-learnings, Domain Handbook, Domain Cookbooks for all the major domain functions</a:t>
              </a:r>
              <a:endParaRPr lang="en-US" altLang="en-US" sz="1200" kern="0" dirty="0">
                <a:solidFill>
                  <a:prstClr val="black"/>
                </a:solidFill>
                <a:cs typeface="Arial" charset="0"/>
              </a:endParaRPr>
            </a:p>
          </p:txBody>
        </p:sp>
        <p:sp>
          <p:nvSpPr>
            <p:cNvPr id="20" name="Rectangle 83"/>
            <p:cNvSpPr>
              <a:spLocks noChangeArrowheads="1"/>
            </p:cNvSpPr>
            <p:nvPr/>
          </p:nvSpPr>
          <p:spPr bwMode="auto">
            <a:xfrm>
              <a:off x="4704734" y="745650"/>
              <a:ext cx="2560320"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marL="571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defTabSz="1097226">
                <a:defRPr/>
              </a:pPr>
              <a:r>
                <a:rPr lang="en-US" sz="1200" b="1" kern="0" dirty="0">
                  <a:solidFill>
                    <a:prstClr val="black"/>
                  </a:solidFill>
                </a:rPr>
                <a:t>Business Process Assurance</a:t>
              </a:r>
            </a:p>
            <a:p>
              <a:pPr marL="0" defTabSz="1097226">
                <a:defRPr/>
              </a:pPr>
              <a:r>
                <a:rPr lang="en-US" sz="1200" kern="0" dirty="0">
                  <a:solidFill>
                    <a:prstClr val="black"/>
                  </a:solidFill>
                </a:rPr>
                <a:t>End-to-end business process framework, </a:t>
              </a:r>
              <a:r>
                <a:rPr lang="en-US" sz="1200" b="1" kern="0" dirty="0">
                  <a:solidFill>
                    <a:prstClr val="black"/>
                  </a:solidFill>
                </a:rPr>
                <a:t>ADPART </a:t>
              </a:r>
              <a:r>
                <a:rPr lang="en-US" sz="1200" kern="0" dirty="0">
                  <a:solidFill>
                    <a:prstClr val="black"/>
                  </a:solidFill>
                </a:rPr>
                <a:t>process flows for Hotel Functions-  </a:t>
              </a:r>
              <a:r>
                <a:rPr lang="en-US" sz="1200" i="1" kern="0" dirty="0">
                  <a:solidFill>
                    <a:prstClr val="black"/>
                  </a:solidFill>
                </a:rPr>
                <a:t>e- Commerce, Loyalty, Revenue Mgmt,Call Center</a:t>
              </a:r>
            </a:p>
          </p:txBody>
        </p:sp>
        <p:sp>
          <p:nvSpPr>
            <p:cNvPr id="21" name="Rectangle 83"/>
            <p:cNvSpPr>
              <a:spLocks noChangeArrowheads="1"/>
            </p:cNvSpPr>
            <p:nvPr/>
          </p:nvSpPr>
          <p:spPr bwMode="auto">
            <a:xfrm>
              <a:off x="19399" y="2010920"/>
              <a:ext cx="2194560"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marL="571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algn="r" defTabSz="1097226">
                <a:defRPr/>
              </a:pPr>
              <a:r>
                <a:rPr lang="en-US" sz="1200" b="1" kern="0" dirty="0">
                  <a:solidFill>
                    <a:prstClr val="black"/>
                  </a:solidFill>
                </a:rPr>
                <a:t>Customer Analytics</a:t>
              </a:r>
            </a:p>
            <a:p>
              <a:pPr marL="0" algn="r" defTabSz="1097226">
                <a:defRPr/>
              </a:pPr>
              <a:r>
                <a:rPr lang="en-US" sz="1200" kern="0" dirty="0">
                  <a:solidFill>
                    <a:prstClr val="black"/>
                  </a:solidFill>
                </a:rPr>
                <a:t> Social Sentiment Analysis for Mobile App, SEO Testing, Multivariate tagging</a:t>
              </a:r>
            </a:p>
            <a:p>
              <a:pPr marL="0" algn="r" defTabSz="1097226">
                <a:defRPr/>
              </a:pPr>
              <a:r>
                <a:rPr lang="en-US" sz="1200" kern="0" dirty="0">
                  <a:solidFill>
                    <a:prstClr val="black"/>
                  </a:solidFill>
                </a:rPr>
                <a:t>Omni channel Testing</a:t>
              </a:r>
            </a:p>
          </p:txBody>
        </p:sp>
        <p:sp>
          <p:nvSpPr>
            <p:cNvPr id="22" name="Rectangle 21"/>
            <p:cNvSpPr>
              <a:spLocks noChangeArrowheads="1"/>
            </p:cNvSpPr>
            <p:nvPr/>
          </p:nvSpPr>
          <p:spPr bwMode="auto">
            <a:xfrm>
              <a:off x="19399" y="2643555"/>
              <a:ext cx="2441448" cy="663854"/>
            </a:xfrm>
            <a:prstGeom prst="rect">
              <a:avLst/>
            </a:prstGeom>
            <a:pattFill prst="dkDnDiag">
              <a:fgClr>
                <a:schemeClr val="accent3">
                  <a:lumMod val="20000"/>
                  <a:lumOff val="80000"/>
                </a:schemeClr>
              </a:fgClr>
              <a:bgClr>
                <a:schemeClr val="bg1"/>
              </a:bgClr>
            </a:pattFill>
            <a:ln>
              <a:noFill/>
            </a:ln>
            <a:effectLst>
              <a:outerShdw blurRad="50800" dist="101600" dir="5400000" sx="89000" sy="89000" algn="t" rotWithShape="0">
                <a:prstClr val="black">
                  <a:alpha val="40000"/>
                </a:prstClr>
              </a:outerShdw>
            </a:effectLst>
            <a:extLst/>
          </p:spPr>
          <p:txBody>
            <a:bodyPr wrap="square" lIns="147474" tIns="73739" rIns="147474" bIns="73739" anchor="ctr">
              <a:noAutofit/>
            </a:bodyPr>
            <a:lstStyle>
              <a:lvl1pPr marL="571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algn="r" defTabSz="1097226" eaLnBrk="1" fontAlgn="t" hangingPunct="1">
                <a:defRPr/>
              </a:pPr>
              <a:r>
                <a:rPr lang="en-US" altLang="en-US" sz="1200" b="1" kern="0" dirty="0">
                  <a:solidFill>
                    <a:prstClr val="black"/>
                  </a:solidFill>
                </a:rPr>
                <a:t>Hotel Toolkit</a:t>
              </a:r>
            </a:p>
            <a:p>
              <a:pPr marL="0" algn="r" defTabSz="1097226" eaLnBrk="1" fontAlgn="t" hangingPunct="1">
                <a:defRPr/>
              </a:pPr>
              <a:r>
                <a:rPr lang="en-US" sz="1200" kern="0" dirty="0">
                  <a:solidFill>
                    <a:prstClr val="black"/>
                  </a:solidFill>
                </a:rPr>
                <a:t>e-DOCTOR, Data Comparator, REST Orchestra, Property Data Migration</a:t>
              </a:r>
            </a:p>
          </p:txBody>
        </p:sp>
        <p:sp>
          <p:nvSpPr>
            <p:cNvPr id="23" name="Rectangle 78"/>
            <p:cNvSpPr>
              <a:spLocks noChangeArrowheads="1"/>
            </p:cNvSpPr>
            <p:nvPr/>
          </p:nvSpPr>
          <p:spPr bwMode="auto">
            <a:xfrm>
              <a:off x="19399" y="745650"/>
              <a:ext cx="2560320"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defTabSz="1097226">
                <a:defRPr/>
              </a:pPr>
              <a:r>
                <a:rPr lang="en-US" sz="1200" b="1" dirty="0">
                  <a:solidFill>
                    <a:prstClr val="black"/>
                  </a:solidFill>
                  <a:cs typeface="Arial" charset="0"/>
                </a:rPr>
                <a:t>Enterprise NFT for Hotels</a:t>
              </a:r>
            </a:p>
            <a:p>
              <a:pPr algn="r" defTabSz="1097226">
                <a:defRPr/>
              </a:pPr>
              <a:r>
                <a:rPr lang="en-US" sz="1200" dirty="0">
                  <a:solidFill>
                    <a:prstClr val="black"/>
                  </a:solidFill>
                  <a:cs typeface="Arial" charset="0"/>
                </a:rPr>
                <a:t>Build Hotel-specific enterprise frameworks for </a:t>
              </a:r>
              <a:r>
                <a:rPr lang="en-US" sz="1200" i="1" dirty="0">
                  <a:solidFill>
                    <a:prstClr val="black"/>
                  </a:solidFill>
                  <a:cs typeface="Arial" charset="0"/>
                </a:rPr>
                <a:t>CRS,PMS,Loyalty, Digital Assurance </a:t>
              </a:r>
            </a:p>
          </p:txBody>
        </p:sp>
        <p:sp>
          <p:nvSpPr>
            <p:cNvPr id="24" name="Rectangle 87"/>
            <p:cNvSpPr>
              <a:spLocks noChangeArrowheads="1"/>
            </p:cNvSpPr>
            <p:nvPr/>
          </p:nvSpPr>
          <p:spPr bwMode="auto">
            <a:xfrm>
              <a:off x="4997342" y="1378285"/>
              <a:ext cx="2267712" cy="548640"/>
            </a:xfrm>
            <a:prstGeom prst="rect">
              <a:avLst/>
            </a:prstGeom>
            <a:pattFill prst="dkDnDiag">
              <a:fgClr>
                <a:schemeClr val="accent3">
                  <a:lumMod val="20000"/>
                  <a:lumOff val="80000"/>
                </a:schemeClr>
              </a:fgClr>
              <a:bgClr>
                <a:schemeClr val="bg1"/>
              </a:bgClr>
            </a:pattFill>
            <a:ln>
              <a:noFill/>
            </a:ln>
            <a:effectLst>
              <a:outerShdw blurRad="50800" dist="76200" dir="5400000" sx="89000" sy="89000" algn="t" rotWithShape="0">
                <a:prstClr val="black">
                  <a:alpha val="40000"/>
                </a:prstClr>
              </a:outerShdw>
            </a:effectLst>
            <a:extLst/>
          </p:spPr>
          <p:txBody>
            <a:bodyPr wrap="square" lIns="147474" tIns="73739" rIns="147474" bIns="73739"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defTabSz="1097226">
                <a:defRPr/>
              </a:pPr>
              <a:r>
                <a:rPr lang="en-US" sz="1200" b="1" kern="0" dirty="0">
                  <a:solidFill>
                    <a:prstClr val="black"/>
                  </a:solidFill>
                  <a:cs typeface="Arial" charset="0"/>
                </a:rPr>
                <a:t>Automation</a:t>
              </a:r>
            </a:p>
            <a:p>
              <a:pPr defTabSz="1097226">
                <a:defRPr/>
              </a:pPr>
              <a:r>
                <a:rPr lang="en-US" altLang="en-US" sz="1200" dirty="0">
                  <a:solidFill>
                    <a:prstClr val="black"/>
                  </a:solidFill>
                </a:rPr>
                <a:t>Automation  Framework and reusable components  for  </a:t>
              </a:r>
              <a:r>
                <a:rPr lang="en-US" altLang="en-US" sz="1200" i="1" kern="0" dirty="0">
                  <a:solidFill>
                    <a:prstClr val="black"/>
                  </a:solidFill>
                </a:rPr>
                <a:t>Digital,PMS,Revenue Management, Call Center etc.</a:t>
              </a:r>
            </a:p>
          </p:txBody>
        </p:sp>
        <p:sp>
          <p:nvSpPr>
            <p:cNvPr id="25" name="Rectangle 87"/>
            <p:cNvSpPr>
              <a:spLocks noChangeArrowheads="1"/>
            </p:cNvSpPr>
            <p:nvPr/>
          </p:nvSpPr>
          <p:spPr bwMode="auto">
            <a:xfrm>
              <a:off x="745841" y="3502464"/>
              <a:ext cx="2633472" cy="483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7474" tIns="73739" rIns="147474" bIns="7373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defTabSz="822960">
                <a:defRPr/>
              </a:pPr>
              <a:r>
                <a:rPr lang="en-US" sz="1350" b="1" dirty="0">
                  <a:solidFill>
                    <a:prstClr val="black"/>
                  </a:solidFill>
                  <a:latin typeface="Century Gothic" panose="020B0502020202020204" pitchFamily="34" charset="0"/>
                  <a:cs typeface="Arial" charset="0"/>
                </a:rPr>
                <a:t>INSIGHT IMPLEMENTATION</a:t>
              </a:r>
            </a:p>
            <a:p>
              <a:pPr algn="ctr" defTabSz="822960">
                <a:defRPr/>
              </a:pPr>
              <a:r>
                <a:rPr lang="en-US" altLang="en-US" sz="1200" dirty="0" err="1">
                  <a:solidFill>
                    <a:prstClr val="black"/>
                  </a:solidFill>
                  <a:cs typeface="Arial" charset="0"/>
                </a:rPr>
                <a:t>DevInsight</a:t>
              </a:r>
              <a:r>
                <a:rPr lang="en-US" altLang="en-US" sz="1200" dirty="0">
                  <a:solidFill>
                    <a:prstClr val="black"/>
                  </a:solidFill>
                  <a:cs typeface="Arial" charset="0"/>
                </a:rPr>
                <a:t> and  </a:t>
              </a:r>
              <a:r>
                <a:rPr lang="en-US" sz="1200" dirty="0">
                  <a:solidFill>
                    <a:prstClr val="black"/>
                  </a:solidFill>
                  <a:cs typeface="Arial" charset="0"/>
                </a:rPr>
                <a:t>OpsInsight  Implementation </a:t>
              </a:r>
              <a:br>
                <a:rPr lang="en-US" sz="1200" dirty="0">
                  <a:solidFill>
                    <a:prstClr val="black"/>
                  </a:solidFill>
                  <a:cs typeface="Arial" charset="0"/>
                </a:rPr>
              </a:br>
              <a:r>
                <a:rPr lang="en-US" altLang="en-US" sz="1200" dirty="0">
                  <a:solidFill>
                    <a:prstClr val="black"/>
                  </a:solidFill>
                  <a:cs typeface="Arial" charset="0"/>
                </a:rPr>
                <a:t> across Hotel customers</a:t>
              </a:r>
            </a:p>
          </p:txBody>
        </p:sp>
        <p:sp>
          <p:nvSpPr>
            <p:cNvPr id="26" name="Rectangle 87"/>
            <p:cNvSpPr>
              <a:spLocks noChangeArrowheads="1"/>
            </p:cNvSpPr>
            <p:nvPr/>
          </p:nvSpPr>
          <p:spPr bwMode="auto">
            <a:xfrm>
              <a:off x="3845611" y="3502464"/>
              <a:ext cx="2633472" cy="483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7474" tIns="73739" rIns="147474" bIns="7373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defTabSz="822960">
                <a:defRPr/>
              </a:pPr>
              <a:r>
                <a:rPr lang="en-US" sz="1350" b="1" dirty="0">
                  <a:solidFill>
                    <a:prstClr val="black"/>
                  </a:solidFill>
                  <a:latin typeface="Century Gothic" panose="020B0502020202020204" pitchFamily="34" charset="0"/>
                  <a:cs typeface="Arial" charset="0"/>
                </a:rPr>
                <a:t>PRODUCT</a:t>
              </a:r>
              <a:r>
                <a:rPr lang="en-US" sz="1200" b="1" dirty="0">
                  <a:solidFill>
                    <a:prstClr val="black"/>
                  </a:solidFill>
                  <a:cs typeface="Arial" charset="0"/>
                </a:rPr>
                <a:t> </a:t>
              </a:r>
              <a:r>
                <a:rPr lang="en-US" sz="1350" b="1" dirty="0">
                  <a:solidFill>
                    <a:prstClr val="black"/>
                  </a:solidFill>
                  <a:latin typeface="Century Gothic" panose="020B0502020202020204" pitchFamily="34" charset="0"/>
                  <a:cs typeface="Arial" charset="0"/>
                </a:rPr>
                <a:t>TESTING</a:t>
              </a:r>
              <a:r>
                <a:rPr lang="en-US" sz="1200" b="1" dirty="0">
                  <a:solidFill>
                    <a:prstClr val="black"/>
                  </a:solidFill>
                  <a:cs typeface="Arial" charset="0"/>
                </a:rPr>
                <a:t> </a:t>
              </a:r>
              <a:r>
                <a:rPr lang="en-US" sz="1350" b="1" dirty="0">
                  <a:solidFill>
                    <a:prstClr val="black"/>
                  </a:solidFill>
                  <a:latin typeface="Century Gothic" panose="020B0502020202020204" pitchFamily="34" charset="0"/>
                  <a:cs typeface="Arial" charset="0"/>
                </a:rPr>
                <a:t>SOLUTION</a:t>
              </a:r>
            </a:p>
            <a:p>
              <a:pPr algn="ctr" defTabSz="822960">
                <a:defRPr/>
              </a:pPr>
              <a:r>
                <a:rPr lang="en-US" altLang="en-US" sz="1200" dirty="0">
                  <a:solidFill>
                    <a:prstClr val="black"/>
                  </a:solidFill>
                  <a:cs typeface="Arial" charset="0"/>
                </a:rPr>
                <a:t>PMS- Opera,Brilliant,CRS-Sabre,Content Management- AEM,Sitecore,Loyalty-Denali,OCIS  Call Center-Sabre  etc.</a:t>
              </a:r>
            </a:p>
          </p:txBody>
        </p:sp>
      </p:grpSp>
    </p:spTree>
    <p:extLst>
      <p:ext uri="{BB962C8B-B14F-4D97-AF65-F5344CB8AC3E}">
        <p14:creationId xmlns:p14="http://schemas.microsoft.com/office/powerpoint/2010/main" val="2118184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pPr algn="l"/>
            <a:r>
              <a:rPr lang="en-US" dirty="0" smtClean="0">
                <a:latin typeface="Calibri" panose="020F0502020204030204" pitchFamily="34" charset="0"/>
                <a:cs typeface="Calibri" panose="020F0502020204030204" pitchFamily="34" charset="0"/>
              </a:rPr>
              <a:t>Successful transformation </a:t>
            </a:r>
            <a:r>
              <a:rPr lang="en-US" dirty="0">
                <a:cs typeface="Calibri" panose="020F0502020204030204" pitchFamily="34" charset="0"/>
              </a:rPr>
              <a:t>p</a:t>
            </a:r>
            <a:r>
              <a:rPr lang="en-US" dirty="0" smtClean="0">
                <a:latin typeface="Calibri" panose="020F0502020204030204" pitchFamily="34" charset="0"/>
                <a:cs typeface="Calibri" panose="020F0502020204030204" pitchFamily="34" charset="0"/>
              </a:rPr>
              <a:t>roof points</a:t>
            </a:r>
            <a:endParaRPr lang="en-US" dirty="0">
              <a:latin typeface="Calibri" panose="020F0502020204030204" pitchFamily="34" charset="0"/>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2005" y="3616029"/>
            <a:ext cx="934437" cy="639181"/>
          </a:xfrm>
          <a:prstGeom prst="rect">
            <a:avLst/>
          </a:prstGeom>
        </p:spPr>
      </p:pic>
      <p:sp>
        <p:nvSpPr>
          <p:cNvPr id="7" name="Rectangle 5"/>
          <p:cNvSpPr>
            <a:spLocks noChangeArrowheads="1"/>
          </p:cNvSpPr>
          <p:nvPr/>
        </p:nvSpPr>
        <p:spPr bwMode="gray">
          <a:xfrm>
            <a:off x="8224077" y="4337100"/>
            <a:ext cx="3601309" cy="17825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marR="0" lvl="0" indent="0" algn="ctr" defTabSz="914332" rtl="0" eaLnBrk="1" fontAlgn="auto" latinLnBrk="0" hangingPunct="1">
              <a:lnSpc>
                <a:spcPct val="100000"/>
              </a:lnSpc>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Digital Commerce </a:t>
            </a:r>
            <a:r>
              <a:rPr lang="en-US" altLang="en-US" sz="1600" b="1" dirty="0" smtClean="0">
                <a:solidFill>
                  <a:srgbClr val="320003"/>
                </a:solidFill>
                <a:latin typeface="Calibri"/>
                <a:cs typeface="Georgia"/>
              </a:rPr>
              <a:t>Transformation</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r>
              <a:rPr lang="en-US" altLang="en-US" sz="1600" b="1" noProof="0" dirty="0" smtClean="0">
                <a:solidFill>
                  <a:srgbClr val="320003"/>
                </a:solidFill>
                <a:latin typeface="Calibri"/>
                <a:cs typeface="Georgia"/>
              </a:rPr>
              <a:t>leveraging</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r>
              <a:rPr lang="en-US" altLang="en-US" sz="1600" b="1" dirty="0" smtClean="0">
                <a:solidFill>
                  <a:srgbClr val="320003"/>
                </a:solidFill>
                <a:latin typeface="Calibri"/>
                <a:cs typeface="Georgia"/>
              </a:rPr>
              <a:t>Product-based</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r>
              <a:rPr lang="en-US" altLang="en-US" sz="1600" b="1" dirty="0" smtClean="0">
                <a:solidFill>
                  <a:srgbClr val="320003"/>
                </a:solidFill>
                <a:latin typeface="Calibri"/>
                <a:cs typeface="Georgia"/>
              </a:rPr>
              <a:t>Org</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r>
              <a:rPr lang="en-US" altLang="en-US" sz="1600" b="1" dirty="0" smtClean="0">
                <a:solidFill>
                  <a:srgbClr val="320003"/>
                </a:solidFill>
                <a:latin typeface="Calibri"/>
                <a:cs typeface="Georgia"/>
              </a:rPr>
              <a:t>Model</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p>
          <a:p>
            <a:pPr marL="0" marR="0" lvl="0" indent="0" algn="ctr" defTabSz="914332" rtl="0" eaLnBrk="1" fontAlgn="auto" latinLnBrk="0" hangingPunct="1">
              <a:lnSpc>
                <a:spcPct val="100000"/>
              </a:lnSpc>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Squad and Bands)</a:t>
            </a:r>
          </a:p>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endParaRPr kumimoji="0" lang="en-US" altLang="en-US" sz="400" b="1" i="0" u="none" strike="noStrike" kern="1200" cap="none" spc="0" normalizeH="0" baseline="0" noProof="0" dirty="0" smtClean="0">
              <a:ln>
                <a:noFill/>
              </a:ln>
              <a:solidFill>
                <a:srgbClr val="320003"/>
              </a:solidFill>
              <a:effectLst/>
              <a:uLnTx/>
              <a:uFillTx/>
              <a:latin typeface="Calibri"/>
              <a:ea typeface="+mn-ea"/>
              <a:cs typeface="Georgia"/>
            </a:endParaRPr>
          </a:p>
          <a:p>
            <a:pPr marL="285750" marR="0" lvl="0" indent="-285750" algn="l" defTabSz="914332" rtl="0" eaLnBrk="1" fontAlgn="auto" latinLnBrk="0" hangingPunct="1">
              <a:lnSpc>
                <a:spcPct val="100000"/>
              </a:lnSpc>
              <a:spcBef>
                <a:spcPts val="300"/>
              </a:spcBef>
              <a:spcAft>
                <a:spcPts val="0"/>
              </a:spcAft>
              <a:buSzPct val="128571"/>
              <a:buFont typeface="Arial" panose="020B0604020202020204" pitchFamily="34" charset="0"/>
              <a:buChar char="•"/>
              <a:tabLst>
                <a:tab pos="109212" algn="l"/>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Arial" charset="0"/>
              </a:rPr>
              <a:t>CI/CD pipeline; </a:t>
            </a:r>
            <a:r>
              <a:rPr lang="en-US" sz="1200" dirty="0" err="1" smtClean="0">
                <a:solidFill>
                  <a:srgbClr val="320003"/>
                </a:solidFill>
                <a:latin typeface="Calibri" panose="020F0502020204030204" pitchFamily="34" charset="0"/>
                <a:cs typeface="Arial" charset="0"/>
              </a:rPr>
              <a:t>microservice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Arial" charset="0"/>
              </a:rPr>
              <a:t>/ cloud </a:t>
            </a:r>
            <a:r>
              <a:rPr lang="en-US" sz="1200" dirty="0" smtClean="0">
                <a:solidFill>
                  <a:srgbClr val="320003"/>
                </a:solidFill>
                <a:latin typeface="Calibri" panose="020F0502020204030204" pitchFamily="34" charset="0"/>
                <a:cs typeface="Arial" charset="0"/>
              </a:rPr>
              <a:t>native implementation</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Arial" charset="0"/>
              </a:rPr>
              <a:t>, SRE, integrated Build-Run org </a:t>
            </a:r>
          </a:p>
          <a:p>
            <a:pPr marL="285750" marR="0" lvl="0" indent="-285750" algn="l" defTabSz="914332" rtl="0" eaLnBrk="1" fontAlgn="auto" latinLnBrk="0" hangingPunct="1">
              <a:lnSpc>
                <a:spcPct val="100000"/>
              </a:lnSpc>
              <a:spcBef>
                <a:spcPts val="300"/>
              </a:spcBef>
              <a:spcAft>
                <a:spcPts val="0"/>
              </a:spcAft>
              <a:buSzPct val="128571"/>
              <a:buFont typeface="Arial" panose="020B0604020202020204" pitchFamily="34" charset="0"/>
              <a:buChar char="•"/>
              <a:tabLst>
                <a:tab pos="109212" algn="l"/>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1,729 hours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of</a:t>
            </a:r>
            <a:r>
              <a:rPr kumimoji="0" lang="en-US" sz="1200" b="1" i="0" u="none" strike="noStrike" kern="1200" cap="none" spc="0" normalizeH="0" baseline="0" noProof="0" dirty="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downtime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savings</a:t>
            </a:r>
          </a:p>
          <a:p>
            <a:pPr marL="285750" marR="0" lvl="0" indent="-285750" algn="l" defTabSz="914332" rtl="0" eaLnBrk="1" fontAlgn="auto" latinLnBrk="0" hangingPunct="1">
              <a:lnSpc>
                <a:spcPct val="100000"/>
              </a:lnSpc>
              <a:spcBef>
                <a:spcPts val="300"/>
              </a:spcBef>
              <a:spcAft>
                <a:spcPts val="0"/>
              </a:spcAft>
              <a:buSzPct val="128571"/>
              <a:buFont typeface="Arial" panose="020B0604020202020204" pitchFamily="34" charset="0"/>
              <a:buChar char="•"/>
              <a:tabLst>
                <a:tab pos="109212" algn="l"/>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Monthly </a:t>
            </a:r>
            <a:r>
              <a:rPr kumimoji="0" lang="en-US" sz="1200" b="1" i="0" u="none" strike="noStrike" kern="1200" cap="none" spc="0" normalizeH="0" baseline="0" noProof="0" dirty="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to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weekly </a:t>
            </a:r>
            <a:r>
              <a:rPr lang="en-US" sz="1200" dirty="0" smtClean="0">
                <a:solidFill>
                  <a:srgbClr val="320003"/>
                </a:solidFill>
                <a:latin typeface="Calibri" panose="020F0502020204030204" pitchFamily="34" charset="0"/>
                <a:ea typeface="Segoe UI" panose="020B0502040204020203" pitchFamily="34" charset="0"/>
                <a:cs typeface="Segoe UI" panose="020B0502040204020203" pitchFamily="34" charset="0"/>
              </a:rPr>
              <a:t>release</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Segoe UI" panose="020B0502040204020203" pitchFamily="34" charset="0"/>
                <a:cs typeface="Segoe UI" panose="020B0502040204020203" pitchFamily="34" charset="0"/>
              </a:rPr>
              <a:t> </a:t>
            </a:r>
            <a:r>
              <a:rPr lang="en-US" sz="1200" dirty="0" smtClean="0">
                <a:solidFill>
                  <a:srgbClr val="320003"/>
                </a:solidFill>
                <a:latin typeface="Calibri" panose="020F0502020204030204" pitchFamily="34" charset="0"/>
                <a:ea typeface="Segoe UI" panose="020B0502040204020203" pitchFamily="34" charset="0"/>
                <a:cs typeface="Segoe UI" panose="020B0502040204020203" pitchFamily="34" charset="0"/>
              </a:rPr>
              <a:t>cycles</a:t>
            </a:r>
            <a:endPar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Arial" charset="0"/>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03111" y="947201"/>
            <a:ext cx="1488701" cy="427378"/>
          </a:xfrm>
          <a:prstGeom prst="rect">
            <a:avLst/>
          </a:prstGeom>
        </p:spPr>
      </p:pic>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84546" y="3616029"/>
            <a:ext cx="1627708" cy="468031"/>
          </a:xfrm>
          <a:prstGeom prst="rect">
            <a:avLst/>
          </a:prstGeom>
        </p:spPr>
      </p:pic>
      <p:sp>
        <p:nvSpPr>
          <p:cNvPr id="11" name="Rectangle 5"/>
          <p:cNvSpPr>
            <a:spLocks noChangeArrowheads="1"/>
          </p:cNvSpPr>
          <p:nvPr/>
        </p:nvSpPr>
        <p:spPr bwMode="gray">
          <a:xfrm>
            <a:off x="8195502" y="1395554"/>
            <a:ext cx="3635882" cy="20646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Multi-cloud Architecture and Large </a:t>
            </a:r>
            <a:r>
              <a:rPr lang="en-US" altLang="en-US" sz="1600" b="1" dirty="0" smtClean="0">
                <a:solidFill>
                  <a:srgbClr val="320003"/>
                </a:solidFill>
                <a:latin typeface="Calibri"/>
                <a:cs typeface="Georgia"/>
              </a:rPr>
              <a:t>scale</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t>
            </a:r>
            <a:r>
              <a:rPr lang="en-US" altLang="en-US" sz="1600" b="1" dirty="0" smtClean="0">
                <a:solidFill>
                  <a:srgbClr val="320003"/>
                </a:solidFill>
                <a:latin typeface="Calibri"/>
                <a:cs typeface="Georgia"/>
              </a:rPr>
              <a:t>Distributed</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 Agile Delivery</a:t>
            </a:r>
          </a:p>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endParaRPr kumimoji="0" lang="en-US" sz="4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JDA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Cloud, PLM Cloud,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Service Cloud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and SFDC cloud based on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Cloud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First, API First, Mobile First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principles</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40+ scrum teams </a:t>
            </a:r>
            <a:r>
              <a:rPr kumimoji="0" lang="en-US" sz="120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with</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 35+ scrum master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 agile coaches, and RTEs</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Aligning various teams for an agile way of working</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gt;10%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increase in velocity and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gt;30%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work shifted to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offshore </a:t>
            </a:r>
          </a:p>
        </p:txBody>
      </p:sp>
      <p:sp>
        <p:nvSpPr>
          <p:cNvPr id="12" name="Rectangle 5"/>
          <p:cNvSpPr>
            <a:spLocks noChangeArrowheads="1"/>
          </p:cNvSpPr>
          <p:nvPr/>
        </p:nvSpPr>
        <p:spPr bwMode="gray">
          <a:xfrm>
            <a:off x="4271630" y="4150510"/>
            <a:ext cx="3612943" cy="18800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DevOps </a:t>
            </a:r>
            <a:r>
              <a:rPr kumimoji="0" lang="en-US" altLang="en-US" sz="1600" b="1" i="0" u="none" strike="noStrike" kern="1200" cap="none" spc="0" normalizeH="0" baseline="0" noProof="0" dirty="0">
                <a:ln>
                  <a:noFill/>
                </a:ln>
                <a:solidFill>
                  <a:srgbClr val="320003"/>
                </a:solidFill>
                <a:effectLst/>
                <a:uLnTx/>
                <a:uFillTx/>
                <a:latin typeface="Calibri"/>
                <a:ea typeface="+mn-ea"/>
                <a:cs typeface="Georgia"/>
              </a:rPr>
              <a:t>Automation in </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COTS and </a:t>
            </a:r>
            <a:r>
              <a:rPr kumimoji="0" lang="en-US" altLang="en-US" sz="1600" b="1" i="0" u="none" strike="noStrike" kern="1200" cap="none" spc="0" normalizeH="0" baseline="0" noProof="0" dirty="0">
                <a:ln>
                  <a:noFill/>
                </a:ln>
                <a:solidFill>
                  <a:srgbClr val="320003"/>
                </a:solidFill>
                <a:effectLst/>
                <a:uLnTx/>
                <a:uFillTx/>
                <a:latin typeface="Calibri"/>
                <a:ea typeface="+mn-ea"/>
                <a:cs typeface="Georgia"/>
              </a:rPr>
              <a:t>Salesforce </a:t>
            </a:r>
            <a:r>
              <a:rPr lang="en-US" altLang="en-US" sz="1600" b="1" dirty="0">
                <a:solidFill>
                  <a:srgbClr val="320003"/>
                </a:solidFill>
                <a:latin typeface="Calibri"/>
                <a:cs typeface="Georgia"/>
              </a:rPr>
              <a:t>E</a:t>
            </a:r>
            <a:r>
              <a:rPr lang="en-US" altLang="en-US" sz="1600" b="1" noProof="0" dirty="0" err="1" smtClean="0">
                <a:solidFill>
                  <a:srgbClr val="320003"/>
                </a:solidFill>
                <a:latin typeface="Calibri"/>
                <a:cs typeface="Georgia"/>
              </a:rPr>
              <a:t>nvironment</a:t>
            </a:r>
            <a:endPar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endParaRPr>
          </a:p>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endParaRPr kumimoji="0" lang="en-US" sz="4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endParaRP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End-to-end</a:t>
            </a:r>
            <a:r>
              <a:rPr kumimoji="0" lang="en-US" sz="1200" b="0" i="0" u="none" strike="noStrike" kern="1200" cap="none" spc="0" normalizeH="0" noProof="0" dirty="0" smtClean="0">
                <a:ln>
                  <a:noFill/>
                </a:ln>
                <a:solidFill>
                  <a:srgbClr val="320003"/>
                </a:solidFill>
                <a:effectLst/>
                <a:uLnTx/>
                <a:uFillTx/>
                <a:latin typeface="Calibri" panose="020F0502020204030204" pitchFamily="34" charset="0"/>
                <a:ea typeface="+mn-ea"/>
                <a:cs typeface="Calibri" panose="020F0502020204030204" pitchFamily="34" charset="0"/>
              </a:rPr>
              <a:t> i</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ntegrated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DevOps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platforms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for Salesforce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SaaS</a:t>
            </a: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Delivery pipeline for SFDC code with quality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gates</a:t>
            </a: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25% </a:t>
            </a:r>
            <a:r>
              <a:rPr kumimoji="0" lang="en-US" sz="120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increase in engineering time</a:t>
            </a: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90% </a:t>
            </a:r>
            <a:r>
              <a:rPr kumimoji="0" lang="en-US" sz="120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effort reduction in environment and test data management</a:t>
            </a:r>
            <a:endParaRPr kumimoji="0" lang="en-US" sz="120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endParaRPr>
          </a:p>
        </p:txBody>
      </p:sp>
      <p:cxnSp>
        <p:nvCxnSpPr>
          <p:cNvPr id="15" name="Straight Connector 14"/>
          <p:cNvCxnSpPr/>
          <p:nvPr/>
        </p:nvCxnSpPr>
        <p:spPr>
          <a:xfrm flipV="1">
            <a:off x="154058" y="3551056"/>
            <a:ext cx="11942148" cy="16313"/>
          </a:xfrm>
          <a:prstGeom prst="line">
            <a:avLst/>
          </a:prstGeom>
          <a:ln w="12700" cmpd="sng">
            <a:solidFill>
              <a:schemeClr val="bg1">
                <a:lumMod val="6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135323" y="1201598"/>
            <a:ext cx="13447" cy="5459506"/>
          </a:xfrm>
          <a:prstGeom prst="line">
            <a:avLst/>
          </a:prstGeom>
          <a:ln w="12700" cmpd="sng">
            <a:solidFill>
              <a:schemeClr val="bg1">
                <a:lumMod val="6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8089583" y="1201598"/>
            <a:ext cx="13447" cy="5459506"/>
          </a:xfrm>
          <a:prstGeom prst="line">
            <a:avLst/>
          </a:prstGeom>
          <a:ln w="12700" cmpd="sng">
            <a:solidFill>
              <a:schemeClr val="bg1">
                <a:lumMod val="6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8" name="Rectangle 5"/>
          <p:cNvSpPr>
            <a:spLocks noChangeArrowheads="1"/>
          </p:cNvSpPr>
          <p:nvPr/>
        </p:nvSpPr>
        <p:spPr bwMode="gray">
          <a:xfrm>
            <a:off x="510119" y="4121934"/>
            <a:ext cx="3586288" cy="20646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Extreme IT Cost Reduction with Digital Transformation</a:t>
            </a:r>
          </a:p>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endParaRPr kumimoji="0" lang="en-US" altLang="en-US" sz="400" b="1" i="0" u="none" strike="noStrike" kern="1200" cap="none" spc="0" normalizeH="0" baseline="0" noProof="0" dirty="0" smtClean="0">
              <a:ln>
                <a:noFill/>
              </a:ln>
              <a:solidFill>
                <a:srgbClr val="320003"/>
              </a:solidFill>
              <a:effectLst/>
              <a:uLnTx/>
              <a:uFillTx/>
              <a:latin typeface="Calibri"/>
              <a:ea typeface="+mn-ea"/>
              <a:cs typeface="Georgia"/>
            </a:endParaRP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Business/IT transformation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partner since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2008</a:t>
            </a: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Key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partner for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loyalty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rPr>
              <a:t>initiatives such as Kohl’s Cash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program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gt;45M loyalty enrollment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a:t>
            </a: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Automation of IT operations leveraging Cognizant’s </a:t>
            </a:r>
            <a:r>
              <a:rPr kumimoji="0" lang="en-US" sz="1200" b="1" i="0" u="none" strike="noStrike" kern="1200" cap="none" spc="0" normalizeH="0" baseline="0" noProof="0" dirty="0" err="1" smtClean="0">
                <a:ln>
                  <a:noFill/>
                </a:ln>
                <a:solidFill>
                  <a:srgbClr val="320003"/>
                </a:solidFill>
                <a:effectLst/>
                <a:uLnTx/>
                <a:uFillTx/>
                <a:latin typeface="Calibri" panose="020F0502020204030204" pitchFamily="34" charset="0"/>
                <a:ea typeface="+mn-ea"/>
                <a:cs typeface="Calibri" panose="020F0502020204030204" pitchFamily="34" charset="0"/>
              </a:rPr>
              <a:t>HiveCenter</a:t>
            </a:r>
            <a:r>
              <a:rPr kumimoji="0" lang="en-US" sz="1200" b="1" i="0" u="none" strike="noStrike" kern="1200" cap="none" spc="0" normalizeH="0" baseline="30000" noProof="0" dirty="0" err="1" smtClean="0">
                <a:ln>
                  <a:noFill/>
                </a:ln>
                <a:solidFill>
                  <a:srgbClr val="320003"/>
                </a:solidFill>
                <a:effectLst/>
                <a:uLnTx/>
                <a:uFillTx/>
                <a:latin typeface="Calibri" panose="020F0502020204030204" pitchFamily="34" charset="0"/>
                <a:ea typeface="+mn-ea"/>
                <a:cs typeface="Calibri" panose="020F0502020204030204" pitchFamily="34" charset="0"/>
              </a:rPr>
              <a:t>TM</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45% reduction in TCO)</a:t>
            </a: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Legacy app modernization using </a:t>
            </a:r>
            <a:r>
              <a:rPr kumimoji="0" lang="en-US" sz="1200" b="0" i="0" u="none" strike="noStrike" kern="1200" cap="none" spc="0" normalizeH="0" baseline="0" noProof="0" dirty="0" err="1" smtClean="0">
                <a:ln>
                  <a:noFill/>
                </a:ln>
                <a:solidFill>
                  <a:srgbClr val="320003"/>
                </a:solidFill>
                <a:effectLst/>
                <a:uLnTx/>
                <a:uFillTx/>
                <a:latin typeface="Calibri" panose="020F0502020204030204" pitchFamily="34" charset="0"/>
                <a:ea typeface="+mn-ea"/>
                <a:cs typeface="Calibri" panose="020F0502020204030204" pitchFamily="34" charset="0"/>
              </a:rPr>
              <a:t>microservice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rPr>
              <a:t> and cloud native architecture</a:t>
            </a:r>
            <a:endParaRPr kumimoji="0" lang="en-US" sz="1200" b="0" i="0" u="none" strike="noStrike" kern="1200" cap="none" spc="0" normalizeH="0" baseline="0" noProof="0" dirty="0">
              <a:ln>
                <a:noFill/>
              </a:ln>
              <a:solidFill>
                <a:srgbClr val="320003"/>
              </a:solidFill>
              <a:effectLst/>
              <a:uLnTx/>
              <a:uFillTx/>
              <a:latin typeface="Calibri" panose="020F0502020204030204" pitchFamily="34" charset="0"/>
              <a:ea typeface="+mn-ea"/>
              <a:cs typeface="Calibri" panose="020F0502020204030204" pitchFamily="34" charset="0"/>
            </a:endParaRPr>
          </a:p>
        </p:txBody>
      </p:sp>
      <p:pic>
        <p:nvPicPr>
          <p:cNvPr id="21" name="Picture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60463" y="3758062"/>
            <a:ext cx="1671638" cy="262391"/>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57743" y="937480"/>
            <a:ext cx="1482327" cy="390505"/>
          </a:xfrm>
          <a:prstGeom prst="rect">
            <a:avLst/>
          </a:prstGeom>
        </p:spPr>
      </p:pic>
      <p:sp>
        <p:nvSpPr>
          <p:cNvPr id="22" name="Rectangle 5"/>
          <p:cNvSpPr>
            <a:spLocks noChangeArrowheads="1"/>
          </p:cNvSpPr>
          <p:nvPr/>
        </p:nvSpPr>
        <p:spPr bwMode="gray">
          <a:xfrm>
            <a:off x="4261214" y="1418819"/>
            <a:ext cx="3852367" cy="20646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indent="0" algn="ctr" defTabSz="914332">
              <a:spcBef>
                <a:spcPts val="533"/>
              </a:spcBef>
              <a:buClr>
                <a:srgbClr val="FFCC11"/>
              </a:buClr>
              <a:buSzPct val="128571"/>
              <a:tabLst>
                <a:tab pos="109212" algn="l"/>
              </a:tabLst>
              <a:defRPr/>
            </a:pPr>
            <a:r>
              <a:rPr lang="en-US" altLang="en-US" sz="1600" b="1" dirty="0">
                <a:solidFill>
                  <a:srgbClr val="320003"/>
                </a:solidFill>
                <a:latin typeface="Calibri"/>
                <a:cs typeface="Georgia"/>
              </a:rPr>
              <a:t>Value </a:t>
            </a:r>
            <a:r>
              <a:rPr lang="en-US" altLang="en-US" sz="1600" b="1" dirty="0" smtClean="0">
                <a:solidFill>
                  <a:srgbClr val="320003"/>
                </a:solidFill>
                <a:latin typeface="Calibri"/>
                <a:cs typeface="Georgia"/>
              </a:rPr>
              <a:t>Chain </a:t>
            </a:r>
            <a:r>
              <a:rPr lang="en-US" altLang="en-US" sz="1600" b="1" dirty="0">
                <a:solidFill>
                  <a:srgbClr val="320003"/>
                </a:solidFill>
                <a:latin typeface="Calibri"/>
                <a:cs typeface="Georgia"/>
              </a:rPr>
              <a:t>T</a:t>
            </a:r>
            <a:r>
              <a:rPr lang="en-US" altLang="en-US" sz="1600" b="1" dirty="0" smtClean="0">
                <a:solidFill>
                  <a:srgbClr val="320003"/>
                </a:solidFill>
                <a:latin typeface="Calibri"/>
                <a:cs typeface="Georgia"/>
              </a:rPr>
              <a:t>ransformation </a:t>
            </a:r>
            <a:r>
              <a:rPr lang="en-US" altLang="en-US" sz="1600" b="1" dirty="0">
                <a:solidFill>
                  <a:srgbClr val="320003"/>
                </a:solidFill>
                <a:latin typeface="Calibri"/>
                <a:cs typeface="Georgia"/>
              </a:rPr>
              <a:t>by </a:t>
            </a:r>
            <a:r>
              <a:rPr lang="en-US" altLang="en-US" sz="1600" b="1" dirty="0" smtClean="0">
                <a:solidFill>
                  <a:srgbClr val="320003"/>
                </a:solidFill>
                <a:latin typeface="Calibri"/>
                <a:cs typeface="Georgia"/>
              </a:rPr>
              <a:t>Leveraging  </a:t>
            </a:r>
            <a:r>
              <a:rPr lang="en-US" altLang="en-US" sz="1600" b="1" dirty="0">
                <a:solidFill>
                  <a:srgbClr val="320003"/>
                </a:solidFill>
                <a:latin typeface="Calibri"/>
                <a:cs typeface="Georgia"/>
              </a:rPr>
              <a:t>Guilds/Communities &amp; Pods</a:t>
            </a:r>
          </a:p>
          <a:p>
            <a:pPr marL="0" indent="0" algn="ctr" defTabSz="914332">
              <a:spcBef>
                <a:spcPts val="533"/>
              </a:spcBef>
              <a:buClr>
                <a:srgbClr val="FFCC11"/>
              </a:buClr>
              <a:buSzPct val="128571"/>
              <a:tabLst>
                <a:tab pos="109212" algn="l"/>
              </a:tabLst>
              <a:defRPr/>
            </a:pPr>
            <a:endParaRPr lang="en-US" sz="400" dirty="0" smtClean="0">
              <a:solidFill>
                <a:srgbClr val="320003"/>
              </a:solidFill>
              <a:latin typeface="Calibri" panose="020F0502020204030204" pitchFamily="34" charset="0"/>
              <a:cs typeface="Calibri" panose="020F0502020204030204" pitchFamily="34" charset="0"/>
            </a:endParaRPr>
          </a:p>
          <a:p>
            <a:pPr marL="285750" indent="-285750">
              <a:spcBef>
                <a:spcPts val="300"/>
              </a:spcBef>
              <a:buFont typeface="Arial" panose="020B0604020202020204" pitchFamily="34" charset="0"/>
              <a:buChar char="•"/>
              <a:defRPr/>
            </a:pPr>
            <a:r>
              <a:rPr lang="en-US" sz="1200" dirty="0">
                <a:solidFill>
                  <a:srgbClr val="320003"/>
                </a:solidFill>
                <a:latin typeface="Calibri" panose="020F0502020204030204" pitchFamily="34" charset="0"/>
                <a:cs typeface="Calibri" panose="020F0502020204030204" pitchFamily="34" charset="0"/>
              </a:rPr>
              <a:t>Digital transformation partner for last 20+ years</a:t>
            </a:r>
          </a:p>
          <a:p>
            <a:pPr marL="285750" indent="-285750">
              <a:spcBef>
                <a:spcPts val="300"/>
              </a:spcBef>
              <a:buFont typeface="Arial" panose="020B0604020202020204" pitchFamily="34" charset="0"/>
              <a:buChar char="•"/>
              <a:defRPr/>
            </a:pPr>
            <a:r>
              <a:rPr lang="en-US" sz="1200" dirty="0">
                <a:solidFill>
                  <a:srgbClr val="320003"/>
                </a:solidFill>
                <a:latin typeface="Calibri" panose="020F0502020204030204" pitchFamily="34" charset="0"/>
                <a:cs typeface="Calibri" panose="020F0502020204030204" pitchFamily="34" charset="0"/>
              </a:rPr>
              <a:t>Teams distributed across 5 different locations – Atlanta, SFO, Romania, Dallas and Mysore </a:t>
            </a:r>
            <a:r>
              <a:rPr lang="en-US" sz="1200" dirty="0" smtClean="0">
                <a:solidFill>
                  <a:srgbClr val="320003"/>
                </a:solidFill>
                <a:latin typeface="Calibri" panose="020F0502020204030204" pitchFamily="34" charset="0"/>
                <a:cs typeface="Calibri" panose="020F0502020204030204" pitchFamily="34" charset="0"/>
              </a:rPr>
              <a:t>(</a:t>
            </a:r>
            <a:r>
              <a:rPr lang="en-US" sz="1200" dirty="0">
                <a:solidFill>
                  <a:srgbClr val="320003"/>
                </a:solidFill>
                <a:latin typeface="Calibri" panose="020F0502020204030204" pitchFamily="34" charset="0"/>
                <a:cs typeface="Calibri" panose="020F0502020204030204" pitchFamily="34" charset="0"/>
              </a:rPr>
              <a:t>t</a:t>
            </a:r>
            <a:r>
              <a:rPr lang="en-US" sz="1200" dirty="0" smtClean="0">
                <a:solidFill>
                  <a:srgbClr val="320003"/>
                </a:solidFill>
                <a:latin typeface="Calibri" panose="020F0502020204030204" pitchFamily="34" charset="0"/>
                <a:cs typeface="Calibri" panose="020F0502020204030204" pitchFamily="34" charset="0"/>
              </a:rPr>
              <a:t>eam </a:t>
            </a:r>
            <a:r>
              <a:rPr lang="en-US" sz="1200" dirty="0">
                <a:solidFill>
                  <a:srgbClr val="320003"/>
                </a:solidFill>
                <a:latin typeface="Calibri" panose="020F0502020204030204" pitchFamily="34" charset="0"/>
                <a:cs typeface="Calibri" panose="020F0502020204030204" pitchFamily="34" charset="0"/>
              </a:rPr>
              <a:t>s</a:t>
            </a:r>
            <a:r>
              <a:rPr lang="en-US" sz="1200" dirty="0" smtClean="0">
                <a:solidFill>
                  <a:srgbClr val="320003"/>
                </a:solidFill>
                <a:latin typeface="Calibri" panose="020F0502020204030204" pitchFamily="34" charset="0"/>
                <a:cs typeface="Calibri" panose="020F0502020204030204" pitchFamily="34" charset="0"/>
              </a:rPr>
              <a:t>ize</a:t>
            </a:r>
            <a:r>
              <a:rPr lang="en-US" sz="1200" dirty="0">
                <a:solidFill>
                  <a:srgbClr val="320003"/>
                </a:solidFill>
                <a:latin typeface="Calibri" panose="020F0502020204030204" pitchFamily="34" charset="0"/>
                <a:cs typeface="Calibri" panose="020F0502020204030204" pitchFamily="34" charset="0"/>
              </a:rPr>
              <a:t>: 500+)</a:t>
            </a:r>
          </a:p>
          <a:p>
            <a:pPr marL="285750" indent="-285750">
              <a:spcBef>
                <a:spcPts val="300"/>
              </a:spcBef>
              <a:buFont typeface="Arial" panose="020B0604020202020204" pitchFamily="34" charset="0"/>
              <a:buChar char="•"/>
              <a:defRPr/>
            </a:pPr>
            <a:r>
              <a:rPr lang="en-US" sz="1200" b="1" dirty="0">
                <a:solidFill>
                  <a:srgbClr val="320003"/>
                </a:solidFill>
                <a:latin typeface="Calibri" panose="020F0502020204030204" pitchFamily="34" charset="0"/>
                <a:cs typeface="Calibri" panose="020F0502020204030204" pitchFamily="34" charset="0"/>
              </a:rPr>
              <a:t>Guilds and Communities </a:t>
            </a:r>
            <a:r>
              <a:rPr lang="en-US" sz="1200" dirty="0">
                <a:solidFill>
                  <a:srgbClr val="320003"/>
                </a:solidFill>
                <a:latin typeface="Calibri" panose="020F0502020204030204" pitchFamily="34" charset="0"/>
                <a:cs typeface="Calibri" panose="020F0502020204030204" pitchFamily="34" charset="0"/>
              </a:rPr>
              <a:t>leveraged – f</a:t>
            </a:r>
            <a:r>
              <a:rPr lang="en-US" sz="1200" dirty="0" smtClean="0">
                <a:solidFill>
                  <a:srgbClr val="320003"/>
                </a:solidFill>
                <a:latin typeface="Calibri" panose="020F0502020204030204" pitchFamily="34" charset="0"/>
                <a:cs typeface="Calibri" panose="020F0502020204030204" pitchFamily="34" charset="0"/>
              </a:rPr>
              <a:t>ull </a:t>
            </a:r>
            <a:r>
              <a:rPr lang="en-US" sz="1200" dirty="0">
                <a:solidFill>
                  <a:srgbClr val="320003"/>
                </a:solidFill>
                <a:latin typeface="Calibri" panose="020F0502020204030204" pitchFamily="34" charset="0"/>
                <a:cs typeface="Calibri" panose="020F0502020204030204" pitchFamily="34" charset="0"/>
              </a:rPr>
              <a:t>s</a:t>
            </a:r>
            <a:r>
              <a:rPr lang="en-US" sz="1200" dirty="0" smtClean="0">
                <a:solidFill>
                  <a:srgbClr val="320003"/>
                </a:solidFill>
                <a:latin typeface="Calibri" panose="020F0502020204030204" pitchFamily="34" charset="0"/>
                <a:cs typeface="Calibri" panose="020F0502020204030204" pitchFamily="34" charset="0"/>
              </a:rPr>
              <a:t>tack </a:t>
            </a:r>
            <a:r>
              <a:rPr lang="en-US" sz="1200" dirty="0">
                <a:solidFill>
                  <a:srgbClr val="320003"/>
                </a:solidFill>
                <a:latin typeface="Calibri" panose="020F0502020204030204" pitchFamily="34" charset="0"/>
                <a:cs typeface="Calibri" panose="020F0502020204030204" pitchFamily="34" charset="0"/>
              </a:rPr>
              <a:t>w</a:t>
            </a:r>
            <a:r>
              <a:rPr lang="en-US" sz="1200" dirty="0" smtClean="0">
                <a:solidFill>
                  <a:srgbClr val="320003"/>
                </a:solidFill>
                <a:latin typeface="Calibri" panose="020F0502020204030204" pitchFamily="34" charset="0"/>
                <a:cs typeface="Calibri" panose="020F0502020204030204" pitchFamily="34" charset="0"/>
              </a:rPr>
              <a:t>eb</a:t>
            </a:r>
            <a:r>
              <a:rPr lang="en-US" sz="1200" dirty="0">
                <a:solidFill>
                  <a:srgbClr val="320003"/>
                </a:solidFill>
                <a:latin typeface="Calibri" panose="020F0502020204030204" pitchFamily="34" charset="0"/>
                <a:cs typeface="Calibri" panose="020F0502020204030204" pitchFamily="34" charset="0"/>
              </a:rPr>
              <a:t>, QE&amp;A, </a:t>
            </a:r>
            <a:r>
              <a:rPr lang="en-US" sz="1200" dirty="0" smtClean="0">
                <a:solidFill>
                  <a:srgbClr val="320003"/>
                </a:solidFill>
                <a:latin typeface="Calibri" panose="020F0502020204030204" pitchFamily="34" charset="0"/>
                <a:cs typeface="Calibri" panose="020F0502020204030204" pitchFamily="34" charset="0"/>
              </a:rPr>
              <a:t>interactive</a:t>
            </a:r>
            <a:r>
              <a:rPr lang="en-US" sz="1200" dirty="0">
                <a:solidFill>
                  <a:srgbClr val="320003"/>
                </a:solidFill>
                <a:latin typeface="Calibri" panose="020F0502020204030204" pitchFamily="34" charset="0"/>
                <a:cs typeface="Calibri" panose="020F0502020204030204" pitchFamily="34" charset="0"/>
              </a:rPr>
              <a:t>, </a:t>
            </a:r>
            <a:r>
              <a:rPr lang="en-US" sz="1200" dirty="0" smtClean="0">
                <a:solidFill>
                  <a:srgbClr val="320003"/>
                </a:solidFill>
                <a:latin typeface="Calibri" panose="020F0502020204030204" pitchFamily="34" charset="0"/>
                <a:cs typeface="Calibri" panose="020F0502020204030204" pitchFamily="34" charset="0"/>
              </a:rPr>
              <a:t>cloud</a:t>
            </a:r>
            <a:r>
              <a:rPr lang="en-US" sz="1200" dirty="0">
                <a:solidFill>
                  <a:srgbClr val="320003"/>
                </a:solidFill>
                <a:latin typeface="Calibri" panose="020F0502020204030204" pitchFamily="34" charset="0"/>
                <a:cs typeface="Calibri" panose="020F0502020204030204" pitchFamily="34" charset="0"/>
              </a:rPr>
              <a:t>, </a:t>
            </a:r>
            <a:r>
              <a:rPr lang="en-US" sz="1200" dirty="0" smtClean="0">
                <a:solidFill>
                  <a:srgbClr val="320003"/>
                </a:solidFill>
                <a:latin typeface="Calibri" panose="020F0502020204030204" pitchFamily="34" charset="0"/>
                <a:cs typeface="Calibri" panose="020F0502020204030204" pitchFamily="34" charset="0"/>
              </a:rPr>
              <a:t>DevOps, and agile</a:t>
            </a:r>
            <a:endParaRPr lang="en-US" sz="1200" dirty="0">
              <a:solidFill>
                <a:srgbClr val="320003"/>
              </a:solidFill>
              <a:latin typeface="Calibri" panose="020F0502020204030204" pitchFamily="34" charset="0"/>
              <a:cs typeface="Calibri" panose="020F0502020204030204" pitchFamily="34" charset="0"/>
            </a:endParaRPr>
          </a:p>
          <a:p>
            <a:pPr marL="285750" indent="-285750">
              <a:spcBef>
                <a:spcPts val="300"/>
              </a:spcBef>
              <a:buFont typeface="Arial" panose="020B0604020202020204" pitchFamily="34" charset="0"/>
              <a:buChar char="•"/>
              <a:defRPr/>
            </a:pPr>
            <a:r>
              <a:rPr lang="en-US" sz="1200" dirty="0">
                <a:solidFill>
                  <a:srgbClr val="320003"/>
                </a:solidFill>
                <a:latin typeface="Calibri" panose="020F0502020204030204" pitchFamily="34" charset="0"/>
                <a:cs typeface="Calibri" panose="020F0502020204030204" pitchFamily="34" charset="0"/>
              </a:rPr>
              <a:t>Agile</a:t>
            </a:r>
            <a:r>
              <a:rPr lang="en-US" sz="1200" dirty="0" smtClean="0">
                <a:solidFill>
                  <a:srgbClr val="320003"/>
                </a:solidFill>
                <a:latin typeface="Calibri" panose="020F0502020204030204" pitchFamily="34" charset="0"/>
                <a:cs typeface="Calibri" panose="020F0502020204030204" pitchFamily="34" charset="0"/>
              </a:rPr>
              <a:t>/ DevOps/ cloud native </a:t>
            </a:r>
            <a:r>
              <a:rPr lang="en-US" sz="1200" dirty="0">
                <a:solidFill>
                  <a:srgbClr val="320003"/>
                </a:solidFill>
                <a:latin typeface="Calibri" panose="020F0502020204030204" pitchFamily="34" charset="0"/>
                <a:cs typeface="Calibri" panose="020F0502020204030204" pitchFamily="34" charset="0"/>
              </a:rPr>
              <a:t>led engineering transformation</a:t>
            </a:r>
          </a:p>
        </p:txBody>
      </p:sp>
      <p:pic>
        <p:nvPicPr>
          <p:cNvPr id="24" name="Picture 2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7045" y="974221"/>
            <a:ext cx="1872502" cy="416986"/>
          </a:xfrm>
          <a:prstGeom prst="rect">
            <a:avLst/>
          </a:prstGeom>
        </p:spPr>
      </p:pic>
      <p:sp>
        <p:nvSpPr>
          <p:cNvPr id="25" name="Rectangle 5"/>
          <p:cNvSpPr>
            <a:spLocks noChangeArrowheads="1"/>
          </p:cNvSpPr>
          <p:nvPr/>
        </p:nvSpPr>
        <p:spPr bwMode="gray">
          <a:xfrm>
            <a:off x="510119" y="1371691"/>
            <a:ext cx="3569159" cy="20646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03200" indent="-203200">
              <a:defRPr>
                <a:solidFill>
                  <a:schemeClr val="tx1"/>
                </a:solidFill>
                <a:latin typeface="Frutiger 55 Roman" pitchFamily="34" charset="0"/>
              </a:defRPr>
            </a:lvl1pPr>
            <a:lvl2pPr marL="742950" indent="-285750">
              <a:defRPr>
                <a:solidFill>
                  <a:schemeClr val="tx1"/>
                </a:solidFill>
                <a:latin typeface="Frutiger 55 Roman" pitchFamily="34" charset="0"/>
              </a:defRPr>
            </a:lvl2pPr>
            <a:lvl3pPr marL="1143000" indent="-228600">
              <a:defRPr>
                <a:solidFill>
                  <a:schemeClr val="tx1"/>
                </a:solidFill>
                <a:latin typeface="Frutiger 55 Roman" pitchFamily="34" charset="0"/>
              </a:defRPr>
            </a:lvl3pPr>
            <a:lvl4pPr marL="1600200" indent="-228600">
              <a:defRPr>
                <a:solidFill>
                  <a:schemeClr val="tx1"/>
                </a:solidFill>
                <a:latin typeface="Frutiger 55 Roman" pitchFamily="34" charset="0"/>
              </a:defRPr>
            </a:lvl4pPr>
            <a:lvl5pPr marL="2057400" indent="-228600">
              <a:defRPr>
                <a:solidFill>
                  <a:schemeClr val="tx1"/>
                </a:solidFill>
                <a:latin typeface="Frutiger 55 Roman" pitchFamily="34" charset="0"/>
              </a:defRPr>
            </a:lvl5pPr>
            <a:lvl6pPr marL="2514600" indent="-228600" eaLnBrk="0" fontAlgn="base" hangingPunct="0">
              <a:spcBef>
                <a:spcPct val="50000"/>
              </a:spcBef>
              <a:spcAft>
                <a:spcPct val="0"/>
              </a:spcAft>
              <a:defRPr>
                <a:solidFill>
                  <a:schemeClr val="tx1"/>
                </a:solidFill>
                <a:latin typeface="Frutiger 55 Roman" pitchFamily="34" charset="0"/>
              </a:defRPr>
            </a:lvl6pPr>
            <a:lvl7pPr marL="2971800" indent="-228600" eaLnBrk="0" fontAlgn="base" hangingPunct="0">
              <a:spcBef>
                <a:spcPct val="50000"/>
              </a:spcBef>
              <a:spcAft>
                <a:spcPct val="0"/>
              </a:spcAft>
              <a:defRPr>
                <a:solidFill>
                  <a:schemeClr val="tx1"/>
                </a:solidFill>
                <a:latin typeface="Frutiger 55 Roman" pitchFamily="34" charset="0"/>
              </a:defRPr>
            </a:lvl7pPr>
            <a:lvl8pPr marL="3429000" indent="-228600" eaLnBrk="0" fontAlgn="base" hangingPunct="0">
              <a:spcBef>
                <a:spcPct val="50000"/>
              </a:spcBef>
              <a:spcAft>
                <a:spcPct val="0"/>
              </a:spcAft>
              <a:defRPr>
                <a:solidFill>
                  <a:schemeClr val="tx1"/>
                </a:solidFill>
                <a:latin typeface="Frutiger 55 Roman" pitchFamily="34" charset="0"/>
              </a:defRPr>
            </a:lvl8pPr>
            <a:lvl9pPr marL="3886200" indent="-228600" eaLnBrk="0" fontAlgn="base" hangingPunct="0">
              <a:spcBef>
                <a:spcPct val="50000"/>
              </a:spcBef>
              <a:spcAft>
                <a:spcPct val="0"/>
              </a:spcAft>
              <a:defRPr>
                <a:solidFill>
                  <a:schemeClr val="tx1"/>
                </a:solidFill>
                <a:latin typeface="Frutiger 55 Roman" pitchFamily="34" charset="0"/>
              </a:defRPr>
            </a:lvl9pPr>
          </a:lstStyle>
          <a:p>
            <a:pPr marL="0" marR="0" lvl="0" indent="0" algn="ctr"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r>
              <a:rPr kumimoji="0" lang="en-US" altLang="en-US" sz="1600" b="1" i="0" u="none" strike="noStrike" kern="1200" cap="none" spc="0" normalizeH="0" baseline="0" noProof="0" dirty="0">
                <a:ln>
                  <a:noFill/>
                </a:ln>
                <a:solidFill>
                  <a:srgbClr val="320003"/>
                </a:solidFill>
                <a:effectLst/>
                <a:uLnTx/>
                <a:uFillTx/>
                <a:latin typeface="Calibri"/>
                <a:ea typeface="+mn-ea"/>
                <a:cs typeface="Georgia"/>
              </a:rPr>
              <a:t>Redefining Consumer Experience through </a:t>
            </a:r>
            <a:r>
              <a:rPr kumimoji="0" lang="en-US" altLang="en-US" sz="1600" b="1" i="0" u="none" strike="noStrike" kern="1200" cap="none" spc="0" normalizeH="0" baseline="0" noProof="0" dirty="0" smtClean="0">
                <a:ln>
                  <a:noFill/>
                </a:ln>
                <a:solidFill>
                  <a:srgbClr val="320003"/>
                </a:solidFill>
                <a:effectLst/>
                <a:uLnTx/>
                <a:uFillTx/>
                <a:latin typeface="Calibri"/>
                <a:ea typeface="+mn-ea"/>
                <a:cs typeface="Georgia"/>
              </a:rPr>
              <a:t>Omni channel Transformation</a:t>
            </a:r>
          </a:p>
          <a:p>
            <a:pPr marL="0" marR="0" lvl="0" indent="0" defTabSz="914332" rtl="0" eaLnBrk="1" fontAlgn="auto" latinLnBrk="0" hangingPunct="1">
              <a:lnSpc>
                <a:spcPct val="100000"/>
              </a:lnSpc>
              <a:spcBef>
                <a:spcPts val="533"/>
              </a:spcBef>
              <a:spcAft>
                <a:spcPts val="0"/>
              </a:spcAft>
              <a:buClr>
                <a:srgbClr val="FFCC11"/>
              </a:buClr>
              <a:buSzPct val="128571"/>
              <a:buFontTx/>
              <a:buNone/>
              <a:tabLst>
                <a:tab pos="109212" algn="l"/>
              </a:tabLst>
              <a:defRPr/>
            </a:pPr>
            <a:endParaRPr kumimoji="0" lang="en-US" sz="400" b="0" i="0" u="none" strike="noStrike" kern="1200" cap="none" spc="0" normalizeH="0" baseline="0" noProof="0" dirty="0" smtClean="0">
              <a:ln>
                <a:noFill/>
              </a:ln>
              <a:solidFill>
                <a:srgbClr val="320003"/>
              </a:solidFill>
              <a:effectLst/>
              <a:uLnTx/>
              <a:uFillTx/>
              <a:latin typeface="Calibri" panose="020F0502020204030204" pitchFamily="34" charset="0"/>
              <a:ea typeface="+mn-ea"/>
              <a:cs typeface="Calibri" panose="020F0502020204030204" pitchFamily="34" charset="0"/>
            </a:endParaRP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Omni channel partner since 2010 - Implemented </a:t>
            </a:r>
            <a:endPar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endParaRP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e-commerce, mobile</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loyalty</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digital </a:t>
            </a:r>
            <a:r>
              <a:rPr lang="en-US" sz="1200" dirty="0" smtClean="0">
                <a:solidFill>
                  <a:srgbClr val="320003"/>
                </a:solidFill>
                <a:latin typeface="Calibri" panose="020F0502020204030204" pitchFamily="34" charset="0"/>
                <a:cs typeface="Calibri" panose="020F0502020204030204" pitchFamily="34" charset="0"/>
              </a:rPr>
              <a:t>marketing</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amp;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nalytics solutions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gt;29M visits/week</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t>
            </a: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Enabled newer business models – Rx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refill</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 BOPI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 and  </a:t>
            </a:r>
            <a:r>
              <a:rPr kumimoji="0" lang="en-US" sz="1200" b="0" i="0" u="none" strike="noStrike" kern="1200" cap="none" spc="0" normalizeH="0" baseline="0" noProof="0" dirty="0" err="1" smtClean="0">
                <a:ln>
                  <a:noFill/>
                </a:ln>
                <a:solidFill>
                  <a:srgbClr val="320003"/>
                </a:solidFill>
                <a:effectLst/>
                <a:uLnTx/>
                <a:uFillTx/>
                <a:latin typeface="Calibri" panose="020F0502020204030204" pitchFamily="34" charset="0"/>
                <a:cs typeface="Calibri" panose="020F0502020204030204" pitchFamily="34" charset="0"/>
              </a:rPr>
              <a:t>QuickPrint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 </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gt;60% prescription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t>
            </a:r>
            <a:endPar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endParaRPr>
          </a:p>
          <a:p>
            <a:pPr marL="285750" marR="0" lvl="0" indent="-285750"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gile/ DevOps/ Cloud </a:t>
            </a:r>
            <a:r>
              <a:rPr lang="en-US" sz="1200" noProof="0" dirty="0">
                <a:solidFill>
                  <a:srgbClr val="320003"/>
                </a:solidFill>
                <a:latin typeface="Calibri" panose="020F0502020204030204" pitchFamily="34" charset="0"/>
                <a:cs typeface="Calibri" panose="020F0502020204030204" pitchFamily="34" charset="0"/>
              </a:rPr>
              <a:t>N</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tive </a:t>
            </a:r>
            <a:r>
              <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rPr>
              <a:t>led engineering </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transformation (</a:t>
            </a:r>
            <a:r>
              <a:rPr lang="en-US" sz="1200" b="1" dirty="0" smtClean="0">
                <a:solidFill>
                  <a:srgbClr val="320003"/>
                </a:solidFill>
                <a:latin typeface="Calibri" panose="020F0502020204030204" pitchFamily="34" charset="0"/>
                <a:cs typeface="Calibri" panose="020F0502020204030204" pitchFamily="34" charset="0"/>
              </a:rPr>
              <a:t>monthly</a:t>
            </a:r>
            <a:r>
              <a:rPr kumimoji="0" lang="en-US" sz="1200" b="1"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 to weekly releases</a:t>
            </a:r>
            <a:r>
              <a:rPr kumimoji="0" lang="en-US" sz="1200" b="0" i="0" u="none" strike="noStrike" kern="1200" cap="none" spc="0" normalizeH="0" baseline="0" noProof="0" dirty="0" smtClean="0">
                <a:ln>
                  <a:noFill/>
                </a:ln>
                <a:solidFill>
                  <a:srgbClr val="320003"/>
                </a:solidFill>
                <a:effectLst/>
                <a:uLnTx/>
                <a:uFillTx/>
                <a:latin typeface="Calibri" panose="020F0502020204030204" pitchFamily="34" charset="0"/>
                <a:cs typeface="Calibri" panose="020F0502020204030204" pitchFamily="34" charset="0"/>
              </a:rPr>
              <a:t>)</a:t>
            </a:r>
            <a:endParaRPr kumimoji="0" lang="en-US" sz="1200" b="0" i="0" u="none" strike="noStrike" kern="1200" cap="none" spc="0" normalizeH="0" baseline="0" noProof="0" dirty="0">
              <a:ln>
                <a:noFill/>
              </a:ln>
              <a:solidFill>
                <a:srgbClr val="320003"/>
              </a:solidFill>
              <a:effectLst/>
              <a:uLnTx/>
              <a:uFillTx/>
              <a:latin typeface="Calibri" panose="020F0502020204030204" pitchFamily="34" charset="0"/>
              <a:cs typeface="Calibri" panose="020F0502020204030204" pitchFamily="34" charset="0"/>
            </a:endParaRPr>
          </a:p>
        </p:txBody>
      </p:sp>
      <p:sp>
        <p:nvSpPr>
          <p:cNvPr id="23" name="Diagonal Stripe 22"/>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Revamp- Outcome Based</a:t>
            </a:r>
            <a:endParaRPr lang="en-US" sz="1400" dirty="0">
              <a:solidFill>
                <a:srgbClr val="FF0000"/>
              </a:solidFill>
            </a:endParaRPr>
          </a:p>
        </p:txBody>
      </p:sp>
    </p:spTree>
    <p:extLst>
      <p:ext uri="{BB962C8B-B14F-4D97-AF65-F5344CB8AC3E}">
        <p14:creationId xmlns:p14="http://schemas.microsoft.com/office/powerpoint/2010/main" val="226646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overnance</a:t>
            </a:r>
            <a:endParaRPr lang="en-US" dirty="0"/>
          </a:p>
        </p:txBody>
      </p:sp>
    </p:spTree>
    <p:extLst>
      <p:ext uri="{BB962C8B-B14F-4D97-AF65-F5344CB8AC3E}">
        <p14:creationId xmlns:p14="http://schemas.microsoft.com/office/powerpoint/2010/main" val="3775373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vernance Framework</a:t>
            </a:r>
          </a:p>
        </p:txBody>
      </p:sp>
      <p:sp>
        <p:nvSpPr>
          <p:cNvPr id="139" name="Rounded Rectangle 148"/>
          <p:cNvSpPr>
            <a:spLocks noChangeArrowheads="1"/>
          </p:cNvSpPr>
          <p:nvPr/>
        </p:nvSpPr>
        <p:spPr bwMode="auto">
          <a:xfrm>
            <a:off x="6025280" y="1302927"/>
            <a:ext cx="2942490" cy="4534559"/>
          </a:xfrm>
          <a:prstGeom prst="rect">
            <a:avLst/>
          </a:prstGeom>
          <a:solidFill>
            <a:schemeClr val="bg2"/>
          </a:solidFill>
          <a:ln w="9525">
            <a:noFill/>
            <a:round/>
            <a:headEnd/>
            <a:tailEnd/>
          </a:ln>
        </p:spPr>
        <p:txBody>
          <a:bodyPr lIns="93598" tIns="46800" rIns="93598" bIns="46800"/>
          <a:lstStyle/>
          <a:p>
            <a:pPr marL="0" marR="0" lvl="0" indent="0" algn="ctr" defTabSz="936086" rtl="0" eaLnBrk="1" fontAlgn="auto" latinLnBrk="0" hangingPunct="1">
              <a:lnSpc>
                <a:spcPct val="100000"/>
              </a:lnSpc>
              <a:spcBef>
                <a:spcPts val="0"/>
              </a:spcBef>
              <a:spcAft>
                <a:spcPts val="0"/>
              </a:spcAft>
              <a:buClrTx/>
              <a:buSzTx/>
              <a:buFontTx/>
              <a:buNone/>
              <a:tabLst/>
              <a:defRPr/>
            </a:pPr>
            <a:endParaRPr kumimoji="0" lang="en-US" sz="820" b="0" i="0" u="none" strike="noStrike" kern="0" cap="none" spc="0" normalizeH="0" baseline="0" noProof="0" dirty="0">
              <a:ln>
                <a:noFill/>
              </a:ln>
              <a:solidFill>
                <a:srgbClr val="000000"/>
              </a:solidFill>
              <a:effectLst/>
              <a:uLnTx/>
              <a:uFillTx/>
              <a:latin typeface="Arial"/>
              <a:ea typeface="ＭＳ Ｐゴシック" pitchFamily="34" charset="-128"/>
              <a:cs typeface="Calibri" pitchFamily="34" charset="0"/>
              <a:sym typeface="Arial"/>
            </a:endParaRPr>
          </a:p>
        </p:txBody>
      </p:sp>
      <p:sp>
        <p:nvSpPr>
          <p:cNvPr id="140" name="Rounded Rectangle 148"/>
          <p:cNvSpPr>
            <a:spLocks noChangeArrowheads="1"/>
          </p:cNvSpPr>
          <p:nvPr/>
        </p:nvSpPr>
        <p:spPr bwMode="auto">
          <a:xfrm>
            <a:off x="3145689" y="1302927"/>
            <a:ext cx="2827699" cy="4534559"/>
          </a:xfrm>
          <a:prstGeom prst="rect">
            <a:avLst/>
          </a:prstGeom>
          <a:solidFill>
            <a:schemeClr val="tx2"/>
          </a:solidFill>
          <a:ln w="9525">
            <a:noFill/>
            <a:round/>
            <a:headEnd/>
            <a:tailEnd/>
          </a:ln>
        </p:spPr>
        <p:txBody>
          <a:bodyPr lIns="93598" tIns="46800" rIns="93598" bIns="46800"/>
          <a:lstStyle/>
          <a:p>
            <a:pPr marL="0" marR="0" lvl="0" indent="0" algn="ctr" defTabSz="936086" rtl="0" eaLnBrk="1" fontAlgn="auto" latinLnBrk="0" hangingPunct="1">
              <a:lnSpc>
                <a:spcPct val="100000"/>
              </a:lnSpc>
              <a:spcBef>
                <a:spcPts val="0"/>
              </a:spcBef>
              <a:spcAft>
                <a:spcPts val="0"/>
              </a:spcAft>
              <a:buClrTx/>
              <a:buSzTx/>
              <a:buFontTx/>
              <a:buNone/>
              <a:tabLst/>
              <a:defRPr/>
            </a:pPr>
            <a:endParaRPr kumimoji="0" lang="en-US" sz="820" b="0" i="0" u="none" strike="noStrike" kern="0" cap="none" spc="0" normalizeH="0" baseline="0" noProof="0" dirty="0">
              <a:ln>
                <a:noFill/>
              </a:ln>
              <a:solidFill>
                <a:srgbClr val="000000"/>
              </a:solidFill>
              <a:effectLst/>
              <a:uLnTx/>
              <a:uFillTx/>
              <a:latin typeface="Arial"/>
              <a:ea typeface="ＭＳ Ｐゴシック" pitchFamily="34" charset="-128"/>
              <a:cs typeface="Calibri" pitchFamily="34" charset="0"/>
              <a:sym typeface="Arial"/>
            </a:endParaRPr>
          </a:p>
        </p:txBody>
      </p:sp>
      <p:sp>
        <p:nvSpPr>
          <p:cNvPr id="141" name="Rounded Rectangle 148"/>
          <p:cNvSpPr>
            <a:spLocks noChangeArrowheads="1"/>
          </p:cNvSpPr>
          <p:nvPr/>
        </p:nvSpPr>
        <p:spPr bwMode="auto">
          <a:xfrm>
            <a:off x="860995" y="1302927"/>
            <a:ext cx="2154375" cy="4534559"/>
          </a:xfrm>
          <a:prstGeom prst="rect">
            <a:avLst/>
          </a:prstGeom>
          <a:solidFill>
            <a:schemeClr val="accent4"/>
          </a:solidFill>
          <a:ln w="9525">
            <a:noFill/>
            <a:round/>
            <a:headEnd/>
            <a:tailEnd/>
          </a:ln>
        </p:spPr>
        <p:txBody>
          <a:bodyPr lIns="93598" tIns="46800" rIns="93598" bIns="46800"/>
          <a:lstStyle/>
          <a:p>
            <a:pPr marL="0" marR="0" lvl="0" indent="0" algn="ctr" defTabSz="936086" rtl="0" eaLnBrk="1" fontAlgn="auto" latinLnBrk="0" hangingPunct="1">
              <a:lnSpc>
                <a:spcPct val="100000"/>
              </a:lnSpc>
              <a:spcBef>
                <a:spcPts val="0"/>
              </a:spcBef>
              <a:spcAft>
                <a:spcPts val="0"/>
              </a:spcAft>
              <a:buClrTx/>
              <a:buSzTx/>
              <a:buFontTx/>
              <a:buNone/>
              <a:tabLst/>
              <a:defRPr/>
            </a:pPr>
            <a:endParaRPr kumimoji="0" lang="en-US" sz="820" b="0" i="0" u="none" strike="noStrike" kern="0" cap="none" spc="0" normalizeH="0" baseline="0" noProof="0" dirty="0">
              <a:ln>
                <a:noFill/>
              </a:ln>
              <a:solidFill>
                <a:srgbClr val="000000"/>
              </a:solidFill>
              <a:effectLst/>
              <a:uLnTx/>
              <a:uFillTx/>
              <a:latin typeface="Arial"/>
              <a:ea typeface="ＭＳ Ｐゴシック" pitchFamily="34" charset="-128"/>
              <a:cs typeface="Calibri" pitchFamily="34" charset="0"/>
              <a:sym typeface="Arial"/>
            </a:endParaRPr>
          </a:p>
        </p:txBody>
      </p:sp>
      <p:sp>
        <p:nvSpPr>
          <p:cNvPr id="142" name="TextBox 141"/>
          <p:cNvSpPr txBox="1"/>
          <p:nvPr/>
        </p:nvSpPr>
        <p:spPr bwMode="auto">
          <a:xfrm>
            <a:off x="4340462" y="993834"/>
            <a:ext cx="1237423" cy="254102"/>
          </a:xfrm>
          <a:prstGeom prst="rect">
            <a:avLst/>
          </a:prstGeom>
          <a:noFill/>
        </p:spPr>
        <p:txBody>
          <a:bodyPr wrap="square" lIns="93598" tIns="46800" rIns="93598" bIns="46800">
            <a:spAutoFit/>
          </a:bodyP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103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Onsite</a:t>
            </a:r>
          </a:p>
        </p:txBody>
      </p:sp>
      <p:sp>
        <p:nvSpPr>
          <p:cNvPr id="252" name="TextBox 251"/>
          <p:cNvSpPr txBox="1"/>
          <p:nvPr/>
        </p:nvSpPr>
        <p:spPr bwMode="auto">
          <a:xfrm>
            <a:off x="7368578" y="986309"/>
            <a:ext cx="1719390" cy="250781"/>
          </a:xfrm>
          <a:prstGeom prst="rect">
            <a:avLst/>
          </a:prstGeom>
          <a:noFill/>
        </p:spPr>
        <p:txBody>
          <a:bodyPr wrap="square">
            <a:spAutoFit/>
          </a:bodyP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103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Offshore </a:t>
            </a:r>
            <a:r>
              <a:rPr kumimoji="0" lang="en-US" sz="1037" b="1" i="0" u="none" strike="noStrike" kern="0" cap="none" spc="0" normalizeH="0" baseline="0" noProof="0" dirty="0" smtClean="0">
                <a:ln>
                  <a:noFill/>
                </a:ln>
                <a:solidFill>
                  <a:srgbClr val="000000">
                    <a:lumMod val="85000"/>
                    <a:lumOff val="15000"/>
                  </a:srgbClr>
                </a:solidFill>
                <a:effectLst/>
                <a:uLnTx/>
                <a:uFillTx/>
                <a:latin typeface="Arial"/>
                <a:ea typeface="ＭＳ Ｐゴシック" pitchFamily="34" charset="-128"/>
                <a:cs typeface="Calibri" pitchFamily="34" charset="0"/>
                <a:sym typeface="Arial"/>
              </a:rPr>
              <a:t>(India)</a:t>
            </a:r>
            <a:endParaRPr kumimoji="0" lang="en-US" sz="988"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endParaRPr>
          </a:p>
        </p:txBody>
      </p:sp>
      <p:sp>
        <p:nvSpPr>
          <p:cNvPr id="253" name="Rectangle 252"/>
          <p:cNvSpPr/>
          <p:nvPr/>
        </p:nvSpPr>
        <p:spPr bwMode="auto">
          <a:xfrm>
            <a:off x="1251901" y="5973752"/>
            <a:ext cx="1155965" cy="253637"/>
          </a:xfrm>
          <a:prstGeom prst="rect">
            <a:avLst/>
          </a:prstGeom>
          <a:noFill/>
          <a:ln w="9525" cap="flat" cmpd="sng" algn="ctr">
            <a:noFill/>
            <a:prstDash val="solid"/>
            <a:round/>
            <a:headEnd type="none" w="med" len="med"/>
            <a:tailEnd type="none" w="med" len="med"/>
          </a:ln>
          <a:effectLst/>
        </p:spPr>
        <p:txBody>
          <a:bodyPr vert="horz" wrap="square" lIns="93656" tIns="46828" rIns="93656" bIns="46828" numCol="1" rtlCol="0" anchor="ctr" anchorCtr="0" compatLnSpc="1">
            <a:prstTxWarp prst="textNoShape">
              <a:avLst/>
            </a:prstTxWarp>
          </a:bodyPr>
          <a:lstStyle/>
          <a:p>
            <a:pPr marL="0" marR="0" lvl="0" indent="0" algn="ctr" defTabSz="936647" rtl="0" eaLnBrk="0" fontAlgn="auto" latinLnBrk="0" hangingPunct="0">
              <a:lnSpc>
                <a:spcPct val="100000"/>
              </a:lnSpc>
              <a:spcBef>
                <a:spcPts val="0"/>
              </a:spcBef>
              <a:spcAft>
                <a:spcPts val="0"/>
              </a:spcAft>
              <a:buClrTx/>
              <a:buSzTx/>
              <a:buFontTx/>
              <a:buNone/>
              <a:tabLst/>
              <a:defRPr/>
            </a:pPr>
            <a:r>
              <a:rPr kumimoji="0" lang="en-US" sz="1170" b="0" i="0" u="none" strike="noStrike" kern="1200" cap="none" spc="0" normalizeH="0" baseline="0" noProof="0" dirty="0">
                <a:ln>
                  <a:noFill/>
                </a:ln>
                <a:solidFill>
                  <a:srgbClr val="000000"/>
                </a:solidFill>
                <a:effectLst/>
                <a:uLnTx/>
                <a:uFillTx/>
                <a:latin typeface="Arial"/>
                <a:ea typeface="+mn-ea"/>
                <a:cs typeface="Arial"/>
                <a:sym typeface="Arial"/>
              </a:rPr>
              <a:t>Escalation</a:t>
            </a:r>
          </a:p>
        </p:txBody>
      </p:sp>
      <p:cxnSp>
        <p:nvCxnSpPr>
          <p:cNvPr id="254" name="Straight Arrow Connector 253"/>
          <p:cNvCxnSpPr/>
          <p:nvPr/>
        </p:nvCxnSpPr>
        <p:spPr bwMode="auto">
          <a:xfrm>
            <a:off x="2374226" y="6100568"/>
            <a:ext cx="527850" cy="0"/>
          </a:xfrm>
          <a:prstGeom prst="straightConnector1">
            <a:avLst/>
          </a:prstGeom>
          <a:noFill/>
          <a:ln w="9525" cap="flat" cmpd="sng" algn="ctr">
            <a:solidFill>
              <a:srgbClr val="C00000"/>
            </a:solidFill>
            <a:prstDash val="solid"/>
            <a:round/>
            <a:headEnd type="none" w="med" len="med"/>
            <a:tailEnd type="triangle" w="med" len="med"/>
          </a:ln>
          <a:effectLst/>
        </p:spPr>
      </p:cxnSp>
      <p:sp>
        <p:nvSpPr>
          <p:cNvPr id="255" name="Rectangle 254"/>
          <p:cNvSpPr/>
          <p:nvPr/>
        </p:nvSpPr>
        <p:spPr bwMode="auto">
          <a:xfrm>
            <a:off x="2678674" y="5973752"/>
            <a:ext cx="1280410" cy="253637"/>
          </a:xfrm>
          <a:prstGeom prst="rect">
            <a:avLst/>
          </a:prstGeom>
          <a:noFill/>
          <a:ln w="9525" cap="flat" cmpd="sng" algn="ctr">
            <a:noFill/>
            <a:prstDash val="solid"/>
            <a:round/>
            <a:headEnd type="none" w="med" len="med"/>
            <a:tailEnd type="none" w="med" len="med"/>
          </a:ln>
          <a:effectLst/>
        </p:spPr>
        <p:txBody>
          <a:bodyPr vert="horz" wrap="square" lIns="93656" tIns="46828" rIns="93656" bIns="46828" numCol="1" rtlCol="0" anchor="ctr" anchorCtr="0" compatLnSpc="1">
            <a:prstTxWarp prst="textNoShape">
              <a:avLst/>
            </a:prstTxWarp>
          </a:bodyPr>
          <a:lstStyle/>
          <a:p>
            <a:pPr marL="0" marR="0" lvl="0" indent="0" algn="ctr" defTabSz="936647" rtl="0" eaLnBrk="0" fontAlgn="auto" latinLnBrk="0" hangingPunct="0">
              <a:lnSpc>
                <a:spcPct val="100000"/>
              </a:lnSpc>
              <a:spcBef>
                <a:spcPts val="0"/>
              </a:spcBef>
              <a:spcAft>
                <a:spcPts val="0"/>
              </a:spcAft>
              <a:buClrTx/>
              <a:buSzTx/>
              <a:buFontTx/>
              <a:buNone/>
              <a:tabLst/>
              <a:defRPr/>
            </a:pPr>
            <a:r>
              <a:rPr kumimoji="0" lang="en-US" sz="1076" b="0" i="0" u="none" strike="noStrike" kern="1200" cap="none" spc="0" normalizeH="0" baseline="0" noProof="0" dirty="0">
                <a:ln>
                  <a:noFill/>
                </a:ln>
                <a:solidFill>
                  <a:srgbClr val="000000"/>
                </a:solidFill>
                <a:effectLst/>
                <a:uLnTx/>
                <a:uFillTx/>
                <a:latin typeface="Arial"/>
                <a:ea typeface="+mn-ea"/>
                <a:cs typeface="Arial"/>
                <a:sym typeface="Arial"/>
              </a:rPr>
              <a:t>Cognizant Reporting</a:t>
            </a:r>
          </a:p>
        </p:txBody>
      </p:sp>
      <p:cxnSp>
        <p:nvCxnSpPr>
          <p:cNvPr id="256" name="Straight Arrow Connector 255"/>
          <p:cNvCxnSpPr/>
          <p:nvPr/>
        </p:nvCxnSpPr>
        <p:spPr bwMode="auto">
          <a:xfrm>
            <a:off x="4127768" y="6100568"/>
            <a:ext cx="439877" cy="0"/>
          </a:xfrm>
          <a:prstGeom prst="straightConnector1">
            <a:avLst/>
          </a:prstGeom>
          <a:noFill/>
          <a:ln w="9525" cap="flat" cmpd="sng" algn="ctr">
            <a:solidFill>
              <a:schemeClr val="tx1"/>
            </a:solidFill>
            <a:prstDash val="solid"/>
            <a:round/>
            <a:headEnd type="none" w="med" len="med"/>
            <a:tailEnd type="triangle" w="med" len="med"/>
          </a:ln>
          <a:effectLst/>
        </p:spPr>
      </p:cxnSp>
      <p:sp>
        <p:nvSpPr>
          <p:cNvPr id="257" name="Rectangle 256"/>
          <p:cNvSpPr/>
          <p:nvPr/>
        </p:nvSpPr>
        <p:spPr bwMode="auto">
          <a:xfrm>
            <a:off x="4204541" y="5889207"/>
            <a:ext cx="1960150" cy="422727"/>
          </a:xfrm>
          <a:prstGeom prst="rect">
            <a:avLst/>
          </a:prstGeom>
          <a:noFill/>
          <a:ln w="9525" cap="flat" cmpd="sng" algn="ctr">
            <a:noFill/>
            <a:prstDash val="solid"/>
            <a:round/>
            <a:headEnd type="none" w="med" len="med"/>
            <a:tailEnd type="none" w="med" len="med"/>
          </a:ln>
          <a:effectLst/>
        </p:spPr>
        <p:txBody>
          <a:bodyPr vert="horz" wrap="square" lIns="93656" tIns="46828" rIns="93656" bIns="46828" numCol="1" rtlCol="0" anchor="ctr" anchorCtr="0" compatLnSpc="1">
            <a:prstTxWarp prst="textNoShape">
              <a:avLst/>
            </a:prstTxWarp>
          </a:bodyPr>
          <a:lstStyle/>
          <a:p>
            <a:pPr marL="0" marR="0" lvl="0" indent="0" algn="ctr" defTabSz="936647" rtl="0" eaLnBrk="0" fontAlgn="auto" latinLnBrk="0" hangingPunct="0">
              <a:lnSpc>
                <a:spcPct val="100000"/>
              </a:lnSpc>
              <a:spcBef>
                <a:spcPts val="0"/>
              </a:spcBef>
              <a:spcAft>
                <a:spcPts val="0"/>
              </a:spcAft>
              <a:buClrTx/>
              <a:buSzTx/>
              <a:buFontTx/>
              <a:buNone/>
              <a:tabLst/>
              <a:defRPr/>
            </a:pPr>
            <a:r>
              <a:rPr kumimoji="0" lang="en-US" sz="1073" b="0" i="0" u="none" strike="noStrike" kern="1200" cap="none" spc="0" normalizeH="0" baseline="0" noProof="0" dirty="0">
                <a:ln>
                  <a:noFill/>
                </a:ln>
                <a:solidFill>
                  <a:srgbClr val="000000"/>
                </a:solidFill>
                <a:effectLst/>
                <a:uLnTx/>
                <a:uFillTx/>
                <a:latin typeface="Arial"/>
                <a:ea typeface="+mn-ea"/>
                <a:cs typeface="Arial"/>
                <a:sym typeface="Arial"/>
              </a:rPr>
              <a:t>Cognizant Internal Communication</a:t>
            </a:r>
          </a:p>
        </p:txBody>
      </p:sp>
      <p:sp>
        <p:nvSpPr>
          <p:cNvPr id="258" name="Left-Right Arrow 257"/>
          <p:cNvSpPr/>
          <p:nvPr/>
        </p:nvSpPr>
        <p:spPr bwMode="auto">
          <a:xfrm>
            <a:off x="690469" y="6022080"/>
            <a:ext cx="675945" cy="156981"/>
          </a:xfrm>
          <a:prstGeom prst="leftRightArrow">
            <a:avLst/>
          </a:prstGeom>
          <a:solidFill>
            <a:schemeClr val="bg1">
              <a:lumMod val="50000"/>
            </a:schemeClr>
          </a:solidFill>
          <a:ln w="9525" cap="flat" cmpd="sng" algn="ctr">
            <a:solidFill>
              <a:schemeClr val="bg1">
                <a:lumMod val="50000"/>
              </a:schemeClr>
            </a:solidFill>
            <a:prstDash val="solid"/>
            <a:headEnd type="none" w="med" len="med"/>
            <a:tailEnd type="none" w="med" len="med"/>
          </a:ln>
          <a:effectLst/>
        </p:spPr>
        <p:txBody>
          <a:bodyPr vert="horz" wrap="square" lIns="93656" tIns="46828" rIns="93656" bIns="46828" numCol="1" rtlCol="0" anchor="ctr" anchorCtr="0" compatLnSpc="1">
            <a:prstTxWarp prst="textNoShape">
              <a:avLst/>
            </a:prstTxWarp>
          </a:bodyPr>
          <a:lstStyle/>
          <a:p>
            <a:pPr marL="0" marR="0" lvl="0" indent="0" algn="l" defTabSz="936647" rtl="0" eaLnBrk="0" fontAlgn="auto" latinLnBrk="0" hangingPunct="0">
              <a:lnSpc>
                <a:spcPct val="100000"/>
              </a:lnSpc>
              <a:spcBef>
                <a:spcPts val="0"/>
              </a:spcBef>
              <a:spcAft>
                <a:spcPts val="0"/>
              </a:spcAft>
              <a:buClrTx/>
              <a:buSzTx/>
              <a:buFontTx/>
              <a:buNone/>
              <a:tabLst/>
              <a:defRPr/>
            </a:pPr>
            <a:endParaRPr kumimoji="0" lang="en-GB" sz="1639" b="1" i="0" u="none" strike="noStrike" kern="1200" cap="none" spc="0" normalizeH="0" baseline="0" noProof="0" dirty="0">
              <a:ln>
                <a:noFill/>
              </a:ln>
              <a:solidFill>
                <a:prstClr val="black"/>
              </a:solidFill>
              <a:effectLst/>
              <a:uLnTx/>
              <a:uFillTx/>
              <a:latin typeface="Arial"/>
              <a:ea typeface="ＭＳ Ｐゴシック" pitchFamily="-12" charset="-128"/>
              <a:cs typeface="Calibri" pitchFamily="34" charset="0"/>
              <a:sym typeface="Arial"/>
            </a:endParaRPr>
          </a:p>
        </p:txBody>
      </p:sp>
      <p:sp>
        <p:nvSpPr>
          <p:cNvPr id="259" name="Rounded Rectangle 258"/>
          <p:cNvSpPr/>
          <p:nvPr/>
        </p:nvSpPr>
        <p:spPr>
          <a:xfrm>
            <a:off x="820526" y="3335285"/>
            <a:ext cx="8162279" cy="955393"/>
          </a:xfrm>
          <a:prstGeom prst="roundRect">
            <a:avLst>
              <a:gd name="adj" fmla="val 0"/>
            </a:avLst>
          </a:prstGeom>
          <a:solidFill>
            <a:srgbClr val="FFFFFF">
              <a:alpha val="85098"/>
            </a:srgbClr>
          </a:solidFill>
          <a:ln w="9525" cap="flat" cmpd="sng" algn="ctr">
            <a:solidFill>
              <a:schemeClr val="bg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117081" algn="just" defTabSz="914400" rtl="0" eaLnBrk="1" fontAlgn="auto" latinLnBrk="0" hangingPunct="1">
              <a:lnSpc>
                <a:spcPct val="100000"/>
              </a:lnSpc>
              <a:spcBef>
                <a:spcPts val="307"/>
              </a:spcBef>
              <a:spcAft>
                <a:spcPts val="0"/>
              </a:spcAft>
              <a:buClrTx/>
              <a:buSzTx/>
              <a:buFont typeface="Wingdings" pitchFamily="2" charset="2"/>
              <a:buChar char="§"/>
              <a:tabLst/>
              <a:defRPr/>
            </a:pPr>
            <a:endParaRPr kumimoji="0" lang="en-US" sz="820" b="1"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260" name="Rounded Rectangle 259"/>
          <p:cNvSpPr/>
          <p:nvPr/>
        </p:nvSpPr>
        <p:spPr>
          <a:xfrm>
            <a:off x="834131" y="4369502"/>
            <a:ext cx="8149146" cy="1403921"/>
          </a:xfrm>
          <a:prstGeom prst="roundRect">
            <a:avLst>
              <a:gd name="adj" fmla="val 0"/>
            </a:avLst>
          </a:prstGeom>
          <a:solidFill>
            <a:srgbClr val="FFFFFF">
              <a:alpha val="85098"/>
            </a:srgbClr>
          </a:solidFill>
          <a:ln w="9525" cap="flat" cmpd="sng" algn="ctr">
            <a:solidFill>
              <a:schemeClr val="bg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117081" algn="just" defTabSz="914400" rtl="0" eaLnBrk="1" fontAlgn="auto" latinLnBrk="0" hangingPunct="1">
              <a:lnSpc>
                <a:spcPct val="100000"/>
              </a:lnSpc>
              <a:spcBef>
                <a:spcPts val="307"/>
              </a:spcBef>
              <a:spcAft>
                <a:spcPts val="0"/>
              </a:spcAft>
              <a:buClrTx/>
              <a:buSzTx/>
              <a:buFont typeface="Wingdings" pitchFamily="2" charset="2"/>
              <a:buChar char="§"/>
              <a:tabLst/>
              <a:defRPr/>
            </a:pPr>
            <a:endParaRPr kumimoji="0" lang="en-US" sz="820" b="1"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261" name="Rounded Rectangle 260"/>
          <p:cNvSpPr/>
          <p:nvPr/>
        </p:nvSpPr>
        <p:spPr>
          <a:xfrm>
            <a:off x="820526" y="2430223"/>
            <a:ext cx="8162279" cy="867795"/>
          </a:xfrm>
          <a:prstGeom prst="roundRect">
            <a:avLst>
              <a:gd name="adj" fmla="val 0"/>
            </a:avLst>
          </a:prstGeom>
          <a:solidFill>
            <a:srgbClr val="FFFFFF">
              <a:alpha val="85098"/>
            </a:srgbClr>
          </a:solidFill>
          <a:ln w="9525" cap="flat" cmpd="sng" algn="ctr">
            <a:solidFill>
              <a:schemeClr val="bg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117081" algn="just" defTabSz="914400" rtl="0" eaLnBrk="1" fontAlgn="auto" latinLnBrk="0" hangingPunct="1">
              <a:lnSpc>
                <a:spcPct val="100000"/>
              </a:lnSpc>
              <a:spcBef>
                <a:spcPts val="307"/>
              </a:spcBef>
              <a:spcAft>
                <a:spcPts val="0"/>
              </a:spcAft>
              <a:buClrTx/>
              <a:buSzTx/>
              <a:buFont typeface="Wingdings" pitchFamily="2" charset="2"/>
              <a:buChar char="§"/>
              <a:tabLst/>
              <a:defRPr/>
            </a:pPr>
            <a:endParaRPr kumimoji="0" lang="en-US" sz="820" b="1"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262" name="TextBox 261"/>
          <p:cNvSpPr txBox="1"/>
          <p:nvPr/>
        </p:nvSpPr>
        <p:spPr>
          <a:xfrm rot="16200000">
            <a:off x="49587" y="2536212"/>
            <a:ext cx="855454" cy="675722"/>
          </a:xfrm>
          <a:prstGeom prst="rect">
            <a:avLst/>
          </a:prstGeom>
          <a:solidFill>
            <a:schemeClr val="tx1">
              <a:lumMod val="50000"/>
              <a:lumOff val="50000"/>
            </a:schemeClr>
          </a:solidFill>
          <a:ln w="9525" cap="flat" cmpd="sng" algn="ctr">
            <a:noFill/>
            <a:prstDash val="solid"/>
            <a:headEnd/>
            <a:tailEnd/>
          </a:ln>
          <a:effectLst/>
        </p:spPr>
        <p:txBody>
          <a:bodyPr lIns="45156" tIns="46800" rIns="45156" bIns="46800" anchor="ctr"/>
          <a:lstStyle>
            <a:defPPr>
              <a:defRPr lang="en-US"/>
            </a:defPPr>
            <a:lvl1pPr marR="0" lvl="0" indent="0" algn="ctr" defTabSz="913852" fontAlgn="base">
              <a:lnSpc>
                <a:spcPct val="100000"/>
              </a:lnSpc>
              <a:spcBef>
                <a:spcPct val="0"/>
              </a:spcBef>
              <a:spcAft>
                <a:spcPct val="0"/>
              </a:spcAft>
              <a:buClrTx/>
              <a:buSzTx/>
              <a:buFontTx/>
              <a:buNone/>
              <a:tabLst/>
              <a:defRPr kumimoji="0" sz="900" b="1" i="0" u="none" strike="noStrike" kern="0" cap="none" spc="0" normalizeH="0" baseline="0">
                <a:ln>
                  <a:noFill/>
                </a:ln>
                <a:solidFill>
                  <a:prstClr val="black"/>
                </a:solidFill>
                <a:effectLst/>
                <a:uLnTx/>
                <a:uFillTx/>
                <a:latin typeface="Calibri"/>
                <a:ea typeface="ＭＳ Ｐゴシック" pitchFamily="34" charset="-128"/>
                <a:cs typeface="Calibri" pitchFamily="34" charset="0"/>
              </a:defRPr>
            </a:lvl1p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024" b="1" i="0" u="none" strike="noStrike" kern="0" cap="none" spc="0" normalizeH="0" baseline="0" noProof="0" dirty="0">
                <a:ln>
                  <a:noFill/>
                </a:ln>
                <a:solidFill>
                  <a:srgbClr val="FFFFFF"/>
                </a:solidFill>
                <a:effectLst/>
                <a:uLnTx/>
                <a:uFillTx/>
                <a:latin typeface="Arial"/>
                <a:ea typeface="ＭＳ Ｐゴシック" pitchFamily="34" charset="-128"/>
                <a:sym typeface="Arial"/>
              </a:rPr>
              <a:t>Steering Committee</a:t>
            </a:r>
          </a:p>
        </p:txBody>
      </p:sp>
      <p:sp>
        <p:nvSpPr>
          <p:cNvPr id="263" name="TextBox 262"/>
          <p:cNvSpPr txBox="1"/>
          <p:nvPr/>
        </p:nvSpPr>
        <p:spPr>
          <a:xfrm rot="16200000">
            <a:off x="-49820" y="3548784"/>
            <a:ext cx="1024357" cy="645811"/>
          </a:xfrm>
          <a:prstGeom prst="rect">
            <a:avLst/>
          </a:prstGeom>
          <a:solidFill>
            <a:schemeClr val="tx1">
              <a:lumMod val="50000"/>
              <a:lumOff val="50000"/>
            </a:schemeClr>
          </a:solidFill>
          <a:ln w="9525" cap="flat" cmpd="sng" algn="ctr">
            <a:noFill/>
            <a:prstDash val="solid"/>
            <a:headEnd/>
            <a:tailEnd/>
          </a:ln>
          <a:effectLst/>
        </p:spPr>
        <p:txBody>
          <a:bodyPr lIns="45156" tIns="46800" rIns="45156" bIns="46800" anchor="ctr"/>
          <a:lstStyle>
            <a:defPPr>
              <a:defRPr lang="en-US"/>
            </a:defPPr>
            <a:lvl1pPr marR="0" lvl="0" indent="0" algn="ctr" defTabSz="913852" fontAlgn="base">
              <a:lnSpc>
                <a:spcPct val="100000"/>
              </a:lnSpc>
              <a:spcBef>
                <a:spcPct val="0"/>
              </a:spcBef>
              <a:spcAft>
                <a:spcPct val="0"/>
              </a:spcAft>
              <a:buClrTx/>
              <a:buSzTx/>
              <a:buFontTx/>
              <a:buNone/>
              <a:tabLst/>
              <a:defRPr kumimoji="0" sz="900" b="1" i="0" u="none" strike="noStrike" kern="0" cap="none" spc="0" normalizeH="0" baseline="0">
                <a:ln>
                  <a:noFill/>
                </a:ln>
                <a:solidFill>
                  <a:prstClr val="black"/>
                </a:solidFill>
                <a:effectLst/>
                <a:uLnTx/>
                <a:uFillTx/>
                <a:latin typeface="Calibri"/>
                <a:ea typeface="ＭＳ Ｐゴシック" pitchFamily="34" charset="-128"/>
                <a:cs typeface="Calibri" pitchFamily="34" charset="0"/>
              </a:defRPr>
            </a:lvl1p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024" b="1" i="0" u="none" strike="noStrike" kern="0" cap="none" spc="0" normalizeH="0" baseline="0" noProof="0" dirty="0">
                <a:ln>
                  <a:noFill/>
                </a:ln>
                <a:solidFill>
                  <a:srgbClr val="FFFFFF"/>
                </a:solidFill>
                <a:effectLst/>
                <a:uLnTx/>
                <a:uFillTx/>
                <a:latin typeface="Arial"/>
                <a:ea typeface="ＭＳ Ｐゴシック" pitchFamily="34" charset="-128"/>
                <a:sym typeface="Arial"/>
              </a:rPr>
              <a:t>Program Management Office</a:t>
            </a:r>
          </a:p>
        </p:txBody>
      </p:sp>
      <p:sp>
        <p:nvSpPr>
          <p:cNvPr id="264" name="TextBox 263"/>
          <p:cNvSpPr txBox="1"/>
          <p:nvPr/>
        </p:nvSpPr>
        <p:spPr bwMode="auto">
          <a:xfrm>
            <a:off x="6504749" y="3909351"/>
            <a:ext cx="1977641" cy="260291"/>
          </a:xfrm>
          <a:prstGeom prst="rect">
            <a:avLst/>
          </a:prstGeom>
          <a:noFill/>
          <a:ln w="9525" cap="flat" cmpd="sng" algn="ctr">
            <a:noFill/>
            <a:prstDash val="solid"/>
            <a:headEnd/>
            <a:tailEnd/>
          </a:ln>
          <a:effectLst/>
        </p:spPr>
        <p:txBody>
          <a:bodyPr lIns="93598" tIns="46800" rIns="93598" bIns="46800" anchor="ctr"/>
          <a:lstStyle>
            <a:defPPr>
              <a:defRPr lang="en-US"/>
            </a:defPPr>
            <a:lvl1pPr algn="ctr" fontAlgn="base">
              <a:spcBef>
                <a:spcPct val="0"/>
              </a:spcBef>
              <a:spcAft>
                <a:spcPct val="0"/>
              </a:spcAft>
              <a:defRPr sz="7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36086" rtl="0" eaLnBrk="1" fontAlgn="base" latinLnBrk="0" hangingPunct="1">
              <a:lnSpc>
                <a:spcPct val="100000"/>
              </a:lnSpc>
              <a:spcBef>
                <a:spcPct val="0"/>
              </a:spcBef>
              <a:spcAft>
                <a:spcPct val="0"/>
              </a:spcAft>
              <a:buClrTx/>
              <a:buSzTx/>
              <a:buFontTx/>
              <a:buNone/>
              <a:tabLst/>
              <a:defRPr/>
            </a:pPr>
            <a:r>
              <a:rPr kumimoji="0" lang="en-US" sz="107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Offshore Service Delivery Manager </a:t>
            </a:r>
          </a:p>
        </p:txBody>
      </p:sp>
      <p:sp>
        <p:nvSpPr>
          <p:cNvPr id="265" name="Rounded Rectangle 264"/>
          <p:cNvSpPr/>
          <p:nvPr/>
        </p:nvSpPr>
        <p:spPr bwMode="auto">
          <a:xfrm>
            <a:off x="1196277" y="4945774"/>
            <a:ext cx="1207340" cy="199768"/>
          </a:xfrm>
          <a:prstGeom prst="roundRect">
            <a:avLst/>
          </a:prstGeom>
          <a:noFill/>
          <a:ln w="3175" cap="flat" cmpd="sng" algn="ctr">
            <a:noFill/>
            <a:prstDash val="solid"/>
          </a:ln>
          <a:effectLst/>
        </p:spPr>
        <p:txBody>
          <a:bodyPr lIns="0" tIns="46800" rIns="0" bIns="46800" anchor="ct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976"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Domain SMEs</a:t>
            </a:r>
          </a:p>
        </p:txBody>
      </p:sp>
      <p:sp>
        <p:nvSpPr>
          <p:cNvPr id="266" name="TextBox 265"/>
          <p:cNvSpPr txBox="1"/>
          <p:nvPr/>
        </p:nvSpPr>
        <p:spPr>
          <a:xfrm>
            <a:off x="1102444" y="2921552"/>
            <a:ext cx="1514406" cy="314576"/>
          </a:xfrm>
          <a:prstGeom prst="rect">
            <a:avLst/>
          </a:prstGeom>
          <a:noFill/>
          <a:ln w="9525" cap="flat" cmpd="sng" algn="ctr">
            <a:noFill/>
            <a:prstDash val="solid"/>
            <a:headEnd/>
            <a:tailEnd/>
          </a:ln>
          <a:effectLst/>
        </p:spPr>
        <p:txBody>
          <a:bodyPr lIns="93598" tIns="46800" rIns="93598" bIns="46800" anchor="ctr"/>
          <a:lstStyle>
            <a:defPPr>
              <a:defRPr lang="en-US"/>
            </a:defPPr>
            <a:lvl1pPr algn="ctr" fontAlgn="base">
              <a:spcBef>
                <a:spcPct val="0"/>
              </a:spcBef>
              <a:spcAft>
                <a:spcPct val="0"/>
              </a:spcAft>
              <a:defRPr sz="900" b="1" kern="0">
                <a:solidFill>
                  <a:prstClr val="black"/>
                </a:solidFill>
                <a:latin typeface="Calibri"/>
              </a:defRPr>
            </a:lvl1pPr>
          </a:lstStyle>
          <a:p>
            <a:pPr marL="0" marR="0" lvl="0" indent="0" algn="ctr" defTabSz="936086" rtl="0" eaLnBrk="1" fontAlgn="base" latinLnBrk="0" hangingPunct="1">
              <a:lnSpc>
                <a:spcPct val="100000"/>
              </a:lnSpc>
              <a:spcBef>
                <a:spcPct val="0"/>
              </a:spcBef>
              <a:spcAft>
                <a:spcPct val="0"/>
              </a:spcAft>
              <a:buClrTx/>
              <a:buSzTx/>
              <a:buFontTx/>
              <a:buNone/>
              <a:tabLst/>
              <a:defRPr/>
            </a:pPr>
            <a:r>
              <a:rPr kumimoji="0" lang="en-US" sz="976"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Account Executives</a:t>
            </a:r>
          </a:p>
        </p:txBody>
      </p:sp>
      <p:cxnSp>
        <p:nvCxnSpPr>
          <p:cNvPr id="267" name="Straight Arrow Connector 191"/>
          <p:cNvCxnSpPr>
            <a:cxnSpLocks noChangeShapeType="1"/>
          </p:cNvCxnSpPr>
          <p:nvPr/>
        </p:nvCxnSpPr>
        <p:spPr bwMode="auto">
          <a:xfrm flipV="1">
            <a:off x="5757485" y="2896322"/>
            <a:ext cx="504418" cy="3534"/>
          </a:xfrm>
          <a:prstGeom prst="straightConnector1">
            <a:avLst/>
          </a:prstGeom>
          <a:noFill/>
          <a:ln w="12700" algn="ctr">
            <a:solidFill>
              <a:schemeClr val="tx1">
                <a:lumMod val="75000"/>
                <a:lumOff val="25000"/>
              </a:schemeClr>
            </a:solidFill>
            <a:round/>
            <a:headEnd type="triangle" w="med" len="med"/>
            <a:tailEnd type="triangle" w="med" len="med"/>
          </a:ln>
        </p:spPr>
      </p:cxnSp>
      <p:sp>
        <p:nvSpPr>
          <p:cNvPr id="268" name="TextBox 267"/>
          <p:cNvSpPr txBox="1"/>
          <p:nvPr/>
        </p:nvSpPr>
        <p:spPr>
          <a:xfrm rot="16200000">
            <a:off x="-202246" y="4783282"/>
            <a:ext cx="1329210" cy="645811"/>
          </a:xfrm>
          <a:prstGeom prst="rect">
            <a:avLst/>
          </a:prstGeom>
          <a:solidFill>
            <a:schemeClr val="tx1">
              <a:lumMod val="50000"/>
              <a:lumOff val="50000"/>
            </a:schemeClr>
          </a:solidFill>
          <a:ln w="9525" cap="flat" cmpd="sng" algn="ctr">
            <a:noFill/>
            <a:prstDash val="solid"/>
            <a:headEnd/>
            <a:tailEnd/>
          </a:ln>
          <a:effectLst/>
        </p:spPr>
        <p:txBody>
          <a:bodyPr lIns="45156" tIns="46800" rIns="45156" bIns="46800" anchor="ctr"/>
          <a:lstStyle>
            <a:defPPr>
              <a:defRPr lang="en-US"/>
            </a:defPPr>
            <a:lvl1pPr marR="0" lvl="0" indent="0" algn="ctr" defTabSz="913852" fontAlgn="base">
              <a:lnSpc>
                <a:spcPct val="100000"/>
              </a:lnSpc>
              <a:spcBef>
                <a:spcPct val="0"/>
              </a:spcBef>
              <a:spcAft>
                <a:spcPct val="0"/>
              </a:spcAft>
              <a:buClrTx/>
              <a:buSzTx/>
              <a:buFontTx/>
              <a:buNone/>
              <a:tabLst/>
              <a:defRPr kumimoji="0" sz="900" b="0" i="0" u="none" strike="noStrike" kern="0" cap="none" spc="0" normalizeH="0" baseline="0">
                <a:ln>
                  <a:noFill/>
                </a:ln>
                <a:solidFill>
                  <a:prstClr val="black"/>
                </a:solidFill>
                <a:effectLst/>
                <a:uLnTx/>
                <a:uFillTx/>
                <a:latin typeface="Calibri"/>
                <a:ea typeface="ＭＳ Ｐゴシック" pitchFamily="34" charset="-128"/>
                <a:cs typeface="Calibri" pitchFamily="34" charset="0"/>
              </a:defRPr>
            </a:lvl1p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024" b="1" i="0" u="none" strike="noStrike" kern="0" cap="none" spc="0" normalizeH="0" baseline="0" noProof="0" dirty="0">
                <a:ln>
                  <a:noFill/>
                </a:ln>
                <a:solidFill>
                  <a:srgbClr val="FFFFFF"/>
                </a:solidFill>
                <a:effectLst/>
                <a:uLnTx/>
                <a:uFillTx/>
                <a:latin typeface="Arial"/>
                <a:ea typeface="ＭＳ Ｐゴシック" pitchFamily="34" charset="-128"/>
                <a:sym typeface="Arial"/>
              </a:rPr>
              <a:t>Project Delivery </a:t>
            </a:r>
          </a:p>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024" b="1" i="0" u="none" strike="noStrike" kern="0" cap="none" spc="0" normalizeH="0" baseline="0" noProof="0" dirty="0">
                <a:ln>
                  <a:noFill/>
                </a:ln>
                <a:solidFill>
                  <a:srgbClr val="FFFFFF"/>
                </a:solidFill>
                <a:effectLst/>
                <a:uLnTx/>
                <a:uFillTx/>
                <a:latin typeface="Arial"/>
                <a:ea typeface="ＭＳ Ｐゴシック" pitchFamily="34" charset="-128"/>
                <a:sym typeface="Arial"/>
              </a:rPr>
              <a:t>Team</a:t>
            </a:r>
          </a:p>
        </p:txBody>
      </p:sp>
      <p:sp>
        <p:nvSpPr>
          <p:cNvPr id="269" name="Rounded Rectangle 268"/>
          <p:cNvSpPr/>
          <p:nvPr/>
        </p:nvSpPr>
        <p:spPr bwMode="auto">
          <a:xfrm>
            <a:off x="1156361" y="5445025"/>
            <a:ext cx="1327759" cy="161795"/>
          </a:xfrm>
          <a:prstGeom prst="roundRect">
            <a:avLst/>
          </a:prstGeom>
          <a:noFill/>
          <a:ln w="3175" cap="flat" cmpd="sng" algn="ctr">
            <a:noFill/>
            <a:prstDash val="solid"/>
          </a:ln>
          <a:effectLst/>
        </p:spPr>
        <p:txBody>
          <a:bodyPr lIns="0" tIns="46800" rIns="0" bIns="46800" anchor="ct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976"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End Users / Google Team</a:t>
            </a:r>
          </a:p>
        </p:txBody>
      </p:sp>
      <p:cxnSp>
        <p:nvCxnSpPr>
          <p:cNvPr id="270" name="Straight Arrow Connector 191"/>
          <p:cNvCxnSpPr>
            <a:cxnSpLocks noChangeShapeType="1"/>
          </p:cNvCxnSpPr>
          <p:nvPr/>
        </p:nvCxnSpPr>
        <p:spPr bwMode="auto">
          <a:xfrm>
            <a:off x="5757485" y="3831833"/>
            <a:ext cx="504418" cy="83"/>
          </a:xfrm>
          <a:prstGeom prst="straightConnector1">
            <a:avLst/>
          </a:prstGeom>
          <a:noFill/>
          <a:ln w="12700" algn="ctr">
            <a:solidFill>
              <a:schemeClr val="tx1">
                <a:lumMod val="75000"/>
                <a:lumOff val="25000"/>
              </a:schemeClr>
            </a:solidFill>
            <a:round/>
            <a:headEnd type="triangle" w="med" len="med"/>
            <a:tailEnd type="triangle" w="med" len="med"/>
          </a:ln>
        </p:spPr>
      </p:cxnSp>
      <p:sp>
        <p:nvSpPr>
          <p:cNvPr id="271" name="TextBox 270"/>
          <p:cNvSpPr txBox="1"/>
          <p:nvPr/>
        </p:nvSpPr>
        <p:spPr bwMode="auto">
          <a:xfrm>
            <a:off x="3354581" y="3866226"/>
            <a:ext cx="2278752" cy="273594"/>
          </a:xfrm>
          <a:prstGeom prst="rect">
            <a:avLst/>
          </a:prstGeom>
          <a:noFill/>
          <a:ln w="9525" cap="flat" cmpd="sng" algn="ctr">
            <a:noFill/>
            <a:prstDash val="solid"/>
            <a:headEnd/>
            <a:tailEnd/>
          </a:ln>
          <a:effectLst/>
        </p:spPr>
        <p:txBody>
          <a:bodyPr lIns="93598" tIns="46800" rIns="93598" bIns="46800" anchor="ctr"/>
          <a:lstStyle>
            <a:defPPr>
              <a:defRPr lang="en-US"/>
            </a:defPPr>
            <a:lvl1pPr algn="ctr" fontAlgn="base">
              <a:spcBef>
                <a:spcPct val="0"/>
              </a:spcBef>
              <a:spcAft>
                <a:spcPct val="0"/>
              </a:spcAft>
              <a:defRPr sz="900" b="1" kern="0">
                <a:solidFill>
                  <a:prstClr val="black"/>
                </a:solidFill>
                <a:latin typeface="Calibri"/>
              </a:defRPr>
            </a:lvl1pPr>
          </a:lstStyle>
          <a:p>
            <a:pPr marL="0" marR="0" lvl="0" indent="0" algn="ctr" defTabSz="936086" rtl="0" eaLnBrk="1" fontAlgn="base" latinLnBrk="0" hangingPunct="1">
              <a:lnSpc>
                <a:spcPct val="100000"/>
              </a:lnSpc>
              <a:spcBef>
                <a:spcPct val="0"/>
              </a:spcBef>
              <a:spcAft>
                <a:spcPct val="0"/>
              </a:spcAft>
              <a:buClrTx/>
              <a:buSzTx/>
              <a:buFontTx/>
              <a:buNone/>
              <a:tabLst/>
              <a:defRPr/>
            </a:pPr>
            <a:r>
              <a:rPr kumimoji="0" lang="en-US" sz="107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Onsite Service Delivery Manager</a:t>
            </a:r>
          </a:p>
        </p:txBody>
      </p:sp>
      <p:sp>
        <p:nvSpPr>
          <p:cNvPr id="272" name="TextBox 271"/>
          <p:cNvSpPr txBox="1"/>
          <p:nvPr/>
        </p:nvSpPr>
        <p:spPr>
          <a:xfrm>
            <a:off x="1171880" y="3964064"/>
            <a:ext cx="1495784" cy="272102"/>
          </a:xfrm>
          <a:prstGeom prst="rect">
            <a:avLst/>
          </a:prstGeom>
          <a:noFill/>
          <a:ln w="9525" cap="flat" cmpd="sng" algn="ctr">
            <a:noFill/>
            <a:prstDash val="solid"/>
            <a:headEnd/>
            <a:tailEnd/>
          </a:ln>
          <a:effectLst/>
        </p:spPr>
        <p:txBody>
          <a:bodyPr lIns="93598" tIns="46800" rIns="93598" bIns="46800" anchor="ctr"/>
          <a:lstStyle>
            <a:defPPr>
              <a:defRPr lang="en-US"/>
            </a:defPPr>
            <a:lvl1pPr algn="ctr" fontAlgn="base">
              <a:spcBef>
                <a:spcPct val="0"/>
              </a:spcBef>
              <a:spcAft>
                <a:spcPct val="0"/>
              </a:spcAft>
              <a:defRPr sz="900" b="1" kern="0">
                <a:solidFill>
                  <a:prstClr val="black"/>
                </a:solidFill>
                <a:latin typeface="Calibri"/>
              </a:defRPr>
            </a:lvl1pPr>
          </a:lstStyle>
          <a:p>
            <a:pPr marL="0" marR="0" lvl="0" indent="0" algn="ctr" defTabSz="936086" rtl="0" eaLnBrk="1" fontAlgn="base" latinLnBrk="0" hangingPunct="1">
              <a:lnSpc>
                <a:spcPct val="100000"/>
              </a:lnSpc>
              <a:spcBef>
                <a:spcPct val="0"/>
              </a:spcBef>
              <a:spcAft>
                <a:spcPct val="0"/>
              </a:spcAft>
              <a:buClrTx/>
              <a:buSzTx/>
              <a:buFontTx/>
              <a:buNone/>
              <a:tabLst/>
              <a:defRPr/>
            </a:pPr>
            <a:r>
              <a:rPr kumimoji="0" lang="en-US" sz="976"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Program Director</a:t>
            </a:r>
          </a:p>
        </p:txBody>
      </p:sp>
      <p:cxnSp>
        <p:nvCxnSpPr>
          <p:cNvPr id="273" name="Straight Arrow Connector 191"/>
          <p:cNvCxnSpPr>
            <a:cxnSpLocks noChangeShapeType="1"/>
          </p:cNvCxnSpPr>
          <p:nvPr/>
        </p:nvCxnSpPr>
        <p:spPr bwMode="auto">
          <a:xfrm>
            <a:off x="5840368" y="5393871"/>
            <a:ext cx="284731" cy="1918"/>
          </a:xfrm>
          <a:prstGeom prst="straightConnector1">
            <a:avLst/>
          </a:prstGeom>
          <a:noFill/>
          <a:ln w="12700" algn="ctr">
            <a:solidFill>
              <a:schemeClr val="tx1">
                <a:lumMod val="75000"/>
                <a:lumOff val="25000"/>
              </a:schemeClr>
            </a:solidFill>
            <a:round/>
            <a:headEnd type="triangle" w="med" len="med"/>
            <a:tailEnd type="triangle" w="med" len="med"/>
          </a:ln>
        </p:spPr>
      </p:cxnSp>
      <p:sp>
        <p:nvSpPr>
          <p:cNvPr id="274" name="Left-Right Arrow 273"/>
          <p:cNvSpPr/>
          <p:nvPr/>
        </p:nvSpPr>
        <p:spPr bwMode="auto">
          <a:xfrm>
            <a:off x="2704466" y="3764141"/>
            <a:ext cx="675945" cy="135467"/>
          </a:xfrm>
          <a:prstGeom prst="leftRightArrow">
            <a:avLst/>
          </a:prstGeom>
          <a:solidFill>
            <a:schemeClr val="bg1">
              <a:lumMod val="50000"/>
            </a:schemeClr>
          </a:solidFill>
          <a:ln w="9525" cap="flat" cmpd="sng" algn="ctr">
            <a:solidFill>
              <a:schemeClr val="bg1">
                <a:lumMod val="50000"/>
              </a:schemeClr>
            </a:solidFill>
            <a:prstDash val="solid"/>
            <a:headEnd type="none" w="med" len="med"/>
            <a:tailEnd type="none" w="med" len="med"/>
          </a:ln>
          <a:effectLst/>
        </p:spPr>
        <p:txBody>
          <a:bodyPr vert="horz" wrap="square" lIns="93656" tIns="46828" rIns="93656" bIns="46828"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6647" rtl="0" eaLnBrk="0" fontAlgn="auto" latinLnBrk="0" hangingPunct="0">
              <a:lnSpc>
                <a:spcPct val="100000"/>
              </a:lnSpc>
              <a:spcBef>
                <a:spcPts val="0"/>
              </a:spcBef>
              <a:spcAft>
                <a:spcPts val="0"/>
              </a:spcAft>
              <a:buClrTx/>
              <a:buSzTx/>
              <a:buFontTx/>
              <a:buNone/>
              <a:tabLst/>
              <a:defRPr/>
            </a:pPr>
            <a:endParaRPr kumimoji="0" lang="en-GB" sz="1639" b="1" i="0" u="none" strike="noStrike" kern="1200" cap="none" spc="0" normalizeH="0" baseline="0" noProof="0" dirty="0">
              <a:ln>
                <a:noFill/>
              </a:ln>
              <a:solidFill>
                <a:prstClr val="black"/>
              </a:solidFill>
              <a:effectLst/>
              <a:uLnTx/>
              <a:uFillTx/>
              <a:latin typeface="Calibri" panose="020F0502020204030204"/>
              <a:ea typeface="ＭＳ Ｐゴシック" pitchFamily="-12" charset="-128"/>
              <a:cs typeface="Calibri" pitchFamily="34" charset="0"/>
              <a:sym typeface="Arial"/>
            </a:endParaRPr>
          </a:p>
        </p:txBody>
      </p:sp>
      <p:sp>
        <p:nvSpPr>
          <p:cNvPr id="275" name="Left-Right Arrow 274"/>
          <p:cNvSpPr/>
          <p:nvPr/>
        </p:nvSpPr>
        <p:spPr bwMode="auto">
          <a:xfrm>
            <a:off x="2722980" y="4747427"/>
            <a:ext cx="675945" cy="135467"/>
          </a:xfrm>
          <a:prstGeom prst="leftRightArrow">
            <a:avLst/>
          </a:prstGeom>
          <a:solidFill>
            <a:schemeClr val="bg1">
              <a:lumMod val="50000"/>
            </a:schemeClr>
          </a:solidFill>
          <a:ln w="9525" cap="flat" cmpd="sng" algn="ctr">
            <a:solidFill>
              <a:schemeClr val="bg1">
                <a:lumMod val="50000"/>
              </a:schemeClr>
            </a:solidFill>
            <a:prstDash val="solid"/>
            <a:headEnd type="none" w="med" len="med"/>
            <a:tailEnd type="none" w="med" len="med"/>
          </a:ln>
          <a:effectLst/>
        </p:spPr>
        <p:txBody>
          <a:bodyPr vert="horz" wrap="square" lIns="93656" tIns="46828" rIns="93656" bIns="46828"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6647" rtl="0" eaLnBrk="0" fontAlgn="auto" latinLnBrk="0" hangingPunct="0">
              <a:lnSpc>
                <a:spcPct val="100000"/>
              </a:lnSpc>
              <a:spcBef>
                <a:spcPts val="0"/>
              </a:spcBef>
              <a:spcAft>
                <a:spcPts val="0"/>
              </a:spcAft>
              <a:buClrTx/>
              <a:buSzTx/>
              <a:buFontTx/>
              <a:buNone/>
              <a:tabLst/>
              <a:defRPr/>
            </a:pPr>
            <a:endParaRPr kumimoji="0" lang="en-GB" sz="1639" b="1" i="0" u="none" strike="noStrike" kern="1200" cap="none" spc="0" normalizeH="0" baseline="0" noProof="0" dirty="0">
              <a:ln>
                <a:noFill/>
              </a:ln>
              <a:solidFill>
                <a:prstClr val="black"/>
              </a:solidFill>
              <a:effectLst/>
              <a:uLnTx/>
              <a:uFillTx/>
              <a:latin typeface="Calibri" panose="020F0502020204030204"/>
              <a:ea typeface="ＭＳ Ｐゴシック" pitchFamily="-12" charset="-128"/>
              <a:cs typeface="Calibri" pitchFamily="34" charset="0"/>
              <a:sym typeface="Arial"/>
            </a:endParaRPr>
          </a:p>
        </p:txBody>
      </p:sp>
      <p:sp>
        <p:nvSpPr>
          <p:cNvPr id="276" name="Left-Right Arrow 275"/>
          <p:cNvSpPr/>
          <p:nvPr/>
        </p:nvSpPr>
        <p:spPr bwMode="auto">
          <a:xfrm>
            <a:off x="2677235" y="2830356"/>
            <a:ext cx="675945" cy="135467"/>
          </a:xfrm>
          <a:prstGeom prst="leftRightArrow">
            <a:avLst/>
          </a:prstGeom>
          <a:solidFill>
            <a:schemeClr val="bg1">
              <a:lumMod val="50000"/>
            </a:schemeClr>
          </a:solidFill>
          <a:ln w="9525" cap="flat" cmpd="sng" algn="ctr">
            <a:solidFill>
              <a:schemeClr val="bg1">
                <a:lumMod val="50000"/>
              </a:schemeClr>
            </a:solidFill>
            <a:prstDash val="solid"/>
            <a:headEnd type="none" w="med" len="med"/>
            <a:tailEnd type="none" w="med" len="med"/>
          </a:ln>
          <a:effectLst/>
        </p:spPr>
        <p:txBody>
          <a:bodyPr vert="horz" wrap="square" lIns="93656" tIns="46828" rIns="93656" bIns="46828"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6647" rtl="0" eaLnBrk="0" fontAlgn="auto" latinLnBrk="0" hangingPunct="0">
              <a:lnSpc>
                <a:spcPct val="100000"/>
              </a:lnSpc>
              <a:spcBef>
                <a:spcPts val="0"/>
              </a:spcBef>
              <a:spcAft>
                <a:spcPts val="0"/>
              </a:spcAft>
              <a:buClrTx/>
              <a:buSzTx/>
              <a:buFontTx/>
              <a:buNone/>
              <a:tabLst/>
              <a:defRPr/>
            </a:pPr>
            <a:endParaRPr kumimoji="0" lang="en-GB" sz="1639" b="1" i="0" u="none" strike="noStrike" kern="1200" cap="none" spc="0" normalizeH="0" baseline="0" noProof="0" dirty="0">
              <a:ln>
                <a:noFill/>
              </a:ln>
              <a:solidFill>
                <a:prstClr val="black"/>
              </a:solidFill>
              <a:effectLst/>
              <a:uLnTx/>
              <a:uFillTx/>
              <a:latin typeface="Calibri" panose="020F0502020204030204"/>
              <a:ea typeface="ＭＳ Ｐゴシック" pitchFamily="-12" charset="-128"/>
              <a:cs typeface="Calibri" pitchFamily="34" charset="0"/>
              <a:sym typeface="Arial"/>
            </a:endParaRPr>
          </a:p>
        </p:txBody>
      </p:sp>
      <p:cxnSp>
        <p:nvCxnSpPr>
          <p:cNvPr id="277" name="Straight Arrow Connector 276"/>
          <p:cNvCxnSpPr/>
          <p:nvPr/>
        </p:nvCxnSpPr>
        <p:spPr bwMode="auto">
          <a:xfrm flipV="1">
            <a:off x="4493957" y="3177159"/>
            <a:ext cx="0" cy="267588"/>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cxnSp>
        <p:nvCxnSpPr>
          <p:cNvPr id="278" name="Straight Arrow Connector 277"/>
          <p:cNvCxnSpPr/>
          <p:nvPr/>
        </p:nvCxnSpPr>
        <p:spPr bwMode="auto">
          <a:xfrm flipV="1">
            <a:off x="4532430" y="4188845"/>
            <a:ext cx="0" cy="325517"/>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cxnSp>
        <p:nvCxnSpPr>
          <p:cNvPr id="279" name="Straight Arrow Connector 278"/>
          <p:cNvCxnSpPr/>
          <p:nvPr/>
        </p:nvCxnSpPr>
        <p:spPr bwMode="auto">
          <a:xfrm flipV="1">
            <a:off x="7473656" y="4208922"/>
            <a:ext cx="0" cy="325517"/>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cxnSp>
        <p:nvCxnSpPr>
          <p:cNvPr id="280" name="Straight Arrow Connector 279"/>
          <p:cNvCxnSpPr/>
          <p:nvPr/>
        </p:nvCxnSpPr>
        <p:spPr bwMode="auto">
          <a:xfrm flipV="1">
            <a:off x="7446697" y="3201834"/>
            <a:ext cx="0" cy="325517"/>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sp>
        <p:nvSpPr>
          <p:cNvPr id="281" name="Rounded Rectangle 280"/>
          <p:cNvSpPr/>
          <p:nvPr/>
        </p:nvSpPr>
        <p:spPr>
          <a:xfrm>
            <a:off x="814660" y="1348011"/>
            <a:ext cx="8153110" cy="1044946"/>
          </a:xfrm>
          <a:prstGeom prst="roundRect">
            <a:avLst>
              <a:gd name="adj" fmla="val 0"/>
            </a:avLst>
          </a:prstGeom>
          <a:solidFill>
            <a:srgbClr val="FFFFFF">
              <a:alpha val="85098"/>
            </a:srgbClr>
          </a:solidFill>
          <a:ln w="9525" cap="flat" cmpd="sng" algn="ctr">
            <a:solidFill>
              <a:schemeClr val="bg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117081" algn="just" defTabSz="914400" rtl="0" eaLnBrk="1" fontAlgn="auto" latinLnBrk="0" hangingPunct="1">
              <a:lnSpc>
                <a:spcPct val="100000"/>
              </a:lnSpc>
              <a:spcBef>
                <a:spcPts val="307"/>
              </a:spcBef>
              <a:spcAft>
                <a:spcPts val="0"/>
              </a:spcAft>
              <a:buClrTx/>
              <a:buSzTx/>
              <a:buFont typeface="Wingdings" pitchFamily="2" charset="2"/>
              <a:buChar char="§"/>
              <a:tabLst/>
              <a:defRPr/>
            </a:pPr>
            <a:endParaRPr kumimoji="0" lang="en-US" sz="820" b="1" i="0" u="none" strike="noStrike" kern="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282" name="TextBox 281"/>
          <p:cNvSpPr txBox="1"/>
          <p:nvPr/>
        </p:nvSpPr>
        <p:spPr>
          <a:xfrm rot="16200000">
            <a:off x="-42437" y="1550923"/>
            <a:ext cx="1024356" cy="660580"/>
          </a:xfrm>
          <a:prstGeom prst="rect">
            <a:avLst/>
          </a:prstGeom>
          <a:solidFill>
            <a:schemeClr val="tx1">
              <a:lumMod val="50000"/>
              <a:lumOff val="50000"/>
            </a:schemeClr>
          </a:solidFill>
          <a:ln w="9525" cap="flat" cmpd="sng" algn="ctr">
            <a:noFill/>
            <a:prstDash val="solid"/>
            <a:headEnd/>
            <a:tailEnd/>
          </a:ln>
          <a:effectLst/>
        </p:spPr>
        <p:txBody>
          <a:bodyPr lIns="45156" tIns="46800" rIns="45156" bIns="46800" anchor="ctr"/>
          <a:lstStyle>
            <a:defPPr>
              <a:defRPr lang="en-US"/>
            </a:defPPr>
            <a:lvl1pPr marR="0" lvl="0" indent="0" algn="ctr" defTabSz="913852" fontAlgn="base">
              <a:lnSpc>
                <a:spcPct val="100000"/>
              </a:lnSpc>
              <a:spcBef>
                <a:spcPct val="0"/>
              </a:spcBef>
              <a:spcAft>
                <a:spcPct val="0"/>
              </a:spcAft>
              <a:buClrTx/>
              <a:buSzTx/>
              <a:buFontTx/>
              <a:buNone/>
              <a:tabLst/>
              <a:defRPr kumimoji="0" sz="900" b="1" i="0" u="none" strike="noStrike" kern="0" cap="none" spc="0" normalizeH="0" baseline="0">
                <a:ln>
                  <a:noFill/>
                </a:ln>
                <a:solidFill>
                  <a:prstClr val="black"/>
                </a:solidFill>
                <a:effectLst/>
                <a:uLnTx/>
                <a:uFillTx/>
                <a:latin typeface="Calibri"/>
                <a:ea typeface="ＭＳ Ｐゴシック" pitchFamily="34" charset="-128"/>
                <a:cs typeface="Calibri" pitchFamily="34" charset="0"/>
              </a:defRPr>
            </a:lvl1p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024" b="1" i="0" u="none" strike="noStrike" kern="0" cap="none" spc="0" normalizeH="0" baseline="0" noProof="0" dirty="0">
                <a:ln>
                  <a:noFill/>
                </a:ln>
                <a:solidFill>
                  <a:srgbClr val="FFFFFF"/>
                </a:solidFill>
                <a:effectLst/>
                <a:uLnTx/>
                <a:uFillTx/>
                <a:latin typeface="Arial"/>
                <a:ea typeface="ＭＳ Ｐゴシック" pitchFamily="34" charset="-128"/>
                <a:sym typeface="Arial"/>
              </a:rPr>
              <a:t>Executive Sponsors</a:t>
            </a:r>
          </a:p>
        </p:txBody>
      </p:sp>
      <p:sp>
        <p:nvSpPr>
          <p:cNvPr id="283" name="TextBox 282"/>
          <p:cNvSpPr txBox="1"/>
          <p:nvPr/>
        </p:nvSpPr>
        <p:spPr>
          <a:xfrm>
            <a:off x="1086850" y="1888849"/>
            <a:ext cx="1514406" cy="378793"/>
          </a:xfrm>
          <a:prstGeom prst="rect">
            <a:avLst/>
          </a:prstGeom>
          <a:noFill/>
          <a:ln w="9525" cap="flat" cmpd="sng" algn="ctr">
            <a:noFill/>
            <a:prstDash val="solid"/>
            <a:headEnd/>
            <a:tailEnd/>
          </a:ln>
          <a:effectLst/>
        </p:spPr>
        <p:txBody>
          <a:bodyPr lIns="93598" tIns="46800" rIns="93598" bIns="46800" anchor="ctr"/>
          <a:lstStyle>
            <a:defPPr>
              <a:defRPr lang="en-US"/>
            </a:defPPr>
            <a:lvl1pPr algn="ctr" fontAlgn="base">
              <a:spcBef>
                <a:spcPct val="0"/>
              </a:spcBef>
              <a:spcAft>
                <a:spcPct val="0"/>
              </a:spcAft>
              <a:defRPr sz="900" b="1" kern="0">
                <a:solidFill>
                  <a:prstClr val="black"/>
                </a:solidFill>
                <a:latin typeface="Calibri"/>
              </a:defRPr>
            </a:lvl1pPr>
          </a:lstStyle>
          <a:p>
            <a:pPr marL="0" marR="0" lvl="0" indent="0" algn="ctr" defTabSz="936086" rtl="0" eaLnBrk="1" fontAlgn="base" latinLnBrk="0" hangingPunct="1">
              <a:lnSpc>
                <a:spcPct val="100000"/>
              </a:lnSpc>
              <a:spcBef>
                <a:spcPct val="0"/>
              </a:spcBef>
              <a:spcAft>
                <a:spcPct val="0"/>
              </a:spcAft>
              <a:buClrTx/>
              <a:buSzTx/>
              <a:buFontTx/>
              <a:buNone/>
              <a:tabLst/>
              <a:defRPr/>
            </a:pPr>
            <a:r>
              <a:rPr kumimoji="0" lang="en-US" sz="976"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Executive Sponsors</a:t>
            </a:r>
          </a:p>
        </p:txBody>
      </p:sp>
      <p:cxnSp>
        <p:nvCxnSpPr>
          <p:cNvPr id="284" name="Straight Arrow Connector 191"/>
          <p:cNvCxnSpPr>
            <a:cxnSpLocks noChangeShapeType="1"/>
          </p:cNvCxnSpPr>
          <p:nvPr/>
        </p:nvCxnSpPr>
        <p:spPr bwMode="auto">
          <a:xfrm flipV="1">
            <a:off x="5757485" y="1879798"/>
            <a:ext cx="504418" cy="3534"/>
          </a:xfrm>
          <a:prstGeom prst="straightConnector1">
            <a:avLst/>
          </a:prstGeom>
          <a:noFill/>
          <a:ln w="12700" algn="ctr">
            <a:solidFill>
              <a:schemeClr val="tx1">
                <a:lumMod val="75000"/>
                <a:lumOff val="25000"/>
              </a:schemeClr>
            </a:solidFill>
            <a:round/>
            <a:headEnd type="triangle" w="med" len="med"/>
            <a:tailEnd type="triangle" w="med" len="med"/>
          </a:ln>
        </p:spPr>
      </p:cxnSp>
      <p:sp>
        <p:nvSpPr>
          <p:cNvPr id="285" name="Left-Right Arrow 284"/>
          <p:cNvSpPr/>
          <p:nvPr/>
        </p:nvSpPr>
        <p:spPr bwMode="auto">
          <a:xfrm>
            <a:off x="2663973" y="1813831"/>
            <a:ext cx="675945" cy="135467"/>
          </a:xfrm>
          <a:prstGeom prst="leftRightArrow">
            <a:avLst/>
          </a:prstGeom>
          <a:solidFill>
            <a:schemeClr val="bg1">
              <a:lumMod val="50000"/>
            </a:schemeClr>
          </a:solidFill>
          <a:ln w="9525" cap="flat" cmpd="sng" algn="ctr">
            <a:solidFill>
              <a:schemeClr val="bg1">
                <a:lumMod val="50000"/>
              </a:schemeClr>
            </a:solidFill>
            <a:prstDash val="solid"/>
            <a:headEnd type="none" w="med" len="med"/>
            <a:tailEnd type="none" w="med" len="med"/>
          </a:ln>
          <a:effectLst/>
        </p:spPr>
        <p:txBody>
          <a:bodyPr vert="horz" wrap="square" lIns="93656" tIns="46828" rIns="93656" bIns="46828"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6647" rtl="0" eaLnBrk="0" fontAlgn="auto" latinLnBrk="0" hangingPunct="0">
              <a:lnSpc>
                <a:spcPct val="100000"/>
              </a:lnSpc>
              <a:spcBef>
                <a:spcPts val="0"/>
              </a:spcBef>
              <a:spcAft>
                <a:spcPts val="0"/>
              </a:spcAft>
              <a:buClrTx/>
              <a:buSzTx/>
              <a:buFontTx/>
              <a:buNone/>
              <a:tabLst/>
              <a:defRPr/>
            </a:pPr>
            <a:endParaRPr kumimoji="0" lang="en-GB" sz="1639" b="1" i="0" u="none" strike="noStrike" kern="1200" cap="none" spc="0" normalizeH="0" baseline="0" noProof="0" dirty="0">
              <a:ln>
                <a:noFill/>
              </a:ln>
              <a:solidFill>
                <a:prstClr val="black"/>
              </a:solidFill>
              <a:effectLst/>
              <a:uLnTx/>
              <a:uFillTx/>
              <a:latin typeface="Calibri" panose="020F0502020204030204"/>
              <a:ea typeface="ＭＳ Ｐゴシック" pitchFamily="-12" charset="-128"/>
              <a:cs typeface="Calibri" pitchFamily="34" charset="0"/>
              <a:sym typeface="Arial"/>
            </a:endParaRPr>
          </a:p>
        </p:txBody>
      </p:sp>
      <p:cxnSp>
        <p:nvCxnSpPr>
          <p:cNvPr id="286" name="Straight Arrow Connector 285"/>
          <p:cNvCxnSpPr/>
          <p:nvPr/>
        </p:nvCxnSpPr>
        <p:spPr bwMode="auto">
          <a:xfrm flipV="1">
            <a:off x="4493957" y="2232363"/>
            <a:ext cx="0" cy="325517"/>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cxnSp>
        <p:nvCxnSpPr>
          <p:cNvPr id="287" name="Straight Arrow Connector 286"/>
          <p:cNvCxnSpPr/>
          <p:nvPr/>
        </p:nvCxnSpPr>
        <p:spPr bwMode="auto">
          <a:xfrm flipV="1">
            <a:off x="7446697" y="2269855"/>
            <a:ext cx="0" cy="325517"/>
          </a:xfrm>
          <a:prstGeom prst="straightConnector1">
            <a:avLst/>
          </a:prstGeom>
          <a:noFill/>
          <a:ln w="9525" cap="flat" cmpd="sng" algn="ctr">
            <a:solidFill>
              <a:schemeClr val="tx1">
                <a:lumMod val="65000"/>
                <a:lumOff val="35000"/>
              </a:schemeClr>
            </a:solidFill>
            <a:prstDash val="solid"/>
            <a:round/>
            <a:headEnd type="none" w="med" len="med"/>
            <a:tailEnd type="triangle" w="med" len="med"/>
          </a:ln>
          <a:effectLst/>
        </p:spPr>
      </p:cxnSp>
      <p:sp>
        <p:nvSpPr>
          <p:cNvPr id="288" name="Rectangle 287"/>
          <p:cNvSpPr>
            <a:spLocks noChangeArrowheads="1"/>
          </p:cNvSpPr>
          <p:nvPr/>
        </p:nvSpPr>
        <p:spPr bwMode="auto">
          <a:xfrm>
            <a:off x="3468201" y="1849229"/>
            <a:ext cx="2051512" cy="363651"/>
          </a:xfrm>
          <a:prstGeom prst="rect">
            <a:avLst/>
          </a:prstGeom>
          <a:noFill/>
          <a:ln w="9525">
            <a:noFill/>
            <a:miter lim="800000"/>
            <a:headEnd/>
            <a:tailEnd/>
          </a:ln>
        </p:spPr>
        <p:txBody>
          <a:bodyPr lIns="44599" rIns="44599"/>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rPr>
              <a:t>Client Partn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endParaRPr>
          </a:p>
        </p:txBody>
      </p:sp>
      <p:sp>
        <p:nvSpPr>
          <p:cNvPr id="289" name="Rectangle 53"/>
          <p:cNvSpPr>
            <a:spLocks noChangeArrowheads="1"/>
          </p:cNvSpPr>
          <p:nvPr/>
        </p:nvSpPr>
        <p:spPr bwMode="auto">
          <a:xfrm>
            <a:off x="6938025" y="1851751"/>
            <a:ext cx="1121613" cy="375577"/>
          </a:xfrm>
          <a:prstGeom prst="rect">
            <a:avLst/>
          </a:prstGeom>
          <a:noFill/>
          <a:ln w="9525">
            <a:noFill/>
            <a:miter lim="800000"/>
            <a:headEnd/>
            <a:tailEnd/>
          </a:ln>
        </p:spPr>
        <p:txBody>
          <a:bodyPr lIns="44599" rIns="44599"/>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rPr>
              <a:t>Practice Head</a:t>
            </a:r>
            <a:endParaRPr kumimoji="0" lang="en-US" sz="1077" b="0" i="0" u="none" strike="noStrike" kern="120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endParaRPr>
          </a:p>
        </p:txBody>
      </p:sp>
      <p:sp>
        <p:nvSpPr>
          <p:cNvPr id="290" name="Text Box 61"/>
          <p:cNvSpPr txBox="1">
            <a:spLocks noChangeArrowheads="1"/>
          </p:cNvSpPr>
          <p:nvPr/>
        </p:nvSpPr>
        <p:spPr bwMode="auto">
          <a:xfrm>
            <a:off x="6021871" y="2906602"/>
            <a:ext cx="1427139" cy="222582"/>
          </a:xfrm>
          <a:prstGeom prst="rect">
            <a:avLst/>
          </a:prstGeom>
          <a:noFill/>
          <a:ln w="9525">
            <a:noFill/>
            <a:miter lim="800000"/>
            <a:headEnd/>
            <a:tailEnd/>
          </a:ln>
          <a:effectLst/>
        </p:spPr>
        <p:txBody>
          <a:bodyPr lIns="0" tIns="0" rIns="0" bIns="0" anchor="t"/>
          <a:lstStyle/>
          <a:p>
            <a:pPr marL="0" marR="0" lvl="0" indent="0" algn="ctr" defTabSz="892044" rtl="0" eaLnBrk="1" fontAlgn="auto" latinLnBrk="0" hangingPunct="1">
              <a:lnSpc>
                <a:spcPct val="100000"/>
              </a:lnSpc>
              <a:spcBef>
                <a:spcPts val="0"/>
              </a:spcBef>
              <a:spcAft>
                <a:spcPts val="0"/>
              </a:spcAft>
              <a:buClrTx/>
              <a:buSzTx/>
              <a:buFontTx/>
              <a:buNone/>
              <a:tabLst/>
              <a:defRPr/>
            </a:pPr>
            <a:r>
              <a:rPr kumimoji="0" lang="en-US" sz="1077" b="0" i="0" u="none" strike="noStrike" kern="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rPr>
              <a:t>AMS Lead</a:t>
            </a:r>
          </a:p>
        </p:txBody>
      </p:sp>
      <p:sp>
        <p:nvSpPr>
          <p:cNvPr id="291" name="Rectangle 42"/>
          <p:cNvSpPr>
            <a:spLocks noChangeArrowheads="1"/>
          </p:cNvSpPr>
          <p:nvPr/>
        </p:nvSpPr>
        <p:spPr bwMode="auto">
          <a:xfrm>
            <a:off x="3468201" y="2825351"/>
            <a:ext cx="2051512" cy="302001"/>
          </a:xfrm>
          <a:prstGeom prst="rect">
            <a:avLst/>
          </a:prstGeom>
          <a:noFill/>
          <a:ln w="9525">
            <a:noFill/>
            <a:miter lim="800000"/>
            <a:headEnd/>
            <a:tailEnd/>
          </a:ln>
        </p:spPr>
        <p:txBody>
          <a:bodyPr lIns="44599" rIns="44599"/>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rPr>
              <a:t>Account Manag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endParaRPr>
          </a:p>
        </p:txBody>
      </p:sp>
      <p:sp>
        <p:nvSpPr>
          <p:cNvPr id="292" name="Rounded Rectangle 185"/>
          <p:cNvSpPr>
            <a:spLocks noChangeArrowheads="1"/>
          </p:cNvSpPr>
          <p:nvPr/>
        </p:nvSpPr>
        <p:spPr bwMode="auto">
          <a:xfrm>
            <a:off x="3390700" y="4756746"/>
            <a:ext cx="1060284" cy="296286"/>
          </a:xfrm>
          <a:prstGeom prst="roundRect">
            <a:avLst>
              <a:gd name="adj" fmla="val 0"/>
            </a:avLst>
          </a:prstGeom>
          <a:noFill/>
          <a:ln w="9525" cap="flat" cmpd="sng" algn="ctr">
            <a:noFill/>
            <a:prstDash val="solid"/>
            <a:headEnd/>
            <a:tailEnd/>
          </a:ln>
          <a:effectLst/>
        </p:spPr>
        <p:txBody>
          <a:bodyPr lIns="93598" tIns="46800" rIns="93598" bIns="46800" anchor="ct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107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Functional Lead</a:t>
            </a:r>
          </a:p>
        </p:txBody>
      </p:sp>
      <p:grpSp>
        <p:nvGrpSpPr>
          <p:cNvPr id="293" name="Group 292"/>
          <p:cNvGrpSpPr/>
          <p:nvPr/>
        </p:nvGrpSpPr>
        <p:grpSpPr>
          <a:xfrm>
            <a:off x="9251511" y="1381255"/>
            <a:ext cx="2828133" cy="4342369"/>
            <a:chOff x="9047805" y="1260646"/>
            <a:chExt cx="2899278" cy="4451607"/>
          </a:xfrm>
        </p:grpSpPr>
        <p:sp>
          <p:nvSpPr>
            <p:cNvPr id="294" name="Rounded Rectangle 293"/>
            <p:cNvSpPr/>
            <p:nvPr/>
          </p:nvSpPr>
          <p:spPr bwMode="auto">
            <a:xfrm rot="5400000">
              <a:off x="11321514" y="2597842"/>
              <a:ext cx="841535" cy="409603"/>
            </a:xfrm>
            <a:prstGeom prst="roundRect">
              <a:avLst>
                <a:gd name="adj" fmla="val 0"/>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8306" rtl="0" eaLnBrk="1" fontAlgn="auto" latinLnBrk="0" hangingPunct="1">
                <a:lnSpc>
                  <a:spcPct val="100000"/>
                </a:lnSpc>
                <a:spcBef>
                  <a:spcPts val="911"/>
                </a:spcBef>
                <a:spcAft>
                  <a:spcPts val="0"/>
                </a:spcAft>
                <a:buClrTx/>
                <a:buSzTx/>
                <a:buFontTx/>
                <a:buNone/>
                <a:tabLst/>
                <a:defRPr/>
              </a:pPr>
              <a:r>
                <a:rPr kumimoji="0" lang="en-US" sz="1122"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Quarterly</a:t>
              </a:r>
            </a:p>
          </p:txBody>
        </p:sp>
        <p:sp>
          <p:nvSpPr>
            <p:cNvPr id="295" name="Rounded Rectangle 294"/>
            <p:cNvSpPr/>
            <p:nvPr/>
          </p:nvSpPr>
          <p:spPr bwMode="auto">
            <a:xfrm rot="5400000">
              <a:off x="11254968" y="3661162"/>
              <a:ext cx="972697" cy="409675"/>
            </a:xfrm>
            <a:prstGeom prst="roundRect">
              <a:avLst>
                <a:gd name="adj" fmla="val 0"/>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8306" rtl="0" eaLnBrk="1" fontAlgn="auto" latinLnBrk="0" hangingPunct="1">
                <a:lnSpc>
                  <a:spcPct val="100000"/>
                </a:lnSpc>
                <a:spcBef>
                  <a:spcPts val="911"/>
                </a:spcBef>
                <a:spcAft>
                  <a:spcPts val="0"/>
                </a:spcAft>
                <a:buClrTx/>
                <a:buSzTx/>
                <a:buFontTx/>
                <a:buNone/>
                <a:tabLst/>
                <a:defRPr/>
              </a:pPr>
              <a:r>
                <a:rPr kumimoji="0" lang="en-US" sz="1122"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Monthly</a:t>
              </a:r>
            </a:p>
          </p:txBody>
        </p:sp>
        <p:sp>
          <p:nvSpPr>
            <p:cNvPr id="296" name="Rounded Rectangle 295"/>
            <p:cNvSpPr/>
            <p:nvPr/>
          </p:nvSpPr>
          <p:spPr bwMode="auto">
            <a:xfrm rot="5400000">
              <a:off x="11206938" y="4874239"/>
              <a:ext cx="1051947" cy="392871"/>
            </a:xfrm>
            <a:prstGeom prst="roundRect">
              <a:avLst>
                <a:gd name="adj" fmla="val 0"/>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8306" rtl="0" eaLnBrk="1" fontAlgn="auto" latinLnBrk="0" hangingPunct="1">
                <a:lnSpc>
                  <a:spcPct val="100000"/>
                </a:lnSpc>
                <a:spcBef>
                  <a:spcPts val="911"/>
                </a:spcBef>
                <a:spcAft>
                  <a:spcPts val="0"/>
                </a:spcAft>
                <a:buClrTx/>
                <a:buSzTx/>
                <a:buFontTx/>
                <a:buNone/>
                <a:tabLst/>
                <a:defRPr/>
              </a:pPr>
              <a:r>
                <a:rPr kumimoji="0" lang="en-US" sz="1122"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Weekly</a:t>
              </a:r>
            </a:p>
          </p:txBody>
        </p:sp>
        <p:sp>
          <p:nvSpPr>
            <p:cNvPr id="297" name="Rounded Rectangle 296"/>
            <p:cNvSpPr/>
            <p:nvPr/>
          </p:nvSpPr>
          <p:spPr bwMode="auto">
            <a:xfrm rot="5400000">
              <a:off x="11240023" y="1628388"/>
              <a:ext cx="972563" cy="409603"/>
            </a:xfrm>
            <a:prstGeom prst="roundRect">
              <a:avLst>
                <a:gd name="adj" fmla="val 0"/>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8306" rtl="0" eaLnBrk="1" fontAlgn="auto" latinLnBrk="0" hangingPunct="1">
                <a:lnSpc>
                  <a:spcPct val="100000"/>
                </a:lnSpc>
                <a:spcBef>
                  <a:spcPts val="911"/>
                </a:spcBef>
                <a:spcAft>
                  <a:spcPts val="0"/>
                </a:spcAft>
                <a:buClrTx/>
                <a:buSzTx/>
                <a:buFontTx/>
                <a:buNone/>
                <a:tabLst/>
                <a:defRPr/>
              </a:pPr>
              <a:r>
                <a:rPr kumimoji="0" lang="en-US" sz="1122"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Annual</a:t>
              </a:r>
            </a:p>
          </p:txBody>
        </p:sp>
        <p:sp>
          <p:nvSpPr>
            <p:cNvPr id="298" name="Rectangle 297"/>
            <p:cNvSpPr/>
            <p:nvPr/>
          </p:nvSpPr>
          <p:spPr>
            <a:xfrm>
              <a:off x="9047805" y="1260646"/>
              <a:ext cx="2473697" cy="4451607"/>
            </a:xfrm>
            <a:prstGeom prst="rect">
              <a:avLst/>
            </a:prstGeom>
            <a:solidFill>
              <a:schemeClr val="bg1">
                <a:lumMod val="95000"/>
              </a:schemeClr>
            </a:solidFill>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Calibri" panose="020F0502020204030204"/>
                <a:ea typeface="+mn-ea"/>
                <a:cs typeface="+mn-cs"/>
                <a:sym typeface="Arial"/>
              </a:endParaRPr>
            </a:p>
          </p:txBody>
        </p:sp>
        <p:sp>
          <p:nvSpPr>
            <p:cNvPr id="299" name="TextBox 298"/>
            <p:cNvSpPr txBox="1"/>
            <p:nvPr/>
          </p:nvSpPr>
          <p:spPr>
            <a:xfrm>
              <a:off x="9118183" y="2401741"/>
              <a:ext cx="2311464" cy="784830"/>
            </a:xfrm>
            <a:prstGeom prst="rect">
              <a:avLst/>
            </a:prstGeom>
            <a:noFill/>
          </p:spPr>
          <p:txBody>
            <a:bodyPr wrap="square">
              <a:spAutoFit/>
            </a:bodyPr>
            <a:lstStyle/>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Business Level objective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Engagement Roadmap</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Quarterly/ Half yearly reporting </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Policies and procedures</a:t>
              </a:r>
            </a:p>
          </p:txBody>
        </p:sp>
        <p:sp>
          <p:nvSpPr>
            <p:cNvPr id="300" name="TextBox 299"/>
            <p:cNvSpPr txBox="1"/>
            <p:nvPr/>
          </p:nvSpPr>
          <p:spPr>
            <a:xfrm>
              <a:off x="9118183" y="3295896"/>
              <a:ext cx="2311464" cy="1131079"/>
            </a:xfrm>
            <a:prstGeom prst="rect">
              <a:avLst/>
            </a:prstGeom>
            <a:noFill/>
          </p:spPr>
          <p:txBody>
            <a:bodyPr wrap="square">
              <a:spAutoFit/>
            </a:bodyPr>
            <a:lstStyle/>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Action Items review</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Service levels review</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Review of change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Pre-view of planned change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Planning Maintenance Activities </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Demand Forecast</a:t>
              </a:r>
            </a:p>
          </p:txBody>
        </p:sp>
        <p:sp>
          <p:nvSpPr>
            <p:cNvPr id="301" name="TextBox 300"/>
            <p:cNvSpPr txBox="1"/>
            <p:nvPr/>
          </p:nvSpPr>
          <p:spPr>
            <a:xfrm>
              <a:off x="9118183" y="4536302"/>
              <a:ext cx="2311464" cy="1122459"/>
            </a:xfrm>
            <a:prstGeom prst="rect">
              <a:avLst/>
            </a:prstGeom>
            <a:noFill/>
          </p:spPr>
          <p:txBody>
            <a:bodyPr wrap="square">
              <a:spAutoFit/>
            </a:bodyPr>
            <a:lstStyle/>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smtClean="0">
                  <a:ln>
                    <a:noFill/>
                  </a:ln>
                  <a:solidFill>
                    <a:srgbClr val="000000"/>
                  </a:solidFill>
                  <a:effectLst/>
                  <a:uLnTx/>
                  <a:uFillTx/>
                  <a:latin typeface="Arial"/>
                  <a:ea typeface="+mn-ea"/>
                  <a:cs typeface="Calibri" panose="020F0502020204030204" pitchFamily="34" charset="0"/>
                  <a:sym typeface="Arial"/>
                </a:rPr>
                <a:t>L1.5/L2/L3 </a:t>
              </a: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Support teams </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Use of </a:t>
              </a:r>
              <a:r>
                <a:rPr kumimoji="0" lang="en-US" sz="1086" b="0" i="0" u="none" strike="noStrike" kern="0" cap="none" spc="0" normalizeH="0" baseline="0" noProof="0" dirty="0" smtClean="0">
                  <a:ln>
                    <a:noFill/>
                  </a:ln>
                  <a:solidFill>
                    <a:srgbClr val="000000"/>
                  </a:solidFill>
                  <a:effectLst/>
                  <a:uLnTx/>
                  <a:uFillTx/>
                  <a:latin typeface="Arial"/>
                  <a:ea typeface="+mn-ea"/>
                  <a:cs typeface="Calibri" panose="020F0502020204030204" pitchFamily="34" charset="0"/>
                  <a:sym typeface="Arial"/>
                </a:rPr>
                <a:t>Mainspring and </a:t>
              </a: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other enabler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SLA Tracking</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Quality Audit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rgbClr val="000000"/>
                  </a:solidFill>
                  <a:effectLst/>
                  <a:uLnTx/>
                  <a:uFillTx/>
                  <a:latin typeface="Arial"/>
                  <a:ea typeface="+mn-ea"/>
                  <a:cs typeface="Calibri" panose="020F0502020204030204" pitchFamily="34" charset="0"/>
                  <a:sym typeface="Arial"/>
                </a:rPr>
                <a:t>Weekly reporting</a:t>
              </a:r>
            </a:p>
          </p:txBody>
        </p:sp>
        <p:sp>
          <p:nvSpPr>
            <p:cNvPr id="302" name="TextBox 301"/>
            <p:cNvSpPr txBox="1"/>
            <p:nvPr/>
          </p:nvSpPr>
          <p:spPr>
            <a:xfrm>
              <a:off x="9118183" y="1334460"/>
              <a:ext cx="2311464" cy="957955"/>
            </a:xfrm>
            <a:prstGeom prst="rect">
              <a:avLst/>
            </a:prstGeom>
            <a:noFill/>
          </p:spPr>
          <p:txBody>
            <a:bodyPr wrap="square">
              <a:spAutoFit/>
            </a:bodyPr>
            <a:lstStyle/>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Publish the results of the CSS</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Survey will be conducted via 3</a:t>
              </a:r>
              <a:r>
                <a:rPr kumimoji="0" lang="en-US" sz="1086" b="0" i="0" u="none" strike="noStrike" kern="0" cap="none" spc="0" normalizeH="0" baseline="30000" noProof="0" dirty="0">
                  <a:ln>
                    <a:noFill/>
                  </a:ln>
                  <a:solidFill>
                    <a:sysClr val="windowText" lastClr="000000"/>
                  </a:solidFill>
                  <a:effectLst/>
                  <a:uLnTx/>
                  <a:uFillTx/>
                  <a:latin typeface="Arial"/>
                  <a:ea typeface="+mn-ea"/>
                  <a:cs typeface="Calibri" panose="020F0502020204030204" pitchFamily="34" charset="0"/>
                  <a:sym typeface="Arial"/>
                </a:rPr>
                <a:t>rd</a:t>
              </a: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  party agency</a:t>
              </a:r>
            </a:p>
            <a:p>
              <a:pPr marL="117410" marR="0" lvl="0" indent="-117410" algn="l" defTabSz="925140" rtl="0" eaLnBrk="1" fontAlgn="auto" latinLnBrk="0" hangingPunct="1">
                <a:lnSpc>
                  <a:spcPct val="100000"/>
                </a:lnSpc>
                <a:spcBef>
                  <a:spcPts val="0"/>
                </a:spcBef>
                <a:spcAft>
                  <a:spcPts val="0"/>
                </a:spcAft>
                <a:buClr>
                  <a:srgbClr val="000000">
                    <a:lumMod val="75000"/>
                    <a:lumOff val="25000"/>
                  </a:srgbClr>
                </a:buClr>
                <a:buSzTx/>
                <a:buFont typeface="Wingdings" panose="05000000000000000000" pitchFamily="2" charset="2"/>
                <a:buChar char="§"/>
                <a:tabLst/>
                <a:defRPr/>
              </a:pPr>
              <a:r>
                <a:rPr kumimoji="0" lang="en-US" sz="1086" b="0" i="0" u="none" strike="noStrike" kern="0" cap="none" spc="0" normalizeH="0" baseline="0" noProof="0" dirty="0">
                  <a:ln>
                    <a:noFill/>
                  </a:ln>
                  <a:solidFill>
                    <a:sysClr val="windowText" lastClr="000000"/>
                  </a:solidFill>
                  <a:effectLst/>
                  <a:uLnTx/>
                  <a:uFillTx/>
                  <a:latin typeface="Arial"/>
                  <a:ea typeface="+mn-ea"/>
                  <a:cs typeface="Calibri" panose="020F0502020204030204" pitchFamily="34" charset="0"/>
                  <a:sym typeface="Arial"/>
                </a:rPr>
                <a:t>Survey will be via phone and/or internet</a:t>
              </a:r>
            </a:p>
          </p:txBody>
        </p:sp>
        <p:cxnSp>
          <p:nvCxnSpPr>
            <p:cNvPr id="303" name="Straight Connector 302"/>
            <p:cNvCxnSpPr/>
            <p:nvPr/>
          </p:nvCxnSpPr>
          <p:spPr>
            <a:xfrm>
              <a:off x="9137099" y="2352532"/>
              <a:ext cx="2310734"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9137099" y="3228980"/>
              <a:ext cx="2310734"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9137099" y="4473981"/>
              <a:ext cx="2310734"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306" name="Rounded Rectangle 185"/>
          <p:cNvSpPr>
            <a:spLocks noChangeArrowheads="1"/>
          </p:cNvSpPr>
          <p:nvPr/>
        </p:nvSpPr>
        <p:spPr bwMode="auto">
          <a:xfrm>
            <a:off x="4783045" y="4770321"/>
            <a:ext cx="1002621" cy="282863"/>
          </a:xfrm>
          <a:prstGeom prst="roundRect">
            <a:avLst>
              <a:gd name="adj" fmla="val 0"/>
            </a:avLst>
          </a:prstGeom>
          <a:noFill/>
          <a:ln w="9525" cap="flat" cmpd="sng" algn="ctr">
            <a:noFill/>
            <a:prstDash val="solid"/>
            <a:headEnd/>
            <a:tailEnd/>
          </a:ln>
          <a:effectLst/>
        </p:spPr>
        <p:txBody>
          <a:bodyPr lIns="93598" tIns="46800" rIns="93598" bIns="46800" anchor="ctr"/>
          <a:lstStyle/>
          <a:p>
            <a:pPr marL="0" marR="0" lvl="0" indent="0" algn="ctr" defTabSz="936086" rtl="0" eaLnBrk="1" fontAlgn="auto" latinLnBrk="0" hangingPunct="1">
              <a:lnSpc>
                <a:spcPct val="100000"/>
              </a:lnSpc>
              <a:spcBef>
                <a:spcPts val="0"/>
              </a:spcBef>
              <a:spcAft>
                <a:spcPts val="0"/>
              </a:spcAft>
              <a:buClrTx/>
              <a:buSzTx/>
              <a:buFontTx/>
              <a:buNone/>
              <a:tabLst/>
              <a:defRPr/>
            </a:pPr>
            <a:r>
              <a:rPr kumimoji="0" lang="en-US" sz="1077" b="1" i="0" u="none" strike="noStrike" kern="0" cap="none" spc="0" normalizeH="0" baseline="0" noProof="0" dirty="0">
                <a:ln>
                  <a:noFill/>
                </a:ln>
                <a:solidFill>
                  <a:srgbClr val="000000">
                    <a:lumMod val="85000"/>
                    <a:lumOff val="15000"/>
                  </a:srgbClr>
                </a:solidFill>
                <a:effectLst/>
                <a:uLnTx/>
                <a:uFillTx/>
                <a:latin typeface="Arial"/>
                <a:ea typeface="ＭＳ Ｐゴシック" pitchFamily="34" charset="-128"/>
                <a:cs typeface="Calibri" pitchFamily="34" charset="0"/>
                <a:sym typeface="Arial"/>
              </a:rPr>
              <a:t>Technical Lead</a:t>
            </a:r>
          </a:p>
        </p:txBody>
      </p:sp>
      <p:sp>
        <p:nvSpPr>
          <p:cNvPr id="307" name="Text Box 61"/>
          <p:cNvSpPr txBox="1">
            <a:spLocks noChangeArrowheads="1"/>
          </p:cNvSpPr>
          <p:nvPr/>
        </p:nvSpPr>
        <p:spPr bwMode="auto">
          <a:xfrm>
            <a:off x="7276529" y="2907887"/>
            <a:ext cx="1427139" cy="222582"/>
          </a:xfrm>
          <a:prstGeom prst="rect">
            <a:avLst/>
          </a:prstGeom>
          <a:noFill/>
          <a:ln w="9525">
            <a:noFill/>
            <a:miter lim="800000"/>
            <a:headEnd/>
            <a:tailEnd/>
          </a:ln>
          <a:effectLst/>
        </p:spPr>
        <p:txBody>
          <a:bodyPr lIns="0" tIns="0" rIns="0" bIns="0" anchor="t"/>
          <a:lstStyle/>
          <a:p>
            <a:pPr marL="0" marR="0" lvl="0" indent="0" algn="ctr" defTabSz="892044" rtl="0" eaLnBrk="1" fontAlgn="auto" latinLnBrk="0" hangingPunct="1">
              <a:lnSpc>
                <a:spcPct val="100000"/>
              </a:lnSpc>
              <a:spcBef>
                <a:spcPts val="0"/>
              </a:spcBef>
              <a:spcAft>
                <a:spcPts val="0"/>
              </a:spcAft>
              <a:buClrTx/>
              <a:buSzTx/>
              <a:buFontTx/>
              <a:buNone/>
              <a:tabLst/>
              <a:defRPr/>
            </a:pPr>
            <a:r>
              <a:rPr kumimoji="0" lang="en-US" sz="1077" b="0" i="0" u="none" strike="noStrike" kern="0" cap="none" spc="0" normalizeH="0" baseline="0" noProof="0" dirty="0">
                <a:ln>
                  <a:noFill/>
                </a:ln>
                <a:solidFill>
                  <a:srgbClr val="000000">
                    <a:lumMod val="85000"/>
                    <a:lumOff val="15000"/>
                  </a:srgbClr>
                </a:solidFill>
                <a:effectLst/>
                <a:uLnTx/>
                <a:uFillTx/>
                <a:latin typeface="Arial"/>
                <a:ea typeface="+mn-ea"/>
                <a:cs typeface="Arial" panose="020B0604020202020204" pitchFamily="34" charset="0"/>
                <a:sym typeface="Arial"/>
              </a:rPr>
              <a:t>Delivery Partner</a:t>
            </a:r>
          </a:p>
        </p:txBody>
      </p:sp>
      <p:grpSp>
        <p:nvGrpSpPr>
          <p:cNvPr id="308" name="Group 307"/>
          <p:cNvGrpSpPr/>
          <p:nvPr/>
        </p:nvGrpSpPr>
        <p:grpSpPr>
          <a:xfrm>
            <a:off x="4333792" y="1526344"/>
            <a:ext cx="320330" cy="297140"/>
            <a:chOff x="5529273" y="1898659"/>
            <a:chExt cx="350838" cy="325439"/>
          </a:xfrm>
          <a:solidFill>
            <a:schemeClr val="tx2">
              <a:lumMod val="50000"/>
            </a:schemeClr>
          </a:solidFill>
        </p:grpSpPr>
        <p:sp>
          <p:nvSpPr>
            <p:cNvPr id="309"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0"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11" name="Group 310"/>
          <p:cNvGrpSpPr/>
          <p:nvPr/>
        </p:nvGrpSpPr>
        <p:grpSpPr>
          <a:xfrm>
            <a:off x="7303671" y="3575363"/>
            <a:ext cx="320330" cy="297140"/>
            <a:chOff x="5529273" y="1898659"/>
            <a:chExt cx="350838" cy="325439"/>
          </a:xfrm>
          <a:solidFill>
            <a:schemeClr val="bg2">
              <a:lumMod val="50000"/>
            </a:schemeClr>
          </a:solidFill>
        </p:grpSpPr>
        <p:sp>
          <p:nvSpPr>
            <p:cNvPr id="312"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3"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14" name="Group 313"/>
          <p:cNvGrpSpPr/>
          <p:nvPr/>
        </p:nvGrpSpPr>
        <p:grpSpPr>
          <a:xfrm>
            <a:off x="1586004" y="1637010"/>
            <a:ext cx="538281" cy="345229"/>
            <a:chOff x="5410210" y="3138503"/>
            <a:chExt cx="596901" cy="325439"/>
          </a:xfrm>
          <a:solidFill>
            <a:schemeClr val="accent4">
              <a:lumMod val="75000"/>
            </a:schemeClr>
          </a:solidFill>
        </p:grpSpPr>
        <p:sp>
          <p:nvSpPr>
            <p:cNvPr id="315"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6"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7"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8"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19"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0"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21" name="Group 320"/>
          <p:cNvGrpSpPr/>
          <p:nvPr/>
        </p:nvGrpSpPr>
        <p:grpSpPr>
          <a:xfrm>
            <a:off x="1631867" y="5178983"/>
            <a:ext cx="354345" cy="193194"/>
            <a:chOff x="5410210" y="3138503"/>
            <a:chExt cx="596901" cy="325439"/>
          </a:xfrm>
          <a:solidFill>
            <a:schemeClr val="accent4">
              <a:lumMod val="75000"/>
            </a:schemeClr>
          </a:solidFill>
        </p:grpSpPr>
        <p:sp>
          <p:nvSpPr>
            <p:cNvPr id="322"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3"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4"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5"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6"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27"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28" name="Group 327"/>
          <p:cNvGrpSpPr/>
          <p:nvPr/>
        </p:nvGrpSpPr>
        <p:grpSpPr>
          <a:xfrm>
            <a:off x="1635811" y="2642604"/>
            <a:ext cx="538281" cy="345229"/>
            <a:chOff x="5410210" y="3138503"/>
            <a:chExt cx="596901" cy="325439"/>
          </a:xfrm>
          <a:solidFill>
            <a:schemeClr val="accent4">
              <a:lumMod val="75000"/>
            </a:schemeClr>
          </a:solidFill>
        </p:grpSpPr>
        <p:sp>
          <p:nvSpPr>
            <p:cNvPr id="329"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0"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1"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2"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3"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4"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35" name="Group 334"/>
          <p:cNvGrpSpPr/>
          <p:nvPr/>
        </p:nvGrpSpPr>
        <p:grpSpPr>
          <a:xfrm>
            <a:off x="1631867" y="3613522"/>
            <a:ext cx="538281" cy="345229"/>
            <a:chOff x="5410210" y="3138503"/>
            <a:chExt cx="596901" cy="325439"/>
          </a:xfrm>
          <a:solidFill>
            <a:schemeClr val="accent4">
              <a:lumMod val="75000"/>
            </a:schemeClr>
          </a:solidFill>
        </p:grpSpPr>
        <p:sp>
          <p:nvSpPr>
            <p:cNvPr id="336"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7"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8"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39"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0"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1"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42" name="Group 341"/>
          <p:cNvGrpSpPr/>
          <p:nvPr/>
        </p:nvGrpSpPr>
        <p:grpSpPr>
          <a:xfrm>
            <a:off x="1578193" y="4554210"/>
            <a:ext cx="538281" cy="345229"/>
            <a:chOff x="5410210" y="3138503"/>
            <a:chExt cx="596901" cy="325439"/>
          </a:xfrm>
          <a:solidFill>
            <a:schemeClr val="accent4">
              <a:lumMod val="75000"/>
            </a:schemeClr>
          </a:solidFill>
        </p:grpSpPr>
        <p:sp>
          <p:nvSpPr>
            <p:cNvPr id="343"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4"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5"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6"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7"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48"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49" name="Group 348"/>
          <p:cNvGrpSpPr/>
          <p:nvPr/>
        </p:nvGrpSpPr>
        <p:grpSpPr>
          <a:xfrm>
            <a:off x="4333792" y="2574939"/>
            <a:ext cx="320330" cy="297140"/>
            <a:chOff x="5529273" y="1898659"/>
            <a:chExt cx="350838" cy="325439"/>
          </a:xfrm>
          <a:solidFill>
            <a:schemeClr val="tx2">
              <a:lumMod val="50000"/>
            </a:schemeClr>
          </a:solidFill>
        </p:grpSpPr>
        <p:sp>
          <p:nvSpPr>
            <p:cNvPr id="350"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51"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52" name="Group 351"/>
          <p:cNvGrpSpPr/>
          <p:nvPr/>
        </p:nvGrpSpPr>
        <p:grpSpPr>
          <a:xfrm>
            <a:off x="4333792" y="3506709"/>
            <a:ext cx="320330" cy="297140"/>
            <a:chOff x="5529273" y="1898659"/>
            <a:chExt cx="350838" cy="325439"/>
          </a:xfrm>
          <a:solidFill>
            <a:schemeClr val="tx2">
              <a:lumMod val="50000"/>
            </a:schemeClr>
          </a:solidFill>
        </p:grpSpPr>
        <p:sp>
          <p:nvSpPr>
            <p:cNvPr id="35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5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55" name="Group 354"/>
          <p:cNvGrpSpPr/>
          <p:nvPr/>
        </p:nvGrpSpPr>
        <p:grpSpPr>
          <a:xfrm>
            <a:off x="3720931" y="4469356"/>
            <a:ext cx="450970" cy="245876"/>
            <a:chOff x="5410210" y="3138503"/>
            <a:chExt cx="596901" cy="325439"/>
          </a:xfrm>
          <a:solidFill>
            <a:schemeClr val="tx2">
              <a:lumMod val="50000"/>
            </a:schemeClr>
          </a:solidFill>
        </p:grpSpPr>
        <p:sp>
          <p:nvSpPr>
            <p:cNvPr id="356"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57"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58"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59"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0"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1"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62" name="Group 361"/>
          <p:cNvGrpSpPr/>
          <p:nvPr/>
        </p:nvGrpSpPr>
        <p:grpSpPr>
          <a:xfrm>
            <a:off x="5038768" y="4471359"/>
            <a:ext cx="450970" cy="245876"/>
            <a:chOff x="5410210" y="3138503"/>
            <a:chExt cx="596901" cy="325439"/>
          </a:xfrm>
          <a:solidFill>
            <a:schemeClr val="tx2">
              <a:lumMod val="50000"/>
            </a:schemeClr>
          </a:solidFill>
        </p:grpSpPr>
        <p:sp>
          <p:nvSpPr>
            <p:cNvPr id="363"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4"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5"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6"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7"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68"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69" name="Group 368"/>
          <p:cNvGrpSpPr/>
          <p:nvPr/>
        </p:nvGrpSpPr>
        <p:grpSpPr>
          <a:xfrm>
            <a:off x="7333404" y="1526344"/>
            <a:ext cx="320330" cy="297140"/>
            <a:chOff x="5529273" y="1898659"/>
            <a:chExt cx="350838" cy="325439"/>
          </a:xfrm>
          <a:solidFill>
            <a:schemeClr val="bg2">
              <a:lumMod val="50000"/>
            </a:schemeClr>
          </a:solidFill>
        </p:grpSpPr>
        <p:sp>
          <p:nvSpPr>
            <p:cNvPr id="370"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71"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72" name="Group 371"/>
          <p:cNvGrpSpPr/>
          <p:nvPr/>
        </p:nvGrpSpPr>
        <p:grpSpPr>
          <a:xfrm>
            <a:off x="7833723" y="2575878"/>
            <a:ext cx="320330" cy="297140"/>
            <a:chOff x="5529273" y="1898659"/>
            <a:chExt cx="350838" cy="325439"/>
          </a:xfrm>
          <a:solidFill>
            <a:schemeClr val="bg2">
              <a:lumMod val="50000"/>
            </a:schemeClr>
          </a:solidFill>
        </p:grpSpPr>
        <p:sp>
          <p:nvSpPr>
            <p:cNvPr id="37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7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75" name="Group 374"/>
          <p:cNvGrpSpPr/>
          <p:nvPr/>
        </p:nvGrpSpPr>
        <p:grpSpPr>
          <a:xfrm>
            <a:off x="6560100" y="2574939"/>
            <a:ext cx="320330" cy="297140"/>
            <a:chOff x="5529273" y="1898659"/>
            <a:chExt cx="350838" cy="325439"/>
          </a:xfrm>
          <a:solidFill>
            <a:schemeClr val="bg2">
              <a:lumMod val="50000"/>
            </a:schemeClr>
          </a:solidFill>
        </p:grpSpPr>
        <p:sp>
          <p:nvSpPr>
            <p:cNvPr id="376"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77"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378" name="Group 377"/>
          <p:cNvGrpSpPr/>
          <p:nvPr/>
        </p:nvGrpSpPr>
        <p:grpSpPr>
          <a:xfrm>
            <a:off x="5962219" y="5920222"/>
            <a:ext cx="1777207" cy="309732"/>
            <a:chOff x="6001521" y="5882198"/>
            <a:chExt cx="1799422" cy="313604"/>
          </a:xfrm>
        </p:grpSpPr>
        <p:sp>
          <p:nvSpPr>
            <p:cNvPr id="379" name="Rectangle 330"/>
            <p:cNvSpPr>
              <a:spLocks noChangeArrowheads="1"/>
            </p:cNvSpPr>
            <p:nvPr/>
          </p:nvSpPr>
          <p:spPr bwMode="auto">
            <a:xfrm>
              <a:off x="6001521" y="5882198"/>
              <a:ext cx="1631987" cy="313604"/>
            </a:xfrm>
            <a:prstGeom prst="rect">
              <a:avLst/>
            </a:prstGeom>
            <a:noFill/>
            <a:ln w="9525" algn="ctr">
              <a:solidFill>
                <a:schemeClr val="bg1">
                  <a:lumMod val="65000"/>
                </a:schemeClr>
              </a:solidFill>
              <a:round/>
              <a:headEnd/>
              <a:tailEnd/>
            </a:ln>
          </p:spPr>
          <p:txBody>
            <a:bodyPr lIns="93598" tIns="46800" rIns="93598" bIns="46800"/>
            <a:lstStyle/>
            <a:p>
              <a:pPr marL="0" marR="0" lvl="0" indent="0" algn="l" defTabSz="936086" rtl="0" eaLnBrk="0" fontAlgn="auto" latinLnBrk="0" hangingPunct="0">
                <a:lnSpc>
                  <a:spcPct val="100000"/>
                </a:lnSpc>
                <a:spcBef>
                  <a:spcPts val="0"/>
                </a:spcBef>
                <a:spcAft>
                  <a:spcPts val="0"/>
                </a:spcAft>
                <a:buClrTx/>
                <a:buSzTx/>
                <a:buFontTx/>
                <a:buNone/>
                <a:tabLst/>
                <a:defRPr/>
              </a:pPr>
              <a:endParaRPr kumimoji="0" lang="en-US" sz="1073" b="0" i="0" u="none" strike="noStrike" kern="0" cap="none" spc="0" normalizeH="0" baseline="0" noProof="0" dirty="0">
                <a:ln>
                  <a:noFill/>
                </a:ln>
                <a:solidFill>
                  <a:sysClr val="windowText" lastClr="000000"/>
                </a:solidFill>
                <a:effectLst/>
                <a:uLnTx/>
                <a:uFillTx/>
                <a:latin typeface="Arial"/>
                <a:ea typeface="ＭＳ Ｐゴシック" pitchFamily="34" charset="-128"/>
                <a:cs typeface="Calibri" pitchFamily="34" charset="0"/>
                <a:sym typeface="Arial"/>
              </a:endParaRPr>
            </a:p>
          </p:txBody>
        </p:sp>
        <p:sp>
          <p:nvSpPr>
            <p:cNvPr id="381" name="TextBox 166"/>
            <p:cNvSpPr txBox="1">
              <a:spLocks noChangeArrowheads="1"/>
            </p:cNvSpPr>
            <p:nvPr/>
          </p:nvSpPr>
          <p:spPr bwMode="auto">
            <a:xfrm>
              <a:off x="7012904" y="5930923"/>
              <a:ext cx="788039" cy="217267"/>
            </a:xfrm>
            <a:prstGeom prst="rect">
              <a:avLst/>
            </a:prstGeom>
            <a:noFill/>
            <a:ln w="9525">
              <a:noFill/>
              <a:miter lim="800000"/>
              <a:headEnd/>
              <a:tailEnd/>
            </a:ln>
          </p:spPr>
          <p:txBody>
            <a:bodyPr wrap="square" lIns="93598" tIns="46800" rIns="93598" bIns="46800">
              <a:spAutoFit/>
            </a:bodyPr>
            <a:lstStyle/>
            <a:p>
              <a:pPr marL="0" marR="0" lvl="0" indent="0" algn="l" defTabSz="936086" rtl="0" eaLnBrk="1" fontAlgn="auto" latinLnBrk="0" hangingPunct="1">
                <a:lnSpc>
                  <a:spcPct val="100000"/>
                </a:lnSpc>
                <a:spcBef>
                  <a:spcPts val="0"/>
                </a:spcBef>
                <a:spcAft>
                  <a:spcPts val="0"/>
                </a:spcAft>
                <a:buClrTx/>
                <a:buSzTx/>
                <a:buFontTx/>
                <a:buNone/>
                <a:tabLst/>
                <a:defRPr/>
              </a:pPr>
              <a:r>
                <a:rPr kumimoji="0" lang="en-US" sz="780" b="0" i="0" u="none" strike="noStrike" kern="0" cap="none" spc="0" normalizeH="0" baseline="0" noProof="0" dirty="0">
                  <a:ln>
                    <a:noFill/>
                  </a:ln>
                  <a:solidFill>
                    <a:sysClr val="windowText" lastClr="000000"/>
                  </a:solidFill>
                  <a:effectLst/>
                  <a:uLnTx/>
                  <a:uFillTx/>
                  <a:latin typeface="Arial"/>
                  <a:ea typeface="ＭＳ Ｐゴシック" pitchFamily="34" charset="-128"/>
                  <a:cs typeface="Calibri" pitchFamily="34" charset="0"/>
                  <a:sym typeface="Arial"/>
                </a:rPr>
                <a:t>Offshore/</a:t>
              </a:r>
            </a:p>
          </p:txBody>
        </p:sp>
        <p:grpSp>
          <p:nvGrpSpPr>
            <p:cNvPr id="382" name="Group 381"/>
            <p:cNvGrpSpPr/>
            <p:nvPr/>
          </p:nvGrpSpPr>
          <p:grpSpPr>
            <a:xfrm>
              <a:off x="6074345" y="5939692"/>
              <a:ext cx="280555" cy="184830"/>
              <a:chOff x="5529273" y="1898659"/>
              <a:chExt cx="350838" cy="325439"/>
            </a:xfrm>
            <a:solidFill>
              <a:schemeClr val="bg2">
                <a:lumMod val="50000"/>
              </a:schemeClr>
            </a:solidFill>
          </p:grpSpPr>
          <p:sp>
            <p:nvSpPr>
              <p:cNvPr id="38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8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grpSp>
        <p:nvGrpSpPr>
          <p:cNvPr id="385" name="Group 384"/>
          <p:cNvGrpSpPr/>
          <p:nvPr/>
        </p:nvGrpSpPr>
        <p:grpSpPr>
          <a:xfrm>
            <a:off x="7769508" y="5914576"/>
            <a:ext cx="1751266" cy="309732"/>
            <a:chOff x="7790425" y="5882425"/>
            <a:chExt cx="1773157" cy="313604"/>
          </a:xfrm>
        </p:grpSpPr>
        <p:sp>
          <p:nvSpPr>
            <p:cNvPr id="386" name="Rectangle 330"/>
            <p:cNvSpPr>
              <a:spLocks noChangeArrowheads="1"/>
            </p:cNvSpPr>
            <p:nvPr/>
          </p:nvSpPr>
          <p:spPr bwMode="auto">
            <a:xfrm>
              <a:off x="7790425" y="5882425"/>
              <a:ext cx="1560372" cy="313604"/>
            </a:xfrm>
            <a:prstGeom prst="rect">
              <a:avLst/>
            </a:prstGeom>
            <a:noFill/>
            <a:ln w="9525" algn="ctr">
              <a:solidFill>
                <a:schemeClr val="bg1">
                  <a:lumMod val="65000"/>
                </a:schemeClr>
              </a:solidFill>
              <a:round/>
              <a:headEnd/>
              <a:tailEnd/>
            </a:ln>
          </p:spPr>
          <p:txBody>
            <a:bodyPr lIns="93598" tIns="46800" rIns="93598" bIns="46800"/>
            <a:lstStyle/>
            <a:p>
              <a:pPr marL="0" marR="0" lvl="0" indent="0" algn="l" defTabSz="936086" rtl="0" eaLnBrk="0" fontAlgn="auto" latinLnBrk="0" hangingPunct="0">
                <a:lnSpc>
                  <a:spcPct val="100000"/>
                </a:lnSpc>
                <a:spcBef>
                  <a:spcPts val="0"/>
                </a:spcBef>
                <a:spcAft>
                  <a:spcPts val="0"/>
                </a:spcAft>
                <a:buClrTx/>
                <a:buSzTx/>
                <a:buFontTx/>
                <a:buNone/>
                <a:tabLst/>
                <a:defRPr/>
              </a:pPr>
              <a:endParaRPr kumimoji="0" lang="en-US" sz="1073" b="0" i="0" u="none" strike="noStrike" kern="0" cap="none" spc="0" normalizeH="0" baseline="0" noProof="0" dirty="0">
                <a:ln>
                  <a:noFill/>
                </a:ln>
                <a:solidFill>
                  <a:sysClr val="windowText" lastClr="000000"/>
                </a:solidFill>
                <a:effectLst/>
                <a:uLnTx/>
                <a:uFillTx/>
                <a:latin typeface="Arial"/>
                <a:ea typeface="ＭＳ Ｐゴシック" pitchFamily="34" charset="-128"/>
                <a:cs typeface="Calibri" pitchFamily="34" charset="0"/>
                <a:sym typeface="Arial"/>
              </a:endParaRPr>
            </a:p>
          </p:txBody>
        </p:sp>
        <p:sp>
          <p:nvSpPr>
            <p:cNvPr id="387" name="TextBox 166"/>
            <p:cNvSpPr txBox="1">
              <a:spLocks noChangeArrowheads="1"/>
            </p:cNvSpPr>
            <p:nvPr/>
          </p:nvSpPr>
          <p:spPr bwMode="auto">
            <a:xfrm>
              <a:off x="8775543" y="5900754"/>
              <a:ext cx="788039" cy="232485"/>
            </a:xfrm>
            <a:prstGeom prst="rect">
              <a:avLst/>
            </a:prstGeom>
            <a:noFill/>
            <a:ln w="9525">
              <a:noFill/>
              <a:miter lim="800000"/>
              <a:headEnd/>
              <a:tailEnd/>
            </a:ln>
          </p:spPr>
          <p:txBody>
            <a:bodyPr wrap="square" lIns="93598" tIns="46800" rIns="93598" bIns="46800">
              <a:spAutoFit/>
            </a:bodyPr>
            <a:lstStyle/>
            <a:p>
              <a:pPr marL="0" marR="0" lvl="0" indent="0" algn="l" defTabSz="936086" rtl="0" eaLnBrk="1" fontAlgn="auto" latinLnBrk="0" hangingPunct="1">
                <a:lnSpc>
                  <a:spcPct val="100000"/>
                </a:lnSpc>
                <a:spcBef>
                  <a:spcPts val="0"/>
                </a:spcBef>
                <a:spcAft>
                  <a:spcPts val="0"/>
                </a:spcAft>
                <a:buClrTx/>
                <a:buSzTx/>
                <a:buFontTx/>
                <a:buNone/>
                <a:tabLst/>
                <a:defRPr/>
              </a:pPr>
              <a:r>
                <a:rPr kumimoji="0" lang="en-US" sz="878" b="0" i="0" u="none" strike="noStrike" kern="0" cap="none" spc="0" normalizeH="0" baseline="0" noProof="0" dirty="0">
                  <a:ln>
                    <a:noFill/>
                  </a:ln>
                  <a:solidFill>
                    <a:sysClr val="windowText" lastClr="000000"/>
                  </a:solidFill>
                  <a:effectLst/>
                  <a:uLnTx/>
                  <a:uFillTx/>
                  <a:latin typeface="Arial"/>
                  <a:ea typeface="ＭＳ Ｐゴシック" pitchFamily="34" charset="-128"/>
                  <a:cs typeface="Calibri" pitchFamily="34" charset="0"/>
                  <a:sym typeface="Arial"/>
                </a:rPr>
                <a:t>Onsite </a:t>
              </a:r>
            </a:p>
          </p:txBody>
        </p:sp>
        <p:grpSp>
          <p:nvGrpSpPr>
            <p:cNvPr id="389" name="Group 388"/>
            <p:cNvGrpSpPr/>
            <p:nvPr/>
          </p:nvGrpSpPr>
          <p:grpSpPr>
            <a:xfrm>
              <a:off x="7859918" y="5924833"/>
              <a:ext cx="280555" cy="184830"/>
              <a:chOff x="5529273" y="1898659"/>
              <a:chExt cx="350838" cy="325439"/>
            </a:xfrm>
            <a:solidFill>
              <a:schemeClr val="tx2">
                <a:lumMod val="50000"/>
              </a:schemeClr>
            </a:solidFill>
          </p:grpSpPr>
          <p:sp>
            <p:nvSpPr>
              <p:cNvPr id="390"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91"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grpSp>
        <p:nvGrpSpPr>
          <p:cNvPr id="392" name="Group 391"/>
          <p:cNvGrpSpPr/>
          <p:nvPr/>
        </p:nvGrpSpPr>
        <p:grpSpPr>
          <a:xfrm>
            <a:off x="9557641" y="5914576"/>
            <a:ext cx="1541108" cy="309732"/>
            <a:chOff x="9600911" y="5894722"/>
            <a:chExt cx="1560372" cy="313604"/>
          </a:xfrm>
        </p:grpSpPr>
        <p:sp>
          <p:nvSpPr>
            <p:cNvPr id="393" name="Rectangle 330"/>
            <p:cNvSpPr>
              <a:spLocks noChangeArrowheads="1"/>
            </p:cNvSpPr>
            <p:nvPr/>
          </p:nvSpPr>
          <p:spPr bwMode="auto">
            <a:xfrm>
              <a:off x="9600911" y="5894722"/>
              <a:ext cx="1560372" cy="313604"/>
            </a:xfrm>
            <a:prstGeom prst="rect">
              <a:avLst/>
            </a:prstGeom>
            <a:noFill/>
            <a:ln w="9525" algn="ctr">
              <a:solidFill>
                <a:schemeClr val="bg1">
                  <a:lumMod val="65000"/>
                </a:schemeClr>
              </a:solidFill>
              <a:round/>
              <a:headEnd/>
              <a:tailEnd/>
            </a:ln>
          </p:spPr>
          <p:txBody>
            <a:bodyPr lIns="93598" tIns="46800" rIns="93598" bIns="46800"/>
            <a:lstStyle/>
            <a:p>
              <a:pPr marL="0" marR="0" lvl="0" indent="0" algn="ctr" defTabSz="936086" rtl="0" eaLnBrk="0" fontAlgn="auto" latinLnBrk="0" hangingPunct="0">
                <a:lnSpc>
                  <a:spcPct val="100000"/>
                </a:lnSpc>
                <a:spcBef>
                  <a:spcPts val="0"/>
                </a:spcBef>
                <a:spcAft>
                  <a:spcPts val="0"/>
                </a:spcAft>
                <a:buClrTx/>
                <a:buSzTx/>
                <a:buFontTx/>
                <a:buNone/>
                <a:tabLst/>
                <a:defRPr/>
              </a:pPr>
              <a:r>
                <a:rPr kumimoji="0" lang="en-US" sz="1073" b="0" i="0" u="none" strike="noStrike" kern="0" cap="none" spc="0" normalizeH="0" baseline="0" noProof="0" dirty="0" smtClean="0">
                  <a:ln>
                    <a:noFill/>
                  </a:ln>
                  <a:solidFill>
                    <a:sysClr val="windowText" lastClr="000000"/>
                  </a:solidFill>
                  <a:effectLst/>
                  <a:uLnTx/>
                  <a:uFillTx/>
                  <a:latin typeface="Arial"/>
                  <a:ea typeface="ＭＳ Ｐゴシック" pitchFamily="34" charset="-128"/>
                  <a:cs typeface="Calibri" pitchFamily="34" charset="0"/>
                  <a:sym typeface="Arial"/>
                </a:rPr>
                <a:t>Marriott</a:t>
              </a:r>
              <a:endParaRPr kumimoji="0" lang="en-US" sz="1073" b="0" i="0" u="none" strike="noStrike" kern="0" cap="none" spc="0" normalizeH="0" baseline="0" noProof="0" dirty="0">
                <a:ln>
                  <a:noFill/>
                </a:ln>
                <a:solidFill>
                  <a:sysClr val="windowText" lastClr="000000"/>
                </a:solidFill>
                <a:effectLst/>
                <a:uLnTx/>
                <a:uFillTx/>
                <a:latin typeface="Arial"/>
                <a:ea typeface="ＭＳ Ｐゴシック" pitchFamily="34" charset="-128"/>
                <a:cs typeface="Calibri" pitchFamily="34" charset="0"/>
                <a:sym typeface="Arial"/>
              </a:endParaRPr>
            </a:p>
          </p:txBody>
        </p:sp>
        <p:grpSp>
          <p:nvGrpSpPr>
            <p:cNvPr id="394" name="Group 393"/>
            <p:cNvGrpSpPr/>
            <p:nvPr/>
          </p:nvGrpSpPr>
          <p:grpSpPr>
            <a:xfrm>
              <a:off x="9654595" y="5949163"/>
              <a:ext cx="363317" cy="231693"/>
              <a:chOff x="5410210" y="3138503"/>
              <a:chExt cx="596901" cy="325439"/>
            </a:xfrm>
            <a:solidFill>
              <a:schemeClr val="accent4">
                <a:lumMod val="75000"/>
              </a:schemeClr>
            </a:solidFill>
          </p:grpSpPr>
          <p:sp>
            <p:nvSpPr>
              <p:cNvPr id="395"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96"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97"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98"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399"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00"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sp>
        <p:nvSpPr>
          <p:cNvPr id="433" name="Rectangle 432"/>
          <p:cNvSpPr/>
          <p:nvPr/>
        </p:nvSpPr>
        <p:spPr>
          <a:xfrm>
            <a:off x="6146908" y="5153898"/>
            <a:ext cx="834850" cy="55981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smtClean="0">
                <a:ln>
                  <a:noFill/>
                </a:ln>
                <a:solidFill>
                  <a:srgbClr val="000000"/>
                </a:solidFill>
                <a:effectLst/>
                <a:uLnTx/>
                <a:uFillTx/>
                <a:latin typeface="Calibri" panose="020F0502020204030204"/>
                <a:ea typeface="+mn-ea"/>
                <a:cs typeface="+mn-cs"/>
                <a:sym typeface="Arial"/>
              </a:rPr>
              <a:t>L1.5 </a:t>
            </a: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Team</a:t>
            </a:r>
          </a:p>
        </p:txBody>
      </p:sp>
      <p:grpSp>
        <p:nvGrpSpPr>
          <p:cNvPr id="434" name="Group 433"/>
          <p:cNvGrpSpPr/>
          <p:nvPr/>
        </p:nvGrpSpPr>
        <p:grpSpPr>
          <a:xfrm>
            <a:off x="7280350" y="5461118"/>
            <a:ext cx="380105" cy="198507"/>
            <a:chOff x="5410210" y="3138503"/>
            <a:chExt cx="596901" cy="325439"/>
          </a:xfrm>
          <a:solidFill>
            <a:schemeClr val="bg2">
              <a:lumMod val="50000"/>
            </a:schemeClr>
          </a:solidFill>
        </p:grpSpPr>
        <p:sp>
          <p:nvSpPr>
            <p:cNvPr id="435"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36"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37"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38"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39"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0"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grpSp>
      <p:sp>
        <p:nvSpPr>
          <p:cNvPr id="441" name="Rectangle 440"/>
          <p:cNvSpPr/>
          <p:nvPr/>
        </p:nvSpPr>
        <p:spPr>
          <a:xfrm>
            <a:off x="7076195" y="5153898"/>
            <a:ext cx="834850" cy="55981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L2 Team</a:t>
            </a:r>
          </a:p>
        </p:txBody>
      </p:sp>
      <p:sp>
        <p:nvSpPr>
          <p:cNvPr id="442" name="Rectangle 441"/>
          <p:cNvSpPr/>
          <p:nvPr/>
        </p:nvSpPr>
        <p:spPr>
          <a:xfrm>
            <a:off x="8005283" y="5153899"/>
            <a:ext cx="834850" cy="55977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L3 Team</a:t>
            </a:r>
          </a:p>
        </p:txBody>
      </p:sp>
      <p:grpSp>
        <p:nvGrpSpPr>
          <p:cNvPr id="443" name="Group 442"/>
          <p:cNvGrpSpPr/>
          <p:nvPr/>
        </p:nvGrpSpPr>
        <p:grpSpPr>
          <a:xfrm>
            <a:off x="6363494" y="5487294"/>
            <a:ext cx="380105" cy="198507"/>
            <a:chOff x="5410210" y="3138503"/>
            <a:chExt cx="596901" cy="325439"/>
          </a:xfrm>
          <a:solidFill>
            <a:schemeClr val="bg2">
              <a:lumMod val="50000"/>
            </a:schemeClr>
          </a:solidFill>
        </p:grpSpPr>
        <p:sp>
          <p:nvSpPr>
            <p:cNvPr id="444"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5"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6"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7"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8"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49"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grpSp>
      <p:grpSp>
        <p:nvGrpSpPr>
          <p:cNvPr id="450" name="Group 449"/>
          <p:cNvGrpSpPr/>
          <p:nvPr/>
        </p:nvGrpSpPr>
        <p:grpSpPr>
          <a:xfrm>
            <a:off x="8196511" y="5460319"/>
            <a:ext cx="380105" cy="198507"/>
            <a:chOff x="5410210" y="3138503"/>
            <a:chExt cx="596901" cy="325439"/>
          </a:xfrm>
          <a:solidFill>
            <a:schemeClr val="bg2">
              <a:lumMod val="50000"/>
            </a:schemeClr>
          </a:solidFill>
        </p:grpSpPr>
        <p:sp>
          <p:nvSpPr>
            <p:cNvPr id="451"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52"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53"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54"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55"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456"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3"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grpSp>
      <p:sp>
        <p:nvSpPr>
          <p:cNvPr id="457" name="Rectangle 456"/>
          <p:cNvSpPr/>
          <p:nvPr/>
        </p:nvSpPr>
        <p:spPr>
          <a:xfrm>
            <a:off x="3170219" y="5169621"/>
            <a:ext cx="834850" cy="55981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smtClean="0">
                <a:ln>
                  <a:noFill/>
                </a:ln>
                <a:solidFill>
                  <a:srgbClr val="000000"/>
                </a:solidFill>
                <a:effectLst/>
                <a:uLnTx/>
                <a:uFillTx/>
                <a:latin typeface="Calibri" panose="020F0502020204030204"/>
                <a:ea typeface="+mn-ea"/>
                <a:cs typeface="+mn-cs"/>
                <a:sym typeface="Arial"/>
              </a:rPr>
              <a:t>L1.5 </a:t>
            </a: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Team</a:t>
            </a:r>
          </a:p>
        </p:txBody>
      </p:sp>
      <p:sp>
        <p:nvSpPr>
          <p:cNvPr id="458" name="Rectangle 457"/>
          <p:cNvSpPr/>
          <p:nvPr/>
        </p:nvSpPr>
        <p:spPr>
          <a:xfrm>
            <a:off x="4099506" y="5169621"/>
            <a:ext cx="834850" cy="55981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L2 Team</a:t>
            </a:r>
          </a:p>
        </p:txBody>
      </p:sp>
      <p:sp>
        <p:nvSpPr>
          <p:cNvPr id="459" name="Rectangle 458"/>
          <p:cNvSpPr/>
          <p:nvPr/>
        </p:nvSpPr>
        <p:spPr>
          <a:xfrm>
            <a:off x="5028595" y="5169622"/>
            <a:ext cx="834850" cy="55977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88" b="1" i="0" u="none" strike="noStrike" kern="0" cap="none" spc="0" normalizeH="0" baseline="0" noProof="0" dirty="0">
                <a:ln>
                  <a:noFill/>
                </a:ln>
                <a:solidFill>
                  <a:srgbClr val="000000"/>
                </a:solidFill>
                <a:effectLst/>
                <a:uLnTx/>
                <a:uFillTx/>
                <a:latin typeface="Calibri" panose="020F0502020204030204"/>
                <a:ea typeface="+mn-ea"/>
                <a:cs typeface="+mn-cs"/>
                <a:sym typeface="Arial"/>
              </a:rPr>
              <a:t>L3 Team</a:t>
            </a:r>
          </a:p>
        </p:txBody>
      </p:sp>
      <p:grpSp>
        <p:nvGrpSpPr>
          <p:cNvPr id="460" name="Group 459"/>
          <p:cNvGrpSpPr/>
          <p:nvPr/>
        </p:nvGrpSpPr>
        <p:grpSpPr>
          <a:xfrm>
            <a:off x="3372122" y="5445808"/>
            <a:ext cx="372702" cy="184730"/>
            <a:chOff x="5410210" y="3138503"/>
            <a:chExt cx="596901" cy="325439"/>
          </a:xfrm>
          <a:solidFill>
            <a:schemeClr val="tx2">
              <a:lumMod val="50000"/>
            </a:schemeClr>
          </a:solidFill>
        </p:grpSpPr>
        <p:sp>
          <p:nvSpPr>
            <p:cNvPr id="461"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2"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3"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4"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5"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6"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467" name="Group 466"/>
          <p:cNvGrpSpPr/>
          <p:nvPr/>
        </p:nvGrpSpPr>
        <p:grpSpPr>
          <a:xfrm>
            <a:off x="4336571" y="5447246"/>
            <a:ext cx="372702" cy="184730"/>
            <a:chOff x="5410210" y="3138503"/>
            <a:chExt cx="596901" cy="325439"/>
          </a:xfrm>
          <a:solidFill>
            <a:schemeClr val="tx2">
              <a:lumMod val="50000"/>
            </a:schemeClr>
          </a:solidFill>
        </p:grpSpPr>
        <p:sp>
          <p:nvSpPr>
            <p:cNvPr id="468"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69"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0"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1"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2"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3"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474" name="Group 473"/>
          <p:cNvGrpSpPr/>
          <p:nvPr/>
        </p:nvGrpSpPr>
        <p:grpSpPr>
          <a:xfrm>
            <a:off x="5268889" y="5422532"/>
            <a:ext cx="372702" cy="184730"/>
            <a:chOff x="5410210" y="3138503"/>
            <a:chExt cx="596901" cy="325439"/>
          </a:xfrm>
          <a:solidFill>
            <a:schemeClr val="tx2">
              <a:lumMod val="50000"/>
            </a:schemeClr>
          </a:solidFill>
        </p:grpSpPr>
        <p:sp>
          <p:nvSpPr>
            <p:cNvPr id="475" name="Freeform 158"/>
            <p:cNvSpPr>
              <a:spLocks/>
            </p:cNvSpPr>
            <p:nvPr/>
          </p:nvSpPr>
          <p:spPr bwMode="auto">
            <a:xfrm>
              <a:off x="5532448" y="3343291"/>
              <a:ext cx="350838" cy="120651"/>
            </a:xfrm>
            <a:custGeom>
              <a:avLst/>
              <a:gdLst>
                <a:gd name="T0" fmla="*/ 186 w 221"/>
                <a:gd name="T1" fmla="*/ 19 h 76"/>
                <a:gd name="T2" fmla="*/ 153 w 221"/>
                <a:gd name="T3" fmla="*/ 7 h 76"/>
                <a:gd name="T4" fmla="*/ 146 w 221"/>
                <a:gd name="T5" fmla="*/ 2 h 76"/>
                <a:gd name="T6" fmla="*/ 145 w 221"/>
                <a:gd name="T7" fmla="*/ 0 h 76"/>
                <a:gd name="T8" fmla="*/ 132 w 221"/>
                <a:gd name="T9" fmla="*/ 28 h 76"/>
                <a:gd name="T10" fmla="*/ 121 w 221"/>
                <a:gd name="T11" fmla="*/ 47 h 76"/>
                <a:gd name="T12" fmla="*/ 117 w 221"/>
                <a:gd name="T13" fmla="*/ 49 h 76"/>
                <a:gd name="T14" fmla="*/ 118 w 221"/>
                <a:gd name="T15" fmla="*/ 45 h 76"/>
                <a:gd name="T16" fmla="*/ 120 w 221"/>
                <a:gd name="T17" fmla="*/ 42 h 76"/>
                <a:gd name="T18" fmla="*/ 116 w 221"/>
                <a:gd name="T19" fmla="*/ 26 h 76"/>
                <a:gd name="T20" fmla="*/ 124 w 221"/>
                <a:gd name="T21" fmla="*/ 8 h 76"/>
                <a:gd name="T22" fmla="*/ 97 w 221"/>
                <a:gd name="T23" fmla="*/ 8 h 76"/>
                <a:gd name="T24" fmla="*/ 107 w 221"/>
                <a:gd name="T25" fmla="*/ 18 h 76"/>
                <a:gd name="T26" fmla="*/ 100 w 221"/>
                <a:gd name="T27" fmla="*/ 42 h 76"/>
                <a:gd name="T28" fmla="*/ 101 w 221"/>
                <a:gd name="T29" fmla="*/ 44 h 76"/>
                <a:gd name="T30" fmla="*/ 102 w 221"/>
                <a:gd name="T31" fmla="*/ 47 h 76"/>
                <a:gd name="T32" fmla="*/ 102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5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1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8" y="5"/>
                  </a:lnTo>
                  <a:lnTo>
                    <a:pt x="146" y="2"/>
                  </a:lnTo>
                  <a:lnTo>
                    <a:pt x="145" y="0"/>
                  </a:lnTo>
                  <a:lnTo>
                    <a:pt x="145" y="0"/>
                  </a:lnTo>
                  <a:lnTo>
                    <a:pt x="140" y="12"/>
                  </a:lnTo>
                  <a:lnTo>
                    <a:pt x="132" y="28"/>
                  </a:lnTo>
                  <a:lnTo>
                    <a:pt x="125" y="42"/>
                  </a:lnTo>
                  <a:lnTo>
                    <a:pt x="121" y="47"/>
                  </a:lnTo>
                  <a:lnTo>
                    <a:pt x="117" y="49"/>
                  </a:lnTo>
                  <a:lnTo>
                    <a:pt x="117" y="49"/>
                  </a:lnTo>
                  <a:lnTo>
                    <a:pt x="118" y="47"/>
                  </a:lnTo>
                  <a:lnTo>
                    <a:pt x="118" y="45"/>
                  </a:lnTo>
                  <a:lnTo>
                    <a:pt x="120" y="43"/>
                  </a:lnTo>
                  <a:lnTo>
                    <a:pt x="120" y="42"/>
                  </a:lnTo>
                  <a:lnTo>
                    <a:pt x="120" y="42"/>
                  </a:lnTo>
                  <a:lnTo>
                    <a:pt x="116" y="26"/>
                  </a:lnTo>
                  <a:lnTo>
                    <a:pt x="114" y="18"/>
                  </a:lnTo>
                  <a:lnTo>
                    <a:pt x="124" y="8"/>
                  </a:lnTo>
                  <a:lnTo>
                    <a:pt x="111" y="8"/>
                  </a:lnTo>
                  <a:lnTo>
                    <a:pt x="97" y="8"/>
                  </a:lnTo>
                  <a:lnTo>
                    <a:pt x="107" y="18"/>
                  </a:lnTo>
                  <a:lnTo>
                    <a:pt x="107" y="18"/>
                  </a:lnTo>
                  <a:lnTo>
                    <a:pt x="105" y="26"/>
                  </a:lnTo>
                  <a:lnTo>
                    <a:pt x="100" y="42"/>
                  </a:lnTo>
                  <a:lnTo>
                    <a:pt x="100" y="42"/>
                  </a:lnTo>
                  <a:lnTo>
                    <a:pt x="101" y="44"/>
                  </a:lnTo>
                  <a:lnTo>
                    <a:pt x="101" y="45"/>
                  </a:lnTo>
                  <a:lnTo>
                    <a:pt x="102" y="47"/>
                  </a:lnTo>
                  <a:lnTo>
                    <a:pt x="102" y="49"/>
                  </a:lnTo>
                  <a:lnTo>
                    <a:pt x="102" y="49"/>
                  </a:lnTo>
                  <a:lnTo>
                    <a:pt x="100" y="47"/>
                  </a:lnTo>
                  <a:lnTo>
                    <a:pt x="96" y="42"/>
                  </a:lnTo>
                  <a:lnTo>
                    <a:pt x="89" y="28"/>
                  </a:lnTo>
                  <a:lnTo>
                    <a:pt x="81" y="12"/>
                  </a:lnTo>
                  <a:lnTo>
                    <a:pt x="76" y="0"/>
                  </a:lnTo>
                  <a:lnTo>
                    <a:pt x="76" y="0"/>
                  </a:lnTo>
                  <a:lnTo>
                    <a:pt x="75" y="3"/>
                  </a:lnTo>
                  <a:lnTo>
                    <a:pt x="73" y="5"/>
                  </a:lnTo>
                  <a:lnTo>
                    <a:pt x="68" y="7"/>
                  </a:lnTo>
                  <a:lnTo>
                    <a:pt x="63" y="9"/>
                  </a:lnTo>
                  <a:lnTo>
                    <a:pt x="35" y="19"/>
                  </a:lnTo>
                  <a:lnTo>
                    <a:pt x="35" y="19"/>
                  </a:lnTo>
                  <a:lnTo>
                    <a:pt x="31" y="21"/>
                  </a:lnTo>
                  <a:lnTo>
                    <a:pt x="27" y="23"/>
                  </a:lnTo>
                  <a:lnTo>
                    <a:pt x="20" y="31"/>
                  </a:lnTo>
                  <a:lnTo>
                    <a:pt x="14" y="40"/>
                  </a:lnTo>
                  <a:lnTo>
                    <a:pt x="10" y="51"/>
                  </a:lnTo>
                  <a:lnTo>
                    <a:pt x="2" y="69"/>
                  </a:lnTo>
                  <a:lnTo>
                    <a:pt x="0" y="76"/>
                  </a:lnTo>
                  <a:lnTo>
                    <a:pt x="111" y="76"/>
                  </a:lnTo>
                  <a:lnTo>
                    <a:pt x="221" y="76"/>
                  </a:lnTo>
                  <a:lnTo>
                    <a:pt x="221" y="76"/>
                  </a:lnTo>
                  <a:lnTo>
                    <a:pt x="219" y="69"/>
                  </a:lnTo>
                  <a:lnTo>
                    <a:pt x="211" y="51"/>
                  </a:lnTo>
                  <a:lnTo>
                    <a:pt x="207" y="40"/>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6" name="Freeform 159"/>
            <p:cNvSpPr>
              <a:spLocks noEditPoints="1"/>
            </p:cNvSpPr>
            <p:nvPr/>
          </p:nvSpPr>
          <p:spPr bwMode="auto">
            <a:xfrm>
              <a:off x="5627698" y="3138503"/>
              <a:ext cx="163513" cy="204788"/>
            </a:xfrm>
            <a:custGeom>
              <a:avLst/>
              <a:gdLst>
                <a:gd name="T0" fmla="*/ 4 w 103"/>
                <a:gd name="T1" fmla="*/ 80 h 129"/>
                <a:gd name="T2" fmla="*/ 11 w 103"/>
                <a:gd name="T3" fmla="*/ 94 h 129"/>
                <a:gd name="T4" fmla="*/ 24 w 103"/>
                <a:gd name="T5" fmla="*/ 115 h 129"/>
                <a:gd name="T6" fmla="*/ 45 w 103"/>
                <a:gd name="T7" fmla="*/ 127 h 129"/>
                <a:gd name="T8" fmla="*/ 60 w 103"/>
                <a:gd name="T9" fmla="*/ 127 h 129"/>
                <a:gd name="T10" fmla="*/ 80 w 103"/>
                <a:gd name="T11" fmla="*/ 115 h 129"/>
                <a:gd name="T12" fmla="*/ 93 w 103"/>
                <a:gd name="T13" fmla="*/ 94 h 129"/>
                <a:gd name="T14" fmla="*/ 99 w 103"/>
                <a:gd name="T15" fmla="*/ 80 h 129"/>
                <a:gd name="T16" fmla="*/ 103 w 103"/>
                <a:gd name="T17" fmla="*/ 66 h 129"/>
                <a:gd name="T18" fmla="*/ 99 w 103"/>
                <a:gd name="T19" fmla="*/ 51 h 129"/>
                <a:gd name="T20" fmla="*/ 100 w 103"/>
                <a:gd name="T21" fmla="*/ 43 h 129"/>
                <a:gd name="T22" fmla="*/ 92 w 103"/>
                <a:gd name="T23" fmla="*/ 20 h 129"/>
                <a:gd name="T24" fmla="*/ 70 w 103"/>
                <a:gd name="T25" fmla="*/ 4 h 129"/>
                <a:gd name="T26" fmla="*/ 52 w 103"/>
                <a:gd name="T27" fmla="*/ 0 h 129"/>
                <a:gd name="T28" fmla="*/ 24 w 103"/>
                <a:gd name="T29" fmla="*/ 8 h 129"/>
                <a:gd name="T30" fmla="*/ 7 w 103"/>
                <a:gd name="T31" fmla="*/ 27 h 129"/>
                <a:gd name="T32" fmla="*/ 3 w 103"/>
                <a:gd name="T33" fmla="*/ 43 h 129"/>
                <a:gd name="T34" fmla="*/ 2 w 103"/>
                <a:gd name="T35" fmla="*/ 55 h 129"/>
                <a:gd name="T36" fmla="*/ 1 w 103"/>
                <a:gd name="T37" fmla="*/ 72 h 129"/>
                <a:gd name="T38" fmla="*/ 7 w 103"/>
                <a:gd name="T39" fmla="*/ 59 h 129"/>
                <a:gd name="T40" fmla="*/ 11 w 103"/>
                <a:gd name="T41" fmla="*/ 54 h 129"/>
                <a:gd name="T42" fmla="*/ 19 w 103"/>
                <a:gd name="T43" fmla="*/ 59 h 129"/>
                <a:gd name="T44" fmla="*/ 23 w 103"/>
                <a:gd name="T45" fmla="*/ 54 h 129"/>
                <a:gd name="T46" fmla="*/ 21 w 103"/>
                <a:gd name="T47" fmla="*/ 46 h 129"/>
                <a:gd name="T48" fmla="*/ 25 w 103"/>
                <a:gd name="T49" fmla="*/ 40 h 129"/>
                <a:gd name="T50" fmla="*/ 30 w 103"/>
                <a:gd name="T51" fmla="*/ 41 h 129"/>
                <a:gd name="T52" fmla="*/ 38 w 103"/>
                <a:gd name="T53" fmla="*/ 47 h 129"/>
                <a:gd name="T54" fmla="*/ 49 w 103"/>
                <a:gd name="T55" fmla="*/ 51 h 129"/>
                <a:gd name="T56" fmla="*/ 63 w 103"/>
                <a:gd name="T57" fmla="*/ 50 h 129"/>
                <a:gd name="T58" fmla="*/ 71 w 103"/>
                <a:gd name="T59" fmla="*/ 44 h 129"/>
                <a:gd name="T60" fmla="*/ 76 w 103"/>
                <a:gd name="T61" fmla="*/ 40 h 129"/>
                <a:gd name="T62" fmla="*/ 81 w 103"/>
                <a:gd name="T63" fmla="*/ 41 h 129"/>
                <a:gd name="T64" fmla="*/ 82 w 103"/>
                <a:gd name="T65" fmla="*/ 51 h 129"/>
                <a:gd name="T66" fmla="*/ 80 w 103"/>
                <a:gd name="T67" fmla="*/ 54 h 129"/>
                <a:gd name="T68" fmla="*/ 88 w 103"/>
                <a:gd name="T69" fmla="*/ 55 h 129"/>
                <a:gd name="T70" fmla="*/ 93 w 103"/>
                <a:gd name="T71" fmla="*/ 54 h 129"/>
                <a:gd name="T72" fmla="*/ 96 w 103"/>
                <a:gd name="T73" fmla="*/ 58 h 129"/>
                <a:gd name="T74" fmla="*/ 96 w 103"/>
                <a:gd name="T75" fmla="*/ 71 h 129"/>
                <a:gd name="T76" fmla="*/ 88 w 103"/>
                <a:gd name="T77" fmla="*/ 83 h 129"/>
                <a:gd name="T78" fmla="*/ 84 w 103"/>
                <a:gd name="T79" fmla="*/ 97 h 129"/>
                <a:gd name="T80" fmla="*/ 70 w 103"/>
                <a:gd name="T81" fmla="*/ 114 h 129"/>
                <a:gd name="T82" fmla="*/ 52 w 103"/>
                <a:gd name="T83" fmla="*/ 121 h 129"/>
                <a:gd name="T84" fmla="*/ 39 w 103"/>
                <a:gd name="T85" fmla="*/ 118 h 129"/>
                <a:gd name="T86" fmla="*/ 23 w 103"/>
                <a:gd name="T87" fmla="*/ 103 h 129"/>
                <a:gd name="T88" fmla="*/ 15 w 103"/>
                <a:gd name="T89" fmla="*/ 83 h 129"/>
                <a:gd name="T90" fmla="*/ 10 w 103"/>
                <a:gd name="T91" fmla="*/ 78 h 129"/>
                <a:gd name="T92" fmla="*/ 7 w 103"/>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9">
                  <a:moveTo>
                    <a:pt x="1" y="72"/>
                  </a:moveTo>
                  <a:lnTo>
                    <a:pt x="1" y="72"/>
                  </a:lnTo>
                  <a:lnTo>
                    <a:pt x="4" y="80"/>
                  </a:lnTo>
                  <a:lnTo>
                    <a:pt x="8" y="86"/>
                  </a:lnTo>
                  <a:lnTo>
                    <a:pt x="8" y="86"/>
                  </a:lnTo>
                  <a:lnTo>
                    <a:pt x="11" y="94"/>
                  </a:lnTo>
                  <a:lnTo>
                    <a:pt x="15" y="102"/>
                  </a:lnTo>
                  <a:lnTo>
                    <a:pt x="19" y="108"/>
                  </a:lnTo>
                  <a:lnTo>
                    <a:pt x="24" y="115"/>
                  </a:lnTo>
                  <a:lnTo>
                    <a:pt x="31" y="120"/>
                  </a:lnTo>
                  <a:lnTo>
                    <a:pt x="37" y="124"/>
                  </a:lnTo>
                  <a:lnTo>
                    <a:pt x="45" y="127"/>
                  </a:lnTo>
                  <a:lnTo>
                    <a:pt x="52" y="129"/>
                  </a:lnTo>
                  <a:lnTo>
                    <a:pt x="52" y="129"/>
                  </a:lnTo>
                  <a:lnTo>
                    <a:pt x="60" y="127"/>
                  </a:lnTo>
                  <a:lnTo>
                    <a:pt x="67" y="124"/>
                  </a:lnTo>
                  <a:lnTo>
                    <a:pt x="73" y="120"/>
                  </a:lnTo>
                  <a:lnTo>
                    <a:pt x="80" y="115"/>
                  </a:lnTo>
                  <a:lnTo>
                    <a:pt x="85" y="108"/>
                  </a:lnTo>
                  <a:lnTo>
                    <a:pt x="89" y="102"/>
                  </a:lnTo>
                  <a:lnTo>
                    <a:pt x="93" y="94"/>
                  </a:lnTo>
                  <a:lnTo>
                    <a:pt x="95" y="86"/>
                  </a:lnTo>
                  <a:lnTo>
                    <a:pt x="95" y="86"/>
                  </a:lnTo>
                  <a:lnTo>
                    <a:pt x="99" y="80"/>
                  </a:lnTo>
                  <a:lnTo>
                    <a:pt x="102" y="72"/>
                  </a:lnTo>
                  <a:lnTo>
                    <a:pt x="102" y="72"/>
                  </a:lnTo>
                  <a:lnTo>
                    <a:pt x="103" y="66"/>
                  </a:lnTo>
                  <a:lnTo>
                    <a:pt x="103" y="60"/>
                  </a:lnTo>
                  <a:lnTo>
                    <a:pt x="102" y="55"/>
                  </a:lnTo>
                  <a:lnTo>
                    <a:pt x="99" y="51"/>
                  </a:lnTo>
                  <a:lnTo>
                    <a:pt x="99" y="51"/>
                  </a:lnTo>
                  <a:lnTo>
                    <a:pt x="100" y="43"/>
                  </a:lnTo>
                  <a:lnTo>
                    <a:pt x="100" y="43"/>
                  </a:lnTo>
                  <a:lnTo>
                    <a:pt x="99" y="35"/>
                  </a:lnTo>
                  <a:lnTo>
                    <a:pt x="97" y="27"/>
                  </a:lnTo>
                  <a:lnTo>
                    <a:pt x="92" y="20"/>
                  </a:lnTo>
                  <a:lnTo>
                    <a:pt x="86" y="13"/>
                  </a:lnTo>
                  <a:lnTo>
                    <a:pt x="79" y="8"/>
                  </a:lnTo>
                  <a:lnTo>
                    <a:pt x="70" y="4"/>
                  </a:lnTo>
                  <a:lnTo>
                    <a:pt x="62" y="1"/>
                  </a:lnTo>
                  <a:lnTo>
                    <a:pt x="52" y="0"/>
                  </a:lnTo>
                  <a:lnTo>
                    <a:pt x="52" y="0"/>
                  </a:lnTo>
                  <a:lnTo>
                    <a:pt x="42" y="1"/>
                  </a:lnTo>
                  <a:lnTo>
                    <a:pt x="33" y="4"/>
                  </a:lnTo>
                  <a:lnTo>
                    <a:pt x="24" y="8"/>
                  </a:lnTo>
                  <a:lnTo>
                    <a:pt x="18" y="13"/>
                  </a:lnTo>
                  <a:lnTo>
                    <a:pt x="11" y="20"/>
                  </a:lnTo>
                  <a:lnTo>
                    <a:pt x="7" y="27"/>
                  </a:lnTo>
                  <a:lnTo>
                    <a:pt x="4" y="35"/>
                  </a:lnTo>
                  <a:lnTo>
                    <a:pt x="3" y="43"/>
                  </a:lnTo>
                  <a:lnTo>
                    <a:pt x="3" y="43"/>
                  </a:lnTo>
                  <a:lnTo>
                    <a:pt x="4" y="51"/>
                  </a:lnTo>
                  <a:lnTo>
                    <a:pt x="4" y="51"/>
                  </a:lnTo>
                  <a:lnTo>
                    <a:pt x="2" y="55"/>
                  </a:lnTo>
                  <a:lnTo>
                    <a:pt x="0" y="60"/>
                  </a:lnTo>
                  <a:lnTo>
                    <a:pt x="0" y="66"/>
                  </a:lnTo>
                  <a:lnTo>
                    <a:pt x="1" y="72"/>
                  </a:lnTo>
                  <a:lnTo>
                    <a:pt x="1" y="72"/>
                  </a:lnTo>
                  <a:close/>
                  <a:moveTo>
                    <a:pt x="7" y="59"/>
                  </a:moveTo>
                  <a:lnTo>
                    <a:pt x="7" y="59"/>
                  </a:lnTo>
                  <a:lnTo>
                    <a:pt x="9" y="56"/>
                  </a:lnTo>
                  <a:lnTo>
                    <a:pt x="11" y="54"/>
                  </a:lnTo>
                  <a:lnTo>
                    <a:pt x="11" y="54"/>
                  </a:lnTo>
                  <a:lnTo>
                    <a:pt x="14" y="54"/>
                  </a:lnTo>
                  <a:lnTo>
                    <a:pt x="16" y="55"/>
                  </a:lnTo>
                  <a:lnTo>
                    <a:pt x="19" y="59"/>
                  </a:lnTo>
                  <a:lnTo>
                    <a:pt x="19" y="59"/>
                  </a:lnTo>
                  <a:lnTo>
                    <a:pt x="23" y="54"/>
                  </a:lnTo>
                  <a:lnTo>
                    <a:pt x="23" y="54"/>
                  </a:lnTo>
                  <a:lnTo>
                    <a:pt x="21" y="51"/>
                  </a:lnTo>
                  <a:lnTo>
                    <a:pt x="21" y="51"/>
                  </a:lnTo>
                  <a:lnTo>
                    <a:pt x="21" y="46"/>
                  </a:lnTo>
                  <a:lnTo>
                    <a:pt x="21" y="44"/>
                  </a:lnTo>
                  <a:lnTo>
                    <a:pt x="23" y="41"/>
                  </a:lnTo>
                  <a:lnTo>
                    <a:pt x="25" y="40"/>
                  </a:lnTo>
                  <a:lnTo>
                    <a:pt x="25" y="40"/>
                  </a:lnTo>
                  <a:lnTo>
                    <a:pt x="27" y="40"/>
                  </a:lnTo>
                  <a:lnTo>
                    <a:pt x="30" y="41"/>
                  </a:lnTo>
                  <a:lnTo>
                    <a:pt x="34" y="44"/>
                  </a:lnTo>
                  <a:lnTo>
                    <a:pt x="34" y="44"/>
                  </a:lnTo>
                  <a:lnTo>
                    <a:pt x="38" y="47"/>
                  </a:lnTo>
                  <a:lnTo>
                    <a:pt x="43" y="50"/>
                  </a:lnTo>
                  <a:lnTo>
                    <a:pt x="43" y="50"/>
                  </a:lnTo>
                  <a:lnTo>
                    <a:pt x="49" y="51"/>
                  </a:lnTo>
                  <a:lnTo>
                    <a:pt x="53" y="51"/>
                  </a:lnTo>
                  <a:lnTo>
                    <a:pt x="58" y="51"/>
                  </a:lnTo>
                  <a:lnTo>
                    <a:pt x="63" y="50"/>
                  </a:lnTo>
                  <a:lnTo>
                    <a:pt x="63" y="50"/>
                  </a:lnTo>
                  <a:lnTo>
                    <a:pt x="67" y="47"/>
                  </a:lnTo>
                  <a:lnTo>
                    <a:pt x="71" y="44"/>
                  </a:lnTo>
                  <a:lnTo>
                    <a:pt x="71" y="44"/>
                  </a:lnTo>
                  <a:lnTo>
                    <a:pt x="74"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8" y="55"/>
                  </a:lnTo>
                  <a:lnTo>
                    <a:pt x="90" y="54"/>
                  </a:lnTo>
                  <a:lnTo>
                    <a:pt x="93" y="54"/>
                  </a:lnTo>
                  <a:lnTo>
                    <a:pt x="93" y="54"/>
                  </a:lnTo>
                  <a:lnTo>
                    <a:pt x="94" y="55"/>
                  </a:lnTo>
                  <a:lnTo>
                    <a:pt x="96" y="58"/>
                  </a:lnTo>
                  <a:lnTo>
                    <a:pt x="96" y="58"/>
                  </a:lnTo>
                  <a:lnTo>
                    <a:pt x="97" y="63"/>
                  </a:lnTo>
                  <a:lnTo>
                    <a:pt x="96" y="71"/>
                  </a:lnTo>
                  <a:lnTo>
                    <a:pt x="96" y="71"/>
                  </a:lnTo>
                  <a:lnTo>
                    <a:pt x="93" y="78"/>
                  </a:lnTo>
                  <a:lnTo>
                    <a:pt x="90" y="80"/>
                  </a:lnTo>
                  <a:lnTo>
                    <a:pt x="88" y="83"/>
                  </a:lnTo>
                  <a:lnTo>
                    <a:pt x="88" y="83"/>
                  </a:lnTo>
                  <a:lnTo>
                    <a:pt x="87" y="89"/>
                  </a:lnTo>
                  <a:lnTo>
                    <a:pt x="84" y="97"/>
                  </a:lnTo>
                  <a:lnTo>
                    <a:pt x="80" y="103"/>
                  </a:lnTo>
                  <a:lnTo>
                    <a:pt x="76" y="108"/>
                  </a:lnTo>
                  <a:lnTo>
                    <a:pt x="70" y="114"/>
                  </a:lnTo>
                  <a:lnTo>
                    <a:pt x="65" y="118"/>
                  </a:lnTo>
                  <a:lnTo>
                    <a:pt x="58" y="120"/>
                  </a:lnTo>
                  <a:lnTo>
                    <a:pt x="52" y="121"/>
                  </a:lnTo>
                  <a:lnTo>
                    <a:pt x="52" y="121"/>
                  </a:lnTo>
                  <a:lnTo>
                    <a:pt x="45" y="120"/>
                  </a:lnTo>
                  <a:lnTo>
                    <a:pt x="39" y="118"/>
                  </a:lnTo>
                  <a:lnTo>
                    <a:pt x="33" y="114"/>
                  </a:lnTo>
                  <a:lnTo>
                    <a:pt x="27" y="108"/>
                  </a:lnTo>
                  <a:lnTo>
                    <a:pt x="23" y="103"/>
                  </a:lnTo>
                  <a:lnTo>
                    <a:pt x="20" y="97"/>
                  </a:lnTo>
                  <a:lnTo>
                    <a:pt x="17" y="89"/>
                  </a:lnTo>
                  <a:lnTo>
                    <a:pt x="15" y="83"/>
                  </a:lnTo>
                  <a:lnTo>
                    <a:pt x="15" y="83"/>
                  </a:lnTo>
                  <a:lnTo>
                    <a:pt x="13" y="80"/>
                  </a:lnTo>
                  <a:lnTo>
                    <a:pt x="10" y="78"/>
                  </a:lnTo>
                  <a:lnTo>
                    <a:pt x="8" y="71"/>
                  </a:lnTo>
                  <a:lnTo>
                    <a:pt x="8" y="71"/>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7" name="Freeform 160"/>
            <p:cNvSpPr>
              <a:spLocks noEditPoints="1"/>
            </p:cNvSpPr>
            <p:nvPr/>
          </p:nvSpPr>
          <p:spPr bwMode="auto">
            <a:xfrm>
              <a:off x="5478472"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4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5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6 w 73"/>
                <a:gd name="T79" fmla="*/ 83 h 91"/>
                <a:gd name="T80" fmla="*/ 36 w 73"/>
                <a:gd name="T81" fmla="*/ 85 h 91"/>
                <a:gd name="T82" fmla="*/ 23 w 73"/>
                <a:gd name="T83" fmla="*/ 80 h 91"/>
                <a:gd name="T84" fmla="*/ 14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3" y="77"/>
                  </a:lnTo>
                  <a:lnTo>
                    <a:pt x="17" y="81"/>
                  </a:lnTo>
                  <a:lnTo>
                    <a:pt x="21" y="85"/>
                  </a:lnTo>
                  <a:lnTo>
                    <a:pt x="25" y="88"/>
                  </a:lnTo>
                  <a:lnTo>
                    <a:pt x="31" y="89"/>
                  </a:lnTo>
                  <a:lnTo>
                    <a:pt x="36" y="91"/>
                  </a:lnTo>
                  <a:lnTo>
                    <a:pt x="36" y="91"/>
                  </a:lnTo>
                  <a:lnTo>
                    <a:pt x="42" y="89"/>
                  </a:lnTo>
                  <a:lnTo>
                    <a:pt x="47" y="88"/>
                  </a:lnTo>
                  <a:lnTo>
                    <a:pt x="52" y="85"/>
                  </a:lnTo>
                  <a:lnTo>
                    <a:pt x="56" y="81"/>
                  </a:lnTo>
                  <a:lnTo>
                    <a:pt x="60"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1" y="8"/>
                  </a:lnTo>
                  <a:lnTo>
                    <a:pt x="56" y="5"/>
                  </a:lnTo>
                  <a:lnTo>
                    <a:pt x="50" y="2"/>
                  </a:lnTo>
                  <a:lnTo>
                    <a:pt x="44" y="0"/>
                  </a:lnTo>
                  <a:lnTo>
                    <a:pt x="36" y="0"/>
                  </a:lnTo>
                  <a:lnTo>
                    <a:pt x="36" y="0"/>
                  </a:lnTo>
                  <a:lnTo>
                    <a:pt x="30" y="0"/>
                  </a:lnTo>
                  <a:lnTo>
                    <a:pt x="23" y="2"/>
                  </a:lnTo>
                  <a:lnTo>
                    <a:pt x="17" y="5"/>
                  </a:lnTo>
                  <a:lnTo>
                    <a:pt x="13"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60" y="41"/>
                  </a:lnTo>
                  <a:lnTo>
                    <a:pt x="60"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60" y="68"/>
                  </a:lnTo>
                  <a:lnTo>
                    <a:pt x="56" y="72"/>
                  </a:lnTo>
                  <a:lnTo>
                    <a:pt x="53" y="77"/>
                  </a:lnTo>
                  <a:lnTo>
                    <a:pt x="50" y="80"/>
                  </a:lnTo>
                  <a:lnTo>
                    <a:pt x="46" y="83"/>
                  </a:lnTo>
                  <a:lnTo>
                    <a:pt x="41" y="85"/>
                  </a:lnTo>
                  <a:lnTo>
                    <a:pt x="36" y="85"/>
                  </a:lnTo>
                  <a:lnTo>
                    <a:pt x="36" y="85"/>
                  </a:lnTo>
                  <a:lnTo>
                    <a:pt x="32" y="85"/>
                  </a:lnTo>
                  <a:lnTo>
                    <a:pt x="28" y="83"/>
                  </a:lnTo>
                  <a:lnTo>
                    <a:pt x="23" y="80"/>
                  </a:lnTo>
                  <a:lnTo>
                    <a:pt x="19" y="77"/>
                  </a:lnTo>
                  <a:lnTo>
                    <a:pt x="16" y="72"/>
                  </a:lnTo>
                  <a:lnTo>
                    <a:pt x="14"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8" name="Freeform 161"/>
            <p:cNvSpPr>
              <a:spLocks/>
            </p:cNvSpPr>
            <p:nvPr/>
          </p:nvSpPr>
          <p:spPr bwMode="auto">
            <a:xfrm>
              <a:off x="5410210" y="3306778"/>
              <a:ext cx="222250" cy="98425"/>
            </a:xfrm>
            <a:custGeom>
              <a:avLst/>
              <a:gdLst>
                <a:gd name="T0" fmla="*/ 84 w 140"/>
                <a:gd name="T1" fmla="*/ 61 h 62"/>
                <a:gd name="T2" fmla="*/ 84 w 140"/>
                <a:gd name="T3" fmla="*/ 61 h 62"/>
                <a:gd name="T4" fmla="*/ 90 w 140"/>
                <a:gd name="T5" fmla="*/ 54 h 62"/>
                <a:gd name="T6" fmla="*/ 96 w 140"/>
                <a:gd name="T7" fmla="*/ 45 h 62"/>
                <a:gd name="T8" fmla="*/ 103 w 140"/>
                <a:gd name="T9" fmla="*/ 40 h 62"/>
                <a:gd name="T10" fmla="*/ 110 w 140"/>
                <a:gd name="T11" fmla="*/ 35 h 62"/>
                <a:gd name="T12" fmla="*/ 110 w 140"/>
                <a:gd name="T13" fmla="*/ 35 h 62"/>
                <a:gd name="T14" fmla="*/ 126 w 140"/>
                <a:gd name="T15" fmla="*/ 30 h 62"/>
                <a:gd name="T16" fmla="*/ 126 w 140"/>
                <a:gd name="T17" fmla="*/ 30 h 62"/>
                <a:gd name="T18" fmla="*/ 140 w 140"/>
                <a:gd name="T19" fmla="*/ 26 h 62"/>
                <a:gd name="T20" fmla="*/ 140 w 140"/>
                <a:gd name="T21" fmla="*/ 26 h 62"/>
                <a:gd name="T22" fmla="*/ 137 w 140"/>
                <a:gd name="T23" fmla="*/ 23 h 62"/>
                <a:gd name="T24" fmla="*/ 132 w 140"/>
                <a:gd name="T25" fmla="*/ 20 h 62"/>
                <a:gd name="T26" fmla="*/ 132 w 140"/>
                <a:gd name="T27" fmla="*/ 20 h 62"/>
                <a:gd name="T28" fmla="*/ 121 w 140"/>
                <a:gd name="T29" fmla="*/ 16 h 62"/>
                <a:gd name="T30" fmla="*/ 110 w 140"/>
                <a:gd name="T31" fmla="*/ 11 h 62"/>
                <a:gd name="T32" fmla="*/ 104 w 140"/>
                <a:gd name="T33" fmla="*/ 5 h 62"/>
                <a:gd name="T34" fmla="*/ 101 w 140"/>
                <a:gd name="T35" fmla="*/ 3 h 62"/>
                <a:gd name="T36" fmla="*/ 100 w 140"/>
                <a:gd name="T37" fmla="*/ 0 h 62"/>
                <a:gd name="T38" fmla="*/ 100 w 140"/>
                <a:gd name="T39" fmla="*/ 0 h 62"/>
                <a:gd name="T40" fmla="*/ 99 w 140"/>
                <a:gd name="T41" fmla="*/ 3 h 62"/>
                <a:gd name="T42" fmla="*/ 98 w 140"/>
                <a:gd name="T43" fmla="*/ 5 h 62"/>
                <a:gd name="T44" fmla="*/ 92 w 140"/>
                <a:gd name="T45" fmla="*/ 10 h 62"/>
                <a:gd name="T46" fmla="*/ 85 w 140"/>
                <a:gd name="T47" fmla="*/ 12 h 62"/>
                <a:gd name="T48" fmla="*/ 79 w 140"/>
                <a:gd name="T49" fmla="*/ 13 h 62"/>
                <a:gd name="T50" fmla="*/ 79 w 140"/>
                <a:gd name="T51" fmla="*/ 13 h 62"/>
                <a:gd name="T52" fmla="*/ 72 w 140"/>
                <a:gd name="T53" fmla="*/ 12 h 62"/>
                <a:gd name="T54" fmla="*/ 64 w 140"/>
                <a:gd name="T55" fmla="*/ 9 h 62"/>
                <a:gd name="T56" fmla="*/ 59 w 140"/>
                <a:gd name="T57" fmla="*/ 4 h 62"/>
                <a:gd name="T58" fmla="*/ 57 w 140"/>
                <a:gd name="T59" fmla="*/ 2 h 62"/>
                <a:gd name="T60" fmla="*/ 57 w 140"/>
                <a:gd name="T61" fmla="*/ 1 h 62"/>
                <a:gd name="T62" fmla="*/ 57 w 140"/>
                <a:gd name="T63" fmla="*/ 1 h 62"/>
                <a:gd name="T64" fmla="*/ 54 w 140"/>
                <a:gd name="T65" fmla="*/ 4 h 62"/>
                <a:gd name="T66" fmla="*/ 51 w 140"/>
                <a:gd name="T67" fmla="*/ 8 h 62"/>
                <a:gd name="T68" fmla="*/ 47 w 140"/>
                <a:gd name="T69" fmla="*/ 11 h 62"/>
                <a:gd name="T70" fmla="*/ 43 w 140"/>
                <a:gd name="T71" fmla="*/ 13 h 62"/>
                <a:gd name="T72" fmla="*/ 32 w 140"/>
                <a:gd name="T73" fmla="*/ 17 h 62"/>
                <a:gd name="T74" fmla="*/ 25 w 140"/>
                <a:gd name="T75" fmla="*/ 20 h 62"/>
                <a:gd name="T76" fmla="*/ 25 w 140"/>
                <a:gd name="T77" fmla="*/ 20 h 62"/>
                <a:gd name="T78" fmla="*/ 19 w 140"/>
                <a:gd name="T79" fmla="*/ 24 h 62"/>
                <a:gd name="T80" fmla="*/ 14 w 140"/>
                <a:gd name="T81" fmla="*/ 29 h 62"/>
                <a:gd name="T82" fmla="*/ 10 w 140"/>
                <a:gd name="T83" fmla="*/ 35 h 62"/>
                <a:gd name="T84" fmla="*/ 6 w 140"/>
                <a:gd name="T85" fmla="*/ 43 h 62"/>
                <a:gd name="T86" fmla="*/ 1 w 140"/>
                <a:gd name="T87" fmla="*/ 56 h 62"/>
                <a:gd name="T88" fmla="*/ 0 w 140"/>
                <a:gd name="T89" fmla="*/ 62 h 62"/>
                <a:gd name="T90" fmla="*/ 79 w 140"/>
                <a:gd name="T91" fmla="*/ 61 h 62"/>
                <a:gd name="T92" fmla="*/ 84 w 140"/>
                <a:gd name="T9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62">
                  <a:moveTo>
                    <a:pt x="84" y="61"/>
                  </a:moveTo>
                  <a:lnTo>
                    <a:pt x="84" y="61"/>
                  </a:lnTo>
                  <a:lnTo>
                    <a:pt x="90" y="54"/>
                  </a:lnTo>
                  <a:lnTo>
                    <a:pt x="96" y="45"/>
                  </a:lnTo>
                  <a:lnTo>
                    <a:pt x="103" y="40"/>
                  </a:lnTo>
                  <a:lnTo>
                    <a:pt x="110" y="35"/>
                  </a:lnTo>
                  <a:lnTo>
                    <a:pt x="110" y="35"/>
                  </a:lnTo>
                  <a:lnTo>
                    <a:pt x="126" y="30"/>
                  </a:lnTo>
                  <a:lnTo>
                    <a:pt x="126" y="30"/>
                  </a:lnTo>
                  <a:lnTo>
                    <a:pt x="140" y="26"/>
                  </a:lnTo>
                  <a:lnTo>
                    <a:pt x="140" y="26"/>
                  </a:lnTo>
                  <a:lnTo>
                    <a:pt x="137" y="23"/>
                  </a:lnTo>
                  <a:lnTo>
                    <a:pt x="132" y="20"/>
                  </a:lnTo>
                  <a:lnTo>
                    <a:pt x="132" y="20"/>
                  </a:lnTo>
                  <a:lnTo>
                    <a:pt x="121" y="16"/>
                  </a:lnTo>
                  <a:lnTo>
                    <a:pt x="110" y="11"/>
                  </a:lnTo>
                  <a:lnTo>
                    <a:pt x="104" y="5"/>
                  </a:lnTo>
                  <a:lnTo>
                    <a:pt x="101" y="3"/>
                  </a:lnTo>
                  <a:lnTo>
                    <a:pt x="100" y="0"/>
                  </a:lnTo>
                  <a:lnTo>
                    <a:pt x="100" y="0"/>
                  </a:lnTo>
                  <a:lnTo>
                    <a:pt x="99" y="3"/>
                  </a:lnTo>
                  <a:lnTo>
                    <a:pt x="98" y="5"/>
                  </a:lnTo>
                  <a:lnTo>
                    <a:pt x="92" y="10"/>
                  </a:lnTo>
                  <a:lnTo>
                    <a:pt x="85" y="12"/>
                  </a:lnTo>
                  <a:lnTo>
                    <a:pt x="79" y="13"/>
                  </a:lnTo>
                  <a:lnTo>
                    <a:pt x="79" y="13"/>
                  </a:lnTo>
                  <a:lnTo>
                    <a:pt x="72" y="12"/>
                  </a:lnTo>
                  <a:lnTo>
                    <a:pt x="64" y="9"/>
                  </a:lnTo>
                  <a:lnTo>
                    <a:pt x="59" y="4"/>
                  </a:lnTo>
                  <a:lnTo>
                    <a:pt x="57" y="2"/>
                  </a:lnTo>
                  <a:lnTo>
                    <a:pt x="57" y="1"/>
                  </a:lnTo>
                  <a:lnTo>
                    <a:pt x="57" y="1"/>
                  </a:lnTo>
                  <a:lnTo>
                    <a:pt x="54" y="4"/>
                  </a:lnTo>
                  <a:lnTo>
                    <a:pt x="51" y="8"/>
                  </a:lnTo>
                  <a:lnTo>
                    <a:pt x="47" y="11"/>
                  </a:lnTo>
                  <a:lnTo>
                    <a:pt x="43" y="13"/>
                  </a:lnTo>
                  <a:lnTo>
                    <a:pt x="32" y="17"/>
                  </a:lnTo>
                  <a:lnTo>
                    <a:pt x="25" y="20"/>
                  </a:lnTo>
                  <a:lnTo>
                    <a:pt x="25" y="20"/>
                  </a:lnTo>
                  <a:lnTo>
                    <a:pt x="19" y="24"/>
                  </a:lnTo>
                  <a:lnTo>
                    <a:pt x="14" y="29"/>
                  </a:lnTo>
                  <a:lnTo>
                    <a:pt x="10" y="35"/>
                  </a:lnTo>
                  <a:lnTo>
                    <a:pt x="6" y="43"/>
                  </a:lnTo>
                  <a:lnTo>
                    <a:pt x="1" y="56"/>
                  </a:lnTo>
                  <a:lnTo>
                    <a:pt x="0" y="62"/>
                  </a:lnTo>
                  <a:lnTo>
                    <a:pt x="79" y="61"/>
                  </a:lnTo>
                  <a:lnTo>
                    <a:pt x="8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79" name="Freeform 162"/>
            <p:cNvSpPr>
              <a:spLocks/>
            </p:cNvSpPr>
            <p:nvPr/>
          </p:nvSpPr>
          <p:spPr bwMode="auto">
            <a:xfrm>
              <a:off x="5783273" y="3306778"/>
              <a:ext cx="223838" cy="98425"/>
            </a:xfrm>
            <a:custGeom>
              <a:avLst/>
              <a:gdLst>
                <a:gd name="T0" fmla="*/ 14 w 141"/>
                <a:gd name="T1" fmla="*/ 30 h 62"/>
                <a:gd name="T2" fmla="*/ 14 w 141"/>
                <a:gd name="T3" fmla="*/ 30 h 62"/>
                <a:gd name="T4" fmla="*/ 30 w 141"/>
                <a:gd name="T5" fmla="*/ 35 h 62"/>
                <a:gd name="T6" fmla="*/ 30 w 141"/>
                <a:gd name="T7" fmla="*/ 35 h 62"/>
                <a:gd name="T8" fmla="*/ 37 w 141"/>
                <a:gd name="T9" fmla="*/ 40 h 62"/>
                <a:gd name="T10" fmla="*/ 44 w 141"/>
                <a:gd name="T11" fmla="*/ 46 h 62"/>
                <a:gd name="T12" fmla="*/ 50 w 141"/>
                <a:gd name="T13" fmla="*/ 54 h 62"/>
                <a:gd name="T14" fmla="*/ 55 w 141"/>
                <a:gd name="T15" fmla="*/ 61 h 62"/>
                <a:gd name="T16" fmla="*/ 62 w 141"/>
                <a:gd name="T17" fmla="*/ 61 h 62"/>
                <a:gd name="T18" fmla="*/ 141 w 141"/>
                <a:gd name="T19" fmla="*/ 62 h 62"/>
                <a:gd name="T20" fmla="*/ 141 w 141"/>
                <a:gd name="T21" fmla="*/ 62 h 62"/>
                <a:gd name="T22" fmla="*/ 139 w 141"/>
                <a:gd name="T23" fmla="*/ 56 h 62"/>
                <a:gd name="T24" fmla="*/ 133 w 141"/>
                <a:gd name="T25" fmla="*/ 43 h 62"/>
                <a:gd name="T26" fmla="*/ 130 w 141"/>
                <a:gd name="T27" fmla="*/ 35 h 62"/>
                <a:gd name="T28" fmla="*/ 126 w 141"/>
                <a:gd name="T29" fmla="*/ 29 h 62"/>
                <a:gd name="T30" fmla="*/ 121 w 141"/>
                <a:gd name="T31" fmla="*/ 24 h 62"/>
                <a:gd name="T32" fmla="*/ 115 w 141"/>
                <a:gd name="T33" fmla="*/ 20 h 62"/>
                <a:gd name="T34" fmla="*/ 115 w 141"/>
                <a:gd name="T35" fmla="*/ 20 h 62"/>
                <a:gd name="T36" fmla="*/ 104 w 141"/>
                <a:gd name="T37" fmla="*/ 16 h 62"/>
                <a:gd name="T38" fmla="*/ 93 w 141"/>
                <a:gd name="T39" fmla="*/ 11 h 62"/>
                <a:gd name="T40" fmla="*/ 86 w 141"/>
                <a:gd name="T41" fmla="*/ 5 h 62"/>
                <a:gd name="T42" fmla="*/ 84 w 141"/>
                <a:gd name="T43" fmla="*/ 3 h 62"/>
                <a:gd name="T44" fmla="*/ 83 w 141"/>
                <a:gd name="T45" fmla="*/ 0 h 62"/>
                <a:gd name="T46" fmla="*/ 83 w 141"/>
                <a:gd name="T47" fmla="*/ 0 h 62"/>
                <a:gd name="T48" fmla="*/ 82 w 141"/>
                <a:gd name="T49" fmla="*/ 3 h 62"/>
                <a:gd name="T50" fmla="*/ 81 w 141"/>
                <a:gd name="T51" fmla="*/ 5 h 62"/>
                <a:gd name="T52" fmla="*/ 75 w 141"/>
                <a:gd name="T53" fmla="*/ 10 h 62"/>
                <a:gd name="T54" fmla="*/ 68 w 141"/>
                <a:gd name="T55" fmla="*/ 12 h 62"/>
                <a:gd name="T56" fmla="*/ 62 w 141"/>
                <a:gd name="T57" fmla="*/ 13 h 62"/>
                <a:gd name="T58" fmla="*/ 62 w 141"/>
                <a:gd name="T59" fmla="*/ 13 h 62"/>
                <a:gd name="T60" fmla="*/ 54 w 141"/>
                <a:gd name="T61" fmla="*/ 12 h 62"/>
                <a:gd name="T62" fmla="*/ 47 w 141"/>
                <a:gd name="T63" fmla="*/ 9 h 62"/>
                <a:gd name="T64" fmla="*/ 42 w 141"/>
                <a:gd name="T65" fmla="*/ 4 h 62"/>
                <a:gd name="T66" fmla="*/ 39 w 141"/>
                <a:gd name="T67" fmla="*/ 2 h 62"/>
                <a:gd name="T68" fmla="*/ 39 w 141"/>
                <a:gd name="T69" fmla="*/ 1 h 62"/>
                <a:gd name="T70" fmla="*/ 39 w 141"/>
                <a:gd name="T71" fmla="*/ 1 h 62"/>
                <a:gd name="T72" fmla="*/ 37 w 141"/>
                <a:gd name="T73" fmla="*/ 4 h 62"/>
                <a:gd name="T74" fmla="*/ 34 w 141"/>
                <a:gd name="T75" fmla="*/ 8 h 62"/>
                <a:gd name="T76" fmla="*/ 30 w 141"/>
                <a:gd name="T77" fmla="*/ 11 h 62"/>
                <a:gd name="T78" fmla="*/ 26 w 141"/>
                <a:gd name="T79" fmla="*/ 13 h 62"/>
                <a:gd name="T80" fmla="*/ 15 w 141"/>
                <a:gd name="T81" fmla="*/ 17 h 62"/>
                <a:gd name="T82" fmla="*/ 7 w 141"/>
                <a:gd name="T83" fmla="*/ 20 h 62"/>
                <a:gd name="T84" fmla="*/ 7 w 141"/>
                <a:gd name="T85" fmla="*/ 20 h 62"/>
                <a:gd name="T86" fmla="*/ 3 w 141"/>
                <a:gd name="T87" fmla="*/ 23 h 62"/>
                <a:gd name="T88" fmla="*/ 0 w 141"/>
                <a:gd name="T89" fmla="*/ 26 h 62"/>
                <a:gd name="T90" fmla="*/ 0 w 141"/>
                <a:gd name="T91" fmla="*/ 26 h 62"/>
                <a:gd name="T92" fmla="*/ 14 w 141"/>
                <a:gd name="T93" fmla="*/ 30 h 62"/>
                <a:gd name="T94" fmla="*/ 14 w 141"/>
                <a:gd name="T95"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2">
                  <a:moveTo>
                    <a:pt x="14" y="30"/>
                  </a:moveTo>
                  <a:lnTo>
                    <a:pt x="14" y="30"/>
                  </a:lnTo>
                  <a:lnTo>
                    <a:pt x="30" y="35"/>
                  </a:lnTo>
                  <a:lnTo>
                    <a:pt x="30" y="35"/>
                  </a:lnTo>
                  <a:lnTo>
                    <a:pt x="37" y="40"/>
                  </a:lnTo>
                  <a:lnTo>
                    <a:pt x="44" y="46"/>
                  </a:lnTo>
                  <a:lnTo>
                    <a:pt x="50" y="54"/>
                  </a:lnTo>
                  <a:lnTo>
                    <a:pt x="55" y="61"/>
                  </a:lnTo>
                  <a:lnTo>
                    <a:pt x="62" y="61"/>
                  </a:lnTo>
                  <a:lnTo>
                    <a:pt x="141" y="62"/>
                  </a:lnTo>
                  <a:lnTo>
                    <a:pt x="141" y="62"/>
                  </a:lnTo>
                  <a:lnTo>
                    <a:pt x="139" y="56"/>
                  </a:lnTo>
                  <a:lnTo>
                    <a:pt x="133" y="43"/>
                  </a:lnTo>
                  <a:lnTo>
                    <a:pt x="130" y="35"/>
                  </a:lnTo>
                  <a:lnTo>
                    <a:pt x="126" y="29"/>
                  </a:lnTo>
                  <a:lnTo>
                    <a:pt x="121" y="24"/>
                  </a:lnTo>
                  <a:lnTo>
                    <a:pt x="115" y="20"/>
                  </a:lnTo>
                  <a:lnTo>
                    <a:pt x="115" y="20"/>
                  </a:lnTo>
                  <a:lnTo>
                    <a:pt x="104" y="16"/>
                  </a:lnTo>
                  <a:lnTo>
                    <a:pt x="93" y="11"/>
                  </a:lnTo>
                  <a:lnTo>
                    <a:pt x="86" y="5"/>
                  </a:lnTo>
                  <a:lnTo>
                    <a:pt x="84" y="3"/>
                  </a:lnTo>
                  <a:lnTo>
                    <a:pt x="83" y="0"/>
                  </a:lnTo>
                  <a:lnTo>
                    <a:pt x="83" y="0"/>
                  </a:lnTo>
                  <a:lnTo>
                    <a:pt x="82" y="3"/>
                  </a:lnTo>
                  <a:lnTo>
                    <a:pt x="81" y="5"/>
                  </a:lnTo>
                  <a:lnTo>
                    <a:pt x="75" y="10"/>
                  </a:lnTo>
                  <a:lnTo>
                    <a:pt x="68" y="12"/>
                  </a:lnTo>
                  <a:lnTo>
                    <a:pt x="62" y="13"/>
                  </a:lnTo>
                  <a:lnTo>
                    <a:pt x="62" y="13"/>
                  </a:lnTo>
                  <a:lnTo>
                    <a:pt x="54" y="12"/>
                  </a:lnTo>
                  <a:lnTo>
                    <a:pt x="47" y="9"/>
                  </a:lnTo>
                  <a:lnTo>
                    <a:pt x="42" y="4"/>
                  </a:lnTo>
                  <a:lnTo>
                    <a:pt x="39" y="2"/>
                  </a:lnTo>
                  <a:lnTo>
                    <a:pt x="39" y="1"/>
                  </a:lnTo>
                  <a:lnTo>
                    <a:pt x="39" y="1"/>
                  </a:lnTo>
                  <a:lnTo>
                    <a:pt x="37" y="4"/>
                  </a:lnTo>
                  <a:lnTo>
                    <a:pt x="34" y="8"/>
                  </a:lnTo>
                  <a:lnTo>
                    <a:pt x="30" y="11"/>
                  </a:lnTo>
                  <a:lnTo>
                    <a:pt x="26" y="13"/>
                  </a:lnTo>
                  <a:lnTo>
                    <a:pt x="15" y="17"/>
                  </a:lnTo>
                  <a:lnTo>
                    <a:pt x="7" y="20"/>
                  </a:lnTo>
                  <a:lnTo>
                    <a:pt x="7" y="20"/>
                  </a:lnTo>
                  <a:lnTo>
                    <a:pt x="3"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480" name="Freeform 163"/>
            <p:cNvSpPr>
              <a:spLocks noEditPoints="1"/>
            </p:cNvSpPr>
            <p:nvPr/>
          </p:nvSpPr>
          <p:spPr bwMode="auto">
            <a:xfrm>
              <a:off x="5824548" y="3173428"/>
              <a:ext cx="115888" cy="144463"/>
            </a:xfrm>
            <a:custGeom>
              <a:avLst/>
              <a:gdLst>
                <a:gd name="T0" fmla="*/ 3 w 73"/>
                <a:gd name="T1" fmla="*/ 56 h 91"/>
                <a:gd name="T2" fmla="*/ 7 w 73"/>
                <a:gd name="T3" fmla="*/ 66 h 91"/>
                <a:gd name="T4" fmla="*/ 17 w 73"/>
                <a:gd name="T5" fmla="*/ 81 h 91"/>
                <a:gd name="T6" fmla="*/ 31 w 73"/>
                <a:gd name="T7" fmla="*/ 89 h 91"/>
                <a:gd name="T8" fmla="*/ 42 w 73"/>
                <a:gd name="T9" fmla="*/ 89 h 91"/>
                <a:gd name="T10" fmla="*/ 56 w 73"/>
                <a:gd name="T11" fmla="*/ 81 h 91"/>
                <a:gd name="T12" fmla="*/ 66 w 73"/>
                <a:gd name="T13" fmla="*/ 66 h 91"/>
                <a:gd name="T14" fmla="*/ 70 w 73"/>
                <a:gd name="T15" fmla="*/ 56 h 91"/>
                <a:gd name="T16" fmla="*/ 73 w 73"/>
                <a:gd name="T17" fmla="*/ 46 h 91"/>
                <a:gd name="T18" fmla="*/ 70 w 73"/>
                <a:gd name="T19" fmla="*/ 35 h 91"/>
                <a:gd name="T20" fmla="*/ 71 w 73"/>
                <a:gd name="T21" fmla="*/ 31 h 91"/>
                <a:gd name="T22" fmla="*/ 65 w 73"/>
                <a:gd name="T23" fmla="*/ 13 h 91"/>
                <a:gd name="T24" fmla="*/ 50 w 73"/>
                <a:gd name="T25" fmla="*/ 2 h 91"/>
                <a:gd name="T26" fmla="*/ 36 w 73"/>
                <a:gd name="T27" fmla="*/ 0 h 91"/>
                <a:gd name="T28" fmla="*/ 17 w 73"/>
                <a:gd name="T29" fmla="*/ 5 h 91"/>
                <a:gd name="T30" fmla="*/ 5 w 73"/>
                <a:gd name="T31" fmla="*/ 18 h 91"/>
                <a:gd name="T32" fmla="*/ 2 w 73"/>
                <a:gd name="T33" fmla="*/ 31 h 91"/>
                <a:gd name="T34" fmla="*/ 1 w 73"/>
                <a:gd name="T35" fmla="*/ 38 h 91"/>
                <a:gd name="T36" fmla="*/ 1 w 73"/>
                <a:gd name="T37" fmla="*/ 51 h 91"/>
                <a:gd name="T38" fmla="*/ 5 w 73"/>
                <a:gd name="T39" fmla="*/ 41 h 91"/>
                <a:gd name="T40" fmla="*/ 7 w 73"/>
                <a:gd name="T41" fmla="*/ 38 h 91"/>
                <a:gd name="T42" fmla="*/ 13 w 73"/>
                <a:gd name="T43" fmla="*/ 41 h 91"/>
                <a:gd name="T44" fmla="*/ 16 w 73"/>
                <a:gd name="T45" fmla="*/ 38 h 91"/>
                <a:gd name="T46" fmla="*/ 15 w 73"/>
                <a:gd name="T47" fmla="*/ 33 h 91"/>
                <a:gd name="T48" fmla="*/ 18 w 73"/>
                <a:gd name="T49" fmla="*/ 28 h 91"/>
                <a:gd name="T50" fmla="*/ 21 w 73"/>
                <a:gd name="T51" fmla="*/ 29 h 91"/>
                <a:gd name="T52" fmla="*/ 31 w 73"/>
                <a:gd name="T53" fmla="*/ 34 h 91"/>
                <a:gd name="T54" fmla="*/ 44 w 73"/>
                <a:gd name="T55" fmla="*/ 34 h 91"/>
                <a:gd name="T56" fmla="*/ 50 w 73"/>
                <a:gd name="T57" fmla="*/ 31 h 91"/>
                <a:gd name="T58" fmla="*/ 54 w 73"/>
                <a:gd name="T59" fmla="*/ 28 h 91"/>
                <a:gd name="T60" fmla="*/ 57 w 73"/>
                <a:gd name="T61" fmla="*/ 29 h 91"/>
                <a:gd name="T62" fmla="*/ 58 w 73"/>
                <a:gd name="T63" fmla="*/ 35 h 91"/>
                <a:gd name="T64" fmla="*/ 56 w 73"/>
                <a:gd name="T65" fmla="*/ 38 h 91"/>
                <a:gd name="T66" fmla="*/ 63 w 73"/>
                <a:gd name="T67" fmla="*/ 38 h 91"/>
                <a:gd name="T68" fmla="*/ 65 w 73"/>
                <a:gd name="T69" fmla="*/ 38 h 91"/>
                <a:gd name="T70" fmla="*/ 68 w 73"/>
                <a:gd name="T71" fmla="*/ 40 h 91"/>
                <a:gd name="T72" fmla="*/ 68 w 73"/>
                <a:gd name="T73" fmla="*/ 50 h 91"/>
                <a:gd name="T74" fmla="*/ 63 w 73"/>
                <a:gd name="T75" fmla="*/ 58 h 91"/>
                <a:gd name="T76" fmla="*/ 56 w 73"/>
                <a:gd name="T77" fmla="*/ 72 h 91"/>
                <a:gd name="T78" fmla="*/ 45 w 73"/>
                <a:gd name="T79" fmla="*/ 83 h 91"/>
                <a:gd name="T80" fmla="*/ 36 w 73"/>
                <a:gd name="T81" fmla="*/ 85 h 91"/>
                <a:gd name="T82" fmla="*/ 23 w 73"/>
                <a:gd name="T83" fmla="*/ 80 h 91"/>
                <a:gd name="T84" fmla="*/ 13 w 73"/>
                <a:gd name="T85" fmla="*/ 68 h 91"/>
                <a:gd name="T86" fmla="*/ 10 w 73"/>
                <a:gd name="T87" fmla="*/ 58 h 91"/>
                <a:gd name="T88" fmla="*/ 5 w 73"/>
                <a:gd name="T89" fmla="*/ 50 h 91"/>
                <a:gd name="T90" fmla="*/ 5 w 73"/>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91">
                  <a:moveTo>
                    <a:pt x="1" y="51"/>
                  </a:moveTo>
                  <a:lnTo>
                    <a:pt x="1" y="51"/>
                  </a:lnTo>
                  <a:lnTo>
                    <a:pt x="3" y="56"/>
                  </a:lnTo>
                  <a:lnTo>
                    <a:pt x="6" y="61"/>
                  </a:lnTo>
                  <a:lnTo>
                    <a:pt x="6" y="61"/>
                  </a:lnTo>
                  <a:lnTo>
                    <a:pt x="7" y="66"/>
                  </a:lnTo>
                  <a:lnTo>
                    <a:pt x="10" y="71"/>
                  </a:lnTo>
                  <a:lnTo>
                    <a:pt x="12" y="77"/>
                  </a:lnTo>
                  <a:lnTo>
                    <a:pt x="17" y="81"/>
                  </a:lnTo>
                  <a:lnTo>
                    <a:pt x="21" y="85"/>
                  </a:lnTo>
                  <a:lnTo>
                    <a:pt x="25" y="88"/>
                  </a:lnTo>
                  <a:lnTo>
                    <a:pt x="31" y="89"/>
                  </a:lnTo>
                  <a:lnTo>
                    <a:pt x="36" y="91"/>
                  </a:lnTo>
                  <a:lnTo>
                    <a:pt x="36" y="91"/>
                  </a:lnTo>
                  <a:lnTo>
                    <a:pt x="42" y="89"/>
                  </a:lnTo>
                  <a:lnTo>
                    <a:pt x="47" y="88"/>
                  </a:lnTo>
                  <a:lnTo>
                    <a:pt x="52" y="85"/>
                  </a:lnTo>
                  <a:lnTo>
                    <a:pt x="56" y="81"/>
                  </a:lnTo>
                  <a:lnTo>
                    <a:pt x="59" y="77"/>
                  </a:lnTo>
                  <a:lnTo>
                    <a:pt x="63" y="71"/>
                  </a:lnTo>
                  <a:lnTo>
                    <a:pt x="66" y="66"/>
                  </a:lnTo>
                  <a:lnTo>
                    <a:pt x="67" y="61"/>
                  </a:lnTo>
                  <a:lnTo>
                    <a:pt x="67" y="61"/>
                  </a:lnTo>
                  <a:lnTo>
                    <a:pt x="70" y="56"/>
                  </a:lnTo>
                  <a:lnTo>
                    <a:pt x="72" y="51"/>
                  </a:lnTo>
                  <a:lnTo>
                    <a:pt x="72" y="51"/>
                  </a:lnTo>
                  <a:lnTo>
                    <a:pt x="73" y="46"/>
                  </a:lnTo>
                  <a:lnTo>
                    <a:pt x="73" y="41"/>
                  </a:lnTo>
                  <a:lnTo>
                    <a:pt x="72" y="38"/>
                  </a:lnTo>
                  <a:lnTo>
                    <a:pt x="70" y="35"/>
                  </a:lnTo>
                  <a:lnTo>
                    <a:pt x="70" y="35"/>
                  </a:lnTo>
                  <a:lnTo>
                    <a:pt x="71" y="31"/>
                  </a:lnTo>
                  <a:lnTo>
                    <a:pt x="71" y="31"/>
                  </a:lnTo>
                  <a:lnTo>
                    <a:pt x="70" y="24"/>
                  </a:lnTo>
                  <a:lnTo>
                    <a:pt x="68" y="18"/>
                  </a:lnTo>
                  <a:lnTo>
                    <a:pt x="65" y="13"/>
                  </a:lnTo>
                  <a:lnTo>
                    <a:pt x="60" y="8"/>
                  </a:lnTo>
                  <a:lnTo>
                    <a:pt x="56" y="5"/>
                  </a:lnTo>
                  <a:lnTo>
                    <a:pt x="50" y="2"/>
                  </a:lnTo>
                  <a:lnTo>
                    <a:pt x="43" y="0"/>
                  </a:lnTo>
                  <a:lnTo>
                    <a:pt x="36" y="0"/>
                  </a:lnTo>
                  <a:lnTo>
                    <a:pt x="36" y="0"/>
                  </a:lnTo>
                  <a:lnTo>
                    <a:pt x="29" y="0"/>
                  </a:lnTo>
                  <a:lnTo>
                    <a:pt x="23" y="2"/>
                  </a:lnTo>
                  <a:lnTo>
                    <a:pt x="17" y="5"/>
                  </a:lnTo>
                  <a:lnTo>
                    <a:pt x="12" y="8"/>
                  </a:lnTo>
                  <a:lnTo>
                    <a:pt x="8" y="13"/>
                  </a:lnTo>
                  <a:lnTo>
                    <a:pt x="5" y="18"/>
                  </a:lnTo>
                  <a:lnTo>
                    <a:pt x="3" y="24"/>
                  </a:lnTo>
                  <a:lnTo>
                    <a:pt x="2" y="31"/>
                  </a:lnTo>
                  <a:lnTo>
                    <a:pt x="2" y="31"/>
                  </a:lnTo>
                  <a:lnTo>
                    <a:pt x="3" y="35"/>
                  </a:lnTo>
                  <a:lnTo>
                    <a:pt x="3" y="35"/>
                  </a:lnTo>
                  <a:lnTo>
                    <a:pt x="1" y="38"/>
                  </a:lnTo>
                  <a:lnTo>
                    <a:pt x="0" y="41"/>
                  </a:lnTo>
                  <a:lnTo>
                    <a:pt x="0" y="46"/>
                  </a:lnTo>
                  <a:lnTo>
                    <a:pt x="1" y="51"/>
                  </a:lnTo>
                  <a:lnTo>
                    <a:pt x="1" y="51"/>
                  </a:lnTo>
                  <a:close/>
                  <a:moveTo>
                    <a:pt x="5" y="41"/>
                  </a:moveTo>
                  <a:lnTo>
                    <a:pt x="5" y="41"/>
                  </a:lnTo>
                  <a:lnTo>
                    <a:pt x="6" y="39"/>
                  </a:lnTo>
                  <a:lnTo>
                    <a:pt x="7" y="38"/>
                  </a:lnTo>
                  <a:lnTo>
                    <a:pt x="7" y="38"/>
                  </a:lnTo>
                  <a:lnTo>
                    <a:pt x="9" y="38"/>
                  </a:lnTo>
                  <a:lnTo>
                    <a:pt x="10" y="38"/>
                  </a:lnTo>
                  <a:lnTo>
                    <a:pt x="13" y="41"/>
                  </a:lnTo>
                  <a:lnTo>
                    <a:pt x="13"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4" y="34"/>
                  </a:lnTo>
                  <a:lnTo>
                    <a:pt x="44" y="34"/>
                  </a:lnTo>
                  <a:lnTo>
                    <a:pt x="48" y="33"/>
                  </a:lnTo>
                  <a:lnTo>
                    <a:pt x="50" y="31"/>
                  </a:lnTo>
                  <a:lnTo>
                    <a:pt x="50" y="31"/>
                  </a:lnTo>
                  <a:lnTo>
                    <a:pt x="52" y="29"/>
                  </a:lnTo>
                  <a:lnTo>
                    <a:pt x="54" y="28"/>
                  </a:lnTo>
                  <a:lnTo>
                    <a:pt x="55" y="28"/>
                  </a:lnTo>
                  <a:lnTo>
                    <a:pt x="55" y="28"/>
                  </a:lnTo>
                  <a:lnTo>
                    <a:pt x="57" y="29"/>
                  </a:lnTo>
                  <a:lnTo>
                    <a:pt x="58" y="31"/>
                  </a:lnTo>
                  <a:lnTo>
                    <a:pt x="58" y="33"/>
                  </a:lnTo>
                  <a:lnTo>
                    <a:pt x="58" y="35"/>
                  </a:lnTo>
                  <a:lnTo>
                    <a:pt x="58" y="35"/>
                  </a:lnTo>
                  <a:lnTo>
                    <a:pt x="56" y="38"/>
                  </a:lnTo>
                  <a:lnTo>
                    <a:pt x="56" y="38"/>
                  </a:lnTo>
                  <a:lnTo>
                    <a:pt x="59" y="41"/>
                  </a:lnTo>
                  <a:lnTo>
                    <a:pt x="59" y="41"/>
                  </a:lnTo>
                  <a:lnTo>
                    <a:pt x="63" y="38"/>
                  </a:lnTo>
                  <a:lnTo>
                    <a:pt x="64" y="38"/>
                  </a:lnTo>
                  <a:lnTo>
                    <a:pt x="65" y="38"/>
                  </a:lnTo>
                  <a:lnTo>
                    <a:pt x="65" y="38"/>
                  </a:lnTo>
                  <a:lnTo>
                    <a:pt x="67" y="38"/>
                  </a:lnTo>
                  <a:lnTo>
                    <a:pt x="68" y="40"/>
                  </a:lnTo>
                  <a:lnTo>
                    <a:pt x="68" y="40"/>
                  </a:lnTo>
                  <a:lnTo>
                    <a:pt x="68" y="45"/>
                  </a:lnTo>
                  <a:lnTo>
                    <a:pt x="68" y="50"/>
                  </a:lnTo>
                  <a:lnTo>
                    <a:pt x="68" y="50"/>
                  </a:lnTo>
                  <a:lnTo>
                    <a:pt x="66" y="54"/>
                  </a:lnTo>
                  <a:lnTo>
                    <a:pt x="63" y="58"/>
                  </a:lnTo>
                  <a:lnTo>
                    <a:pt x="63" y="58"/>
                  </a:lnTo>
                  <a:lnTo>
                    <a:pt x="62" y="63"/>
                  </a:lnTo>
                  <a:lnTo>
                    <a:pt x="59" y="68"/>
                  </a:lnTo>
                  <a:lnTo>
                    <a:pt x="56" y="72"/>
                  </a:lnTo>
                  <a:lnTo>
                    <a:pt x="53" y="77"/>
                  </a:lnTo>
                  <a:lnTo>
                    <a:pt x="50" y="80"/>
                  </a:lnTo>
                  <a:lnTo>
                    <a:pt x="45" y="83"/>
                  </a:lnTo>
                  <a:lnTo>
                    <a:pt x="41" y="85"/>
                  </a:lnTo>
                  <a:lnTo>
                    <a:pt x="36" y="85"/>
                  </a:lnTo>
                  <a:lnTo>
                    <a:pt x="36" y="85"/>
                  </a:lnTo>
                  <a:lnTo>
                    <a:pt x="32" y="85"/>
                  </a:lnTo>
                  <a:lnTo>
                    <a:pt x="27" y="83"/>
                  </a:lnTo>
                  <a:lnTo>
                    <a:pt x="23" y="80"/>
                  </a:lnTo>
                  <a:lnTo>
                    <a:pt x="19" y="77"/>
                  </a:lnTo>
                  <a:lnTo>
                    <a:pt x="16" y="72"/>
                  </a:lnTo>
                  <a:lnTo>
                    <a:pt x="13" y="68"/>
                  </a:lnTo>
                  <a:lnTo>
                    <a:pt x="11" y="63"/>
                  </a:lnTo>
                  <a:lnTo>
                    <a:pt x="10" y="58"/>
                  </a:lnTo>
                  <a:lnTo>
                    <a:pt x="10" y="58"/>
                  </a:lnTo>
                  <a:lnTo>
                    <a:pt x="7" y="54"/>
                  </a:lnTo>
                  <a:lnTo>
                    <a:pt x="5" y="50"/>
                  </a:lnTo>
                  <a:lnTo>
                    <a:pt x="5" y="50"/>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311" tIns="45156" rIns="90311" bIns="4515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78"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sp>
        <p:nvSpPr>
          <p:cNvPr id="481" name="Rectangle 480"/>
          <p:cNvSpPr/>
          <p:nvPr/>
        </p:nvSpPr>
        <p:spPr>
          <a:xfrm>
            <a:off x="864614" y="1000297"/>
            <a:ext cx="2150755" cy="270303"/>
          </a:xfrm>
          <a:prstGeom prst="rect">
            <a:avLst/>
          </a:prstGeom>
          <a:solidFill>
            <a:srgbClr val="6E4924"/>
          </a:solidFill>
          <a:ln w="9525" cap="flat" cmpd="sng" algn="ctr">
            <a:solidFill>
              <a:srgbClr val="FFFFFF"/>
            </a:solidFill>
            <a:prstDash val="solid"/>
          </a:ln>
          <a:effectLst/>
        </p:spPr>
        <p:txBody>
          <a:bodyPr lIns="39998" tIns="19998" rIns="39998" bIns="19998" rtlCol="0" anchor="ctr"/>
          <a:lstStyle/>
          <a:p>
            <a:pPr marL="0" marR="0" lvl="0" indent="0" algn="ctr" defTabSz="1219151"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Calibiri"/>
                <a:ea typeface="+mn-ea"/>
                <a:cs typeface="+mn-cs"/>
              </a:rPr>
              <a:t>Marriott</a:t>
            </a:r>
            <a:endParaRPr kumimoji="0" lang="en-US" sz="1400" b="1" i="0" u="none" strike="noStrike" kern="0" cap="none" spc="0" normalizeH="0" baseline="0" noProof="0" dirty="0">
              <a:ln>
                <a:noFill/>
              </a:ln>
              <a:solidFill>
                <a:srgbClr val="FFFFFF"/>
              </a:solidFill>
              <a:effectLst/>
              <a:uLnTx/>
              <a:uFillTx/>
              <a:latin typeface="Calibiri"/>
              <a:ea typeface="+mn-ea"/>
              <a:cs typeface="+mn-cs"/>
            </a:endParaRPr>
          </a:p>
        </p:txBody>
      </p:sp>
      <p:sp>
        <p:nvSpPr>
          <p:cNvPr id="237" name="Diagonal Stripe 236"/>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Governance of Hybrid delivery Model </a:t>
            </a:r>
            <a:endParaRPr lang="en-US" sz="1400" dirty="0">
              <a:solidFill>
                <a:srgbClr val="FF0000"/>
              </a:solidFill>
            </a:endParaRPr>
          </a:p>
        </p:txBody>
      </p:sp>
      <p:pic>
        <p:nvPicPr>
          <p:cNvPr id="4" name="Picture 3"/>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29100" y="1002474"/>
            <a:ext cx="1284265" cy="271064"/>
          </a:xfrm>
          <a:prstGeom prst="rect">
            <a:avLst/>
          </a:prstGeom>
        </p:spPr>
      </p:pic>
      <p:pic>
        <p:nvPicPr>
          <p:cNvPr id="240" name="Picture 239"/>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68517" y="1002474"/>
            <a:ext cx="1284265" cy="271064"/>
          </a:xfrm>
          <a:prstGeom prst="rect">
            <a:avLst/>
          </a:prstGeom>
        </p:spPr>
      </p:pic>
      <p:pic>
        <p:nvPicPr>
          <p:cNvPr id="6" name="Picture 5"/>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21923" y="5992594"/>
            <a:ext cx="700812" cy="147917"/>
          </a:xfrm>
          <a:prstGeom prst="rect">
            <a:avLst/>
          </a:prstGeom>
        </p:spPr>
      </p:pic>
      <p:pic>
        <p:nvPicPr>
          <p:cNvPr id="243" name="Picture 242"/>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30046" y="5980287"/>
            <a:ext cx="700812" cy="147917"/>
          </a:xfrm>
          <a:prstGeom prst="rect">
            <a:avLst/>
          </a:prstGeom>
        </p:spPr>
      </p:pic>
    </p:spTree>
    <p:extLst>
      <p:ext uri="{BB962C8B-B14F-4D97-AF65-F5344CB8AC3E}">
        <p14:creationId xmlns:p14="http://schemas.microsoft.com/office/powerpoint/2010/main" val="1053455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mercials</a:t>
            </a:r>
            <a:endParaRPr lang="en-US" dirty="0"/>
          </a:p>
        </p:txBody>
      </p:sp>
    </p:spTree>
    <p:extLst>
      <p:ext uri="{BB962C8B-B14F-4D97-AF65-F5344CB8AC3E}">
        <p14:creationId xmlns:p14="http://schemas.microsoft.com/office/powerpoint/2010/main" val="336179724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s for RFP 1 &amp; 2 </a:t>
            </a:r>
            <a:endParaRPr lang="en-US" dirty="0"/>
          </a:p>
        </p:txBody>
      </p:sp>
    </p:spTree>
    <p:extLst>
      <p:ext uri="{BB962C8B-B14F-4D97-AF65-F5344CB8AC3E}">
        <p14:creationId xmlns:p14="http://schemas.microsoft.com/office/powerpoint/2010/main" val="12602847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Cognizant ?</a:t>
            </a:r>
            <a:endParaRPr lang="en-US" dirty="0"/>
          </a:p>
        </p:txBody>
      </p:sp>
    </p:spTree>
    <p:extLst>
      <p:ext uri="{BB962C8B-B14F-4D97-AF65-F5344CB8AC3E}">
        <p14:creationId xmlns:p14="http://schemas.microsoft.com/office/powerpoint/2010/main" val="200091920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667" dirty="0"/>
              <a:t>Invested in building Domain and Technology solution accelerators and platforms for accelerated digital transformation at scale</a:t>
            </a:r>
          </a:p>
        </p:txBody>
      </p:sp>
      <p:sp>
        <p:nvSpPr>
          <p:cNvPr id="6" name="AutoShape 8" descr="Image result for red associates logo"/>
          <p:cNvSpPr>
            <a:spLocks noChangeAspect="1" noChangeArrowheads="1"/>
          </p:cNvSpPr>
          <p:nvPr/>
        </p:nvSpPr>
        <p:spPr bwMode="auto">
          <a:xfrm>
            <a:off x="7133465" y="6572672"/>
            <a:ext cx="142825" cy="142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prstTxWarp prst="textNoShape">
              <a:avLst/>
            </a:prstTxWarp>
          </a:bodyPr>
          <a:lstStyle/>
          <a:p>
            <a:pPr defTabSz="1218775">
              <a:defRPr/>
            </a:pPr>
            <a:endParaRPr lang="en-GB" sz="2399" dirty="0">
              <a:solidFill>
                <a:srgbClr val="50B3CF"/>
              </a:solidFill>
              <a:latin typeface="Calibiri"/>
            </a:endParaRPr>
          </a:p>
        </p:txBody>
      </p:sp>
      <p:sp>
        <p:nvSpPr>
          <p:cNvPr id="33" name="Google Shape;2051;p240"/>
          <p:cNvSpPr/>
          <p:nvPr/>
        </p:nvSpPr>
        <p:spPr>
          <a:xfrm>
            <a:off x="4442348"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34" name="Google Shape;2052;p240"/>
          <p:cNvSpPr/>
          <p:nvPr/>
        </p:nvSpPr>
        <p:spPr>
          <a:xfrm>
            <a:off x="1075504"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36" name="Google Shape;2054;p240"/>
          <p:cNvSpPr/>
          <p:nvPr/>
        </p:nvSpPr>
        <p:spPr>
          <a:xfrm>
            <a:off x="1109609" y="2218515"/>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600" b="1" dirty="0">
                <a:solidFill>
                  <a:srgbClr val="666666"/>
                </a:solidFill>
                <a:latin typeface="Calibri" panose="020F0502020204030204" pitchFamily="34" charset="0"/>
                <a:ea typeface="Helvetica Neue"/>
                <a:cs typeface="Calibri" panose="020F0502020204030204" pitchFamily="34" charset="0"/>
                <a:sym typeface="Helvetica Neue"/>
              </a:rPr>
              <a:t>A cloud based platform aimed at improving guest experience</a:t>
            </a:r>
            <a:endParaRPr lang="en-CA" sz="1200"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37" name="Google Shape;2055;p240"/>
          <p:cNvSpPr/>
          <p:nvPr/>
        </p:nvSpPr>
        <p:spPr>
          <a:xfrm>
            <a:off x="4466648"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40" name="Google Shape;2058;p240"/>
          <p:cNvSpPr/>
          <p:nvPr/>
        </p:nvSpPr>
        <p:spPr>
          <a:xfrm>
            <a:off x="1075504"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47" name="Google Shape;2065;p240"/>
          <p:cNvSpPr/>
          <p:nvPr/>
        </p:nvSpPr>
        <p:spPr>
          <a:xfrm>
            <a:off x="7857792"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50" name="Google Shape;2068;p240"/>
          <p:cNvSpPr/>
          <p:nvPr/>
        </p:nvSpPr>
        <p:spPr>
          <a:xfrm>
            <a:off x="7857792"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57" name="Google Shape;2054;p240"/>
          <p:cNvSpPr/>
          <p:nvPr/>
        </p:nvSpPr>
        <p:spPr>
          <a:xfrm>
            <a:off x="1150706" y="2862363"/>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A library of open, standardized APIs that will connect all guest facing devices to underlying PMS </a:t>
            </a: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e.g. Oracle Opera)</a:t>
            </a: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seamlessly and enhance guest experience</a:t>
            </a: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58" name="Google Shape;2054;p240"/>
          <p:cNvSpPr/>
          <p:nvPr/>
        </p:nvSpPr>
        <p:spPr>
          <a:xfrm>
            <a:off x="4424737" y="2150022"/>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600" b="1" dirty="0">
                <a:solidFill>
                  <a:srgbClr val="666666"/>
                </a:solidFill>
                <a:latin typeface="Calibri" panose="020F0502020204030204" pitchFamily="34" charset="0"/>
                <a:ea typeface="Helvetica Neue"/>
                <a:cs typeface="Calibri" panose="020F0502020204030204" pitchFamily="34" charset="0"/>
                <a:sym typeface="Helvetica Neue"/>
              </a:rPr>
              <a:t>Cognizant has deep expertise in integration with various property management systems such as Oracle opera, </a:t>
            </a:r>
            <a:r>
              <a:rPr lang="en-US" sz="1600" b="1" dirty="0" err="1">
                <a:solidFill>
                  <a:srgbClr val="666666"/>
                </a:solidFill>
                <a:latin typeface="Calibri" panose="020F0502020204030204" pitchFamily="34" charset="0"/>
                <a:ea typeface="Helvetica Neue"/>
                <a:cs typeface="Calibri" panose="020F0502020204030204" pitchFamily="34" charset="0"/>
                <a:sym typeface="Helvetica Neue"/>
              </a:rPr>
              <a:t>Lightspeed</a:t>
            </a:r>
            <a:r>
              <a:rPr lang="en-US" sz="1600" b="1" dirty="0">
                <a:solidFill>
                  <a:srgbClr val="666666"/>
                </a:solidFill>
                <a:latin typeface="Calibri" panose="020F0502020204030204" pitchFamily="34" charset="0"/>
                <a:ea typeface="Helvetica Neue"/>
                <a:cs typeface="Calibri" panose="020F0502020204030204" pitchFamily="34" charset="0"/>
                <a:sym typeface="Helvetica Neue"/>
              </a:rPr>
              <a:t> etc.</a:t>
            </a: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59" name="Google Shape;2054;p240"/>
          <p:cNvSpPr/>
          <p:nvPr/>
        </p:nvSpPr>
        <p:spPr>
          <a:xfrm>
            <a:off x="4548027" y="3259629"/>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Helps us to drive Property excellence theme via integration of various PMS</a:t>
            </a: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61" name="Google Shape;2054;p240"/>
          <p:cNvSpPr/>
          <p:nvPr/>
        </p:nvSpPr>
        <p:spPr>
          <a:xfrm>
            <a:off x="7876854" y="2095227"/>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600" b="1" dirty="0">
                <a:solidFill>
                  <a:srgbClr val="666666"/>
                </a:solidFill>
                <a:latin typeface="Calibri" panose="020F0502020204030204" pitchFamily="34" charset="0"/>
                <a:ea typeface="Helvetica Neue"/>
                <a:cs typeface="Calibri" panose="020F0502020204030204" pitchFamily="34" charset="0"/>
                <a:sym typeface="Helvetica Neue"/>
              </a:rPr>
              <a:t>An end-to-end </a:t>
            </a:r>
            <a:r>
              <a:rPr lang="en-US" sz="1600" b="1" dirty="0" err="1">
                <a:solidFill>
                  <a:srgbClr val="666666"/>
                </a:solidFill>
                <a:latin typeface="Calibri" panose="020F0502020204030204" pitchFamily="34" charset="0"/>
                <a:ea typeface="Helvetica Neue"/>
                <a:cs typeface="Calibri" panose="020F0502020204030204" pitchFamily="34" charset="0"/>
                <a:sym typeface="Helvetica Neue"/>
              </a:rPr>
              <a:t>omnichannel</a:t>
            </a:r>
            <a:r>
              <a:rPr lang="en-US" sz="1600" b="1" dirty="0">
                <a:solidFill>
                  <a:srgbClr val="666666"/>
                </a:solidFill>
                <a:latin typeface="Calibri" panose="020F0502020204030204" pitchFamily="34" charset="0"/>
                <a:ea typeface="Helvetica Neue"/>
                <a:cs typeface="Calibri" panose="020F0502020204030204" pitchFamily="34" charset="0"/>
                <a:sym typeface="Helvetica Neue"/>
              </a:rPr>
              <a:t> food ordering solution which integrates seamlessly with POS, KDS &amp; various enterprise systems </a:t>
            </a: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66" name="Google Shape;2054;p240"/>
          <p:cNvSpPr/>
          <p:nvPr/>
        </p:nvSpPr>
        <p:spPr>
          <a:xfrm>
            <a:off x="7876853" y="3219237"/>
            <a:ext cx="3232936" cy="356169"/>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rPr>
              <a:t>Integration experience with POS systems including Symphony / NCR / Aloha</a:t>
            </a:r>
            <a:endPar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endParaRPr>
          </a:p>
        </p:txBody>
      </p:sp>
      <p:sp>
        <p:nvSpPr>
          <p:cNvPr id="68" name="Rectangle 67"/>
          <p:cNvSpPr/>
          <p:nvPr/>
        </p:nvSpPr>
        <p:spPr>
          <a:xfrm>
            <a:off x="2311189" y="3963615"/>
            <a:ext cx="1186543" cy="338554"/>
          </a:xfrm>
          <a:prstGeom prst="rect">
            <a:avLst/>
          </a:prstGeom>
          <a:solidFill>
            <a:srgbClr val="231C19"/>
          </a:solidFill>
        </p:spPr>
        <p:txBody>
          <a:bodyPr wrap="none">
            <a:spAutoFit/>
          </a:bodyPr>
          <a:lstStyle/>
          <a:p>
            <a:pPr algn="ctr" defTabSz="609585"/>
            <a:r>
              <a:rPr lang="en-US" sz="1600" b="1" dirty="0" err="1">
                <a:solidFill>
                  <a:srgbClr val="FFFFFF"/>
                </a:solidFill>
              </a:rPr>
              <a:t>AssetServ</a:t>
            </a:r>
            <a:endParaRPr lang="en-US" sz="1600" b="1" dirty="0">
              <a:solidFill>
                <a:srgbClr val="FFFFFF"/>
              </a:solidFill>
            </a:endParaRPr>
          </a:p>
        </p:txBody>
      </p:sp>
      <p:sp>
        <p:nvSpPr>
          <p:cNvPr id="69" name="Rectangle 68"/>
          <p:cNvSpPr/>
          <p:nvPr/>
        </p:nvSpPr>
        <p:spPr>
          <a:xfrm>
            <a:off x="5358585" y="3949916"/>
            <a:ext cx="1471877" cy="338554"/>
          </a:xfrm>
          <a:prstGeom prst="rect">
            <a:avLst/>
          </a:prstGeom>
          <a:solidFill>
            <a:srgbClr val="231C19"/>
          </a:solidFill>
        </p:spPr>
        <p:txBody>
          <a:bodyPr wrap="none">
            <a:spAutoFit/>
          </a:bodyPr>
          <a:lstStyle/>
          <a:p>
            <a:pPr algn="ctr" defTabSz="609585"/>
            <a:r>
              <a:rPr lang="en-US" sz="1600" b="1" dirty="0">
                <a:solidFill>
                  <a:srgbClr val="FFFFFF"/>
                </a:solidFill>
              </a:rPr>
              <a:t>Reservations</a:t>
            </a:r>
          </a:p>
        </p:txBody>
      </p:sp>
      <p:sp>
        <p:nvSpPr>
          <p:cNvPr id="70" name="Rectangle 69"/>
          <p:cNvSpPr/>
          <p:nvPr/>
        </p:nvSpPr>
        <p:spPr>
          <a:xfrm>
            <a:off x="8612772" y="3936218"/>
            <a:ext cx="1840568" cy="338554"/>
          </a:xfrm>
          <a:prstGeom prst="rect">
            <a:avLst/>
          </a:prstGeom>
          <a:solidFill>
            <a:srgbClr val="231C19"/>
          </a:solidFill>
        </p:spPr>
        <p:txBody>
          <a:bodyPr wrap="none">
            <a:spAutoFit/>
          </a:bodyPr>
          <a:lstStyle/>
          <a:p>
            <a:pPr algn="ctr" defTabSz="609585"/>
            <a:r>
              <a:rPr lang="en-US" sz="1600" b="1" dirty="0">
                <a:solidFill>
                  <a:srgbClr val="FFFFFF"/>
                </a:solidFill>
              </a:rPr>
              <a:t>Digital Marketing</a:t>
            </a:r>
          </a:p>
        </p:txBody>
      </p:sp>
      <p:sp>
        <p:nvSpPr>
          <p:cNvPr id="71" name="Google Shape;2054;p240"/>
          <p:cNvSpPr/>
          <p:nvPr/>
        </p:nvSpPr>
        <p:spPr>
          <a:xfrm>
            <a:off x="1082211" y="4465131"/>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A Digital Asset Management Solution help enterprises manage end‑to‑end content lifecycles and create a path for delivering engaging Guest experiences</a:t>
            </a: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2" name="Google Shape;2054;p240"/>
          <p:cNvSpPr/>
          <p:nvPr/>
        </p:nvSpPr>
        <p:spPr>
          <a:xfrm>
            <a:off x="1150707" y="5575443"/>
            <a:ext cx="3232935" cy="287677"/>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2X </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faster Bottleneck Identification</a:t>
            </a: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3" name="Google Shape;2054;p240"/>
          <p:cNvSpPr/>
          <p:nvPr/>
        </p:nvSpPr>
        <p:spPr>
          <a:xfrm>
            <a:off x="4452135" y="4478830"/>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Deep experience in maintaining , configuring and integrating with Central Reservation Systems and associated systems </a:t>
            </a: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4" name="Google Shape;2054;p240"/>
          <p:cNvSpPr/>
          <p:nvPr/>
        </p:nvSpPr>
        <p:spPr>
          <a:xfrm>
            <a:off x="4548027" y="5501813"/>
            <a:ext cx="3068548" cy="429803"/>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Leveraged middleware technologies such as TIBCO, API Gateway and IBM MQ Series</a:t>
            </a:r>
            <a:endParaRPr lang="en-CA" sz="1333"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5" name="Google Shape;2054;p240"/>
          <p:cNvSpPr/>
          <p:nvPr/>
        </p:nvSpPr>
        <p:spPr>
          <a:xfrm>
            <a:off x="7876855" y="4492530"/>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Deep Experience in Digital Marketing, and Partnership with industry leading vendors</a:t>
            </a: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6" name="Google Shape;2054;p240"/>
          <p:cNvSpPr/>
          <p:nvPr/>
        </p:nvSpPr>
        <p:spPr>
          <a:xfrm>
            <a:off x="7835758" y="5520647"/>
            <a:ext cx="3232935" cy="287677"/>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E.g. Adobe, Open Text , </a:t>
            </a:r>
            <a:r>
              <a:rPr lang="en-US" sz="1333" b="1" dirty="0" err="1">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Unica</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 Audience Management</a:t>
            </a:r>
            <a:endPar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endParaRPr>
          </a:p>
        </p:txBody>
      </p:sp>
      <p:sp>
        <p:nvSpPr>
          <p:cNvPr id="3" name="Rectangle 2"/>
          <p:cNvSpPr/>
          <p:nvPr/>
        </p:nvSpPr>
        <p:spPr>
          <a:xfrm>
            <a:off x="1479479" y="1643866"/>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r>
              <a:rPr lang="en-US" sz="1600" b="1" dirty="0">
                <a:solidFill>
                  <a:srgbClr val="FFFFFF"/>
                </a:solidFill>
              </a:rPr>
              <a:t>Guest Experience Engine </a:t>
            </a:r>
          </a:p>
        </p:txBody>
      </p:sp>
      <p:sp>
        <p:nvSpPr>
          <p:cNvPr id="31" name="Rectangle 30"/>
          <p:cNvSpPr/>
          <p:nvPr/>
        </p:nvSpPr>
        <p:spPr>
          <a:xfrm>
            <a:off x="4863101" y="1616469"/>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r>
              <a:rPr lang="en-US" sz="1600" b="1" dirty="0">
                <a:solidFill>
                  <a:srgbClr val="FFFFFF"/>
                </a:solidFill>
              </a:rPr>
              <a:t>OXI , OWS , OPMS</a:t>
            </a:r>
          </a:p>
        </p:txBody>
      </p:sp>
      <p:sp>
        <p:nvSpPr>
          <p:cNvPr id="32" name="Rectangle 31"/>
          <p:cNvSpPr/>
          <p:nvPr/>
        </p:nvSpPr>
        <p:spPr>
          <a:xfrm>
            <a:off x="8137133" y="1602770"/>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r>
              <a:rPr lang="en-US" sz="1600" b="1" dirty="0" err="1">
                <a:solidFill>
                  <a:srgbClr val="FFFFFF"/>
                </a:solidFill>
              </a:rPr>
              <a:t>OrderServ</a:t>
            </a:r>
            <a:endParaRPr lang="en-US" sz="1600" b="1" dirty="0">
              <a:solidFill>
                <a:srgbClr val="FFFFFF"/>
              </a:solidFill>
            </a:endParaRPr>
          </a:p>
        </p:txBody>
      </p:sp>
      <p:sp>
        <p:nvSpPr>
          <p:cNvPr id="28" name="TextBox 27"/>
          <p:cNvSpPr txBox="1"/>
          <p:nvPr/>
        </p:nvSpPr>
        <p:spPr>
          <a:xfrm>
            <a:off x="9533056" y="-24173"/>
            <a:ext cx="3584354" cy="1200329"/>
          </a:xfrm>
          <a:prstGeom prst="rect">
            <a:avLst/>
          </a:prstGeom>
          <a:solidFill>
            <a:srgbClr val="FFFF00"/>
          </a:solidFill>
        </p:spPr>
        <p:txBody>
          <a:bodyPr wrap="square" rtlCol="0">
            <a:spAutoFit/>
          </a:bodyPr>
          <a:lstStyle/>
          <a:p>
            <a:r>
              <a:rPr lang="en-US" sz="1200" dirty="0" smtClean="0"/>
              <a:t>There is theme “Property Excellence” in exec summary. Talking about </a:t>
            </a:r>
            <a:r>
              <a:rPr lang="en-US" sz="1200" dirty="0" err="1" smtClean="0"/>
              <a:t>IoT</a:t>
            </a:r>
            <a:r>
              <a:rPr lang="en-US" sz="1200" dirty="0" smtClean="0"/>
              <a:t> </a:t>
            </a:r>
            <a:r>
              <a:rPr lang="en-US" sz="1200" dirty="0" err="1" smtClean="0"/>
              <a:t>etc</a:t>
            </a:r>
            <a:r>
              <a:rPr lang="en-US" sz="1200" dirty="0" smtClean="0"/>
              <a:t> to bring the value to customer. Is there a way we can refer the theme here. </a:t>
            </a:r>
            <a:r>
              <a:rPr lang="en-US" sz="1200" dirty="0" smtClean="0">
                <a:solidFill>
                  <a:srgbClr val="DB282E"/>
                </a:solidFill>
              </a:rPr>
              <a:t> Done –Sagar. Added couple of lines under Guest experience and OXI, OWS, OPMS as these themes drive Property excellence.</a:t>
            </a:r>
            <a:endParaRPr lang="en-US" sz="1200" dirty="0">
              <a:solidFill>
                <a:srgbClr val="DB282E"/>
              </a:solidFill>
            </a:endParaRPr>
          </a:p>
        </p:txBody>
      </p:sp>
    </p:spTree>
    <p:extLst>
      <p:ext uri="{BB962C8B-B14F-4D97-AF65-F5344CB8AC3E}">
        <p14:creationId xmlns:p14="http://schemas.microsoft.com/office/powerpoint/2010/main" val="1713359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667" dirty="0"/>
              <a:t>Invested in building Domain and Technology solution accelerators and platforms for accelerated digital transformation at scale</a:t>
            </a:r>
          </a:p>
        </p:txBody>
      </p:sp>
      <p:sp>
        <p:nvSpPr>
          <p:cNvPr id="6" name="AutoShape 8" descr="Image result for red associates logo"/>
          <p:cNvSpPr>
            <a:spLocks noChangeAspect="1" noChangeArrowheads="1"/>
          </p:cNvSpPr>
          <p:nvPr/>
        </p:nvSpPr>
        <p:spPr bwMode="auto">
          <a:xfrm>
            <a:off x="7133465" y="6572672"/>
            <a:ext cx="142825" cy="142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prstTxWarp prst="textNoShape">
              <a:avLst/>
            </a:prstTxWarp>
          </a:bodyPr>
          <a:lstStyle/>
          <a:p>
            <a:pPr defTabSz="1218775">
              <a:defRPr/>
            </a:pPr>
            <a:endParaRPr lang="en-GB" sz="2399" dirty="0">
              <a:solidFill>
                <a:srgbClr val="50B3CF"/>
              </a:solidFill>
              <a:latin typeface="Calibiri"/>
            </a:endParaRPr>
          </a:p>
        </p:txBody>
      </p:sp>
      <p:sp>
        <p:nvSpPr>
          <p:cNvPr id="33" name="Google Shape;2051;p240"/>
          <p:cNvSpPr/>
          <p:nvPr/>
        </p:nvSpPr>
        <p:spPr>
          <a:xfrm>
            <a:off x="4442348" y="1562034"/>
            <a:ext cx="3251251" cy="2171551"/>
          </a:xfrm>
          <a:prstGeom prst="roundRect">
            <a:avLst>
              <a:gd name="adj" fmla="val 5356"/>
            </a:avLst>
          </a:prstGeom>
          <a:solidFill>
            <a:schemeClr val="bg1">
              <a:alpha val="67060"/>
            </a:scheme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34" name="Google Shape;2052;p240"/>
          <p:cNvSpPr/>
          <p:nvPr/>
        </p:nvSpPr>
        <p:spPr>
          <a:xfrm>
            <a:off x="1075504"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36" name="Google Shape;2054;p240"/>
          <p:cNvSpPr/>
          <p:nvPr/>
        </p:nvSpPr>
        <p:spPr>
          <a:xfrm>
            <a:off x="1109609" y="2218515"/>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CA" sz="1600" b="1" dirty="0">
                <a:solidFill>
                  <a:srgbClr val="666666"/>
                </a:solidFill>
                <a:latin typeface="Calibri" panose="020F0502020204030204" pitchFamily="34" charset="0"/>
                <a:ea typeface="Helvetica Neue"/>
                <a:cs typeface="Calibri" panose="020F0502020204030204" pitchFamily="34" charset="0"/>
                <a:sym typeface="Helvetica Neue"/>
              </a:rPr>
              <a:t>Automated Application Assessment at SCALE to Accelerate Cloud Native Transformation </a:t>
            </a:r>
            <a:r>
              <a:rPr lang="en-CA" sz="1200" dirty="0">
                <a:solidFill>
                  <a:srgbClr val="666666"/>
                </a:solidFill>
                <a:latin typeface="Calibri" panose="020F0502020204030204" pitchFamily="34" charset="0"/>
                <a:ea typeface="Helvetica Neue"/>
                <a:cs typeface="Calibri" panose="020F0502020204030204" pitchFamily="34" charset="0"/>
                <a:sym typeface="Helvetica Neue"/>
              </a:rPr>
              <a:t>(</a:t>
            </a:r>
            <a:r>
              <a:rPr lang="en-US" sz="1200" dirty="0">
                <a:solidFill>
                  <a:srgbClr val="666666"/>
                </a:solidFill>
                <a:latin typeface="Calibri" panose="020F0502020204030204" pitchFamily="34" charset="0"/>
                <a:ea typeface="Helvetica Neue"/>
                <a:cs typeface="Calibri" panose="020F0502020204030204" pitchFamily="34" charset="0"/>
                <a:sym typeface="Helvetica Neue"/>
              </a:rPr>
              <a:t>Java &amp; .NET Applications )</a:t>
            </a:r>
            <a:endParaRPr lang="en-CA" sz="1200"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37" name="Google Shape;2055;p240"/>
          <p:cNvSpPr/>
          <p:nvPr/>
        </p:nvSpPr>
        <p:spPr>
          <a:xfrm>
            <a:off x="4466648"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40" name="Google Shape;2058;p240"/>
          <p:cNvSpPr/>
          <p:nvPr/>
        </p:nvSpPr>
        <p:spPr>
          <a:xfrm>
            <a:off x="1075504"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47" name="Google Shape;2065;p240"/>
          <p:cNvSpPr/>
          <p:nvPr/>
        </p:nvSpPr>
        <p:spPr>
          <a:xfrm>
            <a:off x="7857792"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sp>
        <p:nvSpPr>
          <p:cNvPr id="50" name="Google Shape;2068;p240"/>
          <p:cNvSpPr/>
          <p:nvPr/>
        </p:nvSpPr>
        <p:spPr>
          <a:xfrm>
            <a:off x="7857792"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defTabSz="609585">
              <a:buClr>
                <a:srgbClr val="00B000"/>
              </a:buClr>
            </a:pPr>
            <a:endParaRPr sz="1451">
              <a:solidFill>
                <a:srgbClr val="0033A0"/>
              </a:solidFill>
              <a:latin typeface="Calibri" panose="020F0502020204030204" pitchFamily="34" charset="0"/>
              <a:ea typeface="Helvetica Neue"/>
              <a:cs typeface="Calibri" panose="020F0502020204030204" pitchFamily="34" charset="0"/>
              <a:sym typeface="Helvetica Neue"/>
            </a:endParaRPr>
          </a:p>
        </p:txBody>
      </p:sp>
      <p:pic>
        <p:nvPicPr>
          <p:cNvPr id="56" name="Picture 55"/>
          <p:cNvPicPr>
            <a:picLocks noChangeAspect="1"/>
          </p:cNvPicPr>
          <p:nvPr/>
        </p:nvPicPr>
        <p:blipFill>
          <a:blip r:embed="rId2"/>
          <a:stretch>
            <a:fillRect/>
          </a:stretch>
        </p:blipFill>
        <p:spPr>
          <a:xfrm>
            <a:off x="2279219" y="1705509"/>
            <a:ext cx="926319" cy="416059"/>
          </a:xfrm>
          <a:prstGeom prst="rect">
            <a:avLst/>
          </a:prstGeom>
          <a:solidFill>
            <a:schemeClr val="tx2">
              <a:lumMod val="65000"/>
              <a:lumOff val="35000"/>
            </a:schemeClr>
          </a:solidFill>
        </p:spPr>
      </p:pic>
      <p:sp>
        <p:nvSpPr>
          <p:cNvPr id="57" name="Google Shape;2054;p240"/>
          <p:cNvSpPr/>
          <p:nvPr/>
        </p:nvSpPr>
        <p:spPr>
          <a:xfrm>
            <a:off x="1109610" y="2958255"/>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endParaRPr lang="en-US" sz="1600"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Analyze hundreds of applications in Minutes</a:t>
            </a:r>
          </a:p>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20+ Implementations</a:t>
            </a: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4" name="Rectangle 3"/>
          <p:cNvSpPr/>
          <p:nvPr/>
        </p:nvSpPr>
        <p:spPr>
          <a:xfrm>
            <a:off x="5502574" y="1675903"/>
            <a:ext cx="1431802" cy="502766"/>
          </a:xfrm>
          <a:prstGeom prst="rect">
            <a:avLst/>
          </a:prstGeom>
          <a:solidFill>
            <a:srgbClr val="231C19"/>
          </a:solidFill>
        </p:spPr>
        <p:txBody>
          <a:bodyPr wrap="none">
            <a:spAutoFit/>
          </a:bodyPr>
          <a:lstStyle/>
          <a:p>
            <a:pPr defTabSz="609585"/>
            <a:r>
              <a:rPr lang="en-US" sz="2667" dirty="0" smtClean="0">
                <a:solidFill>
                  <a:srgbClr val="FFFFFF"/>
                </a:solidFill>
                <a:latin typeface="Arial Narrow" panose="020B0606020202030204" pitchFamily="34" charset="0"/>
              </a:rPr>
              <a:t>COSMOS</a:t>
            </a:r>
            <a:endParaRPr lang="en-US" sz="2667" dirty="0">
              <a:solidFill>
                <a:srgbClr val="FFFFFF"/>
              </a:solidFill>
              <a:latin typeface="Arial Narrow" panose="020B0606020202030204" pitchFamily="34" charset="0"/>
            </a:endParaRPr>
          </a:p>
        </p:txBody>
      </p:sp>
      <p:sp>
        <p:nvSpPr>
          <p:cNvPr id="58" name="Google Shape;2054;p240"/>
          <p:cNvSpPr/>
          <p:nvPr/>
        </p:nvSpPr>
        <p:spPr>
          <a:xfrm>
            <a:off x="4452135" y="2217368"/>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CA" sz="1600" b="1" dirty="0" smtClean="0">
                <a:solidFill>
                  <a:srgbClr val="666666"/>
                </a:solidFill>
                <a:latin typeface="Calibri" panose="020F0502020204030204" pitchFamily="34" charset="0"/>
                <a:ea typeface="Helvetica Neue"/>
                <a:cs typeface="Calibri" panose="020F0502020204030204" pitchFamily="34" charset="0"/>
                <a:sym typeface="Helvetica Neue"/>
              </a:rPr>
              <a:t>Microservices Development Platform</a:t>
            </a:r>
          </a:p>
          <a:p>
            <a:pPr algn="ctr" defTabSz="609585">
              <a:buClr>
                <a:srgbClr val="666666"/>
              </a:buClr>
            </a:pPr>
            <a:r>
              <a:rPr lang="en-CA" sz="1400" b="1" dirty="0" smtClean="0">
                <a:solidFill>
                  <a:srgbClr val="666666"/>
                </a:solidFill>
                <a:latin typeface="Calibri" panose="020F0502020204030204" pitchFamily="34" charset="0"/>
                <a:ea typeface="Helvetica Neue"/>
                <a:cs typeface="Calibri" panose="020F0502020204030204" pitchFamily="34" charset="0"/>
                <a:sym typeface="Helvetica Neue"/>
              </a:rPr>
              <a:t>Accelerates productivity by over </a:t>
            </a:r>
          </a:p>
          <a:p>
            <a:pPr algn="ctr" defTabSz="609585">
              <a:buClr>
                <a:srgbClr val="666666"/>
              </a:buClr>
            </a:pPr>
            <a:r>
              <a:rPr lang="en-CA" b="1" dirty="0" smtClean="0">
                <a:solidFill>
                  <a:srgbClr val="666666"/>
                </a:solidFill>
                <a:latin typeface="Calibri" panose="020F0502020204030204" pitchFamily="34" charset="0"/>
                <a:ea typeface="Helvetica Neue"/>
                <a:cs typeface="Calibri" panose="020F0502020204030204" pitchFamily="34" charset="0"/>
                <a:sym typeface="Helvetica Neue"/>
              </a:rPr>
              <a:t>20-25% </a:t>
            </a:r>
            <a:endParaRPr lang="en-CA"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59" name="Google Shape;2054;p240"/>
          <p:cNvSpPr/>
          <p:nvPr/>
        </p:nvSpPr>
        <p:spPr>
          <a:xfrm>
            <a:off x="4426558" y="3010545"/>
            <a:ext cx="3232935" cy="618433"/>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Auto generates microservices code</a:t>
            </a:r>
          </a:p>
          <a:p>
            <a:pPr algn="ctr" defTabSz="609585">
              <a:buClr>
                <a:srgbClr val="666666"/>
              </a:buClr>
            </a:pP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Vendor neutral reference architecture</a:t>
            </a:r>
          </a:p>
          <a:p>
            <a:pPr algn="ctr" defTabSz="609585">
              <a:buClr>
                <a:srgbClr val="666666"/>
              </a:buClr>
            </a:pPr>
            <a:r>
              <a:rPr lang="en-US" sz="1333" b="1" dirty="0" smtClean="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Support Multiple Open source technologies</a:t>
            </a:r>
          </a:p>
        </p:txBody>
      </p:sp>
      <p:sp>
        <p:nvSpPr>
          <p:cNvPr id="61" name="Google Shape;2054;p240"/>
          <p:cNvSpPr/>
          <p:nvPr/>
        </p:nvSpPr>
        <p:spPr>
          <a:xfrm>
            <a:off x="7876854" y="2232215"/>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CA" sz="1600" b="1" dirty="0">
                <a:solidFill>
                  <a:srgbClr val="666666"/>
                </a:solidFill>
                <a:latin typeface="Calibri" panose="020F0502020204030204" pitchFamily="34" charset="0"/>
                <a:ea typeface="Helvetica Neue"/>
                <a:cs typeface="Calibri" panose="020F0502020204030204" pitchFamily="34" charset="0"/>
                <a:sym typeface="Helvetica Neue"/>
              </a:rPr>
              <a:t>Intelligent Acceleration Platform for Application Cloud Transformation</a:t>
            </a: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pic>
        <p:nvPicPr>
          <p:cNvPr id="65" name="Picture 6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94387" y="1665968"/>
            <a:ext cx="1233192" cy="324051"/>
          </a:xfrm>
          <a:prstGeom prst="rect">
            <a:avLst/>
          </a:prstGeom>
          <a:solidFill>
            <a:srgbClr val="231C19"/>
          </a:solidFill>
        </p:spPr>
      </p:pic>
      <p:sp>
        <p:nvSpPr>
          <p:cNvPr id="66" name="Google Shape;2054;p240"/>
          <p:cNvSpPr/>
          <p:nvPr/>
        </p:nvSpPr>
        <p:spPr>
          <a:xfrm>
            <a:off x="7863155" y="3068549"/>
            <a:ext cx="3232936" cy="671244"/>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Provides semi-automated blueprints for faster and smarter application transformation to cloud</a:t>
            </a:r>
          </a:p>
        </p:txBody>
      </p:sp>
      <p:sp>
        <p:nvSpPr>
          <p:cNvPr id="8" name="TextBox 7"/>
          <p:cNvSpPr txBox="1"/>
          <p:nvPr/>
        </p:nvSpPr>
        <p:spPr>
          <a:xfrm>
            <a:off x="8274121" y="2027434"/>
            <a:ext cx="2301411" cy="164212"/>
          </a:xfrm>
          <a:prstGeom prst="rect">
            <a:avLst/>
          </a:prstGeom>
        </p:spPr>
        <p:txBody>
          <a:bodyPr wrap="square" lIns="0" tIns="0" rIns="0" bIns="0" rtlCol="0">
            <a:spAutoFit/>
          </a:bodyPr>
          <a:lstStyle/>
          <a:p>
            <a:pPr algn="ctr" defTabSz="609585"/>
            <a:r>
              <a:rPr lang="en-US" sz="1067" dirty="0">
                <a:solidFill>
                  <a:srgbClr val="000000"/>
                </a:solidFill>
              </a:rPr>
              <a:t>Forward Engineering on the Go</a:t>
            </a:r>
          </a:p>
        </p:txBody>
      </p:sp>
      <p:sp>
        <p:nvSpPr>
          <p:cNvPr id="68" name="Rectangle 67"/>
          <p:cNvSpPr/>
          <p:nvPr/>
        </p:nvSpPr>
        <p:spPr>
          <a:xfrm>
            <a:off x="2173747" y="3963616"/>
            <a:ext cx="1161215" cy="461665"/>
          </a:xfrm>
          <a:prstGeom prst="rect">
            <a:avLst/>
          </a:prstGeom>
          <a:solidFill>
            <a:srgbClr val="231C19"/>
          </a:solidFill>
        </p:spPr>
        <p:txBody>
          <a:bodyPr wrap="none">
            <a:spAutoFit/>
          </a:bodyPr>
          <a:lstStyle/>
          <a:p>
            <a:pPr defTabSz="609585"/>
            <a:r>
              <a:rPr lang="en-US" sz="2400" dirty="0" err="1">
                <a:solidFill>
                  <a:srgbClr val="FFFFFF"/>
                </a:solidFill>
                <a:latin typeface="Calibri" panose="020F0502020204030204" pitchFamily="34" charset="0"/>
              </a:rPr>
              <a:t>InSights</a:t>
            </a:r>
            <a:endParaRPr lang="en-US" sz="2400" dirty="0">
              <a:solidFill>
                <a:srgbClr val="FFFFFF"/>
              </a:solidFill>
              <a:latin typeface="Calibri" panose="020F0502020204030204" pitchFamily="34" charset="0"/>
            </a:endParaRPr>
          </a:p>
        </p:txBody>
      </p:sp>
      <p:sp>
        <p:nvSpPr>
          <p:cNvPr id="69" name="Rectangle 68"/>
          <p:cNvSpPr/>
          <p:nvPr/>
        </p:nvSpPr>
        <p:spPr>
          <a:xfrm>
            <a:off x="5461478" y="3936218"/>
            <a:ext cx="1276311" cy="461665"/>
          </a:xfrm>
          <a:prstGeom prst="rect">
            <a:avLst/>
          </a:prstGeom>
          <a:solidFill>
            <a:srgbClr val="231C19"/>
          </a:solidFill>
        </p:spPr>
        <p:txBody>
          <a:bodyPr wrap="none">
            <a:spAutoFit/>
          </a:bodyPr>
          <a:lstStyle/>
          <a:p>
            <a:pPr defTabSz="609585"/>
            <a:r>
              <a:rPr lang="en-US" sz="2400" dirty="0">
                <a:solidFill>
                  <a:srgbClr val="FFFFFF"/>
                </a:solidFill>
                <a:latin typeface="Calibri" panose="020F0502020204030204" pitchFamily="34" charset="0"/>
              </a:rPr>
              <a:t>Build-On</a:t>
            </a:r>
            <a:endParaRPr lang="en-US" sz="2400" dirty="0">
              <a:solidFill>
                <a:srgbClr val="FFFFFF"/>
              </a:solidFill>
              <a:latin typeface="Arial Narrow" panose="020B0606020202030204" pitchFamily="34" charset="0"/>
            </a:endParaRPr>
          </a:p>
        </p:txBody>
      </p:sp>
      <p:sp>
        <p:nvSpPr>
          <p:cNvPr id="70" name="Rectangle 69"/>
          <p:cNvSpPr/>
          <p:nvPr/>
        </p:nvSpPr>
        <p:spPr>
          <a:xfrm>
            <a:off x="8927294" y="3936218"/>
            <a:ext cx="981359" cy="461665"/>
          </a:xfrm>
          <a:prstGeom prst="rect">
            <a:avLst/>
          </a:prstGeom>
          <a:solidFill>
            <a:srgbClr val="231C19"/>
          </a:solidFill>
        </p:spPr>
        <p:txBody>
          <a:bodyPr wrap="none">
            <a:spAutoFit/>
          </a:bodyPr>
          <a:lstStyle/>
          <a:p>
            <a:pPr defTabSz="609585"/>
            <a:r>
              <a:rPr lang="en-US" sz="2400" dirty="0" err="1">
                <a:solidFill>
                  <a:srgbClr val="FFFFFF"/>
                </a:solidFill>
                <a:latin typeface="Calibri" panose="020F0502020204030204" pitchFamily="34" charset="0"/>
              </a:rPr>
              <a:t>OnBot</a:t>
            </a:r>
            <a:endParaRPr lang="en-US" sz="2400" dirty="0">
              <a:solidFill>
                <a:srgbClr val="FFFFFF"/>
              </a:solidFill>
              <a:latin typeface="Arial Narrow" panose="020B0606020202030204" pitchFamily="34" charset="0"/>
            </a:endParaRPr>
          </a:p>
        </p:txBody>
      </p:sp>
      <p:sp>
        <p:nvSpPr>
          <p:cNvPr id="71" name="Google Shape;2054;p240"/>
          <p:cNvSpPr/>
          <p:nvPr/>
        </p:nvSpPr>
        <p:spPr>
          <a:xfrm>
            <a:off x="1082211" y="4465131"/>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Analytics and correlation engine for </a:t>
            </a:r>
            <a:r>
              <a:rPr lang="en-US" sz="1467" b="1" dirty="0" err="1">
                <a:solidFill>
                  <a:srgbClr val="666666"/>
                </a:solidFill>
                <a:latin typeface="Calibri" panose="020F0502020204030204" pitchFamily="34" charset="0"/>
                <a:ea typeface="Helvetica Neue"/>
                <a:cs typeface="Calibri" panose="020F0502020204030204" pitchFamily="34" charset="0"/>
                <a:sym typeface="Helvetica Neue"/>
              </a:rPr>
              <a:t>DevOps</a:t>
            </a: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 that provides real-time insights and end-to-end traceability across enterprise software delivery pipeline</a:t>
            </a: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2" name="Google Shape;2054;p240"/>
          <p:cNvSpPr/>
          <p:nvPr/>
        </p:nvSpPr>
        <p:spPr>
          <a:xfrm>
            <a:off x="1150707" y="5575443"/>
            <a:ext cx="3232935" cy="287677"/>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2X </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faster Bottleneck Identification</a:t>
            </a:r>
          </a:p>
          <a:p>
            <a:pPr algn="ctr" defTabSz="609585">
              <a:buClr>
                <a:srgbClr val="666666"/>
              </a:buClr>
            </a:pPr>
            <a:endParaRPr lang="en-CA" sz="1600"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3" name="Google Shape;2054;p240"/>
          <p:cNvSpPr/>
          <p:nvPr/>
        </p:nvSpPr>
        <p:spPr>
          <a:xfrm>
            <a:off x="4452135" y="4478830"/>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A Continuous Integration solution based on containers that creates scalable build infrastructure on demand</a:t>
            </a: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4" name="Google Shape;2054;p240"/>
          <p:cNvSpPr/>
          <p:nvPr/>
        </p:nvSpPr>
        <p:spPr>
          <a:xfrm>
            <a:off x="4479534" y="5493250"/>
            <a:ext cx="3232935" cy="287677"/>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35% reduction in Infra Cost | 25% Improvement in Developer Productivity</a:t>
            </a:r>
          </a:p>
          <a:p>
            <a:pPr algn="ctr" defTabSz="609585">
              <a:buClr>
                <a:srgbClr val="666666"/>
              </a:buClr>
            </a:pPr>
            <a:endParaRPr lang="en-CA"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endParaRPr>
          </a:p>
        </p:txBody>
      </p:sp>
      <p:sp>
        <p:nvSpPr>
          <p:cNvPr id="75" name="Google Shape;2054;p240"/>
          <p:cNvSpPr/>
          <p:nvPr/>
        </p:nvSpPr>
        <p:spPr>
          <a:xfrm>
            <a:off x="7876855" y="4492530"/>
            <a:ext cx="3232935" cy="795236"/>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Reusable Bot plugins and a Bot Management framework for fast track adoption of Bots and provide </a:t>
            </a:r>
            <a:r>
              <a:rPr lang="en-US" sz="1467" b="1" dirty="0" err="1">
                <a:solidFill>
                  <a:srgbClr val="666666"/>
                </a:solidFill>
                <a:latin typeface="Calibri" panose="020F0502020204030204" pitchFamily="34" charset="0"/>
                <a:ea typeface="Helvetica Neue"/>
                <a:cs typeface="Calibri" panose="020F0502020204030204" pitchFamily="34" charset="0"/>
                <a:sym typeface="Helvetica Neue"/>
              </a:rPr>
              <a:t>DevOps</a:t>
            </a:r>
            <a:r>
              <a:rPr lang="en-US" sz="1467" b="1" dirty="0">
                <a:solidFill>
                  <a:srgbClr val="666666"/>
                </a:solidFill>
                <a:latin typeface="Calibri" panose="020F0502020204030204" pitchFamily="34" charset="0"/>
                <a:ea typeface="Helvetica Neue"/>
                <a:cs typeface="Calibri" panose="020F0502020204030204" pitchFamily="34" charset="0"/>
                <a:sym typeface="Helvetica Neue"/>
              </a:rPr>
              <a:t> Services</a:t>
            </a: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a:p>
            <a:pPr algn="ctr" defTabSz="609585">
              <a:buClr>
                <a:srgbClr val="666666"/>
              </a:buClr>
            </a:pPr>
            <a:endParaRPr lang="en-CA" sz="1467" b="1" dirty="0">
              <a:solidFill>
                <a:srgbClr val="666666"/>
              </a:solidFill>
              <a:latin typeface="Calibri" panose="020F0502020204030204" pitchFamily="34" charset="0"/>
              <a:ea typeface="Helvetica Neue"/>
              <a:cs typeface="Calibri" panose="020F0502020204030204" pitchFamily="34" charset="0"/>
              <a:sym typeface="Helvetica Neue"/>
            </a:endParaRPr>
          </a:p>
        </p:txBody>
      </p:sp>
      <p:sp>
        <p:nvSpPr>
          <p:cNvPr id="76" name="Google Shape;2054;p240"/>
          <p:cNvSpPr/>
          <p:nvPr/>
        </p:nvSpPr>
        <p:spPr>
          <a:xfrm>
            <a:off x="7835758" y="5520647"/>
            <a:ext cx="3232935" cy="287677"/>
          </a:xfrm>
          <a:prstGeom prst="rect">
            <a:avLst/>
          </a:prstGeom>
          <a:noFill/>
          <a:ln>
            <a:noFill/>
          </a:ln>
        </p:spPr>
        <p:txBody>
          <a:bodyPr spcFirstLastPara="1" wrap="square" lIns="40339" tIns="40339" rIns="40339" bIns="40339" anchor="t" anchorCtr="0">
            <a:noAutofit/>
          </a:bodyPr>
          <a:lstStyle/>
          <a:p>
            <a:pPr algn="ctr" defTabSz="609585">
              <a:buClr>
                <a:srgbClr val="666666"/>
              </a:buClr>
            </a:pP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sym typeface="Helvetica Neue"/>
              </a:rPr>
              <a:t>Real time Collaboration | </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rPr>
              <a:t>Optimized </a:t>
            </a:r>
            <a:r>
              <a:rPr lang="en-US" sz="1333" b="1" dirty="0" err="1">
                <a:solidFill>
                  <a:srgbClr val="00195A">
                    <a:lumMod val="90000"/>
                    <a:lumOff val="10000"/>
                  </a:srgbClr>
                </a:solidFill>
                <a:latin typeface="Calibri" panose="020F0502020204030204" pitchFamily="34" charset="0"/>
                <a:ea typeface="Helvetica Neue"/>
                <a:cs typeface="Calibri" panose="020F0502020204030204" pitchFamily="34" charset="0"/>
              </a:rPr>
              <a:t>DevOps</a:t>
            </a:r>
            <a:r>
              <a:rPr lang="en-US" sz="1333" b="1" dirty="0">
                <a:solidFill>
                  <a:srgbClr val="00195A">
                    <a:lumMod val="90000"/>
                    <a:lumOff val="10000"/>
                  </a:srgbClr>
                </a:solidFill>
                <a:latin typeface="Calibri" panose="020F0502020204030204" pitchFamily="34" charset="0"/>
                <a:ea typeface="Helvetica Neue"/>
                <a:cs typeface="Calibri" panose="020F0502020204030204" pitchFamily="34" charset="0"/>
              </a:rPr>
              <a:t> Maturity</a:t>
            </a:r>
          </a:p>
        </p:txBody>
      </p:sp>
      <p:sp>
        <p:nvSpPr>
          <p:cNvPr id="30" name="TextBox 29"/>
          <p:cNvSpPr txBox="1"/>
          <p:nvPr/>
        </p:nvSpPr>
        <p:spPr>
          <a:xfrm>
            <a:off x="10027579" y="397970"/>
            <a:ext cx="2227175" cy="923330"/>
          </a:xfrm>
          <a:prstGeom prst="rect">
            <a:avLst/>
          </a:prstGeom>
          <a:solidFill>
            <a:srgbClr val="FFFF00"/>
          </a:solidFill>
        </p:spPr>
        <p:txBody>
          <a:bodyPr wrap="square" rtlCol="0">
            <a:spAutoFit/>
          </a:bodyPr>
          <a:lstStyle/>
          <a:p>
            <a:r>
              <a:rPr lang="en-US" dirty="0" smtClean="0"/>
              <a:t>We need to add Cosmos and remove ZDLC – </a:t>
            </a:r>
            <a:r>
              <a:rPr lang="en-US" dirty="0" smtClean="0">
                <a:solidFill>
                  <a:srgbClr val="FF0000"/>
                </a:solidFill>
              </a:rPr>
              <a:t>Done (Sagar)</a:t>
            </a:r>
            <a:endParaRPr lang="en-US" dirty="0">
              <a:solidFill>
                <a:srgbClr val="FF0000"/>
              </a:solidFill>
            </a:endParaRPr>
          </a:p>
        </p:txBody>
      </p:sp>
    </p:spTree>
    <p:extLst>
      <p:ext uri="{BB962C8B-B14F-4D97-AF65-F5344CB8AC3E}">
        <p14:creationId xmlns:p14="http://schemas.microsoft.com/office/powerpoint/2010/main" val="825948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667" dirty="0"/>
              <a:t>Invested in building Domain and Technology solution accelerators and platforms for accelerated digital transformation at scale</a:t>
            </a:r>
          </a:p>
        </p:txBody>
      </p:sp>
      <p:sp>
        <p:nvSpPr>
          <p:cNvPr id="6" name="AutoShape 8" descr="Image result for red associates logo"/>
          <p:cNvSpPr>
            <a:spLocks noChangeAspect="1" noChangeArrowheads="1"/>
          </p:cNvSpPr>
          <p:nvPr/>
        </p:nvSpPr>
        <p:spPr bwMode="auto">
          <a:xfrm>
            <a:off x="7133465" y="6572672"/>
            <a:ext cx="142825" cy="142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prstTxWarp prst="textNoShape">
              <a:avLst/>
            </a:prstTxWarp>
          </a:bodyPr>
          <a:lstStyle/>
          <a:p>
            <a:pPr marL="0" marR="0" lvl="0" indent="0" algn="l" defTabSz="1218775"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dirty="0">
              <a:ln>
                <a:noFill/>
              </a:ln>
              <a:solidFill>
                <a:srgbClr val="50B3CF"/>
              </a:solidFill>
              <a:effectLst/>
              <a:uLnTx/>
              <a:uFillTx/>
              <a:latin typeface="Calibiri"/>
              <a:ea typeface="+mn-ea"/>
              <a:cs typeface="+mn-cs"/>
            </a:endParaRPr>
          </a:p>
        </p:txBody>
      </p:sp>
      <p:sp>
        <p:nvSpPr>
          <p:cNvPr id="33" name="Google Shape;2051;p240"/>
          <p:cNvSpPr/>
          <p:nvPr/>
        </p:nvSpPr>
        <p:spPr>
          <a:xfrm>
            <a:off x="4442348"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34" name="Google Shape;2052;p240"/>
          <p:cNvSpPr/>
          <p:nvPr/>
        </p:nvSpPr>
        <p:spPr>
          <a:xfrm>
            <a:off x="1075504"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36" name="Google Shape;2054;p240"/>
          <p:cNvSpPr/>
          <p:nvPr/>
        </p:nvSpPr>
        <p:spPr>
          <a:xfrm>
            <a:off x="1109609" y="2218515"/>
            <a:ext cx="3232935"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A </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one stop Hotel specific knowledge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repository built and maintained for Hotel Industry</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37" name="Google Shape;2055;p240"/>
          <p:cNvSpPr/>
          <p:nvPr/>
        </p:nvSpPr>
        <p:spPr>
          <a:xfrm>
            <a:off x="4466648"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40" name="Google Shape;2058;p240"/>
          <p:cNvSpPr/>
          <p:nvPr/>
        </p:nvSpPr>
        <p:spPr>
          <a:xfrm>
            <a:off x="1075504"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47" name="Google Shape;2065;p240"/>
          <p:cNvSpPr/>
          <p:nvPr/>
        </p:nvSpPr>
        <p:spPr>
          <a:xfrm>
            <a:off x="7857792" y="1562034"/>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50" name="Google Shape;2068;p240"/>
          <p:cNvSpPr/>
          <p:nvPr/>
        </p:nvSpPr>
        <p:spPr>
          <a:xfrm>
            <a:off x="7857792" y="3875857"/>
            <a:ext cx="3251251" cy="2171551"/>
          </a:xfrm>
          <a:prstGeom prst="roundRect">
            <a:avLst>
              <a:gd name="adj" fmla="val 5356"/>
            </a:avLst>
          </a:prstGeom>
          <a:solidFill>
            <a:srgbClr val="FFFFFF">
              <a:alpha val="67060"/>
            </a:srgbClr>
          </a:solidFill>
          <a:ln w="25400" cap="flat" cmpd="sng">
            <a:solidFill>
              <a:srgbClr val="666666">
                <a:alpha val="67060"/>
              </a:srgbClr>
            </a:solidFill>
            <a:prstDash val="solid"/>
            <a:round/>
            <a:headEnd type="none" w="sm" len="sm"/>
            <a:tailEnd type="none" w="sm" len="sm"/>
          </a:ln>
        </p:spPr>
        <p:txBody>
          <a:bodyPr spcFirstLastPara="1" wrap="square" lIns="40339" tIns="40339" rIns="40339" bIns="40339" anchor="ctr" anchorCtr="0">
            <a:noAutofit/>
          </a:bodyPr>
          <a:lstStyle/>
          <a:p>
            <a:pPr marL="0" marR="0" lvl="0" indent="0" algn="l" defTabSz="609585" rtl="0" eaLnBrk="1" fontAlgn="auto" latinLnBrk="0" hangingPunct="1">
              <a:lnSpc>
                <a:spcPct val="100000"/>
              </a:lnSpc>
              <a:spcBef>
                <a:spcPts val="0"/>
              </a:spcBef>
              <a:spcAft>
                <a:spcPts val="0"/>
              </a:spcAft>
              <a:buClr>
                <a:srgbClr val="00B000"/>
              </a:buClr>
              <a:buSzTx/>
              <a:buFontTx/>
              <a:buNone/>
              <a:tabLst/>
              <a:defRPr/>
            </a:pPr>
            <a:endParaRPr kumimoji="0" sz="1451" b="0" i="0" u="none" strike="noStrike" kern="1200" cap="none" spc="0" normalizeH="0" baseline="0" noProof="0">
              <a:ln>
                <a:noFill/>
              </a:ln>
              <a:solidFill>
                <a:srgbClr val="0033A0"/>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58" name="Google Shape;2054;p240"/>
          <p:cNvSpPr/>
          <p:nvPr/>
        </p:nvSpPr>
        <p:spPr>
          <a:xfrm>
            <a:off x="4424737" y="2150022"/>
            <a:ext cx="3232935"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Life cycle automation framework (LEAP</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 is for </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Automation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specifically </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focusing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on </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IT Digital Transformation and Cloud Migration. </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59" name="Google Shape;2054;p240"/>
          <p:cNvSpPr/>
          <p:nvPr/>
        </p:nvSpPr>
        <p:spPr>
          <a:xfrm>
            <a:off x="4490875" y="3259629"/>
            <a:ext cx="3232935" cy="461019"/>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Autonomic </a:t>
            </a:r>
            <a:r>
              <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automation with predictable outcomes</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61" name="Google Shape;2054;p240"/>
          <p:cNvSpPr/>
          <p:nvPr/>
        </p:nvSpPr>
        <p:spPr>
          <a:xfrm>
            <a:off x="7876854" y="2095227"/>
            <a:ext cx="3232935"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Digital Assurance for Voice Framework to test conversational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apps</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and integration with digital assistants</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66" name="Google Shape;2054;p240"/>
          <p:cNvSpPr/>
          <p:nvPr/>
        </p:nvSpPr>
        <p:spPr>
          <a:xfrm>
            <a:off x="7876853" y="3219237"/>
            <a:ext cx="3232936" cy="356169"/>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rPr>
              <a:t>It supports all platforms (Alexa, Siri, Google) and is enables </a:t>
            </a: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rPr>
              <a:t>Automation</a:t>
            </a:r>
            <a:endPar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68" name="Rectangle 67"/>
          <p:cNvSpPr/>
          <p:nvPr/>
        </p:nvSpPr>
        <p:spPr>
          <a:xfrm>
            <a:off x="2412120" y="3964422"/>
            <a:ext cx="687624" cy="338554"/>
          </a:xfrm>
          <a:prstGeom prst="rect">
            <a:avLst/>
          </a:prstGeom>
          <a:solidFill>
            <a:srgbClr val="231C19"/>
          </a:solidFill>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Calibri" panose="020F0502020204030204"/>
                <a:ea typeface="+mn-ea"/>
                <a:cs typeface="+mn-cs"/>
              </a:rPr>
              <a:t>FARM</a:t>
            </a:r>
            <a:endPar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Rectangle 68"/>
          <p:cNvSpPr/>
          <p:nvPr/>
        </p:nvSpPr>
        <p:spPr>
          <a:xfrm>
            <a:off x="4987746" y="3949916"/>
            <a:ext cx="2213556" cy="338554"/>
          </a:xfrm>
          <a:prstGeom prst="rect">
            <a:avLst/>
          </a:prstGeom>
          <a:solidFill>
            <a:srgbClr val="231C19"/>
          </a:solidFill>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Quality Insight Platform</a:t>
            </a:r>
          </a:p>
        </p:txBody>
      </p:sp>
      <p:sp>
        <p:nvSpPr>
          <p:cNvPr id="70" name="Rectangle 69"/>
          <p:cNvSpPr/>
          <p:nvPr/>
        </p:nvSpPr>
        <p:spPr>
          <a:xfrm>
            <a:off x="8733416" y="3936218"/>
            <a:ext cx="1599284" cy="338554"/>
          </a:xfrm>
          <a:prstGeom prst="rect">
            <a:avLst/>
          </a:prstGeom>
          <a:solidFill>
            <a:srgbClr val="231C19"/>
          </a:solidFill>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Calibri" panose="020F0502020204030204"/>
                <a:ea typeface="+mn-ea"/>
                <a:cs typeface="+mn-cs"/>
              </a:rPr>
              <a:t>CXM Framework</a:t>
            </a:r>
            <a:endPar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1" name="Google Shape;2054;p240"/>
          <p:cNvSpPr/>
          <p:nvPr/>
        </p:nvSpPr>
        <p:spPr>
          <a:xfrm>
            <a:off x="989945" y="4307963"/>
            <a:ext cx="3417466"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FARM (Financing, Administration, Researching &amp; Maintenance) framework for tool optimization by optimizing tools licenses across the enterprise</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72" name="Google Shape;2054;p240"/>
          <p:cNvSpPr/>
          <p:nvPr/>
        </p:nvSpPr>
        <p:spPr>
          <a:xfrm>
            <a:off x="1035154" y="5533738"/>
            <a:ext cx="3232935" cy="287677"/>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467"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Reduced spending on tools and increased tool adoption at Enterprise</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73" name="Google Shape;2054;p240"/>
          <p:cNvSpPr/>
          <p:nvPr/>
        </p:nvSpPr>
        <p:spPr>
          <a:xfrm>
            <a:off x="4452135" y="4321662"/>
            <a:ext cx="3232935"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Quality insight BOTs running on intelligent machine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learning </a:t>
            </a: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that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will improve application stability</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75" name="Google Shape;2054;p240"/>
          <p:cNvSpPr/>
          <p:nvPr/>
        </p:nvSpPr>
        <p:spPr>
          <a:xfrm>
            <a:off x="7876855" y="4335362"/>
            <a:ext cx="3232935" cy="795236"/>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comprises research and audit activities to gain a holistic view of the Customer </a:t>
            </a:r>
            <a:r>
              <a:rPr kumimoji="0" lang="en-US" sz="1600" b="1" i="0" u="none" strike="noStrike" kern="1200" cap="none" spc="0" normalizeH="0" baseline="0" noProof="0" dirty="0" smtClean="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rPr>
              <a:t>Experience in a Hotel engagement journey</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76" name="Google Shape;2054;p240"/>
          <p:cNvSpPr/>
          <p:nvPr/>
        </p:nvSpPr>
        <p:spPr>
          <a:xfrm>
            <a:off x="7835758" y="5520647"/>
            <a:ext cx="3232935" cy="287677"/>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Early </a:t>
            </a:r>
            <a:r>
              <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feedback on </a:t>
            </a: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usability and improved customer satisfaction</a:t>
            </a:r>
            <a:endPar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endParaRPr>
          </a:p>
        </p:txBody>
      </p:sp>
      <p:sp>
        <p:nvSpPr>
          <p:cNvPr id="3" name="Rectangle 2"/>
          <p:cNvSpPr/>
          <p:nvPr/>
        </p:nvSpPr>
        <p:spPr>
          <a:xfrm>
            <a:off x="1479479" y="1643866"/>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Calibri" panose="020F0502020204030204"/>
                <a:ea typeface="+mn-ea"/>
                <a:cs typeface="+mn-cs"/>
              </a:rPr>
              <a:t>Hotel in a Box</a:t>
            </a:r>
            <a:endPar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30"/>
          <p:cNvSpPr/>
          <p:nvPr/>
        </p:nvSpPr>
        <p:spPr>
          <a:xfrm>
            <a:off x="4863101" y="1616469"/>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Calibri" panose="020F0502020204030204"/>
                <a:ea typeface="+mn-ea"/>
                <a:cs typeface="+mn-cs"/>
              </a:rPr>
              <a:t>LEAP</a:t>
            </a:r>
            <a:endPar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2" name="Rectangle 31"/>
          <p:cNvSpPr/>
          <p:nvPr/>
        </p:nvSpPr>
        <p:spPr>
          <a:xfrm>
            <a:off x="8137133" y="1602770"/>
            <a:ext cx="2602787" cy="465761"/>
          </a:xfrm>
          <a:prstGeom prst="rect">
            <a:avLst/>
          </a:prstGeom>
          <a:solidFill>
            <a:srgbClr val="231C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smtClean="0">
                <a:ln>
                  <a:noFill/>
                </a:ln>
                <a:solidFill>
                  <a:srgbClr val="FFFFFF"/>
                </a:solidFill>
                <a:effectLst/>
                <a:uLnTx/>
                <a:uFillTx/>
                <a:latin typeface="Calibri" panose="020F0502020204030204"/>
                <a:ea typeface="+mn-ea"/>
                <a:cs typeface="+mn-cs"/>
              </a:rPr>
              <a:t>DaVo</a:t>
            </a:r>
            <a:endPar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9" name="Google Shape;2054;p240"/>
          <p:cNvSpPr/>
          <p:nvPr/>
        </p:nvSpPr>
        <p:spPr>
          <a:xfrm>
            <a:off x="1139466" y="3063428"/>
            <a:ext cx="3232935" cy="657220"/>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Living </a:t>
            </a:r>
            <a:r>
              <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Repository </a:t>
            </a: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that will help in reduction of </a:t>
            </a:r>
            <a:r>
              <a:rPr kumimoji="0" lang="en-US" sz="1333" b="1" i="0" u="none" strike="noStrike" kern="1200" cap="none" spc="0" normalizeH="0" baseline="0" noProof="0" dirty="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t</a:t>
            </a:r>
            <a:r>
              <a:rPr kumimoji="0" lang="en-US" sz="1333"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est design effort, Business SME dependency, increased re-usability </a:t>
            </a:r>
            <a:r>
              <a:rPr kumimoji="0" lang="en-US" sz="1333" b="1" i="0" u="none" strike="noStrike" kern="1200" cap="none" spc="0" normalizeH="0" baseline="0" noProof="0" dirty="0" err="1"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etc</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
        <p:nvSpPr>
          <p:cNvPr id="35" name="Google Shape;2054;p240"/>
          <p:cNvSpPr/>
          <p:nvPr/>
        </p:nvSpPr>
        <p:spPr>
          <a:xfrm>
            <a:off x="4475805" y="5497588"/>
            <a:ext cx="3232935" cy="287677"/>
          </a:xfrm>
          <a:prstGeom prst="rect">
            <a:avLst/>
          </a:prstGeom>
          <a:noFill/>
          <a:ln>
            <a:noFill/>
          </a:ln>
        </p:spPr>
        <p:txBody>
          <a:bodyPr spcFirstLastPara="1" wrap="square" lIns="40339" tIns="40339" rIns="40339" bIns="40339" anchor="t" anchorCtr="0">
            <a:noAutofit/>
          </a:bodyPr>
          <a:lstStyle/>
          <a:p>
            <a:pPr marL="0" marR="0" lvl="0" indent="0" algn="ctr" defTabSz="609585" rtl="0" eaLnBrk="1" fontAlgn="auto" latinLnBrk="0" hangingPunct="1">
              <a:lnSpc>
                <a:spcPct val="100000"/>
              </a:lnSpc>
              <a:spcBef>
                <a:spcPts val="0"/>
              </a:spcBef>
              <a:spcAft>
                <a:spcPts val="0"/>
              </a:spcAft>
              <a:buClr>
                <a:srgbClr val="666666"/>
              </a:buClr>
              <a:buSzTx/>
              <a:buFontTx/>
              <a:buNone/>
              <a:tabLst/>
              <a:defRPr/>
            </a:pPr>
            <a:r>
              <a:rPr kumimoji="0" lang="en-US" sz="1467" b="1" i="0" u="none" strike="noStrike" kern="1200" cap="none" spc="0" normalizeH="0" baseline="0" noProof="0" dirty="0" smtClean="0">
                <a:ln>
                  <a:noFill/>
                </a:ln>
                <a:solidFill>
                  <a:srgbClr val="00195A">
                    <a:lumMod val="90000"/>
                    <a:lumOff val="10000"/>
                  </a:srgbClr>
                </a:solidFill>
                <a:effectLst/>
                <a:uLnTx/>
                <a:uFillTx/>
                <a:latin typeface="Calibri" panose="020F0502020204030204" pitchFamily="34" charset="0"/>
                <a:ea typeface="Helvetica Neue"/>
                <a:cs typeface="Calibri" panose="020F0502020204030204" pitchFamily="34" charset="0"/>
                <a:sym typeface="Helvetica Neue"/>
              </a:rPr>
              <a:t>15+ BOTS available to be leverages across the SDLC</a:t>
            </a:r>
            <a:endParaRPr kumimoji="0" lang="en-CA" sz="1600" b="1" i="0" u="none" strike="noStrike" kern="1200" cap="none" spc="0" normalizeH="0" baseline="0" noProof="0" dirty="0">
              <a:ln>
                <a:noFill/>
              </a:ln>
              <a:solidFill>
                <a:srgbClr val="666666"/>
              </a:solidFill>
              <a:effectLst/>
              <a:uLnTx/>
              <a:uFillTx/>
              <a:latin typeface="Calibri" panose="020F0502020204030204" pitchFamily="34" charset="0"/>
              <a:ea typeface="Helvetica Neue"/>
              <a:cs typeface="Calibri" panose="020F0502020204030204" pitchFamily="34" charset="0"/>
              <a:sym typeface="Helvetica Neue"/>
            </a:endParaRPr>
          </a:p>
        </p:txBody>
      </p:sp>
    </p:spTree>
    <p:extLst>
      <p:ext uri="{BB962C8B-B14F-4D97-AF65-F5344CB8AC3E}">
        <p14:creationId xmlns:p14="http://schemas.microsoft.com/office/powerpoint/2010/main" val="2827239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a:xfrm>
            <a:off x="9809732" y="3753801"/>
            <a:ext cx="2293401"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04" name="Rectangle 103"/>
          <p:cNvSpPr/>
          <p:nvPr/>
        </p:nvSpPr>
        <p:spPr>
          <a:xfrm>
            <a:off x="9835591" y="2555285"/>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06" name="Rectangle 105"/>
          <p:cNvSpPr/>
          <p:nvPr/>
        </p:nvSpPr>
        <p:spPr>
          <a:xfrm>
            <a:off x="7304847" y="3812796"/>
            <a:ext cx="229228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98" name="Rectangle 97"/>
          <p:cNvSpPr/>
          <p:nvPr/>
        </p:nvSpPr>
        <p:spPr>
          <a:xfrm>
            <a:off x="9854644" y="1291372"/>
            <a:ext cx="2278644"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02" name="Rectangle 101"/>
          <p:cNvSpPr/>
          <p:nvPr/>
        </p:nvSpPr>
        <p:spPr>
          <a:xfrm>
            <a:off x="9793594" y="5063214"/>
            <a:ext cx="2310887"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8" name="Title 17"/>
          <p:cNvSpPr>
            <a:spLocks noGrp="1"/>
          </p:cNvSpPr>
          <p:nvPr>
            <p:ph type="title"/>
          </p:nvPr>
        </p:nvSpPr>
        <p:spPr/>
        <p:txBody>
          <a:bodyPr/>
          <a:lstStyle/>
          <a:p>
            <a:r>
              <a:rPr lang="en-US" dirty="0"/>
              <a:t>We have understood </a:t>
            </a:r>
            <a:r>
              <a:rPr lang="en-US" dirty="0" smtClean="0"/>
              <a:t>Marriott objectives</a:t>
            </a:r>
            <a:endParaRPr lang="en-US" dirty="0"/>
          </a:p>
        </p:txBody>
      </p:sp>
      <p:sp>
        <p:nvSpPr>
          <p:cNvPr id="121"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122"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5</a:t>
            </a:fld>
            <a:r>
              <a:rPr lang="en-US" dirty="0" smtClean="0"/>
              <a:t> of XX</a:t>
            </a:r>
            <a:endParaRPr lang="en-US" dirty="0"/>
          </a:p>
        </p:txBody>
      </p:sp>
      <p:sp>
        <p:nvSpPr>
          <p:cNvPr id="7" name="Rectangle 6"/>
          <p:cNvSpPr/>
          <p:nvPr/>
        </p:nvSpPr>
        <p:spPr>
          <a:xfrm>
            <a:off x="998876" y="1351544"/>
            <a:ext cx="2291346"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8" name="Rectangle 7"/>
          <p:cNvSpPr/>
          <p:nvPr/>
        </p:nvSpPr>
        <p:spPr>
          <a:xfrm>
            <a:off x="998875" y="1819815"/>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mprove </a:t>
            </a:r>
            <a:r>
              <a:rPr lang="en-US" sz="1400" dirty="0">
                <a:solidFill>
                  <a:schemeClr val="tx1"/>
                </a:solidFill>
              </a:rPr>
              <a:t>Problem Management</a:t>
            </a:r>
          </a:p>
        </p:txBody>
      </p:sp>
      <p:sp>
        <p:nvSpPr>
          <p:cNvPr id="9" name="Rectangle 8"/>
          <p:cNvSpPr/>
          <p:nvPr/>
        </p:nvSpPr>
        <p:spPr>
          <a:xfrm>
            <a:off x="998875" y="2574576"/>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0" name="Rectangle 9"/>
          <p:cNvSpPr/>
          <p:nvPr/>
        </p:nvSpPr>
        <p:spPr>
          <a:xfrm>
            <a:off x="998875" y="3070764"/>
            <a:ext cx="2284995" cy="571311"/>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tability</a:t>
            </a:r>
            <a:r>
              <a:rPr lang="en-US" sz="1400" dirty="0">
                <a:solidFill>
                  <a:schemeClr val="tx1"/>
                </a:solidFill>
              </a:rPr>
              <a:t> through industry standard processes</a:t>
            </a:r>
          </a:p>
        </p:txBody>
      </p:sp>
      <p:sp>
        <p:nvSpPr>
          <p:cNvPr id="11" name="Rectangle 10"/>
          <p:cNvSpPr/>
          <p:nvPr/>
        </p:nvSpPr>
        <p:spPr>
          <a:xfrm>
            <a:off x="998875" y="3877269"/>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2" name="Rectangle 11"/>
          <p:cNvSpPr/>
          <p:nvPr/>
        </p:nvSpPr>
        <p:spPr>
          <a:xfrm>
            <a:off x="998875" y="4373458"/>
            <a:ext cx="2284995" cy="562516"/>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mproved </a:t>
            </a:r>
            <a:r>
              <a:rPr lang="en-US" sz="1400" b="1" dirty="0">
                <a:solidFill>
                  <a:schemeClr val="tx1"/>
                </a:solidFill>
              </a:rPr>
              <a:t>knowledge management</a:t>
            </a:r>
          </a:p>
        </p:txBody>
      </p:sp>
      <p:sp>
        <p:nvSpPr>
          <p:cNvPr id="13" name="Rectangle 12"/>
          <p:cNvSpPr/>
          <p:nvPr/>
        </p:nvSpPr>
        <p:spPr>
          <a:xfrm>
            <a:off x="998875" y="5129722"/>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4" name="Rectangle 13"/>
          <p:cNvSpPr/>
          <p:nvPr/>
        </p:nvSpPr>
        <p:spPr>
          <a:xfrm>
            <a:off x="998875" y="5625911"/>
            <a:ext cx="2284995" cy="55697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mproved </a:t>
            </a:r>
            <a:r>
              <a:rPr lang="en-US" sz="1400" b="1" dirty="0">
                <a:solidFill>
                  <a:schemeClr val="tx1"/>
                </a:solidFill>
              </a:rPr>
              <a:t>production metrics</a:t>
            </a:r>
          </a:p>
        </p:txBody>
      </p:sp>
      <p:sp>
        <p:nvSpPr>
          <p:cNvPr id="37" name="Rectangle 36"/>
          <p:cNvSpPr/>
          <p:nvPr/>
        </p:nvSpPr>
        <p:spPr>
          <a:xfrm rot="5400000">
            <a:off x="2001613" y="-447018"/>
            <a:ext cx="364174" cy="30147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bg1"/>
                </a:solidFill>
              </a:rPr>
              <a:t>KEY </a:t>
            </a:r>
            <a:r>
              <a:rPr lang="en-US" sz="1400" b="1" dirty="0" smtClean="0">
                <a:solidFill>
                  <a:schemeClr val="bg1"/>
                </a:solidFill>
              </a:rPr>
              <a:t>OBJECTIVES - RFP1</a:t>
            </a:r>
            <a:endParaRPr lang="en-US" sz="1400" b="1" dirty="0">
              <a:solidFill>
                <a:schemeClr val="bg1"/>
              </a:solidFill>
            </a:endParaRPr>
          </a:p>
        </p:txBody>
      </p:sp>
      <p:sp>
        <p:nvSpPr>
          <p:cNvPr id="44" name="Freeform 43"/>
          <p:cNvSpPr>
            <a:spLocks noEditPoints="1"/>
          </p:cNvSpPr>
          <p:nvPr/>
        </p:nvSpPr>
        <p:spPr bwMode="auto">
          <a:xfrm>
            <a:off x="1945955" y="3946129"/>
            <a:ext cx="471707" cy="344803"/>
          </a:xfrm>
          <a:custGeom>
            <a:avLst/>
            <a:gdLst>
              <a:gd name="T0" fmla="*/ 178 w 206"/>
              <a:gd name="T1" fmla="*/ 93 h 157"/>
              <a:gd name="T2" fmla="*/ 202 w 206"/>
              <a:gd name="T3" fmla="*/ 59 h 157"/>
              <a:gd name="T4" fmla="*/ 165 w 206"/>
              <a:gd name="T5" fmla="*/ 59 h 157"/>
              <a:gd name="T6" fmla="*/ 173 w 206"/>
              <a:gd name="T7" fmla="*/ 28 h 157"/>
              <a:gd name="T8" fmla="*/ 145 w 206"/>
              <a:gd name="T9" fmla="*/ 28 h 157"/>
              <a:gd name="T10" fmla="*/ 145 w 206"/>
              <a:gd name="T11" fmla="*/ 15 h 157"/>
              <a:gd name="T12" fmla="*/ 76 w 206"/>
              <a:gd name="T13" fmla="*/ 15 h 157"/>
              <a:gd name="T14" fmla="*/ 61 w 206"/>
              <a:gd name="T15" fmla="*/ 0 h 157"/>
              <a:gd name="T16" fmla="*/ 0 w 206"/>
              <a:gd name="T17" fmla="*/ 0 h 157"/>
              <a:gd name="T18" fmla="*/ 0 w 206"/>
              <a:gd name="T19" fmla="*/ 146 h 157"/>
              <a:gd name="T20" fmla="*/ 11 w 206"/>
              <a:gd name="T21" fmla="*/ 157 h 157"/>
              <a:gd name="T22" fmla="*/ 133 w 206"/>
              <a:gd name="T23" fmla="*/ 157 h 157"/>
              <a:gd name="T24" fmla="*/ 142 w 206"/>
              <a:gd name="T25" fmla="*/ 153 h 157"/>
              <a:gd name="T26" fmla="*/ 206 w 206"/>
              <a:gd name="T27" fmla="*/ 93 h 157"/>
              <a:gd name="T28" fmla="*/ 178 w 206"/>
              <a:gd name="T29" fmla="*/ 93 h 157"/>
              <a:gd name="T30" fmla="*/ 166 w 206"/>
              <a:gd name="T31" fmla="*/ 93 h 157"/>
              <a:gd name="T32" fmla="*/ 73 w 206"/>
              <a:gd name="T33" fmla="*/ 93 h 157"/>
              <a:gd name="T34" fmla="*/ 15 w 206"/>
              <a:gd name="T35" fmla="*/ 146 h 157"/>
              <a:gd name="T36" fmla="*/ 11 w 206"/>
              <a:gd name="T37" fmla="*/ 146 h 157"/>
              <a:gd name="T38" fmla="*/ 20 w 206"/>
              <a:gd name="T39" fmla="*/ 39 h 157"/>
              <a:gd name="T40" fmla="*/ 159 w 206"/>
              <a:gd name="T41" fmla="*/ 39 h 157"/>
              <a:gd name="T42" fmla="*/ 154 w 206"/>
              <a:gd name="T43" fmla="*/ 59 h 157"/>
              <a:gd name="T44" fmla="*/ 45 w 206"/>
              <a:gd name="T45" fmla="*/ 59 h 157"/>
              <a:gd name="T46" fmla="*/ 25 w 206"/>
              <a:gd name="T47" fmla="*/ 112 h 157"/>
              <a:gd name="T48" fmla="*/ 28 w 206"/>
              <a:gd name="T49" fmla="*/ 113 h 157"/>
              <a:gd name="T50" fmla="*/ 52 w 206"/>
              <a:gd name="T51" fmla="*/ 69 h 157"/>
              <a:gd name="T52" fmla="*/ 180 w 206"/>
              <a:gd name="T53" fmla="*/ 69 h 157"/>
              <a:gd name="T54" fmla="*/ 166 w 206"/>
              <a:gd name="T55" fmla="*/ 9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157">
                <a:moveTo>
                  <a:pt x="178" y="93"/>
                </a:moveTo>
                <a:cubicBezTo>
                  <a:pt x="202" y="59"/>
                  <a:pt x="202" y="59"/>
                  <a:pt x="202" y="59"/>
                </a:cubicBezTo>
                <a:cubicBezTo>
                  <a:pt x="165" y="59"/>
                  <a:pt x="165" y="59"/>
                  <a:pt x="165" y="59"/>
                </a:cubicBezTo>
                <a:cubicBezTo>
                  <a:pt x="173" y="28"/>
                  <a:pt x="173" y="28"/>
                  <a:pt x="173" y="28"/>
                </a:cubicBezTo>
                <a:cubicBezTo>
                  <a:pt x="145" y="28"/>
                  <a:pt x="145" y="28"/>
                  <a:pt x="145" y="28"/>
                </a:cubicBezTo>
                <a:cubicBezTo>
                  <a:pt x="145" y="15"/>
                  <a:pt x="145" y="15"/>
                  <a:pt x="145" y="15"/>
                </a:cubicBezTo>
                <a:cubicBezTo>
                  <a:pt x="76" y="15"/>
                  <a:pt x="76" y="15"/>
                  <a:pt x="76" y="15"/>
                </a:cubicBezTo>
                <a:cubicBezTo>
                  <a:pt x="61" y="0"/>
                  <a:pt x="61" y="0"/>
                  <a:pt x="61" y="0"/>
                </a:cubicBezTo>
                <a:cubicBezTo>
                  <a:pt x="0" y="0"/>
                  <a:pt x="0" y="0"/>
                  <a:pt x="0" y="0"/>
                </a:cubicBezTo>
                <a:cubicBezTo>
                  <a:pt x="0" y="146"/>
                  <a:pt x="0" y="146"/>
                  <a:pt x="0" y="146"/>
                </a:cubicBezTo>
                <a:cubicBezTo>
                  <a:pt x="0" y="152"/>
                  <a:pt x="5" y="157"/>
                  <a:pt x="11" y="157"/>
                </a:cubicBezTo>
                <a:cubicBezTo>
                  <a:pt x="133" y="157"/>
                  <a:pt x="133" y="157"/>
                  <a:pt x="133" y="157"/>
                </a:cubicBezTo>
                <a:cubicBezTo>
                  <a:pt x="137" y="157"/>
                  <a:pt x="140" y="156"/>
                  <a:pt x="142" y="153"/>
                </a:cubicBezTo>
                <a:cubicBezTo>
                  <a:pt x="206" y="93"/>
                  <a:pt x="206" y="93"/>
                  <a:pt x="206" y="93"/>
                </a:cubicBezTo>
                <a:lnTo>
                  <a:pt x="178" y="93"/>
                </a:lnTo>
                <a:close/>
                <a:moveTo>
                  <a:pt x="166" y="93"/>
                </a:moveTo>
                <a:cubicBezTo>
                  <a:pt x="73" y="93"/>
                  <a:pt x="73" y="93"/>
                  <a:pt x="73" y="93"/>
                </a:cubicBezTo>
                <a:cubicBezTo>
                  <a:pt x="15" y="146"/>
                  <a:pt x="15" y="146"/>
                  <a:pt x="15" y="146"/>
                </a:cubicBezTo>
                <a:cubicBezTo>
                  <a:pt x="11" y="146"/>
                  <a:pt x="11" y="146"/>
                  <a:pt x="11" y="146"/>
                </a:cubicBezTo>
                <a:cubicBezTo>
                  <a:pt x="20" y="39"/>
                  <a:pt x="20" y="39"/>
                  <a:pt x="20" y="39"/>
                </a:cubicBezTo>
                <a:cubicBezTo>
                  <a:pt x="159" y="39"/>
                  <a:pt x="159" y="39"/>
                  <a:pt x="159" y="39"/>
                </a:cubicBezTo>
                <a:cubicBezTo>
                  <a:pt x="154" y="59"/>
                  <a:pt x="154" y="59"/>
                  <a:pt x="154" y="59"/>
                </a:cubicBezTo>
                <a:cubicBezTo>
                  <a:pt x="45" y="59"/>
                  <a:pt x="45" y="59"/>
                  <a:pt x="45" y="59"/>
                </a:cubicBezTo>
                <a:cubicBezTo>
                  <a:pt x="25" y="112"/>
                  <a:pt x="25" y="112"/>
                  <a:pt x="25" y="112"/>
                </a:cubicBezTo>
                <a:cubicBezTo>
                  <a:pt x="28" y="113"/>
                  <a:pt x="28" y="113"/>
                  <a:pt x="28" y="113"/>
                </a:cubicBezTo>
                <a:cubicBezTo>
                  <a:pt x="52" y="69"/>
                  <a:pt x="52" y="69"/>
                  <a:pt x="52" y="69"/>
                </a:cubicBezTo>
                <a:cubicBezTo>
                  <a:pt x="180" y="69"/>
                  <a:pt x="180" y="69"/>
                  <a:pt x="180" y="69"/>
                </a:cubicBezTo>
                <a:lnTo>
                  <a:pt x="166" y="93"/>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pic>
        <p:nvPicPr>
          <p:cNvPr id="45" name="Picture 4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25543" y="5184063"/>
            <a:ext cx="339527" cy="386435"/>
          </a:xfrm>
          <a:prstGeom prst="rect">
            <a:avLst/>
          </a:prstGeom>
        </p:spPr>
      </p:pic>
      <p:grpSp>
        <p:nvGrpSpPr>
          <p:cNvPr id="46" name="Group 45"/>
          <p:cNvGrpSpPr/>
          <p:nvPr/>
        </p:nvGrpSpPr>
        <p:grpSpPr>
          <a:xfrm>
            <a:off x="1935218" y="1388319"/>
            <a:ext cx="412307" cy="394721"/>
            <a:chOff x="1670051" y="5665788"/>
            <a:chExt cx="576263" cy="577851"/>
          </a:xfrm>
        </p:grpSpPr>
        <p:sp>
          <p:nvSpPr>
            <p:cNvPr id="47" name="Oval 165"/>
            <p:cNvSpPr>
              <a:spLocks noChangeArrowheads="1"/>
            </p:cNvSpPr>
            <p:nvPr/>
          </p:nvSpPr>
          <p:spPr bwMode="auto">
            <a:xfrm>
              <a:off x="1670051" y="5665788"/>
              <a:ext cx="500063" cy="50323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dirty="0"/>
            </a:p>
          </p:txBody>
        </p:sp>
        <p:sp>
          <p:nvSpPr>
            <p:cNvPr id="48" name="Line 166"/>
            <p:cNvSpPr>
              <a:spLocks noChangeShapeType="1"/>
            </p:cNvSpPr>
            <p:nvPr/>
          </p:nvSpPr>
          <p:spPr bwMode="auto">
            <a:xfrm>
              <a:off x="2095501" y="6092826"/>
              <a:ext cx="150813" cy="15081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dirty="0"/>
            </a:p>
          </p:txBody>
        </p:sp>
        <p:sp>
          <p:nvSpPr>
            <p:cNvPr id="49" name="Freeform 167"/>
            <p:cNvSpPr>
              <a:spLocks/>
            </p:cNvSpPr>
            <p:nvPr/>
          </p:nvSpPr>
          <p:spPr bwMode="auto">
            <a:xfrm>
              <a:off x="1757363" y="5753101"/>
              <a:ext cx="325438" cy="327025"/>
            </a:xfrm>
            <a:custGeom>
              <a:avLst/>
              <a:gdLst>
                <a:gd name="T0" fmla="*/ 46 w 52"/>
                <a:gd name="T1" fmla="*/ 44 h 52"/>
                <a:gd name="T2" fmla="*/ 52 w 52"/>
                <a:gd name="T3" fmla="*/ 34 h 52"/>
                <a:gd name="T4" fmla="*/ 46 w 52"/>
                <a:gd name="T5" fmla="*/ 30 h 52"/>
                <a:gd name="T6" fmla="*/ 46 w 52"/>
                <a:gd name="T7" fmla="*/ 22 h 52"/>
                <a:gd name="T8" fmla="*/ 52 w 52"/>
                <a:gd name="T9" fmla="*/ 18 h 52"/>
                <a:gd name="T10" fmla="*/ 46 w 52"/>
                <a:gd name="T11" fmla="*/ 8 h 52"/>
                <a:gd name="T12" fmla="*/ 40 w 52"/>
                <a:gd name="T13" fmla="*/ 11 h 52"/>
                <a:gd name="T14" fmla="*/ 32 w 52"/>
                <a:gd name="T15" fmla="*/ 7 h 52"/>
                <a:gd name="T16" fmla="*/ 32 w 52"/>
                <a:gd name="T17" fmla="*/ 0 h 52"/>
                <a:gd name="T18" fmla="*/ 20 w 52"/>
                <a:gd name="T19" fmla="*/ 0 h 52"/>
                <a:gd name="T20" fmla="*/ 20 w 52"/>
                <a:gd name="T21" fmla="*/ 7 h 52"/>
                <a:gd name="T22" fmla="*/ 13 w 52"/>
                <a:gd name="T23" fmla="*/ 11 h 52"/>
                <a:gd name="T24" fmla="*/ 7 w 52"/>
                <a:gd name="T25" fmla="*/ 8 h 52"/>
                <a:gd name="T26" fmla="*/ 1 w 52"/>
                <a:gd name="T27" fmla="*/ 18 h 52"/>
                <a:gd name="T28" fmla="*/ 7 w 52"/>
                <a:gd name="T29" fmla="*/ 22 h 52"/>
                <a:gd name="T30" fmla="*/ 6 w 52"/>
                <a:gd name="T31" fmla="*/ 30 h 52"/>
                <a:gd name="T32" fmla="*/ 0 w 52"/>
                <a:gd name="T33" fmla="*/ 34 h 52"/>
                <a:gd name="T34" fmla="*/ 6 w 52"/>
                <a:gd name="T35" fmla="*/ 44 h 52"/>
                <a:gd name="T36" fmla="*/ 13 w 52"/>
                <a:gd name="T37" fmla="*/ 41 h 52"/>
                <a:gd name="T38" fmla="*/ 20 w 52"/>
                <a:gd name="T39" fmla="*/ 45 h 52"/>
                <a:gd name="T40" fmla="*/ 20 w 52"/>
                <a:gd name="T41" fmla="*/ 52 h 52"/>
                <a:gd name="T42" fmla="*/ 32 w 52"/>
                <a:gd name="T43" fmla="*/ 52 h 52"/>
                <a:gd name="T44" fmla="*/ 32 w 52"/>
                <a:gd name="T45" fmla="*/ 45 h 52"/>
                <a:gd name="T46" fmla="*/ 40 w 52"/>
                <a:gd name="T47" fmla="*/ 41 h 52"/>
                <a:gd name="T48" fmla="*/ 46 w 52"/>
                <a:gd name="T4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52">
                  <a:moveTo>
                    <a:pt x="46" y="44"/>
                  </a:moveTo>
                  <a:cubicBezTo>
                    <a:pt x="52" y="34"/>
                    <a:pt x="52" y="34"/>
                    <a:pt x="52" y="34"/>
                  </a:cubicBezTo>
                  <a:cubicBezTo>
                    <a:pt x="46" y="30"/>
                    <a:pt x="46" y="30"/>
                    <a:pt x="46" y="30"/>
                  </a:cubicBezTo>
                  <a:cubicBezTo>
                    <a:pt x="46" y="28"/>
                    <a:pt x="46" y="25"/>
                    <a:pt x="46" y="22"/>
                  </a:cubicBezTo>
                  <a:cubicBezTo>
                    <a:pt x="52" y="18"/>
                    <a:pt x="52" y="18"/>
                    <a:pt x="52" y="18"/>
                  </a:cubicBezTo>
                  <a:cubicBezTo>
                    <a:pt x="46" y="8"/>
                    <a:pt x="46" y="8"/>
                    <a:pt x="46" y="8"/>
                  </a:cubicBezTo>
                  <a:cubicBezTo>
                    <a:pt x="40" y="11"/>
                    <a:pt x="40" y="11"/>
                    <a:pt x="40" y="11"/>
                  </a:cubicBezTo>
                  <a:cubicBezTo>
                    <a:pt x="38" y="9"/>
                    <a:pt x="34" y="8"/>
                    <a:pt x="32" y="7"/>
                  </a:cubicBezTo>
                  <a:cubicBezTo>
                    <a:pt x="32" y="0"/>
                    <a:pt x="32" y="0"/>
                    <a:pt x="32" y="0"/>
                  </a:cubicBezTo>
                  <a:cubicBezTo>
                    <a:pt x="20" y="0"/>
                    <a:pt x="20" y="0"/>
                    <a:pt x="20" y="0"/>
                  </a:cubicBezTo>
                  <a:cubicBezTo>
                    <a:pt x="20" y="7"/>
                    <a:pt x="20" y="7"/>
                    <a:pt x="20" y="7"/>
                  </a:cubicBezTo>
                  <a:cubicBezTo>
                    <a:pt x="16" y="8"/>
                    <a:pt x="15" y="9"/>
                    <a:pt x="13" y="11"/>
                  </a:cubicBezTo>
                  <a:cubicBezTo>
                    <a:pt x="7" y="8"/>
                    <a:pt x="7" y="8"/>
                    <a:pt x="7" y="8"/>
                  </a:cubicBezTo>
                  <a:cubicBezTo>
                    <a:pt x="1" y="18"/>
                    <a:pt x="1" y="18"/>
                    <a:pt x="1" y="18"/>
                  </a:cubicBezTo>
                  <a:cubicBezTo>
                    <a:pt x="7" y="22"/>
                    <a:pt x="7" y="22"/>
                    <a:pt x="7" y="22"/>
                  </a:cubicBezTo>
                  <a:cubicBezTo>
                    <a:pt x="6" y="24"/>
                    <a:pt x="6" y="27"/>
                    <a:pt x="6" y="30"/>
                  </a:cubicBezTo>
                  <a:cubicBezTo>
                    <a:pt x="0" y="34"/>
                    <a:pt x="0" y="34"/>
                    <a:pt x="0" y="34"/>
                  </a:cubicBezTo>
                  <a:cubicBezTo>
                    <a:pt x="6" y="44"/>
                    <a:pt x="6" y="44"/>
                    <a:pt x="6" y="44"/>
                  </a:cubicBezTo>
                  <a:cubicBezTo>
                    <a:pt x="13" y="41"/>
                    <a:pt x="13" y="41"/>
                    <a:pt x="13" y="41"/>
                  </a:cubicBezTo>
                  <a:cubicBezTo>
                    <a:pt x="15" y="43"/>
                    <a:pt x="16" y="44"/>
                    <a:pt x="20" y="45"/>
                  </a:cubicBezTo>
                  <a:cubicBezTo>
                    <a:pt x="20" y="52"/>
                    <a:pt x="20" y="52"/>
                    <a:pt x="20" y="52"/>
                  </a:cubicBezTo>
                  <a:cubicBezTo>
                    <a:pt x="32" y="52"/>
                    <a:pt x="32" y="52"/>
                    <a:pt x="32" y="52"/>
                  </a:cubicBezTo>
                  <a:cubicBezTo>
                    <a:pt x="32" y="45"/>
                    <a:pt x="32" y="45"/>
                    <a:pt x="32" y="45"/>
                  </a:cubicBezTo>
                  <a:cubicBezTo>
                    <a:pt x="34" y="44"/>
                    <a:pt x="38" y="43"/>
                    <a:pt x="40" y="41"/>
                  </a:cubicBezTo>
                  <a:lnTo>
                    <a:pt x="46" y="44"/>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dirty="0"/>
            </a:p>
          </p:txBody>
        </p:sp>
        <p:sp>
          <p:nvSpPr>
            <p:cNvPr id="50" name="Oval 168"/>
            <p:cNvSpPr>
              <a:spLocks noChangeArrowheads="1"/>
            </p:cNvSpPr>
            <p:nvPr/>
          </p:nvSpPr>
          <p:spPr bwMode="auto">
            <a:xfrm>
              <a:off x="1870076" y="5867401"/>
              <a:ext cx="100013" cy="100013"/>
            </a:xfrm>
            <a:prstGeom prst="ellipse">
              <a:avLst/>
            </a:pr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51" name="Group 50"/>
          <p:cNvGrpSpPr/>
          <p:nvPr/>
        </p:nvGrpSpPr>
        <p:grpSpPr>
          <a:xfrm>
            <a:off x="1988113" y="2650763"/>
            <a:ext cx="304892" cy="314083"/>
            <a:chOff x="11234738" y="493713"/>
            <a:chExt cx="471487" cy="574675"/>
          </a:xfrm>
        </p:grpSpPr>
        <p:sp>
          <p:nvSpPr>
            <p:cNvPr id="52" name="Freeform 51"/>
            <p:cNvSpPr>
              <a:spLocks/>
            </p:cNvSpPr>
            <p:nvPr/>
          </p:nvSpPr>
          <p:spPr bwMode="auto">
            <a:xfrm>
              <a:off x="11358563" y="655638"/>
              <a:ext cx="249237" cy="176213"/>
            </a:xfrm>
            <a:custGeom>
              <a:avLst/>
              <a:gdLst>
                <a:gd name="T0" fmla="*/ 157 w 157"/>
                <a:gd name="T1" fmla="*/ 0 h 111"/>
                <a:gd name="T2" fmla="*/ 40 w 157"/>
                <a:gd name="T3" fmla="*/ 111 h 111"/>
                <a:gd name="T4" fmla="*/ 0 w 157"/>
                <a:gd name="T5" fmla="*/ 71 h 111"/>
              </a:gdLst>
              <a:ahLst/>
              <a:cxnLst>
                <a:cxn ang="0">
                  <a:pos x="T0" y="T1"/>
                </a:cxn>
                <a:cxn ang="0">
                  <a:pos x="T2" y="T3"/>
                </a:cxn>
                <a:cxn ang="0">
                  <a:pos x="T4" y="T5"/>
                </a:cxn>
              </a:cxnLst>
              <a:rect l="0" t="0" r="r" b="b"/>
              <a:pathLst>
                <a:path w="157" h="111">
                  <a:moveTo>
                    <a:pt x="157" y="0"/>
                  </a:moveTo>
                  <a:lnTo>
                    <a:pt x="40" y="111"/>
                  </a:lnTo>
                  <a:lnTo>
                    <a:pt x="0" y="71"/>
                  </a:lnTo>
                </a:path>
              </a:pathLst>
            </a:custGeom>
            <a:noFill/>
            <a:ln w="238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algn="ctr"/>
              <a:endParaRPr lang="en-US" sz="2400" dirty="0"/>
            </a:p>
          </p:txBody>
        </p:sp>
        <p:sp>
          <p:nvSpPr>
            <p:cNvPr id="53" name="Freeform 52"/>
            <p:cNvSpPr>
              <a:spLocks/>
            </p:cNvSpPr>
            <p:nvPr/>
          </p:nvSpPr>
          <p:spPr bwMode="auto">
            <a:xfrm>
              <a:off x="11234738" y="493713"/>
              <a:ext cx="471487" cy="574675"/>
            </a:xfrm>
            <a:custGeom>
              <a:avLst/>
              <a:gdLst>
                <a:gd name="T0" fmla="*/ 0 w 76"/>
                <a:gd name="T1" fmla="*/ 0 h 92"/>
                <a:gd name="T2" fmla="*/ 76 w 76"/>
                <a:gd name="T3" fmla="*/ 0 h 92"/>
                <a:gd name="T4" fmla="*/ 76 w 76"/>
                <a:gd name="T5" fmla="*/ 29 h 92"/>
                <a:gd name="T6" fmla="*/ 38 w 76"/>
                <a:gd name="T7" fmla="*/ 92 h 92"/>
                <a:gd name="T8" fmla="*/ 0 w 76"/>
                <a:gd name="T9" fmla="*/ 29 h 92"/>
                <a:gd name="T10" fmla="*/ 0 w 76"/>
                <a:gd name="T11" fmla="*/ 0 h 92"/>
              </a:gdLst>
              <a:ahLst/>
              <a:cxnLst>
                <a:cxn ang="0">
                  <a:pos x="T0" y="T1"/>
                </a:cxn>
                <a:cxn ang="0">
                  <a:pos x="T2" y="T3"/>
                </a:cxn>
                <a:cxn ang="0">
                  <a:pos x="T4" y="T5"/>
                </a:cxn>
                <a:cxn ang="0">
                  <a:pos x="T6" y="T7"/>
                </a:cxn>
                <a:cxn ang="0">
                  <a:pos x="T8" y="T9"/>
                </a:cxn>
                <a:cxn ang="0">
                  <a:pos x="T10" y="T11"/>
                </a:cxn>
              </a:cxnLst>
              <a:rect l="0" t="0" r="r" b="b"/>
              <a:pathLst>
                <a:path w="76" h="92">
                  <a:moveTo>
                    <a:pt x="0" y="0"/>
                  </a:moveTo>
                  <a:cubicBezTo>
                    <a:pt x="76" y="0"/>
                    <a:pt x="76" y="0"/>
                    <a:pt x="76" y="0"/>
                  </a:cubicBezTo>
                  <a:cubicBezTo>
                    <a:pt x="76" y="29"/>
                    <a:pt x="76" y="29"/>
                    <a:pt x="76" y="29"/>
                  </a:cubicBezTo>
                  <a:cubicBezTo>
                    <a:pt x="76" y="55"/>
                    <a:pt x="61" y="80"/>
                    <a:pt x="38" y="92"/>
                  </a:cubicBezTo>
                  <a:cubicBezTo>
                    <a:pt x="15" y="80"/>
                    <a:pt x="0" y="55"/>
                    <a:pt x="0" y="29"/>
                  </a:cubicBezTo>
                  <a:lnTo>
                    <a:pt x="0" y="0"/>
                  </a:lnTo>
                  <a:close/>
                </a:path>
              </a:pathLst>
            </a:custGeom>
            <a:noFill/>
            <a:ln w="23813"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algn="ctr"/>
              <a:endParaRPr lang="en-US" sz="2400" dirty="0"/>
            </a:p>
          </p:txBody>
        </p:sp>
      </p:grpSp>
      <p:sp>
        <p:nvSpPr>
          <p:cNvPr id="55" name="Rectangle 54"/>
          <p:cNvSpPr/>
          <p:nvPr/>
        </p:nvSpPr>
        <p:spPr>
          <a:xfrm rot="5400000">
            <a:off x="9698956" y="-497990"/>
            <a:ext cx="364174" cy="30147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bg1"/>
                </a:solidFill>
              </a:rPr>
              <a:t>KEY </a:t>
            </a:r>
            <a:r>
              <a:rPr lang="en-US" sz="1400" b="1" dirty="0" smtClean="0">
                <a:solidFill>
                  <a:schemeClr val="bg1"/>
                </a:solidFill>
              </a:rPr>
              <a:t>OBJECTIVES - RFP2</a:t>
            </a:r>
            <a:endParaRPr lang="en-US" sz="1400" b="1" dirty="0">
              <a:solidFill>
                <a:schemeClr val="bg1"/>
              </a:solidFill>
            </a:endParaRPr>
          </a:p>
        </p:txBody>
      </p:sp>
      <p:grpSp>
        <p:nvGrpSpPr>
          <p:cNvPr id="57" name="Group 56"/>
          <p:cNvGrpSpPr>
            <a:grpSpLocks noChangeAspect="1"/>
          </p:cNvGrpSpPr>
          <p:nvPr/>
        </p:nvGrpSpPr>
        <p:grpSpPr>
          <a:xfrm>
            <a:off x="8174914" y="3812796"/>
            <a:ext cx="406085" cy="388444"/>
            <a:chOff x="12619038" y="1906588"/>
            <a:chExt cx="966788" cy="966787"/>
          </a:xfrm>
          <a:gradFill>
            <a:gsLst>
              <a:gs pos="49000">
                <a:srgbClr val="D4DAE4"/>
              </a:gs>
              <a:gs pos="100000">
                <a:srgbClr val="ADB9CA"/>
              </a:gs>
              <a:gs pos="0">
                <a:srgbClr val="ADB9CA"/>
              </a:gs>
            </a:gsLst>
            <a:lin ang="0" scaled="0"/>
          </a:gradFill>
        </p:grpSpPr>
        <p:sp>
          <p:nvSpPr>
            <p:cNvPr id="58" name="Freeform 6"/>
            <p:cNvSpPr>
              <a:spLocks noEditPoints="1"/>
            </p:cNvSpPr>
            <p:nvPr/>
          </p:nvSpPr>
          <p:spPr bwMode="auto">
            <a:xfrm>
              <a:off x="12860338" y="2147888"/>
              <a:ext cx="484188" cy="484188"/>
            </a:xfrm>
            <a:custGeom>
              <a:avLst/>
              <a:gdLst>
                <a:gd name="T0" fmla="*/ 26 w 305"/>
                <a:gd name="T1" fmla="*/ 26 h 305"/>
                <a:gd name="T2" fmla="*/ 26 w 305"/>
                <a:gd name="T3" fmla="*/ 279 h 305"/>
                <a:gd name="T4" fmla="*/ 279 w 305"/>
                <a:gd name="T5" fmla="*/ 279 h 305"/>
                <a:gd name="T6" fmla="*/ 279 w 305"/>
                <a:gd name="T7" fmla="*/ 26 h 305"/>
                <a:gd name="T8" fmla="*/ 26 w 305"/>
                <a:gd name="T9" fmla="*/ 26 h 305"/>
                <a:gd name="T10" fmla="*/ 13 w 305"/>
                <a:gd name="T11" fmla="*/ 0 h 305"/>
                <a:gd name="T12" fmla="*/ 292 w 305"/>
                <a:gd name="T13" fmla="*/ 0 h 305"/>
                <a:gd name="T14" fmla="*/ 297 w 305"/>
                <a:gd name="T15" fmla="*/ 1 h 305"/>
                <a:gd name="T16" fmla="*/ 300 w 305"/>
                <a:gd name="T17" fmla="*/ 2 h 305"/>
                <a:gd name="T18" fmla="*/ 303 w 305"/>
                <a:gd name="T19" fmla="*/ 6 h 305"/>
                <a:gd name="T20" fmla="*/ 305 w 305"/>
                <a:gd name="T21" fmla="*/ 9 h 305"/>
                <a:gd name="T22" fmla="*/ 305 w 305"/>
                <a:gd name="T23" fmla="*/ 13 h 305"/>
                <a:gd name="T24" fmla="*/ 305 w 305"/>
                <a:gd name="T25" fmla="*/ 292 h 305"/>
                <a:gd name="T26" fmla="*/ 305 w 305"/>
                <a:gd name="T27" fmla="*/ 296 h 305"/>
                <a:gd name="T28" fmla="*/ 303 w 305"/>
                <a:gd name="T29" fmla="*/ 299 h 305"/>
                <a:gd name="T30" fmla="*/ 300 w 305"/>
                <a:gd name="T31" fmla="*/ 303 h 305"/>
                <a:gd name="T32" fmla="*/ 297 w 305"/>
                <a:gd name="T33" fmla="*/ 304 h 305"/>
                <a:gd name="T34" fmla="*/ 292 w 305"/>
                <a:gd name="T35" fmla="*/ 305 h 305"/>
                <a:gd name="T36" fmla="*/ 13 w 305"/>
                <a:gd name="T37" fmla="*/ 305 h 305"/>
                <a:gd name="T38" fmla="*/ 9 w 305"/>
                <a:gd name="T39" fmla="*/ 304 h 305"/>
                <a:gd name="T40" fmla="*/ 6 w 305"/>
                <a:gd name="T41" fmla="*/ 303 h 305"/>
                <a:gd name="T42" fmla="*/ 2 w 305"/>
                <a:gd name="T43" fmla="*/ 299 h 305"/>
                <a:gd name="T44" fmla="*/ 1 w 305"/>
                <a:gd name="T45" fmla="*/ 296 h 305"/>
                <a:gd name="T46" fmla="*/ 0 w 305"/>
                <a:gd name="T47" fmla="*/ 292 h 305"/>
                <a:gd name="T48" fmla="*/ 0 w 305"/>
                <a:gd name="T49" fmla="*/ 13 h 305"/>
                <a:gd name="T50" fmla="*/ 1 w 305"/>
                <a:gd name="T51" fmla="*/ 9 h 305"/>
                <a:gd name="T52" fmla="*/ 2 w 305"/>
                <a:gd name="T53" fmla="*/ 6 h 305"/>
                <a:gd name="T54" fmla="*/ 6 w 305"/>
                <a:gd name="T55" fmla="*/ 2 h 305"/>
                <a:gd name="T56" fmla="*/ 9 w 305"/>
                <a:gd name="T57" fmla="*/ 1 h 305"/>
                <a:gd name="T58" fmla="*/ 13 w 305"/>
                <a:gd name="T5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5" h="305">
                  <a:moveTo>
                    <a:pt x="26" y="26"/>
                  </a:moveTo>
                  <a:lnTo>
                    <a:pt x="26" y="279"/>
                  </a:lnTo>
                  <a:lnTo>
                    <a:pt x="279" y="279"/>
                  </a:lnTo>
                  <a:lnTo>
                    <a:pt x="279" y="26"/>
                  </a:lnTo>
                  <a:lnTo>
                    <a:pt x="26" y="26"/>
                  </a:lnTo>
                  <a:close/>
                  <a:moveTo>
                    <a:pt x="13" y="0"/>
                  </a:moveTo>
                  <a:lnTo>
                    <a:pt x="292" y="0"/>
                  </a:lnTo>
                  <a:lnTo>
                    <a:pt x="297" y="1"/>
                  </a:lnTo>
                  <a:lnTo>
                    <a:pt x="300" y="2"/>
                  </a:lnTo>
                  <a:lnTo>
                    <a:pt x="303" y="6"/>
                  </a:lnTo>
                  <a:lnTo>
                    <a:pt x="305" y="9"/>
                  </a:lnTo>
                  <a:lnTo>
                    <a:pt x="305" y="13"/>
                  </a:lnTo>
                  <a:lnTo>
                    <a:pt x="305" y="292"/>
                  </a:lnTo>
                  <a:lnTo>
                    <a:pt x="305" y="296"/>
                  </a:lnTo>
                  <a:lnTo>
                    <a:pt x="303" y="299"/>
                  </a:lnTo>
                  <a:lnTo>
                    <a:pt x="300" y="303"/>
                  </a:lnTo>
                  <a:lnTo>
                    <a:pt x="297" y="304"/>
                  </a:lnTo>
                  <a:lnTo>
                    <a:pt x="292" y="305"/>
                  </a:lnTo>
                  <a:lnTo>
                    <a:pt x="13" y="305"/>
                  </a:lnTo>
                  <a:lnTo>
                    <a:pt x="9" y="304"/>
                  </a:lnTo>
                  <a:lnTo>
                    <a:pt x="6" y="303"/>
                  </a:lnTo>
                  <a:lnTo>
                    <a:pt x="2" y="299"/>
                  </a:lnTo>
                  <a:lnTo>
                    <a:pt x="1" y="296"/>
                  </a:lnTo>
                  <a:lnTo>
                    <a:pt x="0" y="292"/>
                  </a:lnTo>
                  <a:lnTo>
                    <a:pt x="0" y="13"/>
                  </a:lnTo>
                  <a:lnTo>
                    <a:pt x="1" y="9"/>
                  </a:lnTo>
                  <a:lnTo>
                    <a:pt x="2" y="6"/>
                  </a:lnTo>
                  <a:lnTo>
                    <a:pt x="6" y="2"/>
                  </a:lnTo>
                  <a:lnTo>
                    <a:pt x="9" y="1"/>
                  </a:lnTo>
                  <a:lnTo>
                    <a:pt x="13"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59" name="Freeform 7"/>
            <p:cNvSpPr>
              <a:spLocks/>
            </p:cNvSpPr>
            <p:nvPr/>
          </p:nvSpPr>
          <p:spPr bwMode="auto">
            <a:xfrm>
              <a:off x="13385801" y="1906588"/>
              <a:ext cx="200025" cy="200025"/>
            </a:xfrm>
            <a:custGeom>
              <a:avLst/>
              <a:gdLst>
                <a:gd name="T0" fmla="*/ 112 w 126"/>
                <a:gd name="T1" fmla="*/ 0 h 126"/>
                <a:gd name="T2" fmla="*/ 116 w 126"/>
                <a:gd name="T3" fmla="*/ 0 h 126"/>
                <a:gd name="T4" fmla="*/ 119 w 126"/>
                <a:gd name="T5" fmla="*/ 1 h 126"/>
                <a:gd name="T6" fmla="*/ 123 w 126"/>
                <a:gd name="T7" fmla="*/ 4 h 126"/>
                <a:gd name="T8" fmla="*/ 125 w 126"/>
                <a:gd name="T9" fmla="*/ 7 h 126"/>
                <a:gd name="T10" fmla="*/ 126 w 126"/>
                <a:gd name="T11" fmla="*/ 11 h 126"/>
                <a:gd name="T12" fmla="*/ 126 w 126"/>
                <a:gd name="T13" fmla="*/ 14 h 126"/>
                <a:gd name="T14" fmla="*/ 125 w 126"/>
                <a:gd name="T15" fmla="*/ 19 h 126"/>
                <a:gd name="T16" fmla="*/ 123 w 126"/>
                <a:gd name="T17" fmla="*/ 21 h 126"/>
                <a:gd name="T18" fmla="*/ 21 w 126"/>
                <a:gd name="T19" fmla="*/ 123 h 126"/>
                <a:gd name="T20" fmla="*/ 19 w 126"/>
                <a:gd name="T21" fmla="*/ 125 h 126"/>
                <a:gd name="T22" fmla="*/ 15 w 126"/>
                <a:gd name="T23" fmla="*/ 126 h 126"/>
                <a:gd name="T24" fmla="*/ 13 w 126"/>
                <a:gd name="T25" fmla="*/ 126 h 126"/>
                <a:gd name="T26" fmla="*/ 9 w 126"/>
                <a:gd name="T27" fmla="*/ 126 h 126"/>
                <a:gd name="T28" fmla="*/ 6 w 126"/>
                <a:gd name="T29" fmla="*/ 125 h 126"/>
                <a:gd name="T30" fmla="*/ 3 w 126"/>
                <a:gd name="T31" fmla="*/ 123 h 126"/>
                <a:gd name="T32" fmla="*/ 1 w 126"/>
                <a:gd name="T33" fmla="*/ 119 h 126"/>
                <a:gd name="T34" fmla="*/ 0 w 126"/>
                <a:gd name="T35" fmla="*/ 116 h 126"/>
                <a:gd name="T36" fmla="*/ 0 w 126"/>
                <a:gd name="T37" fmla="*/ 112 h 126"/>
                <a:gd name="T38" fmla="*/ 1 w 126"/>
                <a:gd name="T39" fmla="*/ 109 h 126"/>
                <a:gd name="T40" fmla="*/ 3 w 126"/>
                <a:gd name="T41" fmla="*/ 105 h 126"/>
                <a:gd name="T42" fmla="*/ 105 w 126"/>
                <a:gd name="T43" fmla="*/ 4 h 126"/>
                <a:gd name="T44" fmla="*/ 109 w 126"/>
                <a:gd name="T45" fmla="*/ 1 h 126"/>
                <a:gd name="T46" fmla="*/ 112 w 126"/>
                <a:gd name="T4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26">
                  <a:moveTo>
                    <a:pt x="112" y="0"/>
                  </a:moveTo>
                  <a:lnTo>
                    <a:pt x="116" y="0"/>
                  </a:lnTo>
                  <a:lnTo>
                    <a:pt x="119" y="1"/>
                  </a:lnTo>
                  <a:lnTo>
                    <a:pt x="123" y="4"/>
                  </a:lnTo>
                  <a:lnTo>
                    <a:pt x="125" y="7"/>
                  </a:lnTo>
                  <a:lnTo>
                    <a:pt x="126" y="11"/>
                  </a:lnTo>
                  <a:lnTo>
                    <a:pt x="126" y="14"/>
                  </a:lnTo>
                  <a:lnTo>
                    <a:pt x="125" y="19"/>
                  </a:lnTo>
                  <a:lnTo>
                    <a:pt x="123" y="21"/>
                  </a:lnTo>
                  <a:lnTo>
                    <a:pt x="21" y="123"/>
                  </a:lnTo>
                  <a:lnTo>
                    <a:pt x="19" y="125"/>
                  </a:lnTo>
                  <a:lnTo>
                    <a:pt x="15" y="126"/>
                  </a:lnTo>
                  <a:lnTo>
                    <a:pt x="13" y="126"/>
                  </a:lnTo>
                  <a:lnTo>
                    <a:pt x="9" y="126"/>
                  </a:lnTo>
                  <a:lnTo>
                    <a:pt x="6" y="125"/>
                  </a:lnTo>
                  <a:lnTo>
                    <a:pt x="3" y="123"/>
                  </a:lnTo>
                  <a:lnTo>
                    <a:pt x="1" y="119"/>
                  </a:lnTo>
                  <a:lnTo>
                    <a:pt x="0" y="116"/>
                  </a:lnTo>
                  <a:lnTo>
                    <a:pt x="0" y="112"/>
                  </a:lnTo>
                  <a:lnTo>
                    <a:pt x="1" y="109"/>
                  </a:lnTo>
                  <a:lnTo>
                    <a:pt x="3" y="105"/>
                  </a:lnTo>
                  <a:lnTo>
                    <a:pt x="105" y="4"/>
                  </a:lnTo>
                  <a:lnTo>
                    <a:pt x="109" y="1"/>
                  </a:lnTo>
                  <a:lnTo>
                    <a:pt x="112"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0" name="Freeform 8"/>
            <p:cNvSpPr>
              <a:spLocks/>
            </p:cNvSpPr>
            <p:nvPr/>
          </p:nvSpPr>
          <p:spPr bwMode="auto">
            <a:xfrm>
              <a:off x="12619038" y="2673350"/>
              <a:ext cx="201613" cy="200025"/>
            </a:xfrm>
            <a:custGeom>
              <a:avLst/>
              <a:gdLst>
                <a:gd name="T0" fmla="*/ 112 w 127"/>
                <a:gd name="T1" fmla="*/ 0 h 126"/>
                <a:gd name="T2" fmla="*/ 116 w 127"/>
                <a:gd name="T3" fmla="*/ 0 h 126"/>
                <a:gd name="T4" fmla="*/ 120 w 127"/>
                <a:gd name="T5" fmla="*/ 1 h 126"/>
                <a:gd name="T6" fmla="*/ 123 w 127"/>
                <a:gd name="T7" fmla="*/ 3 h 126"/>
                <a:gd name="T8" fmla="*/ 125 w 127"/>
                <a:gd name="T9" fmla="*/ 7 h 126"/>
                <a:gd name="T10" fmla="*/ 127 w 127"/>
                <a:gd name="T11" fmla="*/ 10 h 126"/>
                <a:gd name="T12" fmla="*/ 127 w 127"/>
                <a:gd name="T13" fmla="*/ 14 h 126"/>
                <a:gd name="T14" fmla="*/ 125 w 127"/>
                <a:gd name="T15" fmla="*/ 17 h 126"/>
                <a:gd name="T16" fmla="*/ 123 w 127"/>
                <a:gd name="T17" fmla="*/ 21 h 126"/>
                <a:gd name="T18" fmla="*/ 22 w 127"/>
                <a:gd name="T19" fmla="*/ 122 h 126"/>
                <a:gd name="T20" fmla="*/ 19 w 127"/>
                <a:gd name="T21" fmla="*/ 125 h 126"/>
                <a:gd name="T22" fmla="*/ 16 w 127"/>
                <a:gd name="T23" fmla="*/ 126 h 126"/>
                <a:gd name="T24" fmla="*/ 13 w 127"/>
                <a:gd name="T25" fmla="*/ 126 h 126"/>
                <a:gd name="T26" fmla="*/ 9 w 127"/>
                <a:gd name="T27" fmla="*/ 126 h 126"/>
                <a:gd name="T28" fmla="*/ 6 w 127"/>
                <a:gd name="T29" fmla="*/ 125 h 126"/>
                <a:gd name="T30" fmla="*/ 4 w 127"/>
                <a:gd name="T31" fmla="*/ 122 h 126"/>
                <a:gd name="T32" fmla="*/ 1 w 127"/>
                <a:gd name="T33" fmla="*/ 119 h 126"/>
                <a:gd name="T34" fmla="*/ 0 w 127"/>
                <a:gd name="T35" fmla="*/ 115 h 126"/>
                <a:gd name="T36" fmla="*/ 0 w 127"/>
                <a:gd name="T37" fmla="*/ 112 h 126"/>
                <a:gd name="T38" fmla="*/ 1 w 127"/>
                <a:gd name="T39" fmla="*/ 108 h 126"/>
                <a:gd name="T40" fmla="*/ 4 w 127"/>
                <a:gd name="T41" fmla="*/ 105 h 126"/>
                <a:gd name="T42" fmla="*/ 105 w 127"/>
                <a:gd name="T43" fmla="*/ 3 h 126"/>
                <a:gd name="T44" fmla="*/ 109 w 127"/>
                <a:gd name="T45" fmla="*/ 1 h 126"/>
                <a:gd name="T46" fmla="*/ 112 w 127"/>
                <a:gd name="T4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6">
                  <a:moveTo>
                    <a:pt x="112" y="0"/>
                  </a:moveTo>
                  <a:lnTo>
                    <a:pt x="116" y="0"/>
                  </a:lnTo>
                  <a:lnTo>
                    <a:pt x="120" y="1"/>
                  </a:lnTo>
                  <a:lnTo>
                    <a:pt x="123" y="3"/>
                  </a:lnTo>
                  <a:lnTo>
                    <a:pt x="125" y="7"/>
                  </a:lnTo>
                  <a:lnTo>
                    <a:pt x="127" y="10"/>
                  </a:lnTo>
                  <a:lnTo>
                    <a:pt x="127" y="14"/>
                  </a:lnTo>
                  <a:lnTo>
                    <a:pt x="125" y="17"/>
                  </a:lnTo>
                  <a:lnTo>
                    <a:pt x="123" y="21"/>
                  </a:lnTo>
                  <a:lnTo>
                    <a:pt x="22" y="122"/>
                  </a:lnTo>
                  <a:lnTo>
                    <a:pt x="19" y="125"/>
                  </a:lnTo>
                  <a:lnTo>
                    <a:pt x="16" y="126"/>
                  </a:lnTo>
                  <a:lnTo>
                    <a:pt x="13" y="126"/>
                  </a:lnTo>
                  <a:lnTo>
                    <a:pt x="9" y="126"/>
                  </a:lnTo>
                  <a:lnTo>
                    <a:pt x="6" y="125"/>
                  </a:lnTo>
                  <a:lnTo>
                    <a:pt x="4" y="122"/>
                  </a:lnTo>
                  <a:lnTo>
                    <a:pt x="1" y="119"/>
                  </a:lnTo>
                  <a:lnTo>
                    <a:pt x="0" y="115"/>
                  </a:lnTo>
                  <a:lnTo>
                    <a:pt x="0" y="112"/>
                  </a:lnTo>
                  <a:lnTo>
                    <a:pt x="1" y="108"/>
                  </a:lnTo>
                  <a:lnTo>
                    <a:pt x="4" y="105"/>
                  </a:lnTo>
                  <a:lnTo>
                    <a:pt x="105" y="3"/>
                  </a:lnTo>
                  <a:lnTo>
                    <a:pt x="109" y="1"/>
                  </a:lnTo>
                  <a:lnTo>
                    <a:pt x="112"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1" name="Freeform 9"/>
            <p:cNvSpPr>
              <a:spLocks/>
            </p:cNvSpPr>
            <p:nvPr/>
          </p:nvSpPr>
          <p:spPr bwMode="auto">
            <a:xfrm>
              <a:off x="12619038" y="2632075"/>
              <a:ext cx="241300" cy="241300"/>
            </a:xfrm>
            <a:custGeom>
              <a:avLst/>
              <a:gdLst>
                <a:gd name="T0" fmla="*/ 13 w 152"/>
                <a:gd name="T1" fmla="*/ 0 h 152"/>
                <a:gd name="T2" fmla="*/ 16 w 152"/>
                <a:gd name="T3" fmla="*/ 0 h 152"/>
                <a:gd name="T4" fmla="*/ 20 w 152"/>
                <a:gd name="T5" fmla="*/ 2 h 152"/>
                <a:gd name="T6" fmla="*/ 23 w 152"/>
                <a:gd name="T7" fmla="*/ 5 h 152"/>
                <a:gd name="T8" fmla="*/ 25 w 152"/>
                <a:gd name="T9" fmla="*/ 8 h 152"/>
                <a:gd name="T10" fmla="*/ 26 w 152"/>
                <a:gd name="T11" fmla="*/ 13 h 152"/>
                <a:gd name="T12" fmla="*/ 26 w 152"/>
                <a:gd name="T13" fmla="*/ 127 h 152"/>
                <a:gd name="T14" fmla="*/ 139 w 152"/>
                <a:gd name="T15" fmla="*/ 127 h 152"/>
                <a:gd name="T16" fmla="*/ 144 w 152"/>
                <a:gd name="T17" fmla="*/ 127 h 152"/>
                <a:gd name="T18" fmla="*/ 147 w 152"/>
                <a:gd name="T19" fmla="*/ 130 h 152"/>
                <a:gd name="T20" fmla="*/ 150 w 152"/>
                <a:gd name="T21" fmla="*/ 132 h 152"/>
                <a:gd name="T22" fmla="*/ 152 w 152"/>
                <a:gd name="T23" fmla="*/ 136 h 152"/>
                <a:gd name="T24" fmla="*/ 152 w 152"/>
                <a:gd name="T25" fmla="*/ 139 h 152"/>
                <a:gd name="T26" fmla="*/ 152 w 152"/>
                <a:gd name="T27" fmla="*/ 144 h 152"/>
                <a:gd name="T28" fmla="*/ 150 w 152"/>
                <a:gd name="T29" fmla="*/ 147 h 152"/>
                <a:gd name="T30" fmla="*/ 147 w 152"/>
                <a:gd name="T31" fmla="*/ 150 h 152"/>
                <a:gd name="T32" fmla="*/ 144 w 152"/>
                <a:gd name="T33" fmla="*/ 152 h 152"/>
                <a:gd name="T34" fmla="*/ 139 w 152"/>
                <a:gd name="T35" fmla="*/ 152 h 152"/>
                <a:gd name="T36" fmla="*/ 13 w 152"/>
                <a:gd name="T37" fmla="*/ 152 h 152"/>
                <a:gd name="T38" fmla="*/ 8 w 152"/>
                <a:gd name="T39" fmla="*/ 152 h 152"/>
                <a:gd name="T40" fmla="*/ 5 w 152"/>
                <a:gd name="T41" fmla="*/ 150 h 152"/>
                <a:gd name="T42" fmla="*/ 2 w 152"/>
                <a:gd name="T43" fmla="*/ 147 h 152"/>
                <a:gd name="T44" fmla="*/ 1 w 152"/>
                <a:gd name="T45" fmla="*/ 144 h 152"/>
                <a:gd name="T46" fmla="*/ 0 w 152"/>
                <a:gd name="T47" fmla="*/ 139 h 152"/>
                <a:gd name="T48" fmla="*/ 0 w 152"/>
                <a:gd name="T49" fmla="*/ 13 h 152"/>
                <a:gd name="T50" fmla="*/ 1 w 152"/>
                <a:gd name="T51" fmla="*/ 8 h 152"/>
                <a:gd name="T52" fmla="*/ 2 w 152"/>
                <a:gd name="T53" fmla="*/ 5 h 152"/>
                <a:gd name="T54" fmla="*/ 5 w 152"/>
                <a:gd name="T55" fmla="*/ 2 h 152"/>
                <a:gd name="T56" fmla="*/ 8 w 152"/>
                <a:gd name="T57" fmla="*/ 0 h 152"/>
                <a:gd name="T58" fmla="*/ 13 w 152"/>
                <a:gd name="T5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52">
                  <a:moveTo>
                    <a:pt x="13" y="0"/>
                  </a:moveTo>
                  <a:lnTo>
                    <a:pt x="16" y="0"/>
                  </a:lnTo>
                  <a:lnTo>
                    <a:pt x="20" y="2"/>
                  </a:lnTo>
                  <a:lnTo>
                    <a:pt x="23" y="5"/>
                  </a:lnTo>
                  <a:lnTo>
                    <a:pt x="25" y="8"/>
                  </a:lnTo>
                  <a:lnTo>
                    <a:pt x="26" y="13"/>
                  </a:lnTo>
                  <a:lnTo>
                    <a:pt x="26" y="127"/>
                  </a:lnTo>
                  <a:lnTo>
                    <a:pt x="139" y="127"/>
                  </a:lnTo>
                  <a:lnTo>
                    <a:pt x="144" y="127"/>
                  </a:lnTo>
                  <a:lnTo>
                    <a:pt x="147" y="130"/>
                  </a:lnTo>
                  <a:lnTo>
                    <a:pt x="150" y="132"/>
                  </a:lnTo>
                  <a:lnTo>
                    <a:pt x="152" y="136"/>
                  </a:lnTo>
                  <a:lnTo>
                    <a:pt x="152" y="139"/>
                  </a:lnTo>
                  <a:lnTo>
                    <a:pt x="152" y="144"/>
                  </a:lnTo>
                  <a:lnTo>
                    <a:pt x="150" y="147"/>
                  </a:lnTo>
                  <a:lnTo>
                    <a:pt x="147" y="150"/>
                  </a:lnTo>
                  <a:lnTo>
                    <a:pt x="144" y="152"/>
                  </a:lnTo>
                  <a:lnTo>
                    <a:pt x="139" y="152"/>
                  </a:lnTo>
                  <a:lnTo>
                    <a:pt x="13" y="152"/>
                  </a:lnTo>
                  <a:lnTo>
                    <a:pt x="8" y="152"/>
                  </a:lnTo>
                  <a:lnTo>
                    <a:pt x="5" y="150"/>
                  </a:lnTo>
                  <a:lnTo>
                    <a:pt x="2" y="147"/>
                  </a:lnTo>
                  <a:lnTo>
                    <a:pt x="1" y="144"/>
                  </a:lnTo>
                  <a:lnTo>
                    <a:pt x="0" y="139"/>
                  </a:lnTo>
                  <a:lnTo>
                    <a:pt x="0" y="13"/>
                  </a:lnTo>
                  <a:lnTo>
                    <a:pt x="1" y="8"/>
                  </a:lnTo>
                  <a:lnTo>
                    <a:pt x="2" y="5"/>
                  </a:lnTo>
                  <a:lnTo>
                    <a:pt x="5" y="2"/>
                  </a:lnTo>
                  <a:lnTo>
                    <a:pt x="8" y="0"/>
                  </a:lnTo>
                  <a:lnTo>
                    <a:pt x="13"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2" name="Freeform 10"/>
            <p:cNvSpPr>
              <a:spLocks/>
            </p:cNvSpPr>
            <p:nvPr/>
          </p:nvSpPr>
          <p:spPr bwMode="auto">
            <a:xfrm>
              <a:off x="13344526" y="1906588"/>
              <a:ext cx="241300" cy="241300"/>
            </a:xfrm>
            <a:custGeom>
              <a:avLst/>
              <a:gdLst>
                <a:gd name="T0" fmla="*/ 13 w 152"/>
                <a:gd name="T1" fmla="*/ 0 h 152"/>
                <a:gd name="T2" fmla="*/ 140 w 152"/>
                <a:gd name="T3" fmla="*/ 0 h 152"/>
                <a:gd name="T4" fmla="*/ 144 w 152"/>
                <a:gd name="T5" fmla="*/ 0 h 152"/>
                <a:gd name="T6" fmla="*/ 147 w 152"/>
                <a:gd name="T7" fmla="*/ 2 h 152"/>
                <a:gd name="T8" fmla="*/ 150 w 152"/>
                <a:gd name="T9" fmla="*/ 5 h 152"/>
                <a:gd name="T10" fmla="*/ 152 w 152"/>
                <a:gd name="T11" fmla="*/ 8 h 152"/>
                <a:gd name="T12" fmla="*/ 152 w 152"/>
                <a:gd name="T13" fmla="*/ 13 h 152"/>
                <a:gd name="T14" fmla="*/ 152 w 152"/>
                <a:gd name="T15" fmla="*/ 139 h 152"/>
                <a:gd name="T16" fmla="*/ 152 w 152"/>
                <a:gd name="T17" fmla="*/ 144 h 152"/>
                <a:gd name="T18" fmla="*/ 150 w 152"/>
                <a:gd name="T19" fmla="*/ 147 h 152"/>
                <a:gd name="T20" fmla="*/ 147 w 152"/>
                <a:gd name="T21" fmla="*/ 150 h 152"/>
                <a:gd name="T22" fmla="*/ 144 w 152"/>
                <a:gd name="T23" fmla="*/ 152 h 152"/>
                <a:gd name="T24" fmla="*/ 140 w 152"/>
                <a:gd name="T25" fmla="*/ 152 h 152"/>
                <a:gd name="T26" fmla="*/ 136 w 152"/>
                <a:gd name="T27" fmla="*/ 152 h 152"/>
                <a:gd name="T28" fmla="*/ 132 w 152"/>
                <a:gd name="T29" fmla="*/ 150 h 152"/>
                <a:gd name="T30" fmla="*/ 130 w 152"/>
                <a:gd name="T31" fmla="*/ 147 h 152"/>
                <a:gd name="T32" fmla="*/ 128 w 152"/>
                <a:gd name="T33" fmla="*/ 144 h 152"/>
                <a:gd name="T34" fmla="*/ 128 w 152"/>
                <a:gd name="T35" fmla="*/ 139 h 152"/>
                <a:gd name="T36" fmla="*/ 128 w 152"/>
                <a:gd name="T37" fmla="*/ 26 h 152"/>
                <a:gd name="T38" fmla="*/ 13 w 152"/>
                <a:gd name="T39" fmla="*/ 26 h 152"/>
                <a:gd name="T40" fmla="*/ 8 w 152"/>
                <a:gd name="T41" fmla="*/ 25 h 152"/>
                <a:gd name="T42" fmla="*/ 6 w 152"/>
                <a:gd name="T43" fmla="*/ 22 h 152"/>
                <a:gd name="T44" fmla="*/ 2 w 152"/>
                <a:gd name="T45" fmla="*/ 20 h 152"/>
                <a:gd name="T46" fmla="*/ 1 w 152"/>
                <a:gd name="T47" fmla="*/ 16 h 152"/>
                <a:gd name="T48" fmla="*/ 0 w 152"/>
                <a:gd name="T49" fmla="*/ 13 h 152"/>
                <a:gd name="T50" fmla="*/ 1 w 152"/>
                <a:gd name="T51" fmla="*/ 8 h 152"/>
                <a:gd name="T52" fmla="*/ 2 w 152"/>
                <a:gd name="T53" fmla="*/ 5 h 152"/>
                <a:gd name="T54" fmla="*/ 6 w 152"/>
                <a:gd name="T55" fmla="*/ 2 h 152"/>
                <a:gd name="T56" fmla="*/ 8 w 152"/>
                <a:gd name="T57" fmla="*/ 0 h 152"/>
                <a:gd name="T58" fmla="*/ 13 w 152"/>
                <a:gd name="T5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52">
                  <a:moveTo>
                    <a:pt x="13" y="0"/>
                  </a:moveTo>
                  <a:lnTo>
                    <a:pt x="140" y="0"/>
                  </a:lnTo>
                  <a:lnTo>
                    <a:pt x="144" y="0"/>
                  </a:lnTo>
                  <a:lnTo>
                    <a:pt x="147" y="2"/>
                  </a:lnTo>
                  <a:lnTo>
                    <a:pt x="150" y="5"/>
                  </a:lnTo>
                  <a:lnTo>
                    <a:pt x="152" y="8"/>
                  </a:lnTo>
                  <a:lnTo>
                    <a:pt x="152" y="13"/>
                  </a:lnTo>
                  <a:lnTo>
                    <a:pt x="152" y="139"/>
                  </a:lnTo>
                  <a:lnTo>
                    <a:pt x="152" y="144"/>
                  </a:lnTo>
                  <a:lnTo>
                    <a:pt x="150" y="147"/>
                  </a:lnTo>
                  <a:lnTo>
                    <a:pt x="147" y="150"/>
                  </a:lnTo>
                  <a:lnTo>
                    <a:pt x="144" y="152"/>
                  </a:lnTo>
                  <a:lnTo>
                    <a:pt x="140" y="152"/>
                  </a:lnTo>
                  <a:lnTo>
                    <a:pt x="136" y="152"/>
                  </a:lnTo>
                  <a:lnTo>
                    <a:pt x="132" y="150"/>
                  </a:lnTo>
                  <a:lnTo>
                    <a:pt x="130" y="147"/>
                  </a:lnTo>
                  <a:lnTo>
                    <a:pt x="128" y="144"/>
                  </a:lnTo>
                  <a:lnTo>
                    <a:pt x="128" y="139"/>
                  </a:lnTo>
                  <a:lnTo>
                    <a:pt x="128" y="26"/>
                  </a:lnTo>
                  <a:lnTo>
                    <a:pt x="13" y="26"/>
                  </a:lnTo>
                  <a:lnTo>
                    <a:pt x="8" y="25"/>
                  </a:lnTo>
                  <a:lnTo>
                    <a:pt x="6" y="22"/>
                  </a:lnTo>
                  <a:lnTo>
                    <a:pt x="2" y="20"/>
                  </a:lnTo>
                  <a:lnTo>
                    <a:pt x="1" y="16"/>
                  </a:lnTo>
                  <a:lnTo>
                    <a:pt x="0" y="13"/>
                  </a:lnTo>
                  <a:lnTo>
                    <a:pt x="1" y="8"/>
                  </a:lnTo>
                  <a:lnTo>
                    <a:pt x="2" y="5"/>
                  </a:lnTo>
                  <a:lnTo>
                    <a:pt x="6" y="2"/>
                  </a:lnTo>
                  <a:lnTo>
                    <a:pt x="8" y="0"/>
                  </a:lnTo>
                  <a:lnTo>
                    <a:pt x="13"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3" name="Freeform 11"/>
            <p:cNvSpPr>
              <a:spLocks/>
            </p:cNvSpPr>
            <p:nvPr/>
          </p:nvSpPr>
          <p:spPr bwMode="auto">
            <a:xfrm>
              <a:off x="13385801" y="2673350"/>
              <a:ext cx="200025" cy="200025"/>
            </a:xfrm>
            <a:custGeom>
              <a:avLst/>
              <a:gdLst>
                <a:gd name="T0" fmla="*/ 10 w 126"/>
                <a:gd name="T1" fmla="*/ 0 h 126"/>
                <a:gd name="T2" fmla="*/ 14 w 126"/>
                <a:gd name="T3" fmla="*/ 0 h 126"/>
                <a:gd name="T4" fmla="*/ 19 w 126"/>
                <a:gd name="T5" fmla="*/ 1 h 126"/>
                <a:gd name="T6" fmla="*/ 21 w 126"/>
                <a:gd name="T7" fmla="*/ 3 h 126"/>
                <a:gd name="T8" fmla="*/ 123 w 126"/>
                <a:gd name="T9" fmla="*/ 105 h 126"/>
                <a:gd name="T10" fmla="*/ 125 w 126"/>
                <a:gd name="T11" fmla="*/ 108 h 126"/>
                <a:gd name="T12" fmla="*/ 126 w 126"/>
                <a:gd name="T13" fmla="*/ 112 h 126"/>
                <a:gd name="T14" fmla="*/ 126 w 126"/>
                <a:gd name="T15" fmla="*/ 115 h 126"/>
                <a:gd name="T16" fmla="*/ 125 w 126"/>
                <a:gd name="T17" fmla="*/ 119 h 126"/>
                <a:gd name="T18" fmla="*/ 123 w 126"/>
                <a:gd name="T19" fmla="*/ 122 h 126"/>
                <a:gd name="T20" fmla="*/ 120 w 126"/>
                <a:gd name="T21" fmla="*/ 125 h 126"/>
                <a:gd name="T22" fmla="*/ 117 w 126"/>
                <a:gd name="T23" fmla="*/ 126 h 126"/>
                <a:gd name="T24" fmla="*/ 114 w 126"/>
                <a:gd name="T25" fmla="*/ 126 h 126"/>
                <a:gd name="T26" fmla="*/ 111 w 126"/>
                <a:gd name="T27" fmla="*/ 126 h 126"/>
                <a:gd name="T28" fmla="*/ 107 w 126"/>
                <a:gd name="T29" fmla="*/ 125 h 126"/>
                <a:gd name="T30" fmla="*/ 105 w 126"/>
                <a:gd name="T31" fmla="*/ 122 h 126"/>
                <a:gd name="T32" fmla="*/ 3 w 126"/>
                <a:gd name="T33" fmla="*/ 21 h 126"/>
                <a:gd name="T34" fmla="*/ 1 w 126"/>
                <a:gd name="T35" fmla="*/ 17 h 126"/>
                <a:gd name="T36" fmla="*/ 0 w 126"/>
                <a:gd name="T37" fmla="*/ 14 h 126"/>
                <a:gd name="T38" fmla="*/ 0 w 126"/>
                <a:gd name="T39" fmla="*/ 10 h 126"/>
                <a:gd name="T40" fmla="*/ 1 w 126"/>
                <a:gd name="T41" fmla="*/ 7 h 126"/>
                <a:gd name="T42" fmla="*/ 3 w 126"/>
                <a:gd name="T43" fmla="*/ 3 h 126"/>
                <a:gd name="T44" fmla="*/ 7 w 126"/>
                <a:gd name="T45" fmla="*/ 1 h 126"/>
                <a:gd name="T46" fmla="*/ 10 w 126"/>
                <a:gd name="T4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26">
                  <a:moveTo>
                    <a:pt x="10" y="0"/>
                  </a:moveTo>
                  <a:lnTo>
                    <a:pt x="14" y="0"/>
                  </a:lnTo>
                  <a:lnTo>
                    <a:pt x="19" y="1"/>
                  </a:lnTo>
                  <a:lnTo>
                    <a:pt x="21" y="3"/>
                  </a:lnTo>
                  <a:lnTo>
                    <a:pt x="123" y="105"/>
                  </a:lnTo>
                  <a:lnTo>
                    <a:pt x="125" y="108"/>
                  </a:lnTo>
                  <a:lnTo>
                    <a:pt x="126" y="112"/>
                  </a:lnTo>
                  <a:lnTo>
                    <a:pt x="126" y="115"/>
                  </a:lnTo>
                  <a:lnTo>
                    <a:pt x="125" y="119"/>
                  </a:lnTo>
                  <a:lnTo>
                    <a:pt x="123" y="122"/>
                  </a:lnTo>
                  <a:lnTo>
                    <a:pt x="120" y="125"/>
                  </a:lnTo>
                  <a:lnTo>
                    <a:pt x="117" y="126"/>
                  </a:lnTo>
                  <a:lnTo>
                    <a:pt x="114" y="126"/>
                  </a:lnTo>
                  <a:lnTo>
                    <a:pt x="111" y="126"/>
                  </a:lnTo>
                  <a:lnTo>
                    <a:pt x="107" y="125"/>
                  </a:lnTo>
                  <a:lnTo>
                    <a:pt x="105" y="122"/>
                  </a:lnTo>
                  <a:lnTo>
                    <a:pt x="3" y="21"/>
                  </a:lnTo>
                  <a:lnTo>
                    <a:pt x="1" y="17"/>
                  </a:lnTo>
                  <a:lnTo>
                    <a:pt x="0" y="14"/>
                  </a:lnTo>
                  <a:lnTo>
                    <a:pt x="0" y="10"/>
                  </a:lnTo>
                  <a:lnTo>
                    <a:pt x="1" y="7"/>
                  </a:lnTo>
                  <a:lnTo>
                    <a:pt x="3" y="3"/>
                  </a:lnTo>
                  <a:lnTo>
                    <a:pt x="7" y="1"/>
                  </a:lnTo>
                  <a:lnTo>
                    <a:pt x="10"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4" name="Freeform 12"/>
            <p:cNvSpPr>
              <a:spLocks/>
            </p:cNvSpPr>
            <p:nvPr/>
          </p:nvSpPr>
          <p:spPr bwMode="auto">
            <a:xfrm>
              <a:off x="12619038" y="1906588"/>
              <a:ext cx="201613" cy="200025"/>
            </a:xfrm>
            <a:custGeom>
              <a:avLst/>
              <a:gdLst>
                <a:gd name="T0" fmla="*/ 11 w 127"/>
                <a:gd name="T1" fmla="*/ 0 h 126"/>
                <a:gd name="T2" fmla="*/ 15 w 127"/>
                <a:gd name="T3" fmla="*/ 0 h 126"/>
                <a:gd name="T4" fmla="*/ 19 w 127"/>
                <a:gd name="T5" fmla="*/ 1 h 126"/>
                <a:gd name="T6" fmla="*/ 22 w 127"/>
                <a:gd name="T7" fmla="*/ 4 h 126"/>
                <a:gd name="T8" fmla="*/ 123 w 127"/>
                <a:gd name="T9" fmla="*/ 105 h 126"/>
                <a:gd name="T10" fmla="*/ 125 w 127"/>
                <a:gd name="T11" fmla="*/ 109 h 126"/>
                <a:gd name="T12" fmla="*/ 127 w 127"/>
                <a:gd name="T13" fmla="*/ 112 h 126"/>
                <a:gd name="T14" fmla="*/ 127 w 127"/>
                <a:gd name="T15" fmla="*/ 116 h 126"/>
                <a:gd name="T16" fmla="*/ 125 w 127"/>
                <a:gd name="T17" fmla="*/ 119 h 126"/>
                <a:gd name="T18" fmla="*/ 123 w 127"/>
                <a:gd name="T19" fmla="*/ 123 h 126"/>
                <a:gd name="T20" fmla="*/ 120 w 127"/>
                <a:gd name="T21" fmla="*/ 125 h 126"/>
                <a:gd name="T22" fmla="*/ 118 w 127"/>
                <a:gd name="T23" fmla="*/ 126 h 126"/>
                <a:gd name="T24" fmla="*/ 115 w 127"/>
                <a:gd name="T25" fmla="*/ 126 h 126"/>
                <a:gd name="T26" fmla="*/ 111 w 127"/>
                <a:gd name="T27" fmla="*/ 126 h 126"/>
                <a:gd name="T28" fmla="*/ 108 w 127"/>
                <a:gd name="T29" fmla="*/ 125 h 126"/>
                <a:gd name="T30" fmla="*/ 105 w 127"/>
                <a:gd name="T31" fmla="*/ 123 h 126"/>
                <a:gd name="T32" fmla="*/ 4 w 127"/>
                <a:gd name="T33" fmla="*/ 21 h 126"/>
                <a:gd name="T34" fmla="*/ 1 w 127"/>
                <a:gd name="T35" fmla="*/ 19 h 126"/>
                <a:gd name="T36" fmla="*/ 0 w 127"/>
                <a:gd name="T37" fmla="*/ 14 h 126"/>
                <a:gd name="T38" fmla="*/ 0 w 127"/>
                <a:gd name="T39" fmla="*/ 11 h 126"/>
                <a:gd name="T40" fmla="*/ 1 w 127"/>
                <a:gd name="T41" fmla="*/ 7 h 126"/>
                <a:gd name="T42" fmla="*/ 4 w 127"/>
                <a:gd name="T43" fmla="*/ 4 h 126"/>
                <a:gd name="T44" fmla="*/ 7 w 127"/>
                <a:gd name="T45" fmla="*/ 1 h 126"/>
                <a:gd name="T46" fmla="*/ 11 w 127"/>
                <a:gd name="T4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6">
                  <a:moveTo>
                    <a:pt x="11" y="0"/>
                  </a:moveTo>
                  <a:lnTo>
                    <a:pt x="15" y="0"/>
                  </a:lnTo>
                  <a:lnTo>
                    <a:pt x="19" y="1"/>
                  </a:lnTo>
                  <a:lnTo>
                    <a:pt x="22" y="4"/>
                  </a:lnTo>
                  <a:lnTo>
                    <a:pt x="123" y="105"/>
                  </a:lnTo>
                  <a:lnTo>
                    <a:pt x="125" y="109"/>
                  </a:lnTo>
                  <a:lnTo>
                    <a:pt x="127" y="112"/>
                  </a:lnTo>
                  <a:lnTo>
                    <a:pt x="127" y="116"/>
                  </a:lnTo>
                  <a:lnTo>
                    <a:pt x="125" y="119"/>
                  </a:lnTo>
                  <a:lnTo>
                    <a:pt x="123" y="123"/>
                  </a:lnTo>
                  <a:lnTo>
                    <a:pt x="120" y="125"/>
                  </a:lnTo>
                  <a:lnTo>
                    <a:pt x="118" y="126"/>
                  </a:lnTo>
                  <a:lnTo>
                    <a:pt x="115" y="126"/>
                  </a:lnTo>
                  <a:lnTo>
                    <a:pt x="111" y="126"/>
                  </a:lnTo>
                  <a:lnTo>
                    <a:pt x="108" y="125"/>
                  </a:lnTo>
                  <a:lnTo>
                    <a:pt x="105" y="123"/>
                  </a:lnTo>
                  <a:lnTo>
                    <a:pt x="4" y="21"/>
                  </a:lnTo>
                  <a:lnTo>
                    <a:pt x="1" y="19"/>
                  </a:lnTo>
                  <a:lnTo>
                    <a:pt x="0" y="14"/>
                  </a:lnTo>
                  <a:lnTo>
                    <a:pt x="0" y="11"/>
                  </a:lnTo>
                  <a:lnTo>
                    <a:pt x="1" y="7"/>
                  </a:lnTo>
                  <a:lnTo>
                    <a:pt x="4" y="4"/>
                  </a:lnTo>
                  <a:lnTo>
                    <a:pt x="7" y="1"/>
                  </a:lnTo>
                  <a:lnTo>
                    <a:pt x="11"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5" name="Freeform 13"/>
            <p:cNvSpPr>
              <a:spLocks/>
            </p:cNvSpPr>
            <p:nvPr/>
          </p:nvSpPr>
          <p:spPr bwMode="auto">
            <a:xfrm>
              <a:off x="12619038" y="1906588"/>
              <a:ext cx="241300" cy="241300"/>
            </a:xfrm>
            <a:custGeom>
              <a:avLst/>
              <a:gdLst>
                <a:gd name="T0" fmla="*/ 13 w 152"/>
                <a:gd name="T1" fmla="*/ 0 h 152"/>
                <a:gd name="T2" fmla="*/ 139 w 152"/>
                <a:gd name="T3" fmla="*/ 0 h 152"/>
                <a:gd name="T4" fmla="*/ 144 w 152"/>
                <a:gd name="T5" fmla="*/ 0 h 152"/>
                <a:gd name="T6" fmla="*/ 147 w 152"/>
                <a:gd name="T7" fmla="*/ 2 h 152"/>
                <a:gd name="T8" fmla="*/ 150 w 152"/>
                <a:gd name="T9" fmla="*/ 5 h 152"/>
                <a:gd name="T10" fmla="*/ 152 w 152"/>
                <a:gd name="T11" fmla="*/ 8 h 152"/>
                <a:gd name="T12" fmla="*/ 152 w 152"/>
                <a:gd name="T13" fmla="*/ 13 h 152"/>
                <a:gd name="T14" fmla="*/ 152 w 152"/>
                <a:gd name="T15" fmla="*/ 16 h 152"/>
                <a:gd name="T16" fmla="*/ 150 w 152"/>
                <a:gd name="T17" fmla="*/ 20 h 152"/>
                <a:gd name="T18" fmla="*/ 147 w 152"/>
                <a:gd name="T19" fmla="*/ 22 h 152"/>
                <a:gd name="T20" fmla="*/ 144 w 152"/>
                <a:gd name="T21" fmla="*/ 25 h 152"/>
                <a:gd name="T22" fmla="*/ 139 w 152"/>
                <a:gd name="T23" fmla="*/ 26 h 152"/>
                <a:gd name="T24" fmla="*/ 26 w 152"/>
                <a:gd name="T25" fmla="*/ 26 h 152"/>
                <a:gd name="T26" fmla="*/ 26 w 152"/>
                <a:gd name="T27" fmla="*/ 139 h 152"/>
                <a:gd name="T28" fmla="*/ 25 w 152"/>
                <a:gd name="T29" fmla="*/ 144 h 152"/>
                <a:gd name="T30" fmla="*/ 23 w 152"/>
                <a:gd name="T31" fmla="*/ 147 h 152"/>
                <a:gd name="T32" fmla="*/ 20 w 152"/>
                <a:gd name="T33" fmla="*/ 150 h 152"/>
                <a:gd name="T34" fmla="*/ 16 w 152"/>
                <a:gd name="T35" fmla="*/ 152 h 152"/>
                <a:gd name="T36" fmla="*/ 13 w 152"/>
                <a:gd name="T37" fmla="*/ 152 h 152"/>
                <a:gd name="T38" fmla="*/ 8 w 152"/>
                <a:gd name="T39" fmla="*/ 152 h 152"/>
                <a:gd name="T40" fmla="*/ 5 w 152"/>
                <a:gd name="T41" fmla="*/ 150 h 152"/>
                <a:gd name="T42" fmla="*/ 2 w 152"/>
                <a:gd name="T43" fmla="*/ 147 h 152"/>
                <a:gd name="T44" fmla="*/ 1 w 152"/>
                <a:gd name="T45" fmla="*/ 144 h 152"/>
                <a:gd name="T46" fmla="*/ 0 w 152"/>
                <a:gd name="T47" fmla="*/ 139 h 152"/>
                <a:gd name="T48" fmla="*/ 0 w 152"/>
                <a:gd name="T49" fmla="*/ 13 h 152"/>
                <a:gd name="T50" fmla="*/ 1 w 152"/>
                <a:gd name="T51" fmla="*/ 8 h 152"/>
                <a:gd name="T52" fmla="*/ 2 w 152"/>
                <a:gd name="T53" fmla="*/ 5 h 152"/>
                <a:gd name="T54" fmla="*/ 5 w 152"/>
                <a:gd name="T55" fmla="*/ 2 h 152"/>
                <a:gd name="T56" fmla="*/ 8 w 152"/>
                <a:gd name="T57" fmla="*/ 0 h 152"/>
                <a:gd name="T58" fmla="*/ 13 w 152"/>
                <a:gd name="T5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52">
                  <a:moveTo>
                    <a:pt x="13" y="0"/>
                  </a:moveTo>
                  <a:lnTo>
                    <a:pt x="139" y="0"/>
                  </a:lnTo>
                  <a:lnTo>
                    <a:pt x="144" y="0"/>
                  </a:lnTo>
                  <a:lnTo>
                    <a:pt x="147" y="2"/>
                  </a:lnTo>
                  <a:lnTo>
                    <a:pt x="150" y="5"/>
                  </a:lnTo>
                  <a:lnTo>
                    <a:pt x="152" y="8"/>
                  </a:lnTo>
                  <a:lnTo>
                    <a:pt x="152" y="13"/>
                  </a:lnTo>
                  <a:lnTo>
                    <a:pt x="152" y="16"/>
                  </a:lnTo>
                  <a:lnTo>
                    <a:pt x="150" y="20"/>
                  </a:lnTo>
                  <a:lnTo>
                    <a:pt x="147" y="22"/>
                  </a:lnTo>
                  <a:lnTo>
                    <a:pt x="144" y="25"/>
                  </a:lnTo>
                  <a:lnTo>
                    <a:pt x="139" y="26"/>
                  </a:lnTo>
                  <a:lnTo>
                    <a:pt x="26" y="26"/>
                  </a:lnTo>
                  <a:lnTo>
                    <a:pt x="26" y="139"/>
                  </a:lnTo>
                  <a:lnTo>
                    <a:pt x="25" y="144"/>
                  </a:lnTo>
                  <a:lnTo>
                    <a:pt x="23" y="147"/>
                  </a:lnTo>
                  <a:lnTo>
                    <a:pt x="20" y="150"/>
                  </a:lnTo>
                  <a:lnTo>
                    <a:pt x="16" y="152"/>
                  </a:lnTo>
                  <a:lnTo>
                    <a:pt x="13" y="152"/>
                  </a:lnTo>
                  <a:lnTo>
                    <a:pt x="8" y="152"/>
                  </a:lnTo>
                  <a:lnTo>
                    <a:pt x="5" y="150"/>
                  </a:lnTo>
                  <a:lnTo>
                    <a:pt x="2" y="147"/>
                  </a:lnTo>
                  <a:lnTo>
                    <a:pt x="1" y="144"/>
                  </a:lnTo>
                  <a:lnTo>
                    <a:pt x="0" y="139"/>
                  </a:lnTo>
                  <a:lnTo>
                    <a:pt x="0" y="13"/>
                  </a:lnTo>
                  <a:lnTo>
                    <a:pt x="1" y="8"/>
                  </a:lnTo>
                  <a:lnTo>
                    <a:pt x="2" y="5"/>
                  </a:lnTo>
                  <a:lnTo>
                    <a:pt x="5" y="2"/>
                  </a:lnTo>
                  <a:lnTo>
                    <a:pt x="8" y="0"/>
                  </a:lnTo>
                  <a:lnTo>
                    <a:pt x="13"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sp>
          <p:nvSpPr>
            <p:cNvPr id="66" name="Freeform 14"/>
            <p:cNvSpPr>
              <a:spLocks/>
            </p:cNvSpPr>
            <p:nvPr/>
          </p:nvSpPr>
          <p:spPr bwMode="auto">
            <a:xfrm>
              <a:off x="13344526" y="2632075"/>
              <a:ext cx="241300" cy="241300"/>
            </a:xfrm>
            <a:custGeom>
              <a:avLst/>
              <a:gdLst>
                <a:gd name="T0" fmla="*/ 140 w 152"/>
                <a:gd name="T1" fmla="*/ 0 h 152"/>
                <a:gd name="T2" fmla="*/ 144 w 152"/>
                <a:gd name="T3" fmla="*/ 0 h 152"/>
                <a:gd name="T4" fmla="*/ 147 w 152"/>
                <a:gd name="T5" fmla="*/ 2 h 152"/>
                <a:gd name="T6" fmla="*/ 150 w 152"/>
                <a:gd name="T7" fmla="*/ 5 h 152"/>
                <a:gd name="T8" fmla="*/ 152 w 152"/>
                <a:gd name="T9" fmla="*/ 8 h 152"/>
                <a:gd name="T10" fmla="*/ 152 w 152"/>
                <a:gd name="T11" fmla="*/ 13 h 152"/>
                <a:gd name="T12" fmla="*/ 152 w 152"/>
                <a:gd name="T13" fmla="*/ 139 h 152"/>
                <a:gd name="T14" fmla="*/ 152 w 152"/>
                <a:gd name="T15" fmla="*/ 144 h 152"/>
                <a:gd name="T16" fmla="*/ 150 w 152"/>
                <a:gd name="T17" fmla="*/ 147 h 152"/>
                <a:gd name="T18" fmla="*/ 147 w 152"/>
                <a:gd name="T19" fmla="*/ 150 h 152"/>
                <a:gd name="T20" fmla="*/ 144 w 152"/>
                <a:gd name="T21" fmla="*/ 152 h 152"/>
                <a:gd name="T22" fmla="*/ 140 w 152"/>
                <a:gd name="T23" fmla="*/ 152 h 152"/>
                <a:gd name="T24" fmla="*/ 13 w 152"/>
                <a:gd name="T25" fmla="*/ 152 h 152"/>
                <a:gd name="T26" fmla="*/ 8 w 152"/>
                <a:gd name="T27" fmla="*/ 152 h 152"/>
                <a:gd name="T28" fmla="*/ 6 w 152"/>
                <a:gd name="T29" fmla="*/ 150 h 152"/>
                <a:gd name="T30" fmla="*/ 2 w 152"/>
                <a:gd name="T31" fmla="*/ 147 h 152"/>
                <a:gd name="T32" fmla="*/ 1 w 152"/>
                <a:gd name="T33" fmla="*/ 144 h 152"/>
                <a:gd name="T34" fmla="*/ 0 w 152"/>
                <a:gd name="T35" fmla="*/ 139 h 152"/>
                <a:gd name="T36" fmla="*/ 1 w 152"/>
                <a:gd name="T37" fmla="*/ 136 h 152"/>
                <a:gd name="T38" fmla="*/ 2 w 152"/>
                <a:gd name="T39" fmla="*/ 132 h 152"/>
                <a:gd name="T40" fmla="*/ 6 w 152"/>
                <a:gd name="T41" fmla="*/ 130 h 152"/>
                <a:gd name="T42" fmla="*/ 8 w 152"/>
                <a:gd name="T43" fmla="*/ 127 h 152"/>
                <a:gd name="T44" fmla="*/ 13 w 152"/>
                <a:gd name="T45" fmla="*/ 127 h 152"/>
                <a:gd name="T46" fmla="*/ 128 w 152"/>
                <a:gd name="T47" fmla="*/ 127 h 152"/>
                <a:gd name="T48" fmla="*/ 128 w 152"/>
                <a:gd name="T49" fmla="*/ 13 h 152"/>
                <a:gd name="T50" fmla="*/ 128 w 152"/>
                <a:gd name="T51" fmla="*/ 8 h 152"/>
                <a:gd name="T52" fmla="*/ 130 w 152"/>
                <a:gd name="T53" fmla="*/ 5 h 152"/>
                <a:gd name="T54" fmla="*/ 132 w 152"/>
                <a:gd name="T55" fmla="*/ 2 h 152"/>
                <a:gd name="T56" fmla="*/ 136 w 152"/>
                <a:gd name="T57" fmla="*/ 0 h 152"/>
                <a:gd name="T58" fmla="*/ 140 w 152"/>
                <a:gd name="T5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52">
                  <a:moveTo>
                    <a:pt x="140" y="0"/>
                  </a:moveTo>
                  <a:lnTo>
                    <a:pt x="144" y="0"/>
                  </a:lnTo>
                  <a:lnTo>
                    <a:pt x="147" y="2"/>
                  </a:lnTo>
                  <a:lnTo>
                    <a:pt x="150" y="5"/>
                  </a:lnTo>
                  <a:lnTo>
                    <a:pt x="152" y="8"/>
                  </a:lnTo>
                  <a:lnTo>
                    <a:pt x="152" y="13"/>
                  </a:lnTo>
                  <a:lnTo>
                    <a:pt x="152" y="139"/>
                  </a:lnTo>
                  <a:lnTo>
                    <a:pt x="152" y="144"/>
                  </a:lnTo>
                  <a:lnTo>
                    <a:pt x="150" y="147"/>
                  </a:lnTo>
                  <a:lnTo>
                    <a:pt x="147" y="150"/>
                  </a:lnTo>
                  <a:lnTo>
                    <a:pt x="144" y="152"/>
                  </a:lnTo>
                  <a:lnTo>
                    <a:pt x="140" y="152"/>
                  </a:lnTo>
                  <a:lnTo>
                    <a:pt x="13" y="152"/>
                  </a:lnTo>
                  <a:lnTo>
                    <a:pt x="8" y="152"/>
                  </a:lnTo>
                  <a:lnTo>
                    <a:pt x="6" y="150"/>
                  </a:lnTo>
                  <a:lnTo>
                    <a:pt x="2" y="147"/>
                  </a:lnTo>
                  <a:lnTo>
                    <a:pt x="1" y="144"/>
                  </a:lnTo>
                  <a:lnTo>
                    <a:pt x="0" y="139"/>
                  </a:lnTo>
                  <a:lnTo>
                    <a:pt x="1" y="136"/>
                  </a:lnTo>
                  <a:lnTo>
                    <a:pt x="2" y="132"/>
                  </a:lnTo>
                  <a:lnTo>
                    <a:pt x="6" y="130"/>
                  </a:lnTo>
                  <a:lnTo>
                    <a:pt x="8" y="127"/>
                  </a:lnTo>
                  <a:lnTo>
                    <a:pt x="13" y="127"/>
                  </a:lnTo>
                  <a:lnTo>
                    <a:pt x="128" y="127"/>
                  </a:lnTo>
                  <a:lnTo>
                    <a:pt x="128" y="13"/>
                  </a:lnTo>
                  <a:lnTo>
                    <a:pt x="128" y="8"/>
                  </a:lnTo>
                  <a:lnTo>
                    <a:pt x="130" y="5"/>
                  </a:lnTo>
                  <a:lnTo>
                    <a:pt x="132" y="2"/>
                  </a:lnTo>
                  <a:lnTo>
                    <a:pt x="136" y="0"/>
                  </a:lnTo>
                  <a:lnTo>
                    <a:pt x="140" y="0"/>
                  </a:lnTo>
                  <a:close/>
                </a:path>
              </a:pathLst>
            </a:custGeom>
            <a:grpFill/>
            <a:ln w="0">
              <a:solidFill>
                <a:schemeClr val="bg2">
                  <a:lumMod val="90000"/>
                </a:schemeClr>
              </a:solidFill>
              <a:prstDash val="solid"/>
              <a:round/>
              <a:headEnd/>
              <a:tailEnd/>
            </a:ln>
          </p:spPr>
          <p:txBody>
            <a:bodyPr vert="horz" wrap="square" lIns="91440" tIns="45720" rIns="182880" bIns="45720" numCol="1" anchor="t" anchorCtr="0" compatLnSpc="1">
              <a:prstTxWarp prst="textNoShape">
                <a:avLst/>
              </a:prstTxWarp>
            </a:bodyPr>
            <a:lstStyle/>
            <a:p>
              <a:pPr algn="r"/>
              <a:endParaRPr lang="en-US" sz="2000" b="1" dirty="0"/>
            </a:p>
          </p:txBody>
        </p:sp>
      </p:grpSp>
      <p:pic>
        <p:nvPicPr>
          <p:cNvPr id="86" name="Picture 85"/>
          <p:cNvPicPr>
            <a:picLocks noChangeAspect="1"/>
          </p:cNvPicPr>
          <p:nvPr/>
        </p:nvPicPr>
        <p:blipFill>
          <a:blip r:embed="rId3" cstate="screen">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671672" y="2504698"/>
            <a:ext cx="605063" cy="538012"/>
          </a:xfrm>
          <a:prstGeom prst="rect">
            <a:avLst/>
          </a:prstGeom>
          <a:ln>
            <a:noFill/>
          </a:ln>
          <a:effectLst>
            <a:outerShdw blurRad="292100" dist="139700" dir="2700000" algn="tl" rotWithShape="0">
              <a:srgbClr val="333333">
                <a:alpha val="65000"/>
              </a:srgbClr>
            </a:outerShdw>
          </a:effectLst>
        </p:spPr>
      </p:pic>
      <p:pic>
        <p:nvPicPr>
          <p:cNvPr id="87" name="Picture 86"/>
          <p:cNvPicPr>
            <a:picLocks noChangeAspect="1"/>
          </p:cNvPicPr>
          <p:nvPr/>
        </p:nvPicPr>
        <p:blipFill>
          <a:blip r:embed="rId5" cstate="screen">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671672" y="3735295"/>
            <a:ext cx="593454" cy="527689"/>
          </a:xfrm>
          <a:prstGeom prst="rect">
            <a:avLst/>
          </a:prstGeom>
          <a:noFill/>
          <a:ln>
            <a:noFill/>
          </a:ln>
          <a:effectLst>
            <a:outerShdw blurRad="292100" dist="139700" dir="2700000" algn="tl" rotWithShape="0">
              <a:srgbClr val="333333">
                <a:alpha val="65000"/>
              </a:srgbClr>
            </a:outerShdw>
          </a:effectLst>
        </p:spPr>
      </p:pic>
      <p:pic>
        <p:nvPicPr>
          <p:cNvPr id="88" name="Picture 12" descr="https://d30y9cdsu7xlg0.cloudfront.net/png/1277553-200.png"/>
          <p:cNvPicPr>
            <a:picLocks noChangeAspect="1" noChangeArrowheads="1"/>
          </p:cNvPicPr>
          <p:nvPr/>
        </p:nvPicPr>
        <p:blipFill>
          <a:blip r:embed="rId6"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10720676" y="5080589"/>
            <a:ext cx="562329" cy="5000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2" name="Rectangle 91"/>
          <p:cNvSpPr/>
          <p:nvPr/>
        </p:nvSpPr>
        <p:spPr>
          <a:xfrm>
            <a:off x="7319066" y="5097027"/>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93" name="Rectangle 92"/>
          <p:cNvSpPr/>
          <p:nvPr/>
        </p:nvSpPr>
        <p:spPr>
          <a:xfrm>
            <a:off x="7316494" y="5567383"/>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a:t>
            </a:r>
            <a:r>
              <a:rPr lang="en-US" sz="1400" b="1" dirty="0">
                <a:solidFill>
                  <a:schemeClr val="tx1"/>
                </a:solidFill>
              </a:rPr>
              <a:t>Best in class</a:t>
            </a:r>
            <a:r>
              <a:rPr lang="en-US" sz="1400" dirty="0">
                <a:solidFill>
                  <a:schemeClr val="tx1"/>
                </a:solidFill>
              </a:rPr>
              <a:t>” guest user experience</a:t>
            </a:r>
          </a:p>
        </p:txBody>
      </p:sp>
      <p:sp>
        <p:nvSpPr>
          <p:cNvPr id="95" name="Rectangle 94"/>
          <p:cNvSpPr/>
          <p:nvPr/>
        </p:nvSpPr>
        <p:spPr>
          <a:xfrm>
            <a:off x="7279665" y="3061131"/>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Consistent &amp; Stable Landscape</a:t>
            </a:r>
          </a:p>
        </p:txBody>
      </p:sp>
      <p:sp>
        <p:nvSpPr>
          <p:cNvPr id="96" name="Rectangle 95"/>
          <p:cNvSpPr/>
          <p:nvPr/>
        </p:nvSpPr>
        <p:spPr>
          <a:xfrm>
            <a:off x="7279665" y="2596388"/>
            <a:ext cx="2302448"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97" name="Rectangle 96"/>
          <p:cNvSpPr/>
          <p:nvPr/>
        </p:nvSpPr>
        <p:spPr>
          <a:xfrm>
            <a:off x="9848292" y="1778550"/>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smtClean="0">
                <a:solidFill>
                  <a:schemeClr val="tx1"/>
                </a:solidFill>
                <a:latin typeface="Calibri" panose="020F0502020204030204" pitchFamily="34" charset="0"/>
                <a:cs typeface="Calibri" panose="020F0502020204030204" pitchFamily="34" charset="0"/>
              </a:rPr>
              <a:t>Motivated </a:t>
            </a:r>
            <a:endParaRPr lang="en-US" sz="1400" b="1" kern="0" dirty="0">
              <a:solidFill>
                <a:schemeClr val="tx1"/>
              </a:solidFill>
              <a:latin typeface="Calibri" panose="020F0502020204030204" pitchFamily="34" charset="0"/>
              <a:cs typeface="Calibri" panose="020F0502020204030204" pitchFamily="34" charset="0"/>
            </a:endParaRPr>
          </a:p>
          <a:p>
            <a:pPr algn="ctr" defTabSz="609585"/>
            <a:r>
              <a:rPr lang="en-US" sz="1400" b="1" kern="0" dirty="0">
                <a:solidFill>
                  <a:schemeClr val="tx1"/>
                </a:solidFill>
                <a:latin typeface="Calibri" panose="020F0502020204030204" pitchFamily="34" charset="0"/>
                <a:cs typeface="Calibri" panose="020F0502020204030204" pitchFamily="34" charset="0"/>
              </a:rPr>
              <a:t>Workforce</a:t>
            </a:r>
          </a:p>
        </p:txBody>
      </p:sp>
      <p:sp>
        <p:nvSpPr>
          <p:cNvPr id="101" name="Rectangle 100"/>
          <p:cNvSpPr/>
          <p:nvPr/>
        </p:nvSpPr>
        <p:spPr>
          <a:xfrm>
            <a:off x="9793594" y="5552565"/>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Optimized ADM Activities</a:t>
            </a:r>
          </a:p>
        </p:txBody>
      </p:sp>
      <p:sp>
        <p:nvSpPr>
          <p:cNvPr id="103" name="Rectangle 102"/>
          <p:cNvSpPr/>
          <p:nvPr/>
        </p:nvSpPr>
        <p:spPr>
          <a:xfrm>
            <a:off x="7294684" y="4273826"/>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Global Scalability</a:t>
            </a:r>
          </a:p>
        </p:txBody>
      </p:sp>
      <p:sp>
        <p:nvSpPr>
          <p:cNvPr id="105" name="Rectangle 104"/>
          <p:cNvSpPr/>
          <p:nvPr/>
        </p:nvSpPr>
        <p:spPr>
          <a:xfrm>
            <a:off x="9805085" y="4230346"/>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Process /Technology Transformation</a:t>
            </a:r>
          </a:p>
        </p:txBody>
      </p:sp>
      <p:sp>
        <p:nvSpPr>
          <p:cNvPr id="107" name="Rectangle 106"/>
          <p:cNvSpPr/>
          <p:nvPr/>
        </p:nvSpPr>
        <p:spPr>
          <a:xfrm>
            <a:off x="9818138" y="3035702"/>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Improve Operational Intelligence</a:t>
            </a:r>
          </a:p>
        </p:txBody>
      </p:sp>
      <p:sp>
        <p:nvSpPr>
          <p:cNvPr id="108" name="Rectangle 107"/>
          <p:cNvSpPr/>
          <p:nvPr/>
        </p:nvSpPr>
        <p:spPr>
          <a:xfrm>
            <a:off x="7242482" y="1311922"/>
            <a:ext cx="2284995"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109" name="Rectangle 108"/>
          <p:cNvSpPr/>
          <p:nvPr/>
        </p:nvSpPr>
        <p:spPr>
          <a:xfrm>
            <a:off x="7231147" y="1806911"/>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a:solidFill>
                  <a:schemeClr val="tx1"/>
                </a:solidFill>
                <a:latin typeface="Calibri" panose="020F0502020204030204" pitchFamily="34" charset="0"/>
                <a:cs typeface="Calibri" panose="020F0502020204030204" pitchFamily="34" charset="0"/>
              </a:rPr>
              <a:t>Support Business Agility</a:t>
            </a:r>
          </a:p>
        </p:txBody>
      </p:sp>
      <p:sp>
        <p:nvSpPr>
          <p:cNvPr id="110" name="Freeform 52"/>
          <p:cNvSpPr>
            <a:spLocks noEditPoints="1"/>
          </p:cNvSpPr>
          <p:nvPr/>
        </p:nvSpPr>
        <p:spPr bwMode="auto">
          <a:xfrm>
            <a:off x="8084537" y="5163039"/>
            <a:ext cx="538985" cy="311012"/>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effectLst/>
              <a:uLnTx/>
              <a:uFillTx/>
              <a:latin typeface="Calibri" panose="020F0502020204030204" pitchFamily="34" charset="0"/>
              <a:ea typeface="+mn-ea"/>
              <a:cs typeface="+mn-cs"/>
            </a:endParaRPr>
          </a:p>
        </p:txBody>
      </p:sp>
      <p:pic>
        <p:nvPicPr>
          <p:cNvPr id="3074" name="Picture 2" descr="Image result for stopwatch icon white png"/>
          <p:cNvPicPr>
            <a:picLocks noChangeAspect="1" noChangeArrowheads="1"/>
          </p:cNvPicPr>
          <p:nvPr/>
        </p:nvPicPr>
        <p:blipFill>
          <a:blip r:embed="rId7" cstate="screen">
            <a:clrChange>
              <a:clrFrom>
                <a:srgbClr val="414042"/>
              </a:clrFrom>
              <a:clrTo>
                <a:srgbClr val="414042">
                  <a:alpha val="0"/>
                </a:srgbClr>
              </a:clrTo>
            </a:clrChange>
            <a:extLst>
              <a:ext uri="{28A0092B-C50C-407E-A947-70E740481C1C}">
                <a14:useLocalDpi xmlns:a14="http://schemas.microsoft.com/office/drawing/2010/main"/>
              </a:ext>
            </a:extLst>
          </a:blip>
          <a:srcRect/>
          <a:stretch>
            <a:fillRect/>
          </a:stretch>
        </p:blipFill>
        <p:spPr bwMode="auto">
          <a:xfrm>
            <a:off x="8078466" y="1318470"/>
            <a:ext cx="545056" cy="54505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8" cstate="screen">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10753116" y="1278376"/>
            <a:ext cx="488047" cy="488047"/>
          </a:xfrm>
          <a:prstGeom prst="rect">
            <a:avLst/>
          </a:prstGeom>
        </p:spPr>
      </p:pic>
      <p:pic>
        <p:nvPicPr>
          <p:cNvPr id="3078" name="Picture 6" descr="Image result for universe icon white png"/>
          <p:cNvPicPr>
            <a:picLocks noChangeAspect="1" noChangeArrowheads="1"/>
          </p:cNvPicPr>
          <p:nvPr/>
        </p:nvPicPr>
        <p:blipFill>
          <a:blip r:embed="rId9" cstate="screen">
            <a:lum bright="70000" contrast="-70000"/>
            <a:extLst>
              <a:ext uri="{28A0092B-C50C-407E-A947-70E740481C1C}">
                <a14:useLocalDpi xmlns:a14="http://schemas.microsoft.com/office/drawing/2010/main"/>
              </a:ext>
            </a:extLst>
          </a:blip>
          <a:srcRect/>
          <a:stretch>
            <a:fillRect/>
          </a:stretch>
        </p:blipFill>
        <p:spPr bwMode="auto">
          <a:xfrm>
            <a:off x="8203821" y="2638825"/>
            <a:ext cx="411311" cy="411311"/>
          </a:xfrm>
          <a:prstGeom prst="rect">
            <a:avLst/>
          </a:prstGeom>
          <a:noFill/>
          <a:extLst>
            <a:ext uri="{909E8E84-426E-40DD-AFC4-6F175D3DCCD1}">
              <a14:hiddenFill xmlns:a14="http://schemas.microsoft.com/office/drawing/2010/main">
                <a:solidFill>
                  <a:srgbClr val="FFFFFF"/>
                </a:solidFill>
              </a14:hiddenFill>
            </a:ext>
          </a:extLst>
        </p:spPr>
      </p:pic>
      <p:cxnSp>
        <p:nvCxnSpPr>
          <p:cNvPr id="67" name="Straight Connector 66"/>
          <p:cNvCxnSpPr/>
          <p:nvPr/>
        </p:nvCxnSpPr>
        <p:spPr>
          <a:xfrm>
            <a:off x="4373961" y="827320"/>
            <a:ext cx="28854" cy="5603152"/>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4703517" y="2587475"/>
            <a:ext cx="2310887"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70" name="Rectangle 69"/>
          <p:cNvSpPr/>
          <p:nvPr/>
        </p:nvSpPr>
        <p:spPr>
          <a:xfrm>
            <a:off x="4703517" y="3076826"/>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smtClean="0">
                <a:solidFill>
                  <a:schemeClr val="tx1"/>
                </a:solidFill>
                <a:latin typeface="Calibri" panose="020F0502020204030204" pitchFamily="34" charset="0"/>
                <a:cs typeface="Calibri" panose="020F0502020204030204" pitchFamily="34" charset="0"/>
              </a:rPr>
              <a:t>Continuous </a:t>
            </a:r>
          </a:p>
          <a:p>
            <a:pPr algn="ctr" defTabSz="609585"/>
            <a:r>
              <a:rPr lang="en-US" sz="1400" b="1" kern="0" dirty="0" smtClean="0">
                <a:solidFill>
                  <a:schemeClr val="tx1"/>
                </a:solidFill>
                <a:latin typeface="Calibri" panose="020F0502020204030204" pitchFamily="34" charset="0"/>
                <a:cs typeface="Calibri" panose="020F0502020204030204" pitchFamily="34" charset="0"/>
              </a:rPr>
              <a:t>Innovation</a:t>
            </a:r>
            <a:endParaRPr lang="en-US" sz="1400" b="1" kern="0" dirty="0">
              <a:solidFill>
                <a:schemeClr val="tx1"/>
              </a:solidFill>
              <a:latin typeface="Calibri" panose="020F0502020204030204" pitchFamily="34" charset="0"/>
              <a:cs typeface="Calibri" panose="020F0502020204030204" pitchFamily="34" charset="0"/>
            </a:endParaRPr>
          </a:p>
        </p:txBody>
      </p:sp>
      <p:sp>
        <p:nvSpPr>
          <p:cNvPr id="71" name="Rectangle 70"/>
          <p:cNvSpPr/>
          <p:nvPr/>
        </p:nvSpPr>
        <p:spPr>
          <a:xfrm>
            <a:off x="4688225" y="3819760"/>
            <a:ext cx="2310887" cy="496187"/>
          </a:xfrm>
          <a:prstGeom prst="rect">
            <a:avLst/>
          </a:prstGeom>
          <a:solidFill>
            <a:srgbClr val="00728F"/>
          </a:solidFill>
        </p:spPr>
        <p:txBody>
          <a:bodyPr wrap="square" lIns="0" tIns="0" rIns="0" bIns="0" rtlCol="0"/>
          <a:lstStyle/>
          <a:p>
            <a:endParaRPr lang="en-US" sz="1867">
              <a:solidFill>
                <a:prstClr val="black"/>
              </a:solidFill>
              <a:latin typeface="Calibri"/>
            </a:endParaRPr>
          </a:p>
        </p:txBody>
      </p:sp>
      <p:sp>
        <p:nvSpPr>
          <p:cNvPr id="73" name="Rectangle 72"/>
          <p:cNvSpPr/>
          <p:nvPr/>
        </p:nvSpPr>
        <p:spPr>
          <a:xfrm>
            <a:off x="4688225" y="4309111"/>
            <a:ext cx="2284995" cy="61824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400" b="1" kern="0" dirty="0" smtClean="0">
                <a:solidFill>
                  <a:schemeClr val="tx1"/>
                </a:solidFill>
                <a:latin typeface="Calibri" panose="020F0502020204030204" pitchFamily="34" charset="0"/>
                <a:cs typeface="Calibri" panose="020F0502020204030204" pitchFamily="34" charset="0"/>
              </a:rPr>
              <a:t>Cyber Security</a:t>
            </a:r>
            <a:endParaRPr lang="en-US" sz="1400" b="1" kern="0" dirty="0">
              <a:solidFill>
                <a:schemeClr val="tx1"/>
              </a:solidFill>
              <a:latin typeface="Calibri" panose="020F0502020204030204" pitchFamily="34" charset="0"/>
              <a:cs typeface="Calibri" panose="020F0502020204030204" pitchFamily="34" charset="0"/>
            </a:endParaRPr>
          </a:p>
        </p:txBody>
      </p:sp>
      <p:pic>
        <p:nvPicPr>
          <p:cNvPr id="74" name="Picture 73">
            <a:extLst>
              <a:ext uri="{FF2B5EF4-FFF2-40B4-BE49-F238E27FC236}">
                <a16:creationId xmlns:a16="http://schemas.microsoft.com/office/drawing/2014/main" id="{EA2254EF-C6C5-B044-B8A1-5233F275655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491405" y="2491599"/>
            <a:ext cx="613652" cy="613652"/>
          </a:xfrm>
          <a:prstGeom prst="rect">
            <a:avLst/>
          </a:prstGeom>
        </p:spPr>
      </p:pic>
      <p:pic>
        <p:nvPicPr>
          <p:cNvPr id="75" name="Picture 74">
            <a:extLst>
              <a:ext uri="{FF2B5EF4-FFF2-40B4-BE49-F238E27FC236}">
                <a16:creationId xmlns:a16="http://schemas.microsoft.com/office/drawing/2014/main" id="{A2F5D69E-F9AB-0046-8771-90AEAA37ADE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74428" y="3760290"/>
            <a:ext cx="530629" cy="530642"/>
          </a:xfrm>
          <a:prstGeom prst="rect">
            <a:avLst/>
          </a:prstGeom>
          <a:noFill/>
          <a:ln>
            <a:noFill/>
          </a:ln>
        </p:spPr>
      </p:pic>
    </p:spTree>
    <p:extLst>
      <p:ext uri="{BB962C8B-B14F-4D97-AF65-F5344CB8AC3E}">
        <p14:creationId xmlns:p14="http://schemas.microsoft.com/office/powerpoint/2010/main" val="281664983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667" dirty="0"/>
              <a:t>Strengthening our own Digital capabilities by adding Niche capabilities</a:t>
            </a:r>
          </a:p>
        </p:txBody>
      </p:sp>
      <p:sp>
        <p:nvSpPr>
          <p:cNvPr id="6" name="AutoShape 8" descr="Image result for red associates logo"/>
          <p:cNvSpPr>
            <a:spLocks noChangeAspect="1" noChangeArrowheads="1"/>
          </p:cNvSpPr>
          <p:nvPr/>
        </p:nvSpPr>
        <p:spPr bwMode="auto">
          <a:xfrm>
            <a:off x="7133465" y="6572672"/>
            <a:ext cx="142825" cy="142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prstTxWarp prst="textNoShape">
              <a:avLst/>
            </a:prstTxWarp>
          </a:bodyPr>
          <a:lstStyle/>
          <a:p>
            <a:pPr defTabSz="1218775">
              <a:defRPr/>
            </a:pPr>
            <a:endParaRPr lang="en-GB" sz="2399" dirty="0">
              <a:solidFill>
                <a:srgbClr val="50B3CF"/>
              </a:solidFill>
              <a:latin typeface="Calibiri"/>
            </a:endParaRPr>
          </a:p>
        </p:txBody>
      </p:sp>
      <p:pic>
        <p:nvPicPr>
          <p:cNvPr id="7" name="Picture 10" descr="Image result for red associates logo"/>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47011" y="1279111"/>
            <a:ext cx="771499" cy="7714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Related image"/>
          <p:cNvPicPr>
            <a:picLocks noChangeAspect="1" noChangeArrowheads="1"/>
          </p:cNvPicPr>
          <p:nvPr/>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10234" y="1317155"/>
            <a:ext cx="1275095" cy="84726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28278" y="1418530"/>
            <a:ext cx="1062740" cy="565905"/>
          </a:xfrm>
          <a:prstGeom prst="rect">
            <a:avLst/>
          </a:prstGeom>
        </p:spPr>
      </p:pic>
      <p:pic>
        <p:nvPicPr>
          <p:cNvPr id="11" name="Picture 10"/>
          <p:cNvPicPr>
            <a:picLocks noChangeAspect="1"/>
          </p:cNvPicPr>
          <p:nvPr/>
        </p:nvPicPr>
        <p:blipFill>
          <a:blip r:embed="rId6">
            <a:grayscl/>
          </a:blip>
          <a:stretch>
            <a:fillRect/>
          </a:stretch>
        </p:blipFill>
        <p:spPr>
          <a:xfrm>
            <a:off x="8089260" y="1960131"/>
            <a:ext cx="1499955" cy="275104"/>
          </a:xfrm>
          <a:prstGeom prst="rect">
            <a:avLst/>
          </a:prstGeom>
        </p:spPr>
      </p:pic>
      <p:pic>
        <p:nvPicPr>
          <p:cNvPr id="12" name="Picture 11"/>
          <p:cNvPicPr>
            <a:picLocks noChangeAspect="1"/>
          </p:cNvPicPr>
          <p:nvPr/>
        </p:nvPicPr>
        <p:blipFill>
          <a:blip r:embed="rId7" cstate="print">
            <a:grayscl/>
            <a:extLst>
              <a:ext uri="{28A0092B-C50C-407E-A947-70E740481C1C}">
                <a14:useLocalDpi xmlns:a14="http://schemas.microsoft.com/office/drawing/2010/main"/>
              </a:ext>
            </a:extLst>
          </a:blip>
          <a:stretch>
            <a:fillRect/>
          </a:stretch>
        </p:blipFill>
        <p:spPr>
          <a:xfrm>
            <a:off x="8348360" y="1373718"/>
            <a:ext cx="951901" cy="591181"/>
          </a:xfrm>
          <a:prstGeom prst="rect">
            <a:avLst/>
          </a:prstGeom>
        </p:spPr>
      </p:pic>
      <p:pic>
        <p:nvPicPr>
          <p:cNvPr id="13" name="Picture 12"/>
          <p:cNvPicPr>
            <a:picLocks noChangeAspect="1"/>
          </p:cNvPicPr>
          <p:nvPr/>
        </p:nvPicPr>
        <p:blipFill>
          <a:blip r:embed="rId8"/>
          <a:stretch>
            <a:fillRect/>
          </a:stretch>
        </p:blipFill>
        <p:spPr>
          <a:xfrm>
            <a:off x="6023072" y="1372120"/>
            <a:ext cx="1844619" cy="574553"/>
          </a:xfrm>
          <a:prstGeom prst="rect">
            <a:avLst/>
          </a:prstGeom>
        </p:spPr>
      </p:pic>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75912" y="1506591"/>
            <a:ext cx="1430912" cy="466048"/>
          </a:xfrm>
          <a:prstGeom prst="rect">
            <a:avLst/>
          </a:prstGeom>
        </p:spPr>
      </p:pic>
      <p:sp>
        <p:nvSpPr>
          <p:cNvPr id="14" name="Rectangle 13"/>
          <p:cNvSpPr/>
          <p:nvPr/>
        </p:nvSpPr>
        <p:spPr>
          <a:xfrm>
            <a:off x="629653" y="2453049"/>
            <a:ext cx="870751"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0</a:t>
            </a:r>
          </a:p>
        </p:txBody>
      </p:sp>
      <p:sp>
        <p:nvSpPr>
          <p:cNvPr id="15" name="Rectangle 14"/>
          <p:cNvSpPr/>
          <p:nvPr/>
        </p:nvSpPr>
        <p:spPr>
          <a:xfrm>
            <a:off x="2287951" y="2425653"/>
            <a:ext cx="1401346"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4 -16</a:t>
            </a:r>
          </a:p>
        </p:txBody>
      </p:sp>
      <p:sp>
        <p:nvSpPr>
          <p:cNvPr id="16" name="Rectangle 15"/>
          <p:cNvSpPr/>
          <p:nvPr/>
        </p:nvSpPr>
        <p:spPr>
          <a:xfrm>
            <a:off x="4421092" y="2398254"/>
            <a:ext cx="870751"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5</a:t>
            </a:r>
          </a:p>
        </p:txBody>
      </p:sp>
      <p:sp>
        <p:nvSpPr>
          <p:cNvPr id="17" name="Rectangle 16"/>
          <p:cNvSpPr/>
          <p:nvPr/>
        </p:nvSpPr>
        <p:spPr>
          <a:xfrm>
            <a:off x="6305040" y="2399209"/>
            <a:ext cx="870751"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6</a:t>
            </a:r>
          </a:p>
        </p:txBody>
      </p:sp>
      <p:sp>
        <p:nvSpPr>
          <p:cNvPr id="18" name="Rectangle 17"/>
          <p:cNvSpPr/>
          <p:nvPr/>
        </p:nvSpPr>
        <p:spPr>
          <a:xfrm>
            <a:off x="8345194" y="2416095"/>
            <a:ext cx="870751"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7</a:t>
            </a:r>
          </a:p>
        </p:txBody>
      </p:sp>
      <p:sp>
        <p:nvSpPr>
          <p:cNvPr id="19" name="Rectangle 18"/>
          <p:cNvSpPr/>
          <p:nvPr/>
        </p:nvSpPr>
        <p:spPr>
          <a:xfrm>
            <a:off x="10301585" y="2359389"/>
            <a:ext cx="870751" cy="461537"/>
          </a:xfrm>
          <a:prstGeom prst="rect">
            <a:avLst/>
          </a:prstGeom>
          <a:ln>
            <a:noFill/>
          </a:ln>
        </p:spPr>
        <p:txBody>
          <a:bodyPr wrap="none">
            <a:spAutoFit/>
          </a:bodyPr>
          <a:lstStyle/>
          <a:p>
            <a:pPr defTabSz="1023392">
              <a:spcAft>
                <a:spcPts val="800"/>
              </a:spcAft>
              <a:defRPr/>
            </a:pPr>
            <a:r>
              <a:rPr lang="en-GB" sz="2399" b="1" i="1" kern="0" dirty="0">
                <a:solidFill>
                  <a:srgbClr val="0070C0"/>
                </a:solidFill>
                <a:latin typeface="Calibiri"/>
                <a:cs typeface="Times New Roman" panose="02020603050405020304" pitchFamily="18" charset="0"/>
              </a:rPr>
              <a:t>2018</a:t>
            </a:r>
          </a:p>
        </p:txBody>
      </p:sp>
      <p:sp>
        <p:nvSpPr>
          <p:cNvPr id="21" name="TextBox 20"/>
          <p:cNvSpPr txBox="1"/>
          <p:nvPr/>
        </p:nvSpPr>
        <p:spPr>
          <a:xfrm>
            <a:off x="195255" y="3422491"/>
            <a:ext cx="1860373" cy="1528945"/>
          </a:xfrm>
          <a:prstGeom prst="rect">
            <a:avLst/>
          </a:prstGeom>
          <a:noFill/>
        </p:spPr>
        <p:txBody>
          <a:bodyPr wrap="square" rtlCol="0">
            <a:spAutoFit/>
          </a:bodyPr>
          <a:lstStyle/>
          <a:p>
            <a:pPr defTabSz="1023392">
              <a:spcAft>
                <a:spcPts val="800"/>
              </a:spcAft>
              <a:defRPr/>
            </a:pPr>
            <a:r>
              <a:rPr lang="en-GB" sz="1467" i="1" kern="0" dirty="0">
                <a:solidFill>
                  <a:prstClr val="black"/>
                </a:solidFill>
                <a:latin typeface="Calibiri"/>
                <a:cs typeface="Times New Roman" panose="02020603050405020304" pitchFamily="18" charset="0"/>
              </a:rPr>
              <a:t>Advanced Process Control</a:t>
            </a:r>
          </a:p>
          <a:p>
            <a:pPr defTabSz="1023392">
              <a:spcAft>
                <a:spcPts val="800"/>
              </a:spcAft>
              <a:defRPr/>
            </a:pPr>
            <a:r>
              <a:rPr lang="en-GB" sz="1467" i="1" kern="0" dirty="0">
                <a:solidFill>
                  <a:prstClr val="black"/>
                </a:solidFill>
                <a:latin typeface="Calibiri"/>
                <a:cs typeface="Times New Roman" panose="02020603050405020304" pitchFamily="18" charset="0"/>
              </a:rPr>
              <a:t>Embedded Design </a:t>
            </a:r>
          </a:p>
          <a:p>
            <a:pPr defTabSz="1023392">
              <a:spcAft>
                <a:spcPts val="800"/>
              </a:spcAft>
              <a:defRPr/>
            </a:pPr>
            <a:r>
              <a:rPr lang="en-GB" sz="1467" i="1" kern="0" dirty="0">
                <a:solidFill>
                  <a:prstClr val="black"/>
                </a:solidFill>
                <a:latin typeface="Calibiri"/>
                <a:cs typeface="Times New Roman" panose="02020603050405020304" pitchFamily="18" charset="0"/>
              </a:rPr>
              <a:t>Hardware Design</a:t>
            </a:r>
          </a:p>
          <a:p>
            <a:pPr defTabSz="1023392">
              <a:spcAft>
                <a:spcPts val="800"/>
              </a:spcAft>
              <a:defRPr/>
            </a:pPr>
            <a:r>
              <a:rPr lang="en-GB" sz="1467" i="1" kern="0" dirty="0">
                <a:solidFill>
                  <a:prstClr val="black"/>
                </a:solidFill>
                <a:latin typeface="Calibiri"/>
                <a:cs typeface="Times New Roman" panose="02020603050405020304" pitchFamily="18" charset="0"/>
              </a:rPr>
              <a:t>Telemetry</a:t>
            </a:r>
          </a:p>
        </p:txBody>
      </p:sp>
      <p:sp>
        <p:nvSpPr>
          <p:cNvPr id="22" name="TextBox 21"/>
          <p:cNvSpPr txBox="1"/>
          <p:nvPr/>
        </p:nvSpPr>
        <p:spPr>
          <a:xfrm>
            <a:off x="2149290" y="3463110"/>
            <a:ext cx="2004075" cy="1303177"/>
          </a:xfrm>
          <a:prstGeom prst="rect">
            <a:avLst/>
          </a:prstGeom>
          <a:noFill/>
        </p:spPr>
        <p:txBody>
          <a:bodyPr wrap="none" rtlCol="0">
            <a:spAutoFit/>
          </a:bodyPr>
          <a:lstStyle/>
          <a:p>
            <a:pPr defTabSz="1023392">
              <a:spcAft>
                <a:spcPts val="800"/>
              </a:spcAft>
              <a:defRPr/>
            </a:pPr>
            <a:r>
              <a:rPr lang="en-GB" sz="1467" i="1" kern="0" dirty="0">
                <a:solidFill>
                  <a:prstClr val="black"/>
                </a:solidFill>
                <a:latin typeface="Calibiri"/>
                <a:cs typeface="Times New Roman" panose="02020603050405020304" pitchFamily="18" charset="0"/>
              </a:rPr>
              <a:t>Market Strategy</a:t>
            </a:r>
          </a:p>
          <a:p>
            <a:pPr defTabSz="1023392">
              <a:spcAft>
                <a:spcPts val="800"/>
              </a:spcAft>
              <a:defRPr/>
            </a:pPr>
            <a:r>
              <a:rPr lang="en-GB" sz="1467" i="1" kern="0" dirty="0">
                <a:solidFill>
                  <a:prstClr val="black"/>
                </a:solidFill>
                <a:latin typeface="Calibiri"/>
                <a:cs typeface="Times New Roman" panose="02020603050405020304" pitchFamily="18" charset="0"/>
              </a:rPr>
              <a:t>Human centric design</a:t>
            </a:r>
          </a:p>
          <a:p>
            <a:pPr defTabSz="1023392">
              <a:spcAft>
                <a:spcPts val="800"/>
              </a:spcAft>
              <a:defRPr/>
            </a:pPr>
            <a:r>
              <a:rPr lang="en-GB" sz="1467" i="1" kern="0" dirty="0">
                <a:solidFill>
                  <a:prstClr val="black"/>
                </a:solidFill>
                <a:latin typeface="Calibiri"/>
                <a:cs typeface="Times New Roman" panose="02020603050405020304" pitchFamily="18" charset="0"/>
              </a:rPr>
              <a:t>User Experience</a:t>
            </a:r>
          </a:p>
          <a:p>
            <a:pPr defTabSz="1023392">
              <a:spcAft>
                <a:spcPts val="800"/>
              </a:spcAft>
              <a:defRPr/>
            </a:pPr>
            <a:r>
              <a:rPr lang="en-GB" sz="1467" i="1" kern="0" dirty="0">
                <a:solidFill>
                  <a:prstClr val="black"/>
                </a:solidFill>
                <a:latin typeface="Calibiri"/>
                <a:cs typeface="Times New Roman" panose="02020603050405020304" pitchFamily="18" charset="0"/>
              </a:rPr>
              <a:t>Digital Engagement</a:t>
            </a:r>
          </a:p>
        </p:txBody>
      </p:sp>
      <p:sp>
        <p:nvSpPr>
          <p:cNvPr id="23" name="TextBox 22"/>
          <p:cNvSpPr txBox="1"/>
          <p:nvPr/>
        </p:nvSpPr>
        <p:spPr>
          <a:xfrm>
            <a:off x="4142198" y="3436667"/>
            <a:ext cx="2024687" cy="974819"/>
          </a:xfrm>
          <a:prstGeom prst="rect">
            <a:avLst/>
          </a:prstGeom>
          <a:noFill/>
        </p:spPr>
        <p:txBody>
          <a:bodyPr wrap="square" rtlCol="0">
            <a:spAutoFit/>
          </a:bodyPr>
          <a:lstStyle/>
          <a:p>
            <a:pPr defTabSz="1023392">
              <a:spcAft>
                <a:spcPts val="800"/>
              </a:spcAft>
              <a:defRPr/>
            </a:pPr>
            <a:r>
              <a:rPr lang="en-GB" sz="1467" i="1" kern="0" dirty="0">
                <a:solidFill>
                  <a:prstClr val="black"/>
                </a:solidFill>
                <a:latin typeface="Calibiri"/>
                <a:cs typeface="Times New Roman" panose="02020603050405020304" pitchFamily="18" charset="0"/>
              </a:rPr>
              <a:t>Engineering Labs</a:t>
            </a:r>
          </a:p>
          <a:p>
            <a:pPr defTabSz="1023392">
              <a:spcAft>
                <a:spcPts val="800"/>
              </a:spcAft>
              <a:defRPr/>
            </a:pPr>
            <a:r>
              <a:rPr lang="en-GB" sz="1467" i="1" kern="0" dirty="0">
                <a:solidFill>
                  <a:prstClr val="black"/>
                </a:solidFill>
                <a:latin typeface="Calibiri"/>
                <a:cs typeface="Times New Roman" panose="02020603050405020304" pitchFamily="18" charset="0"/>
              </a:rPr>
              <a:t>Rapid Prototyping</a:t>
            </a:r>
          </a:p>
          <a:p>
            <a:pPr defTabSz="1023392">
              <a:spcAft>
                <a:spcPts val="800"/>
              </a:spcAft>
              <a:defRPr/>
            </a:pPr>
            <a:r>
              <a:rPr lang="en-GB" sz="1467" i="1" kern="0" dirty="0" err="1">
                <a:solidFill>
                  <a:prstClr val="black"/>
                </a:solidFill>
                <a:latin typeface="Calibiri"/>
                <a:cs typeface="Times New Roman" panose="02020603050405020304" pitchFamily="18" charset="0"/>
              </a:rPr>
              <a:t>Collaboratory</a:t>
            </a:r>
            <a:endParaRPr lang="en-GB" sz="1467" i="1" kern="0" dirty="0">
              <a:solidFill>
                <a:prstClr val="black"/>
              </a:solidFill>
              <a:latin typeface="Calibiri"/>
              <a:cs typeface="Times New Roman" panose="02020603050405020304" pitchFamily="18" charset="0"/>
            </a:endParaRPr>
          </a:p>
        </p:txBody>
      </p:sp>
      <p:sp>
        <p:nvSpPr>
          <p:cNvPr id="25" name="TextBox 24"/>
          <p:cNvSpPr txBox="1"/>
          <p:nvPr/>
        </p:nvSpPr>
        <p:spPr>
          <a:xfrm>
            <a:off x="5910213" y="3465017"/>
            <a:ext cx="2283947" cy="846578"/>
          </a:xfrm>
          <a:prstGeom prst="rect">
            <a:avLst/>
          </a:prstGeom>
          <a:noFill/>
        </p:spPr>
        <p:txBody>
          <a:bodyPr wrap="square" rtlCol="0">
            <a:spAutoFit/>
          </a:bodyPr>
          <a:lstStyle>
            <a:defPPr>
              <a:defRPr lang="en-US"/>
            </a:defPPr>
            <a:lvl1pPr defTabSz="767563">
              <a:spcAft>
                <a:spcPts val="600"/>
              </a:spcAft>
              <a:defRPr sz="1100" i="1" kern="0">
                <a:solidFill>
                  <a:prstClr val="black"/>
                </a:solidFill>
                <a:latin typeface="Calibiri"/>
                <a:cs typeface="Times New Roman" panose="02020603050405020304" pitchFamily="18" charset="0"/>
              </a:defRPr>
            </a:lvl1pPr>
          </a:lstStyle>
          <a:p>
            <a:r>
              <a:rPr lang="en-GB" sz="1467" dirty="0"/>
              <a:t>European Services Operation - Vilnius</a:t>
            </a:r>
          </a:p>
          <a:p>
            <a:r>
              <a:rPr lang="en-GB" sz="1467" dirty="0"/>
              <a:t>Mobility Lab- Valladolid</a:t>
            </a:r>
          </a:p>
        </p:txBody>
      </p:sp>
      <p:sp>
        <p:nvSpPr>
          <p:cNvPr id="26" name="TextBox 25"/>
          <p:cNvSpPr txBox="1"/>
          <p:nvPr/>
        </p:nvSpPr>
        <p:spPr>
          <a:xfrm>
            <a:off x="8018146" y="3447498"/>
            <a:ext cx="2074607" cy="1303177"/>
          </a:xfrm>
          <a:prstGeom prst="rect">
            <a:avLst/>
          </a:prstGeom>
          <a:noFill/>
        </p:spPr>
        <p:txBody>
          <a:bodyPr wrap="none" rtlCol="0">
            <a:spAutoFit/>
          </a:bodyPr>
          <a:lstStyle/>
          <a:p>
            <a:pPr defTabSz="1023392">
              <a:spcAft>
                <a:spcPts val="800"/>
              </a:spcAft>
              <a:defRPr/>
            </a:pPr>
            <a:r>
              <a:rPr lang="en-GB" sz="1467" i="1" kern="0" dirty="0">
                <a:solidFill>
                  <a:prstClr val="black"/>
                </a:solidFill>
                <a:latin typeface="Calibiri"/>
                <a:cs typeface="Times New Roman" panose="02020603050405020304" pitchFamily="18" charset="0"/>
              </a:rPr>
              <a:t>Unmanned Operations</a:t>
            </a:r>
          </a:p>
          <a:p>
            <a:pPr defTabSz="1023392">
              <a:spcAft>
                <a:spcPts val="800"/>
              </a:spcAft>
              <a:defRPr/>
            </a:pPr>
            <a:r>
              <a:rPr lang="en-GB" sz="1467" i="1" kern="0" dirty="0">
                <a:solidFill>
                  <a:prstClr val="black"/>
                </a:solidFill>
                <a:latin typeface="Calibiri"/>
                <a:cs typeface="Times New Roman" panose="02020603050405020304" pitchFamily="18" charset="0"/>
              </a:rPr>
              <a:t>Blockchain for Assets</a:t>
            </a:r>
          </a:p>
          <a:p>
            <a:pPr defTabSz="1023392">
              <a:spcAft>
                <a:spcPts val="800"/>
              </a:spcAft>
              <a:defRPr/>
            </a:pPr>
            <a:r>
              <a:rPr lang="en-GB" sz="1467" i="1" kern="0" dirty="0">
                <a:solidFill>
                  <a:prstClr val="black"/>
                </a:solidFill>
                <a:latin typeface="Calibiri"/>
                <a:cs typeface="Times New Roman" panose="02020603050405020304" pitchFamily="18" charset="0"/>
              </a:rPr>
              <a:t>Augmented  Reality</a:t>
            </a:r>
          </a:p>
          <a:p>
            <a:pPr defTabSz="1023392">
              <a:spcAft>
                <a:spcPts val="800"/>
              </a:spcAft>
              <a:defRPr/>
            </a:pPr>
            <a:r>
              <a:rPr lang="en-GB" sz="1467" i="1" kern="0" dirty="0">
                <a:solidFill>
                  <a:prstClr val="black"/>
                </a:solidFill>
                <a:latin typeface="Calibiri"/>
                <a:cs typeface="Times New Roman" panose="02020603050405020304" pitchFamily="18" charset="0"/>
              </a:rPr>
              <a:t>Drone Operations</a:t>
            </a:r>
          </a:p>
        </p:txBody>
      </p:sp>
      <p:sp>
        <p:nvSpPr>
          <p:cNvPr id="27" name="TextBox 26"/>
          <p:cNvSpPr txBox="1"/>
          <p:nvPr/>
        </p:nvSpPr>
        <p:spPr>
          <a:xfrm>
            <a:off x="10232319" y="3283589"/>
            <a:ext cx="2148452" cy="1959896"/>
          </a:xfrm>
          <a:prstGeom prst="rect">
            <a:avLst/>
          </a:prstGeom>
          <a:noFill/>
        </p:spPr>
        <p:txBody>
          <a:bodyPr wrap="square" rtlCol="0">
            <a:spAutoFit/>
          </a:bodyPr>
          <a:lstStyle/>
          <a:p>
            <a:pPr defTabSz="1023392">
              <a:spcAft>
                <a:spcPts val="800"/>
              </a:spcAft>
              <a:defRPr/>
            </a:pPr>
            <a:r>
              <a:rPr lang="en-GB" sz="1467" i="1" kern="0" dirty="0">
                <a:solidFill>
                  <a:prstClr val="black"/>
                </a:solidFill>
                <a:latin typeface="Calibiri"/>
                <a:cs typeface="Times New Roman" panose="02020603050405020304" pitchFamily="18" charset="0"/>
              </a:rPr>
              <a:t>UX Design</a:t>
            </a:r>
          </a:p>
          <a:p>
            <a:pPr defTabSz="1023392">
              <a:spcAft>
                <a:spcPts val="800"/>
              </a:spcAft>
              <a:defRPr/>
            </a:pPr>
            <a:r>
              <a:rPr lang="en-GB" sz="1467" i="1" kern="0" dirty="0">
                <a:solidFill>
                  <a:prstClr val="black"/>
                </a:solidFill>
                <a:latin typeface="Calibiri"/>
                <a:cs typeface="Times New Roman" panose="02020603050405020304" pitchFamily="18" charset="0"/>
              </a:rPr>
              <a:t>Full stack Web</a:t>
            </a:r>
          </a:p>
          <a:p>
            <a:pPr defTabSz="1023392">
              <a:spcAft>
                <a:spcPts val="800"/>
              </a:spcAft>
              <a:defRPr/>
            </a:pPr>
            <a:r>
              <a:rPr lang="en-GB" sz="1467" i="1" kern="0" dirty="0">
                <a:solidFill>
                  <a:prstClr val="black"/>
                </a:solidFill>
                <a:latin typeface="Calibiri"/>
                <a:cs typeface="Times New Roman" panose="02020603050405020304" pitchFamily="18" charset="0"/>
              </a:rPr>
              <a:t>Mobile</a:t>
            </a:r>
          </a:p>
          <a:p>
            <a:pPr defTabSz="1023392">
              <a:spcAft>
                <a:spcPts val="800"/>
              </a:spcAft>
              <a:defRPr/>
            </a:pPr>
            <a:r>
              <a:rPr lang="en-GB" sz="1467" i="1" kern="0" dirty="0">
                <a:solidFill>
                  <a:prstClr val="black"/>
                </a:solidFill>
                <a:latin typeface="Calibiri"/>
                <a:cs typeface="Times New Roman" panose="02020603050405020304" pitchFamily="18" charset="0"/>
              </a:rPr>
              <a:t>Internet of Things</a:t>
            </a:r>
          </a:p>
          <a:p>
            <a:pPr defTabSz="1023392">
              <a:spcAft>
                <a:spcPts val="800"/>
              </a:spcAft>
              <a:defRPr/>
            </a:pPr>
            <a:r>
              <a:rPr lang="en-GB" sz="1467" i="1" kern="0" dirty="0">
                <a:solidFill>
                  <a:prstClr val="black"/>
                </a:solidFill>
                <a:latin typeface="Calibiri"/>
                <a:cs typeface="Times New Roman" panose="02020603050405020304" pitchFamily="18" charset="0"/>
              </a:rPr>
              <a:t>AI &amp; Machine Learning</a:t>
            </a:r>
          </a:p>
          <a:p>
            <a:pPr defTabSz="1023392">
              <a:spcAft>
                <a:spcPts val="800"/>
              </a:spcAft>
              <a:defRPr/>
            </a:pPr>
            <a:r>
              <a:rPr lang="en-GB" sz="1467" i="1" kern="0" dirty="0">
                <a:solidFill>
                  <a:prstClr val="black"/>
                </a:solidFill>
                <a:latin typeface="Calibiri"/>
                <a:cs typeface="Times New Roman" panose="02020603050405020304" pitchFamily="18" charset="0"/>
              </a:rPr>
              <a:t>Cloud &amp; </a:t>
            </a:r>
            <a:r>
              <a:rPr lang="en-GB" sz="1467" i="1" kern="0" dirty="0" err="1">
                <a:solidFill>
                  <a:prstClr val="black"/>
                </a:solidFill>
                <a:latin typeface="Calibiri"/>
                <a:cs typeface="Times New Roman" panose="02020603050405020304" pitchFamily="18" charset="0"/>
              </a:rPr>
              <a:t>DevOps</a:t>
            </a:r>
            <a:endParaRPr lang="en-GB" sz="1467" i="1" kern="0" dirty="0">
              <a:solidFill>
                <a:prstClr val="black"/>
              </a:solidFill>
              <a:latin typeface="Calibiri"/>
              <a:cs typeface="Times New Roman" panose="02020603050405020304" pitchFamily="18" charset="0"/>
            </a:endParaRPr>
          </a:p>
        </p:txBody>
      </p:sp>
      <p:sp>
        <p:nvSpPr>
          <p:cNvPr id="5" name="Rounded Rectangle 4"/>
          <p:cNvSpPr/>
          <p:nvPr/>
        </p:nvSpPr>
        <p:spPr>
          <a:xfrm>
            <a:off x="178086" y="3301430"/>
            <a:ext cx="1794553"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28" name="Rounded Rectangle 27"/>
          <p:cNvSpPr/>
          <p:nvPr/>
        </p:nvSpPr>
        <p:spPr>
          <a:xfrm>
            <a:off x="2178121" y="3342526"/>
            <a:ext cx="1917843"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29" name="Rounded Rectangle 28"/>
          <p:cNvSpPr/>
          <p:nvPr/>
        </p:nvSpPr>
        <p:spPr>
          <a:xfrm>
            <a:off x="4178158" y="3287731"/>
            <a:ext cx="1657564"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30" name="Rounded Rectangle 29"/>
          <p:cNvSpPr/>
          <p:nvPr/>
        </p:nvSpPr>
        <p:spPr>
          <a:xfrm>
            <a:off x="5972711" y="3301430"/>
            <a:ext cx="2000036"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31" name="Rounded Rectangle 30"/>
          <p:cNvSpPr/>
          <p:nvPr/>
        </p:nvSpPr>
        <p:spPr>
          <a:xfrm>
            <a:off x="8054941" y="3232935"/>
            <a:ext cx="2000036"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32" name="Rounded Rectangle 31"/>
          <p:cNvSpPr/>
          <p:nvPr/>
        </p:nvSpPr>
        <p:spPr>
          <a:xfrm>
            <a:off x="10191965" y="3191839"/>
            <a:ext cx="2000036" cy="2000036"/>
          </a:xfrm>
          <a:prstGeom prst="roundRect">
            <a:avLst/>
          </a:prstGeom>
          <a:no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2400">
              <a:solidFill>
                <a:srgbClr val="FFFFFF"/>
              </a:solidFill>
            </a:endParaRPr>
          </a:p>
        </p:txBody>
      </p:sp>
      <p:sp>
        <p:nvSpPr>
          <p:cNvPr id="33" name="Diagonal Stripe 32"/>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Slide needs to be enhanced</a:t>
            </a:r>
            <a:endParaRPr lang="en-US" sz="1400" dirty="0">
              <a:solidFill>
                <a:srgbClr val="FF0000"/>
              </a:solidFill>
            </a:endParaRPr>
          </a:p>
        </p:txBody>
      </p:sp>
    </p:spTree>
    <p:extLst>
      <p:ext uri="{BB962C8B-B14F-4D97-AF65-F5344CB8AC3E}">
        <p14:creationId xmlns:p14="http://schemas.microsoft.com/office/powerpoint/2010/main" val="131279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r Commitments</a:t>
            </a:r>
            <a:endParaRPr lang="en-US" dirty="0"/>
          </a:p>
        </p:txBody>
      </p:sp>
    </p:spTree>
    <p:extLst>
      <p:ext uri="{BB962C8B-B14F-4D97-AF65-F5344CB8AC3E}">
        <p14:creationId xmlns:p14="http://schemas.microsoft.com/office/powerpoint/2010/main" val="325959762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806" y="111355"/>
            <a:ext cx="10515600"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smtClean="0"/>
              <a:t>Opportunity for innovation and investments</a:t>
            </a:r>
            <a:endParaRPr lang="en-US" sz="2200" b="0" dirty="0"/>
          </a:p>
        </p:txBody>
      </p:sp>
      <p:sp>
        <p:nvSpPr>
          <p:cNvPr id="3" name="TextBox 2"/>
          <p:cNvSpPr txBox="1"/>
          <p:nvPr/>
        </p:nvSpPr>
        <p:spPr>
          <a:xfrm>
            <a:off x="976048" y="2604867"/>
            <a:ext cx="4921623" cy="36933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dirty="0" smtClean="0"/>
              <a:t>TBD</a:t>
            </a:r>
            <a:endParaRPr lang="en-US" dirty="0"/>
          </a:p>
        </p:txBody>
      </p:sp>
      <p:sp>
        <p:nvSpPr>
          <p:cNvPr id="4" name="TextBox 3"/>
          <p:cNvSpPr txBox="1"/>
          <p:nvPr/>
        </p:nvSpPr>
        <p:spPr>
          <a:xfrm>
            <a:off x="7811589" y="2050869"/>
            <a:ext cx="4178323" cy="1477328"/>
          </a:xfrm>
          <a:prstGeom prst="rect">
            <a:avLst/>
          </a:prstGeom>
          <a:noFill/>
        </p:spPr>
        <p:txBody>
          <a:bodyPr wrap="none" rtlCol="0">
            <a:spAutoFit/>
          </a:bodyPr>
          <a:lstStyle/>
          <a:p>
            <a:pPr marL="285750" indent="-285750">
              <a:buFont typeface="Arial" panose="020B0604020202020204" pitchFamily="34" charset="0"/>
              <a:buChar char="•"/>
            </a:pPr>
            <a:r>
              <a:rPr lang="en-US" dirty="0" smtClean="0"/>
              <a:t>Cognizant spend in Marriot Nights</a:t>
            </a:r>
          </a:p>
          <a:p>
            <a:pPr marL="285750" indent="-285750">
              <a:buFont typeface="Arial" panose="020B0604020202020204" pitchFamily="34" charset="0"/>
              <a:buChar char="•"/>
            </a:pPr>
            <a:r>
              <a:rPr lang="en-US" dirty="0" smtClean="0"/>
              <a:t>Cognizant frameworks</a:t>
            </a:r>
          </a:p>
          <a:p>
            <a:pPr marL="285750" indent="-285750">
              <a:buFont typeface="Arial" panose="020B0604020202020204" pitchFamily="34" charset="0"/>
              <a:buChar char="•"/>
            </a:pPr>
            <a:r>
              <a:rPr lang="en-US" dirty="0" smtClean="0"/>
              <a:t>Partnerships – like Oracle etc.</a:t>
            </a:r>
          </a:p>
          <a:p>
            <a:pPr marL="285750" indent="-285750">
              <a:buFont typeface="Arial" panose="020B0604020202020204" pitchFamily="34" charset="0"/>
              <a:buChar char="•"/>
            </a:pPr>
            <a:r>
              <a:rPr lang="en-US" dirty="0" smtClean="0"/>
              <a:t>Sponsorship in Charity</a:t>
            </a:r>
          </a:p>
          <a:p>
            <a:pPr marL="285750" indent="-285750">
              <a:buFont typeface="Arial" panose="020B0604020202020204" pitchFamily="34" charset="0"/>
              <a:buChar char="•"/>
            </a:pPr>
            <a:r>
              <a:rPr lang="en-US" dirty="0" smtClean="0"/>
              <a:t>Partnership in tech &amp; innovation events</a:t>
            </a:r>
            <a:endParaRPr lang="en-US" dirty="0"/>
          </a:p>
        </p:txBody>
      </p:sp>
    </p:spTree>
    <p:extLst>
      <p:ext uri="{BB962C8B-B14F-4D97-AF65-F5344CB8AC3E}">
        <p14:creationId xmlns:p14="http://schemas.microsoft.com/office/powerpoint/2010/main" val="3261789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440529" y="2108073"/>
            <a:ext cx="2999682" cy="603465"/>
          </a:xfrm>
        </p:spPr>
        <p:txBody>
          <a:bodyPr>
            <a:normAutofit/>
          </a:bodyPr>
          <a:lstStyle/>
          <a:p>
            <a:r>
              <a:rPr lang="en-US" sz="3600" dirty="0" smtClean="0"/>
              <a:t>Thank You</a:t>
            </a:r>
            <a:endParaRPr lang="en-US" sz="3600" dirty="0"/>
          </a:p>
        </p:txBody>
      </p:sp>
    </p:spTree>
    <p:extLst>
      <p:ext uri="{BB962C8B-B14F-4D97-AF65-F5344CB8AC3E}">
        <p14:creationId xmlns:p14="http://schemas.microsoft.com/office/powerpoint/2010/main" val="333843849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6296668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123825" y="3849241"/>
          <a:ext cx="11897852" cy="1426660"/>
        </p:xfrm>
        <a:graphic>
          <a:graphicData uri="http://schemas.openxmlformats.org/drawingml/2006/table">
            <a:tbl>
              <a:tblPr/>
              <a:tblGrid>
                <a:gridCol w="1212854">
                  <a:extLst>
                    <a:ext uri="{9D8B030D-6E8A-4147-A177-3AD203B41FA5}">
                      <a16:colId xmlns:a16="http://schemas.microsoft.com/office/drawing/2014/main" val="495716388"/>
                    </a:ext>
                  </a:extLst>
                </a:gridCol>
                <a:gridCol w="400318">
                  <a:extLst>
                    <a:ext uri="{9D8B030D-6E8A-4147-A177-3AD203B41FA5}">
                      <a16:colId xmlns:a16="http://schemas.microsoft.com/office/drawing/2014/main" val="1445187322"/>
                    </a:ext>
                  </a:extLst>
                </a:gridCol>
                <a:gridCol w="447160">
                  <a:extLst>
                    <a:ext uri="{9D8B030D-6E8A-4147-A177-3AD203B41FA5}">
                      <a16:colId xmlns:a16="http://schemas.microsoft.com/office/drawing/2014/main" val="3194054231"/>
                    </a:ext>
                  </a:extLst>
                </a:gridCol>
                <a:gridCol w="447160">
                  <a:extLst>
                    <a:ext uri="{9D8B030D-6E8A-4147-A177-3AD203B41FA5}">
                      <a16:colId xmlns:a16="http://schemas.microsoft.com/office/drawing/2014/main" val="975828576"/>
                    </a:ext>
                  </a:extLst>
                </a:gridCol>
                <a:gridCol w="447160">
                  <a:extLst>
                    <a:ext uri="{9D8B030D-6E8A-4147-A177-3AD203B41FA5}">
                      <a16:colId xmlns:a16="http://schemas.microsoft.com/office/drawing/2014/main" val="4110772240"/>
                    </a:ext>
                  </a:extLst>
                </a:gridCol>
                <a:gridCol w="447160">
                  <a:extLst>
                    <a:ext uri="{9D8B030D-6E8A-4147-A177-3AD203B41FA5}">
                      <a16:colId xmlns:a16="http://schemas.microsoft.com/office/drawing/2014/main" val="407349899"/>
                    </a:ext>
                  </a:extLst>
                </a:gridCol>
                <a:gridCol w="447160">
                  <a:extLst>
                    <a:ext uri="{9D8B030D-6E8A-4147-A177-3AD203B41FA5}">
                      <a16:colId xmlns:a16="http://schemas.microsoft.com/office/drawing/2014/main" val="1995623026"/>
                    </a:ext>
                  </a:extLst>
                </a:gridCol>
                <a:gridCol w="447160">
                  <a:extLst>
                    <a:ext uri="{9D8B030D-6E8A-4147-A177-3AD203B41FA5}">
                      <a16:colId xmlns:a16="http://schemas.microsoft.com/office/drawing/2014/main" val="534574934"/>
                    </a:ext>
                  </a:extLst>
                </a:gridCol>
                <a:gridCol w="447160">
                  <a:extLst>
                    <a:ext uri="{9D8B030D-6E8A-4147-A177-3AD203B41FA5}">
                      <a16:colId xmlns:a16="http://schemas.microsoft.com/office/drawing/2014/main" val="4119839112"/>
                    </a:ext>
                  </a:extLst>
                </a:gridCol>
                <a:gridCol w="447160">
                  <a:extLst>
                    <a:ext uri="{9D8B030D-6E8A-4147-A177-3AD203B41FA5}">
                      <a16:colId xmlns:a16="http://schemas.microsoft.com/office/drawing/2014/main" val="467353571"/>
                    </a:ext>
                  </a:extLst>
                </a:gridCol>
                <a:gridCol w="447160">
                  <a:extLst>
                    <a:ext uri="{9D8B030D-6E8A-4147-A177-3AD203B41FA5}">
                      <a16:colId xmlns:a16="http://schemas.microsoft.com/office/drawing/2014/main" val="852184204"/>
                    </a:ext>
                  </a:extLst>
                </a:gridCol>
                <a:gridCol w="447160">
                  <a:extLst>
                    <a:ext uri="{9D8B030D-6E8A-4147-A177-3AD203B41FA5}">
                      <a16:colId xmlns:a16="http://schemas.microsoft.com/office/drawing/2014/main" val="3127600751"/>
                    </a:ext>
                  </a:extLst>
                </a:gridCol>
                <a:gridCol w="447160">
                  <a:extLst>
                    <a:ext uri="{9D8B030D-6E8A-4147-A177-3AD203B41FA5}">
                      <a16:colId xmlns:a16="http://schemas.microsoft.com/office/drawing/2014/main" val="419682992"/>
                    </a:ext>
                  </a:extLst>
                </a:gridCol>
                <a:gridCol w="447160">
                  <a:extLst>
                    <a:ext uri="{9D8B030D-6E8A-4147-A177-3AD203B41FA5}">
                      <a16:colId xmlns:a16="http://schemas.microsoft.com/office/drawing/2014/main" val="1903686105"/>
                    </a:ext>
                  </a:extLst>
                </a:gridCol>
                <a:gridCol w="447160">
                  <a:extLst>
                    <a:ext uri="{9D8B030D-6E8A-4147-A177-3AD203B41FA5}">
                      <a16:colId xmlns:a16="http://schemas.microsoft.com/office/drawing/2014/main" val="2753295422"/>
                    </a:ext>
                  </a:extLst>
                </a:gridCol>
                <a:gridCol w="447160">
                  <a:extLst>
                    <a:ext uri="{9D8B030D-6E8A-4147-A177-3AD203B41FA5}">
                      <a16:colId xmlns:a16="http://schemas.microsoft.com/office/drawing/2014/main" val="3094345185"/>
                    </a:ext>
                  </a:extLst>
                </a:gridCol>
                <a:gridCol w="447160">
                  <a:extLst>
                    <a:ext uri="{9D8B030D-6E8A-4147-A177-3AD203B41FA5}">
                      <a16:colId xmlns:a16="http://schemas.microsoft.com/office/drawing/2014/main" val="3194690792"/>
                    </a:ext>
                  </a:extLst>
                </a:gridCol>
                <a:gridCol w="447160">
                  <a:extLst>
                    <a:ext uri="{9D8B030D-6E8A-4147-A177-3AD203B41FA5}">
                      <a16:colId xmlns:a16="http://schemas.microsoft.com/office/drawing/2014/main" val="3905078717"/>
                    </a:ext>
                  </a:extLst>
                </a:gridCol>
                <a:gridCol w="447160">
                  <a:extLst>
                    <a:ext uri="{9D8B030D-6E8A-4147-A177-3AD203B41FA5}">
                      <a16:colId xmlns:a16="http://schemas.microsoft.com/office/drawing/2014/main" val="406896203"/>
                    </a:ext>
                  </a:extLst>
                </a:gridCol>
                <a:gridCol w="447160">
                  <a:extLst>
                    <a:ext uri="{9D8B030D-6E8A-4147-A177-3AD203B41FA5}">
                      <a16:colId xmlns:a16="http://schemas.microsoft.com/office/drawing/2014/main" val="3137086948"/>
                    </a:ext>
                  </a:extLst>
                </a:gridCol>
                <a:gridCol w="447160">
                  <a:extLst>
                    <a:ext uri="{9D8B030D-6E8A-4147-A177-3AD203B41FA5}">
                      <a16:colId xmlns:a16="http://schemas.microsoft.com/office/drawing/2014/main" val="1114741872"/>
                    </a:ext>
                  </a:extLst>
                </a:gridCol>
                <a:gridCol w="447160">
                  <a:extLst>
                    <a:ext uri="{9D8B030D-6E8A-4147-A177-3AD203B41FA5}">
                      <a16:colId xmlns:a16="http://schemas.microsoft.com/office/drawing/2014/main" val="2054508518"/>
                    </a:ext>
                  </a:extLst>
                </a:gridCol>
                <a:gridCol w="447160">
                  <a:extLst>
                    <a:ext uri="{9D8B030D-6E8A-4147-A177-3AD203B41FA5}">
                      <a16:colId xmlns:a16="http://schemas.microsoft.com/office/drawing/2014/main" val="441171693"/>
                    </a:ext>
                  </a:extLst>
                </a:gridCol>
                <a:gridCol w="447160">
                  <a:extLst>
                    <a:ext uri="{9D8B030D-6E8A-4147-A177-3AD203B41FA5}">
                      <a16:colId xmlns:a16="http://schemas.microsoft.com/office/drawing/2014/main" val="2567737874"/>
                    </a:ext>
                  </a:extLst>
                </a:gridCol>
                <a:gridCol w="447160">
                  <a:extLst>
                    <a:ext uri="{9D8B030D-6E8A-4147-A177-3AD203B41FA5}">
                      <a16:colId xmlns:a16="http://schemas.microsoft.com/office/drawing/2014/main" val="2762076582"/>
                    </a:ext>
                  </a:extLst>
                </a:gridCol>
              </a:tblGrid>
              <a:tr h="337404">
                <a:tc>
                  <a:txBody>
                    <a:bodyPr/>
                    <a:lstStyle/>
                    <a:p>
                      <a:pPr algn="ctr" rtl="0" fontAlgn="b"/>
                      <a:r>
                        <a:rPr lang="en-US" sz="1050" b="1" i="0" u="none" strike="noStrike" dirty="0">
                          <a:solidFill>
                            <a:srgbClr val="FFFFFF"/>
                          </a:solidFill>
                          <a:effectLst/>
                          <a:latin typeface="Calibri" panose="020F0502020204030204" pitchFamily="34" charset="0"/>
                        </a:rPr>
                        <a:t>US Time</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dirty="0">
                          <a:solidFill>
                            <a:srgbClr val="000000"/>
                          </a:solidFill>
                          <a:effectLst/>
                          <a:latin typeface="Calibri" panose="020F0502020204030204" pitchFamily="34" charset="0"/>
                        </a:rPr>
                        <a:t>18: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9: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1: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3: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5: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6: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7: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8: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9: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0: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1: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2: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3: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4: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5: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6: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7:0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70679506"/>
                  </a:ext>
                </a:extLst>
              </a:tr>
              <a:tr h="357696">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1</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dirty="0">
                          <a:solidFill>
                            <a:srgbClr val="000000"/>
                          </a:solidFill>
                          <a:effectLst/>
                          <a:latin typeface="Calibri" panose="020F0502020204030204" pitchFamily="34" charset="0"/>
                        </a:rPr>
                        <a:t>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904384040"/>
                  </a:ext>
                </a:extLst>
              </a:tr>
              <a:tr h="365760">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2 </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dirty="0">
                          <a:solidFill>
                            <a:srgbClr val="000000"/>
                          </a:solidFill>
                          <a:effectLst/>
                          <a:latin typeface="Calibri" panose="020F0502020204030204" pitchFamily="34" charset="0"/>
                        </a:rPr>
                        <a:t>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318969292"/>
                  </a:ext>
                </a:extLst>
              </a:tr>
              <a:tr h="365800">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3</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dirty="0">
                          <a:solidFill>
                            <a:srgbClr val="000000"/>
                          </a:solidFill>
                          <a:effectLst/>
                          <a:latin typeface="Calibri" panose="020F0502020204030204" pitchFamily="34" charset="0"/>
                        </a:rPr>
                        <a:t>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4: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5: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6: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7: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8: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9: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2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2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2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23: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0: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1: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2:30</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extLst>
                  <a:ext uri="{0D108BD9-81ED-4DB2-BD59-A6C34878D82A}">
                    <a16:rowId xmlns:a16="http://schemas.microsoft.com/office/drawing/2014/main" val="2095040161"/>
                  </a:ext>
                </a:extLst>
              </a:tr>
            </a:tbl>
          </a:graphicData>
        </a:graphic>
      </p:graphicFrame>
      <p:sp>
        <p:nvSpPr>
          <p:cNvPr id="2" name="Title 1"/>
          <p:cNvSpPr>
            <a:spLocks noGrp="1"/>
          </p:cNvSpPr>
          <p:nvPr>
            <p:ph type="title"/>
          </p:nvPr>
        </p:nvSpPr>
        <p:spPr/>
        <p:txBody>
          <a:bodyPr/>
          <a:lstStyle/>
          <a:p>
            <a:r>
              <a:rPr lang="en-US" dirty="0" smtClean="0"/>
              <a:t>Location Strategy Through Global </a:t>
            </a:r>
            <a:r>
              <a:rPr lang="en-US" dirty="0"/>
              <a:t>D</a:t>
            </a:r>
            <a:r>
              <a:rPr lang="en-US" dirty="0" smtClean="0"/>
              <a:t>elivery</a:t>
            </a:r>
            <a:endParaRPr lang="en-US" dirty="0"/>
          </a:p>
        </p:txBody>
      </p:sp>
      <p:grpSp>
        <p:nvGrpSpPr>
          <p:cNvPr id="26" name="Group 25"/>
          <p:cNvGrpSpPr/>
          <p:nvPr/>
        </p:nvGrpSpPr>
        <p:grpSpPr>
          <a:xfrm>
            <a:off x="473820" y="857386"/>
            <a:ext cx="8640816" cy="2931116"/>
            <a:chOff x="463609" y="569863"/>
            <a:chExt cx="8216783" cy="3654950"/>
          </a:xfrm>
          <a:solidFill>
            <a:srgbClr val="68B9CD"/>
          </a:solidFill>
        </p:grpSpPr>
        <p:sp>
          <p:nvSpPr>
            <p:cNvPr id="27" name="Freeform 4"/>
            <p:cNvSpPr>
              <a:spLocks noChangeAspect="1"/>
            </p:cNvSpPr>
            <p:nvPr/>
          </p:nvSpPr>
          <p:spPr bwMode="auto">
            <a:xfrm>
              <a:off x="3955341" y="794267"/>
              <a:ext cx="9610" cy="11608"/>
            </a:xfrm>
            <a:custGeom>
              <a:avLst/>
              <a:gdLst>
                <a:gd name="T0" fmla="*/ 5715 w 5"/>
                <a:gd name="T1" fmla="*/ 10206 h 7"/>
                <a:gd name="T2" fmla="*/ 1905 w 5"/>
                <a:gd name="T3" fmla="*/ 14288 h 7"/>
                <a:gd name="T4" fmla="*/ 1905 w 5"/>
                <a:gd name="T5" fmla="*/ 6123 h 7"/>
                <a:gd name="T6" fmla="*/ 7620 w 5"/>
                <a:gd name="T7" fmla="*/ 2041 h 7"/>
                <a:gd name="T8" fmla="*/ 5715 w 5"/>
                <a:gd name="T9" fmla="*/ 10206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5"/>
                  </a:moveTo>
                  <a:cubicBezTo>
                    <a:pt x="3" y="6"/>
                    <a:pt x="1" y="7"/>
                    <a:pt x="1" y="7"/>
                  </a:cubicBezTo>
                  <a:cubicBezTo>
                    <a:pt x="0" y="6"/>
                    <a:pt x="0" y="4"/>
                    <a:pt x="1" y="3"/>
                  </a:cubicBezTo>
                  <a:cubicBezTo>
                    <a:pt x="2" y="2"/>
                    <a:pt x="3" y="0"/>
                    <a:pt x="4" y="1"/>
                  </a:cubicBezTo>
                  <a:cubicBezTo>
                    <a:pt x="5" y="2"/>
                    <a:pt x="4" y="4"/>
                    <a:pt x="3"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Freeform 5"/>
            <p:cNvSpPr>
              <a:spLocks noChangeAspect="1"/>
            </p:cNvSpPr>
            <p:nvPr/>
          </p:nvSpPr>
          <p:spPr bwMode="auto">
            <a:xfrm>
              <a:off x="3902484" y="629188"/>
              <a:ext cx="19221" cy="14187"/>
            </a:xfrm>
            <a:custGeom>
              <a:avLst/>
              <a:gdLst>
                <a:gd name="T0" fmla="*/ 13335 w 10"/>
                <a:gd name="T1" fmla="*/ 7761 h 9"/>
                <a:gd name="T2" fmla="*/ 19050 w 10"/>
                <a:gd name="T3" fmla="*/ 17463 h 9"/>
                <a:gd name="T4" fmla="*/ 7620 w 10"/>
                <a:gd name="T5" fmla="*/ 11642 h 9"/>
                <a:gd name="T6" fmla="*/ 1905 w 10"/>
                <a:gd name="T7" fmla="*/ 0 h 9"/>
                <a:gd name="T8" fmla="*/ 13335 w 10"/>
                <a:gd name="T9" fmla="*/ 7761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 name="Freeform 6"/>
            <p:cNvSpPr>
              <a:spLocks noChangeAspect="1"/>
            </p:cNvSpPr>
            <p:nvPr/>
          </p:nvSpPr>
          <p:spPr bwMode="auto">
            <a:xfrm>
              <a:off x="3929714" y="627899"/>
              <a:ext cx="16017" cy="10318"/>
            </a:xfrm>
            <a:custGeom>
              <a:avLst/>
              <a:gdLst>
                <a:gd name="T0" fmla="*/ 9922 w 8"/>
                <a:gd name="T1" fmla="*/ 7257 h 7"/>
                <a:gd name="T2" fmla="*/ 13891 w 8"/>
                <a:gd name="T3" fmla="*/ 12700 h 7"/>
                <a:gd name="T4" fmla="*/ 7938 w 8"/>
                <a:gd name="T5" fmla="*/ 9071 h 7"/>
                <a:gd name="T6" fmla="*/ 1984 w 8"/>
                <a:gd name="T7" fmla="*/ 0 h 7"/>
                <a:gd name="T8" fmla="*/ 9922 w 8"/>
                <a:gd name="T9" fmla="*/ 725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Freeform 7"/>
            <p:cNvSpPr>
              <a:spLocks noChangeAspect="1"/>
            </p:cNvSpPr>
            <p:nvPr/>
          </p:nvSpPr>
          <p:spPr bwMode="auto">
            <a:xfrm>
              <a:off x="3937721" y="643375"/>
              <a:ext cx="11213" cy="7738"/>
            </a:xfrm>
            <a:custGeom>
              <a:avLst/>
              <a:gdLst>
                <a:gd name="T0" fmla="*/ 7409 w 6"/>
                <a:gd name="T1" fmla="*/ 3810 h 5"/>
                <a:gd name="T2" fmla="*/ 9261 w 6"/>
                <a:gd name="T3" fmla="*/ 9525 h 5"/>
                <a:gd name="T4" fmla="*/ 3704 w 6"/>
                <a:gd name="T5" fmla="*/ 5715 h 5"/>
                <a:gd name="T6" fmla="*/ 1852 w 6"/>
                <a:gd name="T7" fmla="*/ 0 h 5"/>
                <a:gd name="T8" fmla="*/ 7409 w 6"/>
                <a:gd name="T9" fmla="*/ 381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 name="Freeform 8"/>
            <p:cNvSpPr>
              <a:spLocks noChangeAspect="1"/>
            </p:cNvSpPr>
            <p:nvPr/>
          </p:nvSpPr>
          <p:spPr bwMode="auto">
            <a:xfrm>
              <a:off x="3928112" y="911628"/>
              <a:ext cx="8009" cy="5158"/>
            </a:xfrm>
            <a:custGeom>
              <a:avLst/>
              <a:gdLst>
                <a:gd name="T0" fmla="*/ 5953 w 4"/>
                <a:gd name="T1" fmla="*/ 4233 h 3"/>
                <a:gd name="T2" fmla="*/ 3969 w 4"/>
                <a:gd name="T3" fmla="*/ 6350 h 3"/>
                <a:gd name="T4" fmla="*/ 1985 w 4"/>
                <a:gd name="T5" fmla="*/ 4233 h 3"/>
                <a:gd name="T6" fmla="*/ 3969 w 4"/>
                <a:gd name="T7" fmla="*/ 0 h 3"/>
                <a:gd name="T8" fmla="*/ 5953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3"/>
                    <a:pt x="3" y="3"/>
                    <a:pt x="2" y="3"/>
                  </a:cubicBezTo>
                  <a:cubicBezTo>
                    <a:pt x="1" y="3"/>
                    <a:pt x="0" y="2"/>
                    <a:pt x="1" y="2"/>
                  </a:cubicBezTo>
                  <a:cubicBezTo>
                    <a:pt x="1" y="1"/>
                    <a:pt x="1" y="0"/>
                    <a:pt x="2" y="0"/>
                  </a:cubicBezTo>
                  <a:cubicBezTo>
                    <a:pt x="4"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 name="Freeform 9"/>
            <p:cNvSpPr>
              <a:spLocks noChangeAspect="1"/>
            </p:cNvSpPr>
            <p:nvPr/>
          </p:nvSpPr>
          <p:spPr bwMode="auto">
            <a:xfrm>
              <a:off x="3960146" y="745259"/>
              <a:ext cx="9610" cy="9029"/>
            </a:xfrm>
            <a:custGeom>
              <a:avLst/>
              <a:gdLst>
                <a:gd name="T0" fmla="*/ 5715 w 5"/>
                <a:gd name="T1" fmla="*/ 7409 h 6"/>
                <a:gd name="T2" fmla="*/ 1905 w 5"/>
                <a:gd name="T3" fmla="*/ 9261 h 6"/>
                <a:gd name="T4" fmla="*/ 1905 w 5"/>
                <a:gd name="T5" fmla="*/ 5557 h 6"/>
                <a:gd name="T6" fmla="*/ 5715 w 5"/>
                <a:gd name="T7" fmla="*/ 1852 h 6"/>
                <a:gd name="T8" fmla="*/ 5715 w 5"/>
                <a:gd name="T9" fmla="*/ 7409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3" y="5"/>
                    <a:pt x="2" y="6"/>
                    <a:pt x="1" y="5"/>
                  </a:cubicBezTo>
                  <a:cubicBezTo>
                    <a:pt x="0" y="5"/>
                    <a:pt x="1" y="4"/>
                    <a:pt x="1" y="3"/>
                  </a:cubicBezTo>
                  <a:cubicBezTo>
                    <a:pt x="1" y="2"/>
                    <a:pt x="2" y="0"/>
                    <a:pt x="3" y="1"/>
                  </a:cubicBezTo>
                  <a:cubicBezTo>
                    <a:pt x="5" y="2"/>
                    <a:pt x="4" y="3"/>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 name="Freeform 10"/>
            <p:cNvSpPr>
              <a:spLocks noChangeAspect="1"/>
            </p:cNvSpPr>
            <p:nvPr/>
          </p:nvSpPr>
          <p:spPr bwMode="auto">
            <a:xfrm>
              <a:off x="3924907" y="706569"/>
              <a:ext cx="9610" cy="7738"/>
            </a:xfrm>
            <a:custGeom>
              <a:avLst/>
              <a:gdLst>
                <a:gd name="T0" fmla="*/ 5715 w 5"/>
                <a:gd name="T1" fmla="*/ 7620 h 5"/>
                <a:gd name="T2" fmla="*/ 1905 w 5"/>
                <a:gd name="T3" fmla="*/ 7620 h 5"/>
                <a:gd name="T4" fmla="*/ 3810 w 5"/>
                <a:gd name="T5" fmla="*/ 3810 h 5"/>
                <a:gd name="T6" fmla="*/ 9525 w 5"/>
                <a:gd name="T7" fmla="*/ 1905 h 5"/>
                <a:gd name="T8" fmla="*/ 5715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 name="Freeform 11"/>
            <p:cNvSpPr>
              <a:spLocks noChangeAspect="1"/>
            </p:cNvSpPr>
            <p:nvPr/>
          </p:nvSpPr>
          <p:spPr bwMode="auto">
            <a:xfrm>
              <a:off x="3902484" y="849724"/>
              <a:ext cx="6407" cy="3868"/>
            </a:xfrm>
            <a:custGeom>
              <a:avLst/>
              <a:gdLst>
                <a:gd name="T0" fmla="*/ 2117 w 3"/>
                <a:gd name="T1" fmla="*/ 4762 h 2"/>
                <a:gd name="T2" fmla="*/ 0 w 3"/>
                <a:gd name="T3" fmla="*/ 2381 h 2"/>
                <a:gd name="T4" fmla="*/ 4233 w 3"/>
                <a:gd name="T5" fmla="*/ 0 h 2"/>
                <a:gd name="T6" fmla="*/ 6350 w 3"/>
                <a:gd name="T7" fmla="*/ 2381 h 2"/>
                <a:gd name="T8" fmla="*/ 2117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1" y="0"/>
                    <a:pt x="1" y="0"/>
                    <a:pt x="2" y="0"/>
                  </a:cubicBezTo>
                  <a:cubicBezTo>
                    <a:pt x="2" y="0"/>
                    <a:pt x="3" y="1"/>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 name="Freeform 12"/>
            <p:cNvSpPr>
              <a:spLocks noChangeAspect="1"/>
            </p:cNvSpPr>
            <p:nvPr/>
          </p:nvSpPr>
          <p:spPr bwMode="auto">
            <a:xfrm>
              <a:off x="3892874" y="845854"/>
              <a:ext cx="6407" cy="2579"/>
            </a:xfrm>
            <a:custGeom>
              <a:avLst/>
              <a:gdLst>
                <a:gd name="T0" fmla="*/ 2117 w 3"/>
                <a:gd name="T1" fmla="*/ 3175 h 2"/>
                <a:gd name="T2" fmla="*/ 0 w 3"/>
                <a:gd name="T3" fmla="*/ 1588 h 2"/>
                <a:gd name="T4" fmla="*/ 4233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1"/>
                    <a:pt x="0" y="1"/>
                    <a:pt x="0" y="1"/>
                  </a:cubicBezTo>
                  <a:cubicBezTo>
                    <a:pt x="0" y="0"/>
                    <a:pt x="1" y="0"/>
                    <a:pt x="2"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 name="Freeform 13"/>
            <p:cNvSpPr>
              <a:spLocks noChangeAspect="1"/>
            </p:cNvSpPr>
            <p:nvPr/>
          </p:nvSpPr>
          <p:spPr bwMode="auto">
            <a:xfrm>
              <a:off x="3883263" y="841985"/>
              <a:ext cx="6407" cy="3868"/>
            </a:xfrm>
            <a:custGeom>
              <a:avLst/>
              <a:gdLst>
                <a:gd name="T0" fmla="*/ 2117 w 3"/>
                <a:gd name="T1" fmla="*/ 4762 h 2"/>
                <a:gd name="T2" fmla="*/ 0 w 3"/>
                <a:gd name="T3" fmla="*/ 2381 h 2"/>
                <a:gd name="T4" fmla="*/ 2117 w 3"/>
                <a:gd name="T5" fmla="*/ 0 h 2"/>
                <a:gd name="T6" fmla="*/ 4233 w 3"/>
                <a:gd name="T7" fmla="*/ 4762 h 2"/>
                <a:gd name="T8" fmla="*/ 2117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1"/>
                    <a:pt x="3" y="1"/>
                    <a:pt x="2" y="2"/>
                  </a:cubicBezTo>
                  <a:cubicBezTo>
                    <a:pt x="2" y="2"/>
                    <a:pt x="1"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Freeform 14"/>
            <p:cNvSpPr>
              <a:spLocks noChangeAspect="1"/>
            </p:cNvSpPr>
            <p:nvPr/>
          </p:nvSpPr>
          <p:spPr bwMode="auto">
            <a:xfrm>
              <a:off x="3939324" y="910338"/>
              <a:ext cx="4805" cy="3869"/>
            </a:xfrm>
            <a:custGeom>
              <a:avLst/>
              <a:gdLst>
                <a:gd name="T0" fmla="*/ 2381 w 2"/>
                <a:gd name="T1" fmla="*/ 2382 h 2"/>
                <a:gd name="T2" fmla="*/ 0 w 2"/>
                <a:gd name="T3" fmla="*/ 4763 h 2"/>
                <a:gd name="T4" fmla="*/ 0 w 2"/>
                <a:gd name="T5" fmla="*/ 2382 h 2"/>
                <a:gd name="T6" fmla="*/ 2381 w 2"/>
                <a:gd name="T7" fmla="*/ 0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0" y="2"/>
                  </a:cubicBezTo>
                  <a:cubicBezTo>
                    <a:pt x="0" y="2"/>
                    <a:pt x="0" y="1"/>
                    <a:pt x="0" y="1"/>
                  </a:cubicBezTo>
                  <a:cubicBezTo>
                    <a:pt x="0" y="0"/>
                    <a:pt x="0" y="0"/>
                    <a:pt x="1" y="0"/>
                  </a:cubicBezTo>
                  <a:cubicBezTo>
                    <a:pt x="2"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 name="Freeform 15"/>
            <p:cNvSpPr>
              <a:spLocks noChangeAspect="1"/>
            </p:cNvSpPr>
            <p:nvPr/>
          </p:nvSpPr>
          <p:spPr bwMode="auto">
            <a:xfrm>
              <a:off x="3920103" y="776212"/>
              <a:ext cx="1601" cy="2579"/>
            </a:xfrm>
            <a:custGeom>
              <a:avLst/>
              <a:gdLst>
                <a:gd name="T0" fmla="*/ 1587 w 1"/>
                <a:gd name="T1" fmla="*/ 1588 h 2"/>
                <a:gd name="T2" fmla="*/ 0 w 1"/>
                <a:gd name="T3" fmla="*/ 3175 h 2"/>
                <a:gd name="T4" fmla="*/ 0 w 1"/>
                <a:gd name="T5" fmla="*/ 1588 h 2"/>
                <a:gd name="T6" fmla="*/ 1587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Freeform 16"/>
            <p:cNvSpPr>
              <a:spLocks noChangeAspect="1"/>
            </p:cNvSpPr>
            <p:nvPr/>
          </p:nvSpPr>
          <p:spPr bwMode="auto">
            <a:xfrm>
              <a:off x="3926511" y="774922"/>
              <a:ext cx="3203" cy="3868"/>
            </a:xfrm>
            <a:custGeom>
              <a:avLst/>
              <a:gdLst>
                <a:gd name="T0" fmla="*/ 3175 w 2"/>
                <a:gd name="T1" fmla="*/ 1587 h 3"/>
                <a:gd name="T2" fmla="*/ 3175 w 2"/>
                <a:gd name="T3" fmla="*/ 4762 h 3"/>
                <a:gd name="T4" fmla="*/ 1588 w 2"/>
                <a:gd name="T5" fmla="*/ 3175 h 3"/>
                <a:gd name="T6" fmla="*/ 1588 w 2"/>
                <a:gd name="T7" fmla="*/ 0 h 3"/>
                <a:gd name="T8" fmla="*/ 3175 w 2"/>
                <a:gd name="T9" fmla="*/ 158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3"/>
                    <a:pt x="2" y="3"/>
                  </a:cubicBezTo>
                  <a:cubicBezTo>
                    <a:pt x="1"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Freeform 17"/>
            <p:cNvSpPr>
              <a:spLocks noChangeAspect="1"/>
            </p:cNvSpPr>
            <p:nvPr/>
          </p:nvSpPr>
          <p:spPr bwMode="auto">
            <a:xfrm>
              <a:off x="3934519" y="786529"/>
              <a:ext cx="4806" cy="5158"/>
            </a:xfrm>
            <a:custGeom>
              <a:avLst/>
              <a:gdLst>
                <a:gd name="T0" fmla="*/ 3175 w 3"/>
                <a:gd name="T1" fmla="*/ 4233 h 3"/>
                <a:gd name="T2" fmla="*/ 1588 w 3"/>
                <a:gd name="T3" fmla="*/ 6350 h 3"/>
                <a:gd name="T4" fmla="*/ 1588 w 3"/>
                <a:gd name="T5" fmla="*/ 2117 h 3"/>
                <a:gd name="T6" fmla="*/ 3175 w 3"/>
                <a:gd name="T7" fmla="*/ 2117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1" y="3"/>
                  </a:cubicBezTo>
                  <a:cubicBezTo>
                    <a:pt x="0" y="2"/>
                    <a:pt x="0" y="2"/>
                    <a:pt x="1" y="1"/>
                  </a:cubicBezTo>
                  <a:cubicBezTo>
                    <a:pt x="1" y="1"/>
                    <a:pt x="2" y="0"/>
                    <a:pt x="2" y="1"/>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Freeform 18"/>
            <p:cNvSpPr>
              <a:spLocks noChangeAspect="1"/>
            </p:cNvSpPr>
            <p:nvPr/>
          </p:nvSpPr>
          <p:spPr bwMode="auto">
            <a:xfrm>
              <a:off x="3905688" y="783950"/>
              <a:ext cx="4806" cy="1290"/>
            </a:xfrm>
            <a:custGeom>
              <a:avLst/>
              <a:gdLst>
                <a:gd name="T0" fmla="*/ 1588 w 3"/>
                <a:gd name="T1" fmla="*/ 1588 h 1"/>
                <a:gd name="T2" fmla="*/ 0 w 3"/>
                <a:gd name="T3" fmla="*/ 1588 h 1"/>
                <a:gd name="T4" fmla="*/ 1588 w 3"/>
                <a:gd name="T5" fmla="*/ 0 h 1"/>
                <a:gd name="T6" fmla="*/ 4763 w 3"/>
                <a:gd name="T7" fmla="*/ 0 h 1"/>
                <a:gd name="T8" fmla="*/ 1588 w 3"/>
                <a:gd name="T9" fmla="*/ 1588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 name="Freeform 19"/>
            <p:cNvSpPr>
              <a:spLocks noChangeAspect="1"/>
            </p:cNvSpPr>
            <p:nvPr/>
          </p:nvSpPr>
          <p:spPr bwMode="auto">
            <a:xfrm>
              <a:off x="3931315" y="777502"/>
              <a:ext cx="6407" cy="5158"/>
            </a:xfrm>
            <a:custGeom>
              <a:avLst/>
              <a:gdLst>
                <a:gd name="T0" fmla="*/ 4233 w 3"/>
                <a:gd name="T1" fmla="*/ 6350 h 3"/>
                <a:gd name="T2" fmla="*/ 2117 w 3"/>
                <a:gd name="T3" fmla="*/ 6350 h 3"/>
                <a:gd name="T4" fmla="*/ 2117 w 3"/>
                <a:gd name="T5" fmla="*/ 4233 h 3"/>
                <a:gd name="T6" fmla="*/ 4233 w 3"/>
                <a:gd name="T7" fmla="*/ 2117 h 3"/>
                <a:gd name="T8" fmla="*/ 4233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2" y="3"/>
                    <a:pt x="1" y="3"/>
                    <a:pt x="1" y="3"/>
                  </a:cubicBezTo>
                  <a:cubicBezTo>
                    <a:pt x="0" y="2"/>
                    <a:pt x="1" y="2"/>
                    <a:pt x="1" y="2"/>
                  </a:cubicBezTo>
                  <a:cubicBezTo>
                    <a:pt x="1" y="1"/>
                    <a:pt x="2" y="0"/>
                    <a:pt x="2" y="1"/>
                  </a:cubicBezTo>
                  <a:cubicBezTo>
                    <a:pt x="3" y="2"/>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 name="Freeform 20"/>
            <p:cNvSpPr>
              <a:spLocks noChangeAspect="1"/>
            </p:cNvSpPr>
            <p:nvPr/>
          </p:nvSpPr>
          <p:spPr bwMode="auto">
            <a:xfrm>
              <a:off x="3948934" y="767184"/>
              <a:ext cx="4805" cy="3868"/>
            </a:xfrm>
            <a:custGeom>
              <a:avLst/>
              <a:gdLst>
                <a:gd name="T0" fmla="*/ 2381 w 2"/>
                <a:gd name="T1" fmla="*/ 3175 h 3"/>
                <a:gd name="T2" fmla="*/ 0 w 2"/>
                <a:gd name="T3" fmla="*/ 4762 h 3"/>
                <a:gd name="T4" fmla="*/ 0 w 2"/>
                <a:gd name="T5" fmla="*/ 1587 h 3"/>
                <a:gd name="T6" fmla="*/ 2381 w 2"/>
                <a:gd name="T7" fmla="*/ 0 h 3"/>
                <a:gd name="T8" fmla="*/ 2381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 name="Freeform 21"/>
            <p:cNvSpPr>
              <a:spLocks noChangeAspect="1"/>
            </p:cNvSpPr>
            <p:nvPr/>
          </p:nvSpPr>
          <p:spPr bwMode="auto">
            <a:xfrm>
              <a:off x="3928112" y="756866"/>
              <a:ext cx="6407" cy="6448"/>
            </a:xfrm>
            <a:custGeom>
              <a:avLst/>
              <a:gdLst>
                <a:gd name="T0" fmla="*/ 4233 w 3"/>
                <a:gd name="T1" fmla="*/ 5953 h 4"/>
                <a:gd name="T2" fmla="*/ 2117 w 3"/>
                <a:gd name="T3" fmla="*/ 7937 h 4"/>
                <a:gd name="T4" fmla="*/ 0 w 3"/>
                <a:gd name="T5" fmla="*/ 3969 h 4"/>
                <a:gd name="T6" fmla="*/ 4233 w 3"/>
                <a:gd name="T7" fmla="*/ 1984 h 4"/>
                <a:gd name="T8" fmla="*/ 4233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4"/>
                  </a:cubicBezTo>
                  <a:cubicBezTo>
                    <a:pt x="0" y="3"/>
                    <a:pt x="0" y="3"/>
                    <a:pt x="0" y="2"/>
                  </a:cubicBezTo>
                  <a:cubicBezTo>
                    <a:pt x="1" y="1"/>
                    <a:pt x="1" y="0"/>
                    <a:pt x="2" y="1"/>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 name="Freeform 22"/>
            <p:cNvSpPr>
              <a:spLocks noChangeAspect="1"/>
            </p:cNvSpPr>
            <p:nvPr/>
          </p:nvSpPr>
          <p:spPr bwMode="auto">
            <a:xfrm>
              <a:off x="3929714" y="836827"/>
              <a:ext cx="9610" cy="32242"/>
            </a:xfrm>
            <a:custGeom>
              <a:avLst/>
              <a:gdLst>
                <a:gd name="T0" fmla="*/ 3810 w 5"/>
                <a:gd name="T1" fmla="*/ 1890 h 21"/>
                <a:gd name="T2" fmla="*/ 0 w 5"/>
                <a:gd name="T3" fmla="*/ 11339 h 21"/>
                <a:gd name="T4" fmla="*/ 5715 w 5"/>
                <a:gd name="T5" fmla="*/ 37797 h 21"/>
                <a:gd name="T6" fmla="*/ 9525 w 5"/>
                <a:gd name="T7" fmla="*/ 37797 h 21"/>
                <a:gd name="T8" fmla="*/ 7620 w 5"/>
                <a:gd name="T9" fmla="*/ 7559 h 21"/>
                <a:gd name="T10" fmla="*/ 3810 w 5"/>
                <a:gd name="T11" fmla="*/ 1890 h 21"/>
                <a:gd name="T12" fmla="*/ 0 60000 65536"/>
                <a:gd name="T13" fmla="*/ 0 60000 65536"/>
                <a:gd name="T14" fmla="*/ 0 60000 65536"/>
                <a:gd name="T15" fmla="*/ 0 60000 65536"/>
                <a:gd name="T16" fmla="*/ 0 60000 65536"/>
                <a:gd name="T17" fmla="*/ 0 60000 65536"/>
                <a:gd name="T18" fmla="*/ 0 w 5"/>
                <a:gd name="T19" fmla="*/ 0 h 21"/>
                <a:gd name="T20" fmla="*/ 5 w 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 h="21">
                  <a:moveTo>
                    <a:pt x="2" y="1"/>
                  </a:moveTo>
                  <a:cubicBezTo>
                    <a:pt x="0" y="2"/>
                    <a:pt x="0" y="4"/>
                    <a:pt x="0" y="6"/>
                  </a:cubicBezTo>
                  <a:cubicBezTo>
                    <a:pt x="0" y="11"/>
                    <a:pt x="1" y="16"/>
                    <a:pt x="3" y="20"/>
                  </a:cubicBezTo>
                  <a:cubicBezTo>
                    <a:pt x="3" y="21"/>
                    <a:pt x="5" y="20"/>
                    <a:pt x="5" y="20"/>
                  </a:cubicBezTo>
                  <a:cubicBezTo>
                    <a:pt x="5" y="14"/>
                    <a:pt x="5" y="9"/>
                    <a:pt x="4" y="4"/>
                  </a:cubicBezTo>
                  <a:cubicBezTo>
                    <a:pt x="4" y="3"/>
                    <a:pt x="3"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 name="Freeform 23"/>
            <p:cNvSpPr>
              <a:spLocks noChangeAspect="1"/>
            </p:cNvSpPr>
            <p:nvPr/>
          </p:nvSpPr>
          <p:spPr bwMode="auto">
            <a:xfrm>
              <a:off x="3931315" y="885835"/>
              <a:ext cx="36840" cy="18056"/>
            </a:xfrm>
            <a:custGeom>
              <a:avLst/>
              <a:gdLst>
                <a:gd name="T0" fmla="*/ 1922 w 19"/>
                <a:gd name="T1" fmla="*/ 3704 h 12"/>
                <a:gd name="T2" fmla="*/ 1922 w 19"/>
                <a:gd name="T3" fmla="*/ 18521 h 12"/>
                <a:gd name="T4" fmla="*/ 17296 w 19"/>
                <a:gd name="T5" fmla="*/ 18521 h 12"/>
                <a:gd name="T6" fmla="*/ 30748 w 19"/>
                <a:gd name="T7" fmla="*/ 18521 h 12"/>
                <a:gd name="T8" fmla="*/ 36513 w 19"/>
                <a:gd name="T9" fmla="*/ 12965 h 12"/>
                <a:gd name="T10" fmla="*/ 34591 w 19"/>
                <a:gd name="T11" fmla="*/ 9260 h 12"/>
                <a:gd name="T12" fmla="*/ 26904 w 19"/>
                <a:gd name="T13" fmla="*/ 12965 h 12"/>
                <a:gd name="T14" fmla="*/ 19217 w 19"/>
                <a:gd name="T15" fmla="*/ 7408 h 12"/>
                <a:gd name="T16" fmla="*/ 23061 w 19"/>
                <a:gd name="T17" fmla="*/ 3704 h 12"/>
                <a:gd name="T18" fmla="*/ 21139 w 19"/>
                <a:gd name="T19" fmla="*/ 0 h 12"/>
                <a:gd name="T20" fmla="*/ 15374 w 19"/>
                <a:gd name="T21" fmla="*/ 7408 h 12"/>
                <a:gd name="T22" fmla="*/ 9609 w 19"/>
                <a:gd name="T23" fmla="*/ 1852 h 12"/>
                <a:gd name="T24" fmla="*/ 1922 w 19"/>
                <a:gd name="T25" fmla="*/ 3704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2"/>
                <a:gd name="T41" fmla="*/ 19 w 19"/>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2">
                  <a:moveTo>
                    <a:pt x="1" y="2"/>
                  </a:moveTo>
                  <a:cubicBezTo>
                    <a:pt x="2" y="4"/>
                    <a:pt x="1" y="8"/>
                    <a:pt x="1" y="10"/>
                  </a:cubicBezTo>
                  <a:cubicBezTo>
                    <a:pt x="2" y="12"/>
                    <a:pt x="7" y="10"/>
                    <a:pt x="9" y="10"/>
                  </a:cubicBezTo>
                  <a:cubicBezTo>
                    <a:pt x="11" y="10"/>
                    <a:pt x="14" y="11"/>
                    <a:pt x="16" y="10"/>
                  </a:cubicBezTo>
                  <a:cubicBezTo>
                    <a:pt x="17" y="10"/>
                    <a:pt x="18" y="9"/>
                    <a:pt x="19" y="7"/>
                  </a:cubicBezTo>
                  <a:cubicBezTo>
                    <a:pt x="19" y="7"/>
                    <a:pt x="19" y="5"/>
                    <a:pt x="18" y="5"/>
                  </a:cubicBezTo>
                  <a:cubicBezTo>
                    <a:pt x="17" y="5"/>
                    <a:pt x="16" y="8"/>
                    <a:pt x="14" y="7"/>
                  </a:cubicBezTo>
                  <a:cubicBezTo>
                    <a:pt x="13" y="7"/>
                    <a:pt x="11" y="6"/>
                    <a:pt x="10" y="4"/>
                  </a:cubicBezTo>
                  <a:cubicBezTo>
                    <a:pt x="10" y="3"/>
                    <a:pt x="12" y="3"/>
                    <a:pt x="12" y="2"/>
                  </a:cubicBezTo>
                  <a:cubicBezTo>
                    <a:pt x="12" y="1"/>
                    <a:pt x="12" y="0"/>
                    <a:pt x="11" y="0"/>
                  </a:cubicBezTo>
                  <a:cubicBezTo>
                    <a:pt x="9" y="1"/>
                    <a:pt x="10" y="4"/>
                    <a:pt x="8" y="4"/>
                  </a:cubicBezTo>
                  <a:cubicBezTo>
                    <a:pt x="7" y="4"/>
                    <a:pt x="7" y="1"/>
                    <a:pt x="5" y="1"/>
                  </a:cubicBezTo>
                  <a:cubicBezTo>
                    <a:pt x="4" y="1"/>
                    <a:pt x="0" y="0"/>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 name="Freeform 24"/>
            <p:cNvSpPr>
              <a:spLocks noChangeAspect="1"/>
            </p:cNvSpPr>
            <p:nvPr/>
          </p:nvSpPr>
          <p:spPr bwMode="auto">
            <a:xfrm>
              <a:off x="3899281" y="898731"/>
              <a:ext cx="12814" cy="12897"/>
            </a:xfrm>
            <a:custGeom>
              <a:avLst/>
              <a:gdLst>
                <a:gd name="T0" fmla="*/ 3629 w 7"/>
                <a:gd name="T1" fmla="*/ 1764 h 9"/>
                <a:gd name="T2" fmla="*/ 1814 w 7"/>
                <a:gd name="T3" fmla="*/ 14111 h 9"/>
                <a:gd name="T4" fmla="*/ 9071 w 7"/>
                <a:gd name="T5" fmla="*/ 14111 h 9"/>
                <a:gd name="T6" fmla="*/ 12700 w 7"/>
                <a:gd name="T7" fmla="*/ 10583 h 9"/>
                <a:gd name="T8" fmla="*/ 9071 w 7"/>
                <a:gd name="T9" fmla="*/ 7056 h 9"/>
                <a:gd name="T10" fmla="*/ 10886 w 7"/>
                <a:gd name="T11" fmla="*/ 3528 h 9"/>
                <a:gd name="T12" fmla="*/ 3629 w 7"/>
                <a:gd name="T13" fmla="*/ 1764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2" y="1"/>
                  </a:moveTo>
                  <a:cubicBezTo>
                    <a:pt x="1" y="3"/>
                    <a:pt x="0" y="6"/>
                    <a:pt x="1" y="8"/>
                  </a:cubicBezTo>
                  <a:cubicBezTo>
                    <a:pt x="2" y="9"/>
                    <a:pt x="4" y="9"/>
                    <a:pt x="5" y="8"/>
                  </a:cubicBezTo>
                  <a:cubicBezTo>
                    <a:pt x="6" y="8"/>
                    <a:pt x="7" y="7"/>
                    <a:pt x="7" y="6"/>
                  </a:cubicBezTo>
                  <a:cubicBezTo>
                    <a:pt x="7" y="5"/>
                    <a:pt x="6" y="5"/>
                    <a:pt x="5" y="4"/>
                  </a:cubicBezTo>
                  <a:cubicBezTo>
                    <a:pt x="5" y="3"/>
                    <a:pt x="6" y="2"/>
                    <a:pt x="6" y="2"/>
                  </a:cubicBezTo>
                  <a:cubicBezTo>
                    <a:pt x="5" y="1"/>
                    <a:pt x="3"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 name="Freeform 25"/>
            <p:cNvSpPr>
              <a:spLocks noChangeAspect="1"/>
            </p:cNvSpPr>
            <p:nvPr/>
          </p:nvSpPr>
          <p:spPr bwMode="auto">
            <a:xfrm>
              <a:off x="3868849" y="921946"/>
              <a:ext cx="36839" cy="15476"/>
            </a:xfrm>
            <a:custGeom>
              <a:avLst/>
              <a:gdLst>
                <a:gd name="T0" fmla="*/ 1922 w 19"/>
                <a:gd name="T1" fmla="*/ 1905 h 10"/>
                <a:gd name="T2" fmla="*/ 1922 w 19"/>
                <a:gd name="T3" fmla="*/ 7620 h 10"/>
                <a:gd name="T4" fmla="*/ 13452 w 19"/>
                <a:gd name="T5" fmla="*/ 11430 h 10"/>
                <a:gd name="T6" fmla="*/ 21139 w 19"/>
                <a:gd name="T7" fmla="*/ 15240 h 10"/>
                <a:gd name="T8" fmla="*/ 34590 w 19"/>
                <a:gd name="T9" fmla="*/ 15240 h 10"/>
                <a:gd name="T10" fmla="*/ 30747 w 19"/>
                <a:gd name="T11" fmla="*/ 7620 h 10"/>
                <a:gd name="T12" fmla="*/ 24982 w 19"/>
                <a:gd name="T13" fmla="*/ 3810 h 10"/>
                <a:gd name="T14" fmla="*/ 1922 w 19"/>
                <a:gd name="T15" fmla="*/ 1905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 name="Freeform 26"/>
            <p:cNvSpPr>
              <a:spLocks noChangeAspect="1"/>
            </p:cNvSpPr>
            <p:nvPr/>
          </p:nvSpPr>
          <p:spPr bwMode="auto">
            <a:xfrm>
              <a:off x="3803178" y="976112"/>
              <a:ext cx="64069" cy="24503"/>
            </a:xfrm>
            <a:custGeom>
              <a:avLst/>
              <a:gdLst>
                <a:gd name="T0" fmla="*/ 1924 w 33"/>
                <a:gd name="T1" fmla="*/ 1885 h 16"/>
                <a:gd name="T2" fmla="*/ 1924 w 33"/>
                <a:gd name="T3" fmla="*/ 7541 h 16"/>
                <a:gd name="T4" fmla="*/ 17318 w 33"/>
                <a:gd name="T5" fmla="*/ 16966 h 16"/>
                <a:gd name="T6" fmla="*/ 30788 w 33"/>
                <a:gd name="T7" fmla="*/ 18851 h 16"/>
                <a:gd name="T8" fmla="*/ 57727 w 33"/>
                <a:gd name="T9" fmla="*/ 30162 h 16"/>
                <a:gd name="T10" fmla="*/ 57727 w 33"/>
                <a:gd name="T11" fmla="*/ 26392 h 16"/>
                <a:gd name="T12" fmla="*/ 40409 w 33"/>
                <a:gd name="T13" fmla="*/ 16966 h 16"/>
                <a:gd name="T14" fmla="*/ 44258 w 33"/>
                <a:gd name="T15" fmla="*/ 15081 h 16"/>
                <a:gd name="T16" fmla="*/ 61576 w 33"/>
                <a:gd name="T17" fmla="*/ 20736 h 16"/>
                <a:gd name="T18" fmla="*/ 59652 w 33"/>
                <a:gd name="T19" fmla="*/ 15081 h 16"/>
                <a:gd name="T20" fmla="*/ 34636 w 33"/>
                <a:gd name="T21" fmla="*/ 5655 h 16"/>
                <a:gd name="T22" fmla="*/ 17318 w 33"/>
                <a:gd name="T23" fmla="*/ 1885 h 16"/>
                <a:gd name="T24" fmla="*/ 1924 w 33"/>
                <a:gd name="T25" fmla="*/ 188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Freeform 27"/>
            <p:cNvSpPr>
              <a:spLocks noChangeAspect="1"/>
            </p:cNvSpPr>
            <p:nvPr/>
          </p:nvSpPr>
          <p:spPr bwMode="auto">
            <a:xfrm>
              <a:off x="3804780" y="969664"/>
              <a:ext cx="59263" cy="12897"/>
            </a:xfrm>
            <a:custGeom>
              <a:avLst/>
              <a:gdLst>
                <a:gd name="T0" fmla="*/ 1895 w 31"/>
                <a:gd name="T1" fmla="*/ 1984 h 8"/>
                <a:gd name="T2" fmla="*/ 3789 w 31"/>
                <a:gd name="T3" fmla="*/ 5953 h 8"/>
                <a:gd name="T4" fmla="*/ 30316 w 31"/>
                <a:gd name="T5" fmla="*/ 5953 h 8"/>
                <a:gd name="T6" fmla="*/ 43579 w 31"/>
                <a:gd name="T7" fmla="*/ 13891 h 8"/>
                <a:gd name="T8" fmla="*/ 56842 w 31"/>
                <a:gd name="T9" fmla="*/ 13891 h 8"/>
                <a:gd name="T10" fmla="*/ 53053 w 31"/>
                <a:gd name="T11" fmla="*/ 9922 h 8"/>
                <a:gd name="T12" fmla="*/ 54948 w 31"/>
                <a:gd name="T13" fmla="*/ 3969 h 8"/>
                <a:gd name="T14" fmla="*/ 47369 w 31"/>
                <a:gd name="T15" fmla="*/ 0 h 8"/>
                <a:gd name="T16" fmla="*/ 28421 w 31"/>
                <a:gd name="T17" fmla="*/ 1984 h 8"/>
                <a:gd name="T18" fmla="*/ 1895 w 31"/>
                <a:gd name="T19" fmla="*/ 1984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Freeform 29"/>
            <p:cNvSpPr>
              <a:spLocks noChangeAspect="1"/>
            </p:cNvSpPr>
            <p:nvPr/>
          </p:nvSpPr>
          <p:spPr bwMode="auto">
            <a:xfrm>
              <a:off x="7514345" y="2874520"/>
              <a:ext cx="243461" cy="198610"/>
            </a:xfrm>
            <a:custGeom>
              <a:avLst/>
              <a:gdLst>
                <a:gd name="T0" fmla="*/ 224200 w 127"/>
                <a:gd name="T1" fmla="*/ 231105 h 128"/>
                <a:gd name="T2" fmla="*/ 191900 w 127"/>
                <a:gd name="T3" fmla="*/ 219645 h 128"/>
                <a:gd name="T4" fmla="*/ 191900 w 127"/>
                <a:gd name="T5" fmla="*/ 206276 h 128"/>
                <a:gd name="T6" fmla="*/ 182400 w 127"/>
                <a:gd name="T7" fmla="*/ 190996 h 128"/>
                <a:gd name="T8" fmla="*/ 186200 w 127"/>
                <a:gd name="T9" fmla="*/ 179536 h 128"/>
                <a:gd name="T10" fmla="*/ 176700 w 127"/>
                <a:gd name="T11" fmla="*/ 158527 h 128"/>
                <a:gd name="T12" fmla="*/ 159600 w 127"/>
                <a:gd name="T13" fmla="*/ 133697 h 128"/>
                <a:gd name="T14" fmla="*/ 115900 w 127"/>
                <a:gd name="T15" fmla="*/ 114598 h 128"/>
                <a:gd name="T16" fmla="*/ 89300 w 127"/>
                <a:gd name="T17" fmla="*/ 106958 h 128"/>
                <a:gd name="T18" fmla="*/ 81700 w 127"/>
                <a:gd name="T19" fmla="*/ 101228 h 128"/>
                <a:gd name="T20" fmla="*/ 66500 w 127"/>
                <a:gd name="T21" fmla="*/ 85948 h 128"/>
                <a:gd name="T22" fmla="*/ 66500 w 127"/>
                <a:gd name="T23" fmla="*/ 72579 h 128"/>
                <a:gd name="T24" fmla="*/ 58900 w 127"/>
                <a:gd name="T25" fmla="*/ 95498 h 128"/>
                <a:gd name="T26" fmla="*/ 45600 w 127"/>
                <a:gd name="T27" fmla="*/ 101228 h 128"/>
                <a:gd name="T28" fmla="*/ 45600 w 127"/>
                <a:gd name="T29" fmla="*/ 89768 h 128"/>
                <a:gd name="T30" fmla="*/ 24700 w 127"/>
                <a:gd name="T31" fmla="*/ 70669 h 128"/>
                <a:gd name="T32" fmla="*/ 47500 w 127"/>
                <a:gd name="T33" fmla="*/ 66849 h 128"/>
                <a:gd name="T34" fmla="*/ 60800 w 127"/>
                <a:gd name="T35" fmla="*/ 64939 h 128"/>
                <a:gd name="T36" fmla="*/ 70300 w 127"/>
                <a:gd name="T37" fmla="*/ 49659 h 128"/>
                <a:gd name="T38" fmla="*/ 32300 w 127"/>
                <a:gd name="T39" fmla="*/ 53479 h 128"/>
                <a:gd name="T40" fmla="*/ 17100 w 127"/>
                <a:gd name="T41" fmla="*/ 32469 h 128"/>
                <a:gd name="T42" fmla="*/ 7600 w 127"/>
                <a:gd name="T43" fmla="*/ 22920 h 128"/>
                <a:gd name="T44" fmla="*/ 30400 w 127"/>
                <a:gd name="T45" fmla="*/ 5730 h 128"/>
                <a:gd name="T46" fmla="*/ 62700 w 127"/>
                <a:gd name="T47" fmla="*/ 11460 h 128"/>
                <a:gd name="T48" fmla="*/ 81700 w 127"/>
                <a:gd name="T49" fmla="*/ 26739 h 128"/>
                <a:gd name="T50" fmla="*/ 85500 w 127"/>
                <a:gd name="T51" fmla="*/ 70669 h 128"/>
                <a:gd name="T52" fmla="*/ 89300 w 127"/>
                <a:gd name="T53" fmla="*/ 64939 h 128"/>
                <a:gd name="T54" fmla="*/ 104500 w 127"/>
                <a:gd name="T55" fmla="*/ 85948 h 128"/>
                <a:gd name="T56" fmla="*/ 129200 w 127"/>
                <a:gd name="T57" fmla="*/ 53479 h 128"/>
                <a:gd name="T58" fmla="*/ 150100 w 127"/>
                <a:gd name="T59" fmla="*/ 40109 h 128"/>
                <a:gd name="T60" fmla="*/ 178600 w 127"/>
                <a:gd name="T61" fmla="*/ 34379 h 128"/>
                <a:gd name="T62" fmla="*/ 220400 w 127"/>
                <a:gd name="T63" fmla="*/ 57299 h 128"/>
                <a:gd name="T64" fmla="*/ 241300 w 127"/>
                <a:gd name="T65" fmla="*/ 166167 h 128"/>
                <a:gd name="T66" fmla="*/ 239400 w 127"/>
                <a:gd name="T67" fmla="*/ 183356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Freeform 30"/>
            <p:cNvSpPr>
              <a:spLocks noChangeAspect="1"/>
            </p:cNvSpPr>
            <p:nvPr/>
          </p:nvSpPr>
          <p:spPr bwMode="auto">
            <a:xfrm>
              <a:off x="7323741" y="3069261"/>
              <a:ext cx="43247" cy="34822"/>
            </a:xfrm>
            <a:custGeom>
              <a:avLst/>
              <a:gdLst>
                <a:gd name="T0" fmla="*/ 37272 w 23"/>
                <a:gd name="T1" fmla="*/ 0 h 23"/>
                <a:gd name="T2" fmla="*/ 29818 w 23"/>
                <a:gd name="T3" fmla="*/ 7454 h 23"/>
                <a:gd name="T4" fmla="*/ 16772 w 23"/>
                <a:gd name="T5" fmla="*/ 11182 h 23"/>
                <a:gd name="T6" fmla="*/ 7454 w 23"/>
                <a:gd name="T7" fmla="*/ 18636 h 23"/>
                <a:gd name="T8" fmla="*/ 5591 w 23"/>
                <a:gd name="T9" fmla="*/ 31681 h 23"/>
                <a:gd name="T10" fmla="*/ 0 w 23"/>
                <a:gd name="T11" fmla="*/ 39136 h 23"/>
                <a:gd name="T12" fmla="*/ 5591 w 23"/>
                <a:gd name="T13" fmla="*/ 40999 h 23"/>
                <a:gd name="T14" fmla="*/ 20500 w 23"/>
                <a:gd name="T15" fmla="*/ 35409 h 23"/>
                <a:gd name="T16" fmla="*/ 26091 w 23"/>
                <a:gd name="T17" fmla="*/ 33545 h 23"/>
                <a:gd name="T18" fmla="*/ 37272 w 23"/>
                <a:gd name="T19" fmla="*/ 22363 h 23"/>
                <a:gd name="T20" fmla="*/ 42863 w 23"/>
                <a:gd name="T21" fmla="*/ 14909 h 23"/>
                <a:gd name="T22" fmla="*/ 42863 w 23"/>
                <a:gd name="T23" fmla="*/ 5591 h 23"/>
                <a:gd name="T24" fmla="*/ 37272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Freeform 31"/>
            <p:cNvSpPr>
              <a:spLocks noChangeAspect="1"/>
            </p:cNvSpPr>
            <p:nvPr/>
          </p:nvSpPr>
          <p:spPr bwMode="auto">
            <a:xfrm>
              <a:off x="4722561" y="3372335"/>
              <a:ext cx="395623" cy="304364"/>
            </a:xfrm>
            <a:custGeom>
              <a:avLst/>
              <a:gdLst>
                <a:gd name="T0" fmla="*/ 373078 w 206"/>
                <a:gd name="T1" fmla="*/ 135026 h 197"/>
                <a:gd name="T2" fmla="*/ 363561 w 206"/>
                <a:gd name="T3" fmla="*/ 150240 h 197"/>
                <a:gd name="T4" fmla="*/ 340720 w 206"/>
                <a:gd name="T5" fmla="*/ 136928 h 197"/>
                <a:gd name="T6" fmla="*/ 346430 w 206"/>
                <a:gd name="T7" fmla="*/ 112205 h 197"/>
                <a:gd name="T8" fmla="*/ 373078 w 206"/>
                <a:gd name="T9" fmla="*/ 114107 h 197"/>
                <a:gd name="T10" fmla="*/ 369271 w 206"/>
                <a:gd name="T11" fmla="*/ 98892 h 197"/>
                <a:gd name="T12" fmla="*/ 367368 w 206"/>
                <a:gd name="T13" fmla="*/ 57053 h 197"/>
                <a:gd name="T14" fmla="*/ 363561 w 206"/>
                <a:gd name="T15" fmla="*/ 30428 h 197"/>
                <a:gd name="T16" fmla="*/ 357851 w 206"/>
                <a:gd name="T17" fmla="*/ 7607 h 197"/>
                <a:gd name="T18" fmla="*/ 346430 w 206"/>
                <a:gd name="T19" fmla="*/ 3804 h 197"/>
                <a:gd name="T20" fmla="*/ 319781 w 206"/>
                <a:gd name="T21" fmla="*/ 1902 h 197"/>
                <a:gd name="T22" fmla="*/ 298843 w 206"/>
                <a:gd name="T23" fmla="*/ 5705 h 197"/>
                <a:gd name="T24" fmla="*/ 277905 w 206"/>
                <a:gd name="T25" fmla="*/ 19018 h 197"/>
                <a:gd name="T26" fmla="*/ 251257 w 206"/>
                <a:gd name="T27" fmla="*/ 57053 h 197"/>
                <a:gd name="T28" fmla="*/ 226512 w 206"/>
                <a:gd name="T29" fmla="*/ 72268 h 197"/>
                <a:gd name="T30" fmla="*/ 218898 w 206"/>
                <a:gd name="T31" fmla="*/ 100794 h 197"/>
                <a:gd name="T32" fmla="*/ 194153 w 206"/>
                <a:gd name="T33" fmla="*/ 104598 h 197"/>
                <a:gd name="T34" fmla="*/ 173215 w 206"/>
                <a:gd name="T35" fmla="*/ 89384 h 197"/>
                <a:gd name="T36" fmla="*/ 154180 w 206"/>
                <a:gd name="T37" fmla="*/ 93187 h 197"/>
                <a:gd name="T38" fmla="*/ 140856 w 206"/>
                <a:gd name="T39" fmla="*/ 117910 h 197"/>
                <a:gd name="T40" fmla="*/ 125628 w 206"/>
                <a:gd name="T41" fmla="*/ 133124 h 197"/>
                <a:gd name="T42" fmla="*/ 98980 w 206"/>
                <a:gd name="T43" fmla="*/ 135026 h 197"/>
                <a:gd name="T44" fmla="*/ 102787 w 206"/>
                <a:gd name="T45" fmla="*/ 110303 h 197"/>
                <a:gd name="T46" fmla="*/ 93270 w 206"/>
                <a:gd name="T47" fmla="*/ 83678 h 197"/>
                <a:gd name="T48" fmla="*/ 83752 w 206"/>
                <a:gd name="T49" fmla="*/ 182571 h 197"/>
                <a:gd name="T50" fmla="*/ 70428 w 206"/>
                <a:gd name="T51" fmla="*/ 192079 h 197"/>
                <a:gd name="T52" fmla="*/ 53297 w 206"/>
                <a:gd name="T53" fmla="*/ 193981 h 197"/>
                <a:gd name="T54" fmla="*/ 24745 w 206"/>
                <a:gd name="T55" fmla="*/ 192079 h 197"/>
                <a:gd name="T56" fmla="*/ 13324 w 206"/>
                <a:gd name="T57" fmla="*/ 171160 h 197"/>
                <a:gd name="T58" fmla="*/ 7614 w 206"/>
                <a:gd name="T59" fmla="*/ 186374 h 197"/>
                <a:gd name="T60" fmla="*/ 5710 w 206"/>
                <a:gd name="T61" fmla="*/ 205392 h 197"/>
                <a:gd name="T62" fmla="*/ 30455 w 206"/>
                <a:gd name="T63" fmla="*/ 266249 h 197"/>
                <a:gd name="T64" fmla="*/ 39973 w 206"/>
                <a:gd name="T65" fmla="*/ 309990 h 197"/>
                <a:gd name="T66" fmla="*/ 32359 w 206"/>
                <a:gd name="T67" fmla="*/ 315695 h 197"/>
                <a:gd name="T68" fmla="*/ 41876 w 206"/>
                <a:gd name="T69" fmla="*/ 344222 h 197"/>
                <a:gd name="T70" fmla="*/ 53297 w 206"/>
                <a:gd name="T71" fmla="*/ 355632 h 197"/>
                <a:gd name="T72" fmla="*/ 78042 w 206"/>
                <a:gd name="T73" fmla="*/ 372748 h 197"/>
                <a:gd name="T74" fmla="*/ 102787 w 206"/>
                <a:gd name="T75" fmla="*/ 357534 h 197"/>
                <a:gd name="T76" fmla="*/ 127532 w 206"/>
                <a:gd name="T77" fmla="*/ 351829 h 197"/>
                <a:gd name="T78" fmla="*/ 157987 w 206"/>
                <a:gd name="T79" fmla="*/ 351829 h 197"/>
                <a:gd name="T80" fmla="*/ 192250 w 206"/>
                <a:gd name="T81" fmla="*/ 351829 h 197"/>
                <a:gd name="T82" fmla="*/ 213188 w 206"/>
                <a:gd name="T83" fmla="*/ 346123 h 197"/>
                <a:gd name="T84" fmla="*/ 234126 w 206"/>
                <a:gd name="T85" fmla="*/ 338516 h 197"/>
                <a:gd name="T86" fmla="*/ 268388 w 206"/>
                <a:gd name="T87" fmla="*/ 317597 h 197"/>
                <a:gd name="T88" fmla="*/ 302650 w 206"/>
                <a:gd name="T89" fmla="*/ 281463 h 197"/>
                <a:gd name="T90" fmla="*/ 327395 w 206"/>
                <a:gd name="T91" fmla="*/ 254838 h 197"/>
                <a:gd name="T92" fmla="*/ 348333 w 206"/>
                <a:gd name="T93" fmla="*/ 211097 h 197"/>
                <a:gd name="T94" fmla="*/ 373078 w 206"/>
                <a:gd name="T95" fmla="*/ 192079 h 197"/>
                <a:gd name="T96" fmla="*/ 386403 w 206"/>
                <a:gd name="T97" fmla="*/ 154044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 name="Freeform 32"/>
            <p:cNvSpPr>
              <a:spLocks noChangeAspect="1"/>
            </p:cNvSpPr>
            <p:nvPr/>
          </p:nvSpPr>
          <p:spPr bwMode="auto">
            <a:xfrm>
              <a:off x="5063726" y="3457455"/>
              <a:ext cx="35238" cy="37400"/>
            </a:xfrm>
            <a:custGeom>
              <a:avLst/>
              <a:gdLst>
                <a:gd name="T0" fmla="*/ 34925 w 18"/>
                <a:gd name="T1" fmla="*/ 30691 h 24"/>
                <a:gd name="T2" fmla="*/ 34925 w 18"/>
                <a:gd name="T3" fmla="*/ 21100 h 24"/>
                <a:gd name="T4" fmla="*/ 34925 w 18"/>
                <a:gd name="T5" fmla="*/ 9591 h 24"/>
                <a:gd name="T6" fmla="*/ 17463 w 18"/>
                <a:gd name="T7" fmla="*/ 0 h 24"/>
                <a:gd name="T8" fmla="*/ 7761 w 18"/>
                <a:gd name="T9" fmla="*/ 7673 h 24"/>
                <a:gd name="T10" fmla="*/ 1940 w 18"/>
                <a:gd name="T11" fmla="*/ 19182 h 24"/>
                <a:gd name="T12" fmla="*/ 1940 w 18"/>
                <a:gd name="T13" fmla="*/ 32610 h 24"/>
                <a:gd name="T14" fmla="*/ 13582 w 18"/>
                <a:gd name="T15" fmla="*/ 42201 h 24"/>
                <a:gd name="T16" fmla="*/ 25224 w 18"/>
                <a:gd name="T17" fmla="*/ 46037 h 24"/>
                <a:gd name="T18" fmla="*/ 31044 w 18"/>
                <a:gd name="T19" fmla="*/ 42201 h 24"/>
                <a:gd name="T20" fmla="*/ 34925 w 18"/>
                <a:gd name="T21" fmla="*/ 3069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 name="Freeform 33"/>
            <p:cNvSpPr>
              <a:spLocks noChangeAspect="1"/>
            </p:cNvSpPr>
            <p:nvPr/>
          </p:nvSpPr>
          <p:spPr bwMode="auto">
            <a:xfrm>
              <a:off x="4608839" y="3252395"/>
              <a:ext cx="328351" cy="282440"/>
            </a:xfrm>
            <a:custGeom>
              <a:avLst/>
              <a:gdLst>
                <a:gd name="T0" fmla="*/ 325437 w 171"/>
                <a:gd name="T1" fmla="*/ 28654 h 182"/>
                <a:gd name="T2" fmla="*/ 315921 w 171"/>
                <a:gd name="T3" fmla="*/ 26743 h 182"/>
                <a:gd name="T4" fmla="*/ 310212 w 171"/>
                <a:gd name="T5" fmla="*/ 32474 h 182"/>
                <a:gd name="T6" fmla="*/ 302599 w 171"/>
                <a:gd name="T7" fmla="*/ 28654 h 182"/>
                <a:gd name="T8" fmla="*/ 291180 w 171"/>
                <a:gd name="T9" fmla="*/ 43935 h 182"/>
                <a:gd name="T10" fmla="*/ 281665 w 171"/>
                <a:gd name="T11" fmla="*/ 43935 h 182"/>
                <a:gd name="T12" fmla="*/ 272149 w 171"/>
                <a:gd name="T13" fmla="*/ 32474 h 182"/>
                <a:gd name="T14" fmla="*/ 256924 w 171"/>
                <a:gd name="T15" fmla="*/ 34384 h 182"/>
                <a:gd name="T16" fmla="*/ 234086 w 171"/>
                <a:gd name="T17" fmla="*/ 40115 h 182"/>
                <a:gd name="T18" fmla="*/ 224571 w 171"/>
                <a:gd name="T19" fmla="*/ 40115 h 182"/>
                <a:gd name="T20" fmla="*/ 224571 w 171"/>
                <a:gd name="T21" fmla="*/ 143268 h 182"/>
                <a:gd name="T22" fmla="*/ 197927 w 171"/>
                <a:gd name="T23" fmla="*/ 143268 h 182"/>
                <a:gd name="T24" fmla="*/ 197927 w 171"/>
                <a:gd name="T25" fmla="*/ 223498 h 182"/>
                <a:gd name="T26" fmla="*/ 196023 w 171"/>
                <a:gd name="T27" fmla="*/ 330471 h 182"/>
                <a:gd name="T28" fmla="*/ 190314 w 171"/>
                <a:gd name="T29" fmla="*/ 336202 h 182"/>
                <a:gd name="T30" fmla="*/ 182701 w 171"/>
                <a:gd name="T31" fmla="*/ 340022 h 182"/>
                <a:gd name="T32" fmla="*/ 176992 w 171"/>
                <a:gd name="T33" fmla="*/ 345753 h 182"/>
                <a:gd name="T34" fmla="*/ 165573 w 171"/>
                <a:gd name="T35" fmla="*/ 341932 h 182"/>
                <a:gd name="T36" fmla="*/ 150348 w 171"/>
                <a:gd name="T37" fmla="*/ 345753 h 182"/>
                <a:gd name="T38" fmla="*/ 137026 w 171"/>
                <a:gd name="T39" fmla="*/ 340022 h 182"/>
                <a:gd name="T40" fmla="*/ 133220 w 171"/>
                <a:gd name="T41" fmla="*/ 328561 h 182"/>
                <a:gd name="T42" fmla="*/ 125607 w 171"/>
                <a:gd name="T43" fmla="*/ 319009 h 182"/>
                <a:gd name="T44" fmla="*/ 119898 w 171"/>
                <a:gd name="T45" fmla="*/ 322830 h 182"/>
                <a:gd name="T46" fmla="*/ 119898 w 171"/>
                <a:gd name="T47" fmla="*/ 334291 h 182"/>
                <a:gd name="T48" fmla="*/ 112285 w 171"/>
                <a:gd name="T49" fmla="*/ 334291 h 182"/>
                <a:gd name="T50" fmla="*/ 95157 w 171"/>
                <a:gd name="T51" fmla="*/ 320920 h 182"/>
                <a:gd name="T52" fmla="*/ 83738 w 171"/>
                <a:gd name="T53" fmla="*/ 294176 h 182"/>
                <a:gd name="T54" fmla="*/ 83738 w 171"/>
                <a:gd name="T55" fmla="*/ 278895 h 182"/>
                <a:gd name="T56" fmla="*/ 76126 w 171"/>
                <a:gd name="T57" fmla="*/ 267433 h 182"/>
                <a:gd name="T58" fmla="*/ 78029 w 171"/>
                <a:gd name="T59" fmla="*/ 257882 h 182"/>
                <a:gd name="T60" fmla="*/ 74222 w 171"/>
                <a:gd name="T61" fmla="*/ 248331 h 182"/>
                <a:gd name="T62" fmla="*/ 74222 w 171"/>
                <a:gd name="T63" fmla="*/ 234959 h 182"/>
                <a:gd name="T64" fmla="*/ 70416 w 171"/>
                <a:gd name="T65" fmla="*/ 217767 h 182"/>
                <a:gd name="T66" fmla="*/ 66610 w 171"/>
                <a:gd name="T67" fmla="*/ 196754 h 182"/>
                <a:gd name="T68" fmla="*/ 66610 w 171"/>
                <a:gd name="T69" fmla="*/ 175742 h 182"/>
                <a:gd name="T70" fmla="*/ 70416 w 171"/>
                <a:gd name="T71" fmla="*/ 162370 h 182"/>
                <a:gd name="T72" fmla="*/ 49482 w 171"/>
                <a:gd name="T73" fmla="*/ 135627 h 182"/>
                <a:gd name="T74" fmla="*/ 38063 w 171"/>
                <a:gd name="T75" fmla="*/ 112704 h 182"/>
                <a:gd name="T76" fmla="*/ 38063 w 171"/>
                <a:gd name="T77" fmla="*/ 93602 h 182"/>
                <a:gd name="T78" fmla="*/ 24741 w 171"/>
                <a:gd name="T79" fmla="*/ 78320 h 182"/>
                <a:gd name="T80" fmla="*/ 19031 w 171"/>
                <a:gd name="T81" fmla="*/ 59217 h 182"/>
                <a:gd name="T82" fmla="*/ 1903 w 171"/>
                <a:gd name="T83" fmla="*/ 36294 h 182"/>
                <a:gd name="T84" fmla="*/ 0 w 171"/>
                <a:gd name="T85" fmla="*/ 19102 h 182"/>
                <a:gd name="T86" fmla="*/ 3806 w 171"/>
                <a:gd name="T87" fmla="*/ 7641 h 182"/>
                <a:gd name="T88" fmla="*/ 17128 w 171"/>
                <a:gd name="T89" fmla="*/ 7641 h 182"/>
                <a:gd name="T90" fmla="*/ 32353 w 171"/>
                <a:gd name="T91" fmla="*/ 0 h 182"/>
                <a:gd name="T92" fmla="*/ 45675 w 171"/>
                <a:gd name="T93" fmla="*/ 3820 h 182"/>
                <a:gd name="T94" fmla="*/ 57094 w 171"/>
                <a:gd name="T95" fmla="*/ 11461 h 182"/>
                <a:gd name="T96" fmla="*/ 161767 w 171"/>
                <a:gd name="T97" fmla="*/ 11461 h 182"/>
                <a:gd name="T98" fmla="*/ 173186 w 171"/>
                <a:gd name="T99" fmla="*/ 22923 h 182"/>
                <a:gd name="T100" fmla="*/ 188411 w 171"/>
                <a:gd name="T101" fmla="*/ 26743 h 182"/>
                <a:gd name="T102" fmla="*/ 211249 w 171"/>
                <a:gd name="T103" fmla="*/ 30564 h 182"/>
                <a:gd name="T104" fmla="*/ 224571 w 171"/>
                <a:gd name="T105" fmla="*/ 26743 h 182"/>
                <a:gd name="T106" fmla="*/ 239796 w 171"/>
                <a:gd name="T107" fmla="*/ 30564 h 182"/>
                <a:gd name="T108" fmla="*/ 285471 w 171"/>
                <a:gd name="T109" fmla="*/ 21013 h 182"/>
                <a:gd name="T110" fmla="*/ 306406 w 171"/>
                <a:gd name="T111" fmla="*/ 15282 h 182"/>
                <a:gd name="T112" fmla="*/ 315921 w 171"/>
                <a:gd name="T113" fmla="*/ 17192 h 182"/>
                <a:gd name="T114" fmla="*/ 325437 w 171"/>
                <a:gd name="T115" fmla="*/ 28654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 name="Freeform 34"/>
            <p:cNvSpPr>
              <a:spLocks noChangeAspect="1"/>
            </p:cNvSpPr>
            <p:nvPr/>
          </p:nvSpPr>
          <p:spPr bwMode="auto">
            <a:xfrm>
              <a:off x="4809052" y="3274320"/>
              <a:ext cx="222638" cy="208928"/>
            </a:xfrm>
            <a:custGeom>
              <a:avLst/>
              <a:gdLst>
                <a:gd name="T0" fmla="*/ 220663 w 116"/>
                <a:gd name="T1" fmla="*/ 120015 h 135"/>
                <a:gd name="T2" fmla="*/ 216858 w 116"/>
                <a:gd name="T3" fmla="*/ 116205 h 135"/>
                <a:gd name="T4" fmla="*/ 216858 w 116"/>
                <a:gd name="T5" fmla="*/ 110490 h 135"/>
                <a:gd name="T6" fmla="*/ 203543 w 116"/>
                <a:gd name="T7" fmla="*/ 104775 h 135"/>
                <a:gd name="T8" fmla="*/ 192129 w 116"/>
                <a:gd name="T9" fmla="*/ 102870 h 135"/>
                <a:gd name="T10" fmla="*/ 184520 w 116"/>
                <a:gd name="T11" fmla="*/ 91440 h 135"/>
                <a:gd name="T12" fmla="*/ 184520 w 116"/>
                <a:gd name="T13" fmla="*/ 74295 h 135"/>
                <a:gd name="T14" fmla="*/ 176911 w 116"/>
                <a:gd name="T15" fmla="*/ 74295 h 135"/>
                <a:gd name="T16" fmla="*/ 176911 w 116"/>
                <a:gd name="T17" fmla="*/ 62865 h 135"/>
                <a:gd name="T18" fmla="*/ 157888 w 116"/>
                <a:gd name="T19" fmla="*/ 51435 h 135"/>
                <a:gd name="T20" fmla="*/ 148377 w 116"/>
                <a:gd name="T21" fmla="*/ 47625 h 135"/>
                <a:gd name="T22" fmla="*/ 142670 w 116"/>
                <a:gd name="T23" fmla="*/ 28575 h 135"/>
                <a:gd name="T24" fmla="*/ 135061 w 116"/>
                <a:gd name="T25" fmla="*/ 17145 h 135"/>
                <a:gd name="T26" fmla="*/ 127452 w 116"/>
                <a:gd name="T27" fmla="*/ 1905 h 135"/>
                <a:gd name="T28" fmla="*/ 117941 w 116"/>
                <a:gd name="T29" fmla="*/ 0 h 135"/>
                <a:gd name="T30" fmla="*/ 112234 w 116"/>
                <a:gd name="T31" fmla="*/ 5715 h 135"/>
                <a:gd name="T32" fmla="*/ 104625 w 116"/>
                <a:gd name="T33" fmla="*/ 1905 h 135"/>
                <a:gd name="T34" fmla="*/ 93211 w 116"/>
                <a:gd name="T35" fmla="*/ 17145 h 135"/>
                <a:gd name="T36" fmla="*/ 83700 w 116"/>
                <a:gd name="T37" fmla="*/ 17145 h 135"/>
                <a:gd name="T38" fmla="*/ 74188 w 116"/>
                <a:gd name="T39" fmla="*/ 5715 h 135"/>
                <a:gd name="T40" fmla="*/ 58970 w 116"/>
                <a:gd name="T41" fmla="*/ 7620 h 135"/>
                <a:gd name="T42" fmla="*/ 36143 w 116"/>
                <a:gd name="T43" fmla="*/ 13335 h 135"/>
                <a:gd name="T44" fmla="*/ 26632 w 116"/>
                <a:gd name="T45" fmla="*/ 13335 h 135"/>
                <a:gd name="T46" fmla="*/ 26632 w 116"/>
                <a:gd name="T47" fmla="*/ 116205 h 135"/>
                <a:gd name="T48" fmla="*/ 0 w 116"/>
                <a:gd name="T49" fmla="*/ 116205 h 135"/>
                <a:gd name="T50" fmla="*/ 0 w 116"/>
                <a:gd name="T51" fmla="*/ 196215 h 135"/>
                <a:gd name="T52" fmla="*/ 7609 w 116"/>
                <a:gd name="T53" fmla="*/ 203835 h 135"/>
                <a:gd name="T54" fmla="*/ 11414 w 116"/>
                <a:gd name="T55" fmla="*/ 220980 h 135"/>
                <a:gd name="T56" fmla="*/ 17120 w 116"/>
                <a:gd name="T57" fmla="*/ 230505 h 135"/>
                <a:gd name="T58" fmla="*/ 9511 w 116"/>
                <a:gd name="T59" fmla="*/ 245745 h 135"/>
                <a:gd name="T60" fmla="*/ 13316 w 116"/>
                <a:gd name="T61" fmla="*/ 255270 h 135"/>
                <a:gd name="T62" fmla="*/ 22827 w 116"/>
                <a:gd name="T63" fmla="*/ 251460 h 135"/>
                <a:gd name="T64" fmla="*/ 39948 w 116"/>
                <a:gd name="T65" fmla="*/ 253365 h 135"/>
                <a:gd name="T66" fmla="*/ 41850 w 116"/>
                <a:gd name="T67" fmla="*/ 247650 h 135"/>
                <a:gd name="T68" fmla="*/ 55166 w 116"/>
                <a:gd name="T69" fmla="*/ 238125 h 135"/>
                <a:gd name="T70" fmla="*/ 62775 w 116"/>
                <a:gd name="T71" fmla="*/ 228600 h 135"/>
                <a:gd name="T72" fmla="*/ 68482 w 116"/>
                <a:gd name="T73" fmla="*/ 213360 h 135"/>
                <a:gd name="T74" fmla="*/ 77993 w 116"/>
                <a:gd name="T75" fmla="*/ 209550 h 135"/>
                <a:gd name="T76" fmla="*/ 87504 w 116"/>
                <a:gd name="T77" fmla="*/ 209550 h 135"/>
                <a:gd name="T78" fmla="*/ 95113 w 116"/>
                <a:gd name="T79" fmla="*/ 220980 h 135"/>
                <a:gd name="T80" fmla="*/ 108429 w 116"/>
                <a:gd name="T81" fmla="*/ 224790 h 135"/>
                <a:gd name="T82" fmla="*/ 116038 w 116"/>
                <a:gd name="T83" fmla="*/ 222885 h 135"/>
                <a:gd name="T84" fmla="*/ 133159 w 116"/>
                <a:gd name="T85" fmla="*/ 220980 h 135"/>
                <a:gd name="T86" fmla="*/ 136963 w 116"/>
                <a:gd name="T87" fmla="*/ 209550 h 135"/>
                <a:gd name="T88" fmla="*/ 140768 w 116"/>
                <a:gd name="T89" fmla="*/ 192405 h 135"/>
                <a:gd name="T90" fmla="*/ 154084 w 116"/>
                <a:gd name="T91" fmla="*/ 188595 h 135"/>
                <a:gd name="T92" fmla="*/ 165497 w 116"/>
                <a:gd name="T93" fmla="*/ 177165 h 135"/>
                <a:gd name="T94" fmla="*/ 169302 w 116"/>
                <a:gd name="T95" fmla="*/ 160020 h 135"/>
                <a:gd name="T96" fmla="*/ 192129 w 116"/>
                <a:gd name="T97" fmla="*/ 139065 h 135"/>
                <a:gd name="T98" fmla="*/ 205445 w 116"/>
                <a:gd name="T99" fmla="*/ 129540 h 135"/>
                <a:gd name="T100" fmla="*/ 213054 w 116"/>
                <a:gd name="T101" fmla="*/ 125730 h 135"/>
                <a:gd name="T102" fmla="*/ 220663 w 116"/>
                <a:gd name="T103" fmla="*/ 120015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 name="Freeform 35"/>
            <p:cNvSpPr>
              <a:spLocks noChangeAspect="1"/>
            </p:cNvSpPr>
            <p:nvPr/>
          </p:nvSpPr>
          <p:spPr bwMode="auto">
            <a:xfrm>
              <a:off x="4937190" y="3221443"/>
              <a:ext cx="189002" cy="158631"/>
            </a:xfrm>
            <a:custGeom>
              <a:avLst/>
              <a:gdLst>
                <a:gd name="T0" fmla="*/ 145272 w 98"/>
                <a:gd name="T1" fmla="*/ 193349 h 102"/>
                <a:gd name="T2" fmla="*/ 172033 w 98"/>
                <a:gd name="T3" fmla="*/ 162719 h 102"/>
                <a:gd name="T4" fmla="*/ 172033 w 98"/>
                <a:gd name="T5" fmla="*/ 145490 h 102"/>
                <a:gd name="T6" fmla="*/ 175856 w 98"/>
                <a:gd name="T7" fmla="*/ 139747 h 102"/>
                <a:gd name="T8" fmla="*/ 179679 w 98"/>
                <a:gd name="T9" fmla="*/ 130175 h 102"/>
                <a:gd name="T10" fmla="*/ 185414 w 98"/>
                <a:gd name="T11" fmla="*/ 120604 h 102"/>
                <a:gd name="T12" fmla="*/ 177768 w 98"/>
                <a:gd name="T13" fmla="*/ 114861 h 102"/>
                <a:gd name="T14" fmla="*/ 179679 w 98"/>
                <a:gd name="T15" fmla="*/ 107203 h 102"/>
                <a:gd name="T16" fmla="*/ 173945 w 98"/>
                <a:gd name="T17" fmla="*/ 97632 h 102"/>
                <a:gd name="T18" fmla="*/ 177768 w 98"/>
                <a:gd name="T19" fmla="*/ 93803 h 102"/>
                <a:gd name="T20" fmla="*/ 187325 w 98"/>
                <a:gd name="T21" fmla="*/ 82317 h 102"/>
                <a:gd name="T22" fmla="*/ 183502 w 98"/>
                <a:gd name="T23" fmla="*/ 70831 h 102"/>
                <a:gd name="T24" fmla="*/ 183502 w 98"/>
                <a:gd name="T25" fmla="*/ 51687 h 102"/>
                <a:gd name="T26" fmla="*/ 175856 w 98"/>
                <a:gd name="T27" fmla="*/ 34458 h 102"/>
                <a:gd name="T28" fmla="*/ 160564 w 98"/>
                <a:gd name="T29" fmla="*/ 30629 h 102"/>
                <a:gd name="T30" fmla="*/ 154830 w 98"/>
                <a:gd name="T31" fmla="*/ 22972 h 102"/>
                <a:gd name="T32" fmla="*/ 149095 w 98"/>
                <a:gd name="T33" fmla="*/ 15315 h 102"/>
                <a:gd name="T34" fmla="*/ 137627 w 98"/>
                <a:gd name="T35" fmla="*/ 11486 h 102"/>
                <a:gd name="T36" fmla="*/ 124246 w 98"/>
                <a:gd name="T37" fmla="*/ 11486 h 102"/>
                <a:gd name="T38" fmla="*/ 120423 w 98"/>
                <a:gd name="T39" fmla="*/ 7657 h 102"/>
                <a:gd name="T40" fmla="*/ 124246 w 98"/>
                <a:gd name="T41" fmla="*/ 1914 h 102"/>
                <a:gd name="T42" fmla="*/ 110866 w 98"/>
                <a:gd name="T43" fmla="*/ 1914 h 102"/>
                <a:gd name="T44" fmla="*/ 89840 w 98"/>
                <a:gd name="T45" fmla="*/ 13400 h 102"/>
                <a:gd name="T46" fmla="*/ 87928 w 98"/>
                <a:gd name="T47" fmla="*/ 26801 h 102"/>
                <a:gd name="T48" fmla="*/ 68813 w 98"/>
                <a:gd name="T49" fmla="*/ 38287 h 102"/>
                <a:gd name="T50" fmla="*/ 57344 w 98"/>
                <a:gd name="T51" fmla="*/ 47859 h 102"/>
                <a:gd name="T52" fmla="*/ 51610 w 98"/>
                <a:gd name="T53" fmla="*/ 59345 h 102"/>
                <a:gd name="T54" fmla="*/ 42053 w 98"/>
                <a:gd name="T55" fmla="*/ 68916 h 102"/>
                <a:gd name="T56" fmla="*/ 28672 w 98"/>
                <a:gd name="T57" fmla="*/ 70831 h 102"/>
                <a:gd name="T58" fmla="*/ 21026 w 98"/>
                <a:gd name="T59" fmla="*/ 67002 h 102"/>
                <a:gd name="T60" fmla="*/ 7646 w 98"/>
                <a:gd name="T61" fmla="*/ 65088 h 102"/>
                <a:gd name="T62" fmla="*/ 0 w 98"/>
                <a:gd name="T63" fmla="*/ 67002 h 102"/>
                <a:gd name="T64" fmla="*/ 7646 w 98"/>
                <a:gd name="T65" fmla="*/ 82317 h 102"/>
                <a:gd name="T66" fmla="*/ 15292 w 98"/>
                <a:gd name="T67" fmla="*/ 93803 h 102"/>
                <a:gd name="T68" fmla="*/ 21026 w 98"/>
                <a:gd name="T69" fmla="*/ 112946 h 102"/>
                <a:gd name="T70" fmla="*/ 30584 w 98"/>
                <a:gd name="T71" fmla="*/ 116775 h 102"/>
                <a:gd name="T72" fmla="*/ 49698 w 98"/>
                <a:gd name="T73" fmla="*/ 128261 h 102"/>
                <a:gd name="T74" fmla="*/ 49698 w 98"/>
                <a:gd name="T75" fmla="*/ 139747 h 102"/>
                <a:gd name="T76" fmla="*/ 57344 w 98"/>
                <a:gd name="T77" fmla="*/ 139747 h 102"/>
                <a:gd name="T78" fmla="*/ 57344 w 98"/>
                <a:gd name="T79" fmla="*/ 156976 h 102"/>
                <a:gd name="T80" fmla="*/ 64990 w 98"/>
                <a:gd name="T81" fmla="*/ 168462 h 102"/>
                <a:gd name="T82" fmla="*/ 76459 w 98"/>
                <a:gd name="T83" fmla="*/ 170377 h 102"/>
                <a:gd name="T84" fmla="*/ 89840 w 98"/>
                <a:gd name="T85" fmla="*/ 176120 h 102"/>
                <a:gd name="T86" fmla="*/ 89840 w 98"/>
                <a:gd name="T87" fmla="*/ 181863 h 102"/>
                <a:gd name="T88" fmla="*/ 93663 w 98"/>
                <a:gd name="T89" fmla="*/ 185691 h 102"/>
                <a:gd name="T90" fmla="*/ 107043 w 98"/>
                <a:gd name="T91" fmla="*/ 187606 h 102"/>
                <a:gd name="T92" fmla="*/ 124246 w 98"/>
                <a:gd name="T93" fmla="*/ 189520 h 102"/>
                <a:gd name="T94" fmla="*/ 133804 w 98"/>
                <a:gd name="T95" fmla="*/ 189520 h 102"/>
                <a:gd name="T96" fmla="*/ 141450 w 98"/>
                <a:gd name="T97" fmla="*/ 193349 h 102"/>
                <a:gd name="T98" fmla="*/ 145272 w 98"/>
                <a:gd name="T99" fmla="*/ 193349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 name="Freeform 36"/>
            <p:cNvSpPr>
              <a:spLocks noChangeAspect="1"/>
            </p:cNvSpPr>
            <p:nvPr/>
          </p:nvSpPr>
          <p:spPr bwMode="auto">
            <a:xfrm>
              <a:off x="5058920" y="3101503"/>
              <a:ext cx="257876" cy="381745"/>
            </a:xfrm>
            <a:custGeom>
              <a:avLst/>
              <a:gdLst>
                <a:gd name="T0" fmla="*/ 59129 w 134"/>
                <a:gd name="T1" fmla="*/ 460388 h 247"/>
                <a:gd name="T2" fmla="*/ 55314 w 134"/>
                <a:gd name="T3" fmla="*/ 437559 h 247"/>
                <a:gd name="T4" fmla="*/ 62943 w 134"/>
                <a:gd name="T5" fmla="*/ 428047 h 247"/>
                <a:gd name="T6" fmla="*/ 91554 w 134"/>
                <a:gd name="T7" fmla="*/ 412827 h 247"/>
                <a:gd name="T8" fmla="*/ 120164 w 134"/>
                <a:gd name="T9" fmla="*/ 393803 h 247"/>
                <a:gd name="T10" fmla="*/ 122072 w 134"/>
                <a:gd name="T11" fmla="*/ 367169 h 247"/>
                <a:gd name="T12" fmla="*/ 118257 w 134"/>
                <a:gd name="T13" fmla="*/ 329120 h 247"/>
                <a:gd name="T14" fmla="*/ 106813 w 134"/>
                <a:gd name="T15" fmla="*/ 302486 h 247"/>
                <a:gd name="T16" fmla="*/ 104906 w 134"/>
                <a:gd name="T17" fmla="*/ 273950 h 247"/>
                <a:gd name="T18" fmla="*/ 135423 w 134"/>
                <a:gd name="T19" fmla="*/ 243511 h 247"/>
                <a:gd name="T20" fmla="*/ 162127 w 134"/>
                <a:gd name="T21" fmla="*/ 213072 h 247"/>
                <a:gd name="T22" fmla="*/ 217440 w 134"/>
                <a:gd name="T23" fmla="*/ 180731 h 247"/>
                <a:gd name="T24" fmla="*/ 255588 w 134"/>
                <a:gd name="T25" fmla="*/ 127463 h 247"/>
                <a:gd name="T26" fmla="*/ 253681 w 134"/>
                <a:gd name="T27" fmla="*/ 116048 h 247"/>
                <a:gd name="T28" fmla="*/ 249866 w 134"/>
                <a:gd name="T29" fmla="*/ 83707 h 247"/>
                <a:gd name="T30" fmla="*/ 244144 w 134"/>
                <a:gd name="T31" fmla="*/ 34244 h 247"/>
                <a:gd name="T32" fmla="*/ 251773 w 134"/>
                <a:gd name="T33" fmla="*/ 9512 h 247"/>
                <a:gd name="T34" fmla="*/ 242236 w 134"/>
                <a:gd name="T35" fmla="*/ 3805 h 247"/>
                <a:gd name="T36" fmla="*/ 211718 w 134"/>
                <a:gd name="T37" fmla="*/ 24732 h 247"/>
                <a:gd name="T38" fmla="*/ 196459 w 134"/>
                <a:gd name="T39" fmla="*/ 26634 h 247"/>
                <a:gd name="T40" fmla="*/ 179293 w 134"/>
                <a:gd name="T41" fmla="*/ 36146 h 247"/>
                <a:gd name="T42" fmla="*/ 152590 w 134"/>
                <a:gd name="T43" fmla="*/ 38049 h 247"/>
                <a:gd name="T44" fmla="*/ 131609 w 134"/>
                <a:gd name="T45" fmla="*/ 34244 h 247"/>
                <a:gd name="T46" fmla="*/ 110628 w 134"/>
                <a:gd name="T47" fmla="*/ 30439 h 247"/>
                <a:gd name="T48" fmla="*/ 104906 w 134"/>
                <a:gd name="T49" fmla="*/ 55170 h 247"/>
                <a:gd name="T50" fmla="*/ 108720 w 134"/>
                <a:gd name="T51" fmla="*/ 83707 h 247"/>
                <a:gd name="T52" fmla="*/ 122072 w 134"/>
                <a:gd name="T53" fmla="*/ 104634 h 247"/>
                <a:gd name="T54" fmla="*/ 135423 w 134"/>
                <a:gd name="T55" fmla="*/ 129365 h 247"/>
                <a:gd name="T56" fmla="*/ 135423 w 134"/>
                <a:gd name="T57" fmla="*/ 161706 h 247"/>
                <a:gd name="T58" fmla="*/ 122072 w 134"/>
                <a:gd name="T59" fmla="*/ 173121 h 247"/>
                <a:gd name="T60" fmla="*/ 102998 w 134"/>
                <a:gd name="T61" fmla="*/ 169316 h 247"/>
                <a:gd name="T62" fmla="*/ 97276 w 134"/>
                <a:gd name="T63" fmla="*/ 154097 h 247"/>
                <a:gd name="T64" fmla="*/ 104906 w 134"/>
                <a:gd name="T65" fmla="*/ 125560 h 247"/>
                <a:gd name="T66" fmla="*/ 82017 w 134"/>
                <a:gd name="T67" fmla="*/ 119853 h 247"/>
                <a:gd name="T68" fmla="*/ 68665 w 134"/>
                <a:gd name="T69" fmla="*/ 106536 h 247"/>
                <a:gd name="T70" fmla="*/ 5722 w 134"/>
                <a:gd name="T71" fmla="*/ 144585 h 247"/>
                <a:gd name="T72" fmla="*/ 0 w 134"/>
                <a:gd name="T73" fmla="*/ 155999 h 247"/>
                <a:gd name="T74" fmla="*/ 17166 w 134"/>
                <a:gd name="T75" fmla="*/ 159804 h 247"/>
                <a:gd name="T76" fmla="*/ 34333 w 134"/>
                <a:gd name="T77" fmla="*/ 171219 h 247"/>
                <a:gd name="T78" fmla="*/ 55314 w 134"/>
                <a:gd name="T79" fmla="*/ 182633 h 247"/>
                <a:gd name="T80" fmla="*/ 62943 w 134"/>
                <a:gd name="T81" fmla="*/ 218779 h 247"/>
                <a:gd name="T82" fmla="*/ 57221 w 134"/>
                <a:gd name="T83" fmla="*/ 241609 h 247"/>
                <a:gd name="T84" fmla="*/ 59129 w 134"/>
                <a:gd name="T85" fmla="*/ 254926 h 247"/>
                <a:gd name="T86" fmla="*/ 64851 w 134"/>
                <a:gd name="T87" fmla="*/ 268243 h 247"/>
                <a:gd name="T88" fmla="*/ 55314 w 134"/>
                <a:gd name="T89" fmla="*/ 287267 h 247"/>
                <a:gd name="T90" fmla="*/ 51499 w 134"/>
                <a:gd name="T91" fmla="*/ 310096 h 247"/>
                <a:gd name="T92" fmla="*/ 26703 w 134"/>
                <a:gd name="T93" fmla="*/ 355754 h 247"/>
                <a:gd name="T94" fmla="*/ 30518 w 134"/>
                <a:gd name="T95" fmla="*/ 374779 h 247"/>
                <a:gd name="T96" fmla="*/ 38147 w 134"/>
                <a:gd name="T97" fmla="*/ 403315 h 247"/>
                <a:gd name="T98" fmla="*/ 36240 w 134"/>
                <a:gd name="T99" fmla="*/ 439461 h 247"/>
                <a:gd name="T100" fmla="*/ 40055 w 134"/>
                <a:gd name="T101" fmla="*/ 458485 h 247"/>
                <a:gd name="T102" fmla="*/ 59129 w 134"/>
                <a:gd name="T103" fmla="*/ 469900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 name="Freeform 37"/>
            <p:cNvSpPr>
              <a:spLocks noChangeAspect="1"/>
            </p:cNvSpPr>
            <p:nvPr/>
          </p:nvSpPr>
          <p:spPr bwMode="auto">
            <a:xfrm>
              <a:off x="5118184" y="3078289"/>
              <a:ext cx="78484" cy="174106"/>
            </a:xfrm>
            <a:custGeom>
              <a:avLst/>
              <a:gdLst>
                <a:gd name="T0" fmla="*/ 11383 w 41"/>
                <a:gd name="T1" fmla="*/ 0 h 113"/>
                <a:gd name="T2" fmla="*/ 28459 w 41"/>
                <a:gd name="T3" fmla="*/ 9483 h 113"/>
                <a:gd name="T4" fmla="*/ 47431 w 41"/>
                <a:gd name="T5" fmla="*/ 28448 h 113"/>
                <a:gd name="T6" fmla="*/ 45534 w 41"/>
                <a:gd name="T7" fmla="*/ 47414 h 113"/>
                <a:gd name="T8" fmla="*/ 51226 w 41"/>
                <a:gd name="T9" fmla="*/ 58794 h 113"/>
                <a:gd name="T10" fmla="*/ 47431 w 41"/>
                <a:gd name="T11" fmla="*/ 72070 h 113"/>
                <a:gd name="T12" fmla="*/ 45534 w 41"/>
                <a:gd name="T13" fmla="*/ 83449 h 113"/>
                <a:gd name="T14" fmla="*/ 45534 w 41"/>
                <a:gd name="T15" fmla="*/ 96725 h 113"/>
                <a:gd name="T16" fmla="*/ 49328 w 41"/>
                <a:gd name="T17" fmla="*/ 111897 h 113"/>
                <a:gd name="T18" fmla="*/ 51226 w 41"/>
                <a:gd name="T19" fmla="*/ 123277 h 113"/>
                <a:gd name="T20" fmla="*/ 62609 w 41"/>
                <a:gd name="T21" fmla="*/ 132760 h 113"/>
                <a:gd name="T22" fmla="*/ 68301 w 41"/>
                <a:gd name="T23" fmla="*/ 144139 h 113"/>
                <a:gd name="T24" fmla="*/ 75890 w 41"/>
                <a:gd name="T25" fmla="*/ 157415 h 113"/>
                <a:gd name="T26" fmla="*/ 75890 w 41"/>
                <a:gd name="T27" fmla="*/ 178277 h 113"/>
                <a:gd name="T28" fmla="*/ 75890 w 41"/>
                <a:gd name="T29" fmla="*/ 189657 h 113"/>
                <a:gd name="T30" fmla="*/ 64506 w 41"/>
                <a:gd name="T31" fmla="*/ 191553 h 113"/>
                <a:gd name="T32" fmla="*/ 62609 w 41"/>
                <a:gd name="T33" fmla="*/ 201036 h 113"/>
                <a:gd name="T34" fmla="*/ 58815 w 41"/>
                <a:gd name="T35" fmla="*/ 212415 h 113"/>
                <a:gd name="T36" fmla="*/ 43637 w 41"/>
                <a:gd name="T37" fmla="*/ 197243 h 113"/>
                <a:gd name="T38" fmla="*/ 39842 w 41"/>
                <a:gd name="T39" fmla="*/ 187760 h 113"/>
                <a:gd name="T40" fmla="*/ 37945 w 41"/>
                <a:gd name="T41" fmla="*/ 182070 h 113"/>
                <a:gd name="T42" fmla="*/ 45534 w 41"/>
                <a:gd name="T43" fmla="*/ 170691 h 113"/>
                <a:gd name="T44" fmla="*/ 45534 w 41"/>
                <a:gd name="T45" fmla="*/ 153622 h 113"/>
                <a:gd name="T46" fmla="*/ 39842 w 41"/>
                <a:gd name="T47" fmla="*/ 144139 h 113"/>
                <a:gd name="T48" fmla="*/ 22767 w 41"/>
                <a:gd name="T49" fmla="*/ 147932 h 113"/>
                <a:gd name="T50" fmla="*/ 15178 w 41"/>
                <a:gd name="T51" fmla="*/ 132760 h 113"/>
                <a:gd name="T52" fmla="*/ 9486 w 41"/>
                <a:gd name="T53" fmla="*/ 134656 h 113"/>
                <a:gd name="T54" fmla="*/ 0 w 41"/>
                <a:gd name="T55" fmla="*/ 125173 h 113"/>
                <a:gd name="T56" fmla="*/ 9486 w 41"/>
                <a:gd name="T57" fmla="*/ 110001 h 113"/>
                <a:gd name="T58" fmla="*/ 7589 w 41"/>
                <a:gd name="T59" fmla="*/ 92932 h 113"/>
                <a:gd name="T60" fmla="*/ 20870 w 41"/>
                <a:gd name="T61" fmla="*/ 87242 h 113"/>
                <a:gd name="T62" fmla="*/ 17075 w 41"/>
                <a:gd name="T63" fmla="*/ 83449 h 113"/>
                <a:gd name="T64" fmla="*/ 17075 w 41"/>
                <a:gd name="T65" fmla="*/ 64483 h 113"/>
                <a:gd name="T66" fmla="*/ 20870 w 41"/>
                <a:gd name="T67" fmla="*/ 53104 h 113"/>
                <a:gd name="T68" fmla="*/ 15178 w 41"/>
                <a:gd name="T69" fmla="*/ 43621 h 113"/>
                <a:gd name="T70" fmla="*/ 26561 w 41"/>
                <a:gd name="T71" fmla="*/ 37931 h 113"/>
                <a:gd name="T72" fmla="*/ 22767 w 41"/>
                <a:gd name="T73" fmla="*/ 24655 h 113"/>
                <a:gd name="T74" fmla="*/ 11383 w 41"/>
                <a:gd name="T75" fmla="*/ 11379 h 113"/>
                <a:gd name="T76" fmla="*/ 11383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 name="Freeform 38"/>
            <p:cNvSpPr>
              <a:spLocks noChangeAspect="1"/>
            </p:cNvSpPr>
            <p:nvPr/>
          </p:nvSpPr>
          <p:spPr bwMode="auto">
            <a:xfrm>
              <a:off x="4860307" y="3053785"/>
              <a:ext cx="286707" cy="226984"/>
            </a:xfrm>
            <a:custGeom>
              <a:avLst/>
              <a:gdLst>
                <a:gd name="T0" fmla="*/ 255556 w 149"/>
                <a:gd name="T1" fmla="*/ 30411 h 147"/>
                <a:gd name="T2" fmla="*/ 223135 w 149"/>
                <a:gd name="T3" fmla="*/ 15205 h 147"/>
                <a:gd name="T4" fmla="*/ 167828 w 149"/>
                <a:gd name="T5" fmla="*/ 5702 h 147"/>
                <a:gd name="T6" fmla="*/ 164014 w 149"/>
                <a:gd name="T7" fmla="*/ 45616 h 147"/>
                <a:gd name="T8" fmla="*/ 156385 w 149"/>
                <a:gd name="T9" fmla="*/ 83630 h 147"/>
                <a:gd name="T10" fmla="*/ 173549 w 149"/>
                <a:gd name="T11" fmla="*/ 115941 h 147"/>
                <a:gd name="T12" fmla="*/ 188806 w 149"/>
                <a:gd name="T13" fmla="*/ 114041 h 147"/>
                <a:gd name="T14" fmla="*/ 169735 w 149"/>
                <a:gd name="T15" fmla="*/ 148253 h 147"/>
                <a:gd name="T16" fmla="*/ 141128 w 149"/>
                <a:gd name="T17" fmla="*/ 114041 h 147"/>
                <a:gd name="T18" fmla="*/ 120149 w 149"/>
                <a:gd name="T19" fmla="*/ 93133 h 147"/>
                <a:gd name="T20" fmla="*/ 87728 w 149"/>
                <a:gd name="T21" fmla="*/ 98835 h 147"/>
                <a:gd name="T22" fmla="*/ 76285 w 149"/>
                <a:gd name="T23" fmla="*/ 85531 h 147"/>
                <a:gd name="T24" fmla="*/ 45771 w 149"/>
                <a:gd name="T25" fmla="*/ 81729 h 147"/>
                <a:gd name="T26" fmla="*/ 45771 w 149"/>
                <a:gd name="T27" fmla="*/ 106438 h 147"/>
                <a:gd name="T28" fmla="*/ 41957 w 149"/>
                <a:gd name="T29" fmla="*/ 125445 h 147"/>
                <a:gd name="T30" fmla="*/ 0 w 149"/>
                <a:gd name="T31" fmla="*/ 133048 h 147"/>
                <a:gd name="T32" fmla="*/ 17164 w 149"/>
                <a:gd name="T33" fmla="*/ 247088 h 147"/>
                <a:gd name="T34" fmla="*/ 36236 w 149"/>
                <a:gd name="T35" fmla="*/ 266095 h 147"/>
                <a:gd name="T36" fmla="*/ 66750 w 149"/>
                <a:gd name="T37" fmla="*/ 262294 h 147"/>
                <a:gd name="T38" fmla="*/ 83914 w 149"/>
                <a:gd name="T39" fmla="*/ 271797 h 147"/>
                <a:gd name="T40" fmla="*/ 104892 w 149"/>
                <a:gd name="T41" fmla="*/ 277499 h 147"/>
                <a:gd name="T42" fmla="*/ 127778 w 149"/>
                <a:gd name="T43" fmla="*/ 266095 h 147"/>
                <a:gd name="T44" fmla="*/ 144942 w 149"/>
                <a:gd name="T45" fmla="*/ 245188 h 147"/>
                <a:gd name="T46" fmla="*/ 165921 w 149"/>
                <a:gd name="T47" fmla="*/ 220479 h 147"/>
                <a:gd name="T48" fmla="*/ 200249 w 149"/>
                <a:gd name="T49" fmla="*/ 209075 h 147"/>
                <a:gd name="T50" fmla="*/ 198342 w 149"/>
                <a:gd name="T51" fmla="*/ 191969 h 147"/>
                <a:gd name="T52" fmla="*/ 255556 w 149"/>
                <a:gd name="T53" fmla="*/ 155856 h 147"/>
                <a:gd name="T54" fmla="*/ 263185 w 149"/>
                <a:gd name="T55" fmla="*/ 123544 h 147"/>
                <a:gd name="T56" fmla="*/ 272720 w 149"/>
                <a:gd name="T57" fmla="*/ 114041 h 147"/>
                <a:gd name="T58" fmla="*/ 276534 w 149"/>
                <a:gd name="T59" fmla="*/ 83630 h 147"/>
                <a:gd name="T60" fmla="*/ 282256 w 149"/>
                <a:gd name="T61" fmla="*/ 68424 h 147"/>
                <a:gd name="T62" fmla="*/ 266999 w 149"/>
                <a:gd name="T63" fmla="*/ 41815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 name="Freeform 39"/>
            <p:cNvSpPr>
              <a:spLocks noChangeAspect="1"/>
            </p:cNvSpPr>
            <p:nvPr/>
          </p:nvSpPr>
          <p:spPr bwMode="auto">
            <a:xfrm>
              <a:off x="4612043" y="2999618"/>
              <a:ext cx="302723" cy="278571"/>
            </a:xfrm>
            <a:custGeom>
              <a:avLst/>
              <a:gdLst>
                <a:gd name="T0" fmla="*/ 17200 w 157"/>
                <a:gd name="T1" fmla="*/ 9525 h 180"/>
                <a:gd name="T2" fmla="*/ 19111 w 157"/>
                <a:gd name="T3" fmla="*/ 24765 h 180"/>
                <a:gd name="T4" fmla="*/ 40132 w 157"/>
                <a:gd name="T5" fmla="*/ 76200 h 180"/>
                <a:gd name="T6" fmla="*/ 34399 w 157"/>
                <a:gd name="T7" fmla="*/ 100965 h 180"/>
                <a:gd name="T8" fmla="*/ 51599 w 157"/>
                <a:gd name="T9" fmla="*/ 148590 h 180"/>
                <a:gd name="T10" fmla="*/ 36310 w 157"/>
                <a:gd name="T11" fmla="*/ 190500 h 180"/>
                <a:gd name="T12" fmla="*/ 15289 w 157"/>
                <a:gd name="T13" fmla="*/ 228600 h 180"/>
                <a:gd name="T14" fmla="*/ 1911 w 157"/>
                <a:gd name="T15" fmla="*/ 285750 h 180"/>
                <a:gd name="T16" fmla="*/ 13377 w 157"/>
                <a:gd name="T17" fmla="*/ 320040 h 180"/>
                <a:gd name="T18" fmla="*/ 42043 w 157"/>
                <a:gd name="T19" fmla="*/ 316230 h 180"/>
                <a:gd name="T20" fmla="*/ 158618 w 157"/>
                <a:gd name="T21" fmla="*/ 323850 h 180"/>
                <a:gd name="T22" fmla="*/ 185373 w 157"/>
                <a:gd name="T23" fmla="*/ 339090 h 180"/>
                <a:gd name="T24" fmla="*/ 221683 w 157"/>
                <a:gd name="T25" fmla="*/ 339090 h 180"/>
                <a:gd name="T26" fmla="*/ 282837 w 157"/>
                <a:gd name="T27" fmla="*/ 333375 h 180"/>
                <a:gd name="T28" fmla="*/ 263727 w 157"/>
                <a:gd name="T29" fmla="*/ 314325 h 180"/>
                <a:gd name="T30" fmla="*/ 246527 w 157"/>
                <a:gd name="T31" fmla="*/ 200025 h 180"/>
                <a:gd name="T32" fmla="*/ 288571 w 157"/>
                <a:gd name="T33" fmla="*/ 192405 h 180"/>
                <a:gd name="T34" fmla="*/ 292393 w 157"/>
                <a:gd name="T35" fmla="*/ 173355 h 180"/>
                <a:gd name="T36" fmla="*/ 292393 w 157"/>
                <a:gd name="T37" fmla="*/ 148590 h 180"/>
                <a:gd name="T38" fmla="*/ 271371 w 157"/>
                <a:gd name="T39" fmla="*/ 148590 h 180"/>
                <a:gd name="T40" fmla="*/ 252260 w 157"/>
                <a:gd name="T41" fmla="*/ 146685 h 180"/>
                <a:gd name="T42" fmla="*/ 254171 w 157"/>
                <a:gd name="T43" fmla="*/ 116205 h 180"/>
                <a:gd name="T44" fmla="*/ 244616 w 157"/>
                <a:gd name="T45" fmla="*/ 70485 h 180"/>
                <a:gd name="T46" fmla="*/ 242705 w 157"/>
                <a:gd name="T47" fmla="*/ 49530 h 180"/>
                <a:gd name="T48" fmla="*/ 215950 w 157"/>
                <a:gd name="T49" fmla="*/ 40005 h 180"/>
                <a:gd name="T50" fmla="*/ 206395 w 157"/>
                <a:gd name="T51" fmla="*/ 34290 h 180"/>
                <a:gd name="T52" fmla="*/ 189195 w 157"/>
                <a:gd name="T53" fmla="*/ 49530 h 180"/>
                <a:gd name="T54" fmla="*/ 185373 w 157"/>
                <a:gd name="T55" fmla="*/ 62865 h 180"/>
                <a:gd name="T56" fmla="*/ 162440 w 157"/>
                <a:gd name="T57" fmla="*/ 62865 h 180"/>
                <a:gd name="T58" fmla="*/ 126130 w 157"/>
                <a:gd name="T59" fmla="*/ 41910 h 180"/>
                <a:gd name="T60" fmla="*/ 120397 w 157"/>
                <a:gd name="T61" fmla="*/ 11430 h 180"/>
                <a:gd name="T62" fmla="*/ 38221 w 157"/>
                <a:gd name="T63" fmla="*/ 1905 h 180"/>
                <a:gd name="T64" fmla="*/ 19111 w 157"/>
                <a:gd name="T65" fmla="*/ 5715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 name="Freeform 40"/>
            <p:cNvSpPr>
              <a:spLocks noChangeAspect="1"/>
            </p:cNvSpPr>
            <p:nvPr/>
          </p:nvSpPr>
          <p:spPr bwMode="auto">
            <a:xfrm>
              <a:off x="5044505" y="2886126"/>
              <a:ext cx="257876" cy="246329"/>
            </a:xfrm>
            <a:custGeom>
              <a:avLst/>
              <a:gdLst>
                <a:gd name="T0" fmla="*/ 28610 w 134"/>
                <a:gd name="T1" fmla="*/ 209770 h 159"/>
                <a:gd name="T2" fmla="*/ 40055 w 134"/>
                <a:gd name="T3" fmla="*/ 221212 h 159"/>
                <a:gd name="T4" fmla="*/ 57221 w 134"/>
                <a:gd name="T5" fmla="*/ 230747 h 159"/>
                <a:gd name="T6" fmla="*/ 72480 w 134"/>
                <a:gd name="T7" fmla="*/ 236468 h 159"/>
                <a:gd name="T8" fmla="*/ 83924 w 134"/>
                <a:gd name="T9" fmla="*/ 236468 h 159"/>
                <a:gd name="T10" fmla="*/ 101090 w 134"/>
                <a:gd name="T11" fmla="*/ 246003 h 159"/>
                <a:gd name="T12" fmla="*/ 120164 w 134"/>
                <a:gd name="T13" fmla="*/ 265073 h 159"/>
                <a:gd name="T14" fmla="*/ 118257 w 134"/>
                <a:gd name="T15" fmla="*/ 284143 h 159"/>
                <a:gd name="T16" fmla="*/ 123979 w 134"/>
                <a:gd name="T17" fmla="*/ 295585 h 159"/>
                <a:gd name="T18" fmla="*/ 131608 w 134"/>
                <a:gd name="T19" fmla="*/ 299399 h 159"/>
                <a:gd name="T20" fmla="*/ 144960 w 134"/>
                <a:gd name="T21" fmla="*/ 299399 h 159"/>
                <a:gd name="T22" fmla="*/ 154497 w 134"/>
                <a:gd name="T23" fmla="*/ 289864 h 159"/>
                <a:gd name="T24" fmla="*/ 165941 w 134"/>
                <a:gd name="T25" fmla="*/ 303213 h 159"/>
                <a:gd name="T26" fmla="*/ 179292 w 134"/>
                <a:gd name="T27" fmla="*/ 297492 h 159"/>
                <a:gd name="T28" fmla="*/ 192644 w 134"/>
                <a:gd name="T29" fmla="*/ 301306 h 159"/>
                <a:gd name="T30" fmla="*/ 202181 w 134"/>
                <a:gd name="T31" fmla="*/ 291771 h 159"/>
                <a:gd name="T32" fmla="*/ 209810 w 134"/>
                <a:gd name="T33" fmla="*/ 291771 h 159"/>
                <a:gd name="T34" fmla="*/ 215532 w 134"/>
                <a:gd name="T35" fmla="*/ 295585 h 159"/>
                <a:gd name="T36" fmla="*/ 225069 w 134"/>
                <a:gd name="T37" fmla="*/ 289864 h 159"/>
                <a:gd name="T38" fmla="*/ 236513 w 134"/>
                <a:gd name="T39" fmla="*/ 286050 h 159"/>
                <a:gd name="T40" fmla="*/ 255587 w 134"/>
                <a:gd name="T41" fmla="*/ 268887 h 159"/>
                <a:gd name="T42" fmla="*/ 251772 w 134"/>
                <a:gd name="T43" fmla="*/ 259352 h 159"/>
                <a:gd name="T44" fmla="*/ 246050 w 134"/>
                <a:gd name="T45" fmla="*/ 246003 h 159"/>
                <a:gd name="T46" fmla="*/ 242235 w 134"/>
                <a:gd name="T47" fmla="*/ 232654 h 159"/>
                <a:gd name="T48" fmla="*/ 232699 w 134"/>
                <a:gd name="T49" fmla="*/ 209770 h 159"/>
                <a:gd name="T50" fmla="*/ 234606 w 134"/>
                <a:gd name="T51" fmla="*/ 196421 h 159"/>
                <a:gd name="T52" fmla="*/ 234606 w 134"/>
                <a:gd name="T53" fmla="*/ 181165 h 159"/>
                <a:gd name="T54" fmla="*/ 238421 w 134"/>
                <a:gd name="T55" fmla="*/ 171630 h 159"/>
                <a:gd name="T56" fmla="*/ 230791 w 134"/>
                <a:gd name="T57" fmla="*/ 152560 h 159"/>
                <a:gd name="T58" fmla="*/ 221254 w 134"/>
                <a:gd name="T59" fmla="*/ 144932 h 159"/>
                <a:gd name="T60" fmla="*/ 221254 w 134"/>
                <a:gd name="T61" fmla="*/ 133490 h 159"/>
                <a:gd name="T62" fmla="*/ 226976 w 134"/>
                <a:gd name="T63" fmla="*/ 120141 h 159"/>
                <a:gd name="T64" fmla="*/ 234606 w 134"/>
                <a:gd name="T65" fmla="*/ 110606 h 159"/>
                <a:gd name="T66" fmla="*/ 194551 w 134"/>
                <a:gd name="T67" fmla="*/ 74373 h 159"/>
                <a:gd name="T68" fmla="*/ 192644 w 134"/>
                <a:gd name="T69" fmla="*/ 62931 h 159"/>
                <a:gd name="T70" fmla="*/ 97276 w 134"/>
                <a:gd name="T71" fmla="*/ 0 h 159"/>
                <a:gd name="T72" fmla="*/ 87739 w 134"/>
                <a:gd name="T73" fmla="*/ 5721 h 159"/>
                <a:gd name="T74" fmla="*/ 64850 w 134"/>
                <a:gd name="T75" fmla="*/ 5721 h 159"/>
                <a:gd name="T76" fmla="*/ 36240 w 134"/>
                <a:gd name="T77" fmla="*/ 3814 h 159"/>
                <a:gd name="T78" fmla="*/ 20981 w 134"/>
                <a:gd name="T79" fmla="*/ 7628 h 159"/>
                <a:gd name="T80" fmla="*/ 30518 w 134"/>
                <a:gd name="T81" fmla="*/ 19070 h 159"/>
                <a:gd name="T82" fmla="*/ 30518 w 134"/>
                <a:gd name="T83" fmla="*/ 32419 h 159"/>
                <a:gd name="T84" fmla="*/ 34333 w 134"/>
                <a:gd name="T85" fmla="*/ 41954 h 159"/>
                <a:gd name="T86" fmla="*/ 24796 w 134"/>
                <a:gd name="T87" fmla="*/ 51489 h 159"/>
                <a:gd name="T88" fmla="*/ 24796 w 134"/>
                <a:gd name="T89" fmla="*/ 57210 h 159"/>
                <a:gd name="T90" fmla="*/ 32425 w 134"/>
                <a:gd name="T91" fmla="*/ 62931 h 159"/>
                <a:gd name="T92" fmla="*/ 32425 w 134"/>
                <a:gd name="T93" fmla="*/ 70559 h 159"/>
                <a:gd name="T94" fmla="*/ 22888 w 134"/>
                <a:gd name="T95" fmla="*/ 80094 h 159"/>
                <a:gd name="T96" fmla="*/ 17166 w 134"/>
                <a:gd name="T97" fmla="*/ 89629 h 159"/>
                <a:gd name="T98" fmla="*/ 0 w 134"/>
                <a:gd name="T99" fmla="*/ 108699 h 159"/>
                <a:gd name="T100" fmla="*/ 1907 w 134"/>
                <a:gd name="T101" fmla="*/ 123955 h 159"/>
                <a:gd name="T102" fmla="*/ 1907 w 134"/>
                <a:gd name="T103" fmla="*/ 137304 h 159"/>
                <a:gd name="T104" fmla="*/ 3815 w 134"/>
                <a:gd name="T105" fmla="*/ 154467 h 159"/>
                <a:gd name="T106" fmla="*/ 13352 w 134"/>
                <a:gd name="T107" fmla="*/ 167816 h 159"/>
                <a:gd name="T108" fmla="*/ 22888 w 134"/>
                <a:gd name="T109" fmla="*/ 186886 h 159"/>
                <a:gd name="T110" fmla="*/ 28610 w 134"/>
                <a:gd name="T111" fmla="*/ 209770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 name="Freeform 41"/>
            <p:cNvSpPr>
              <a:spLocks noChangeAspect="1"/>
            </p:cNvSpPr>
            <p:nvPr/>
          </p:nvSpPr>
          <p:spPr bwMode="auto">
            <a:xfrm>
              <a:off x="5031691" y="2920948"/>
              <a:ext cx="46449" cy="52877"/>
            </a:xfrm>
            <a:custGeom>
              <a:avLst/>
              <a:gdLst>
                <a:gd name="T0" fmla="*/ 13427 w 24"/>
                <a:gd name="T1" fmla="*/ 65087 h 34"/>
                <a:gd name="T2" fmla="*/ 9591 w 24"/>
                <a:gd name="T3" fmla="*/ 49772 h 34"/>
                <a:gd name="T4" fmla="*/ 5755 w 24"/>
                <a:gd name="T5" fmla="*/ 24886 h 34"/>
                <a:gd name="T6" fmla="*/ 7673 w 24"/>
                <a:gd name="T7" fmla="*/ 17229 h 34"/>
                <a:gd name="T8" fmla="*/ 0 w 24"/>
                <a:gd name="T9" fmla="*/ 9572 h 34"/>
                <a:gd name="T10" fmla="*/ 7673 w 24"/>
                <a:gd name="T11" fmla="*/ 7657 h 34"/>
                <a:gd name="T12" fmla="*/ 11509 w 24"/>
                <a:gd name="T13" fmla="*/ 11486 h 34"/>
                <a:gd name="T14" fmla="*/ 19182 w 24"/>
                <a:gd name="T15" fmla="*/ 11486 h 34"/>
                <a:gd name="T16" fmla="*/ 23019 w 24"/>
                <a:gd name="T17" fmla="*/ 1914 h 34"/>
                <a:gd name="T18" fmla="*/ 32610 w 24"/>
                <a:gd name="T19" fmla="*/ 3829 h 34"/>
                <a:gd name="T20" fmla="*/ 38364 w 24"/>
                <a:gd name="T21" fmla="*/ 7657 h 34"/>
                <a:gd name="T22" fmla="*/ 38364 w 24"/>
                <a:gd name="T23" fmla="*/ 13400 h 34"/>
                <a:gd name="T24" fmla="*/ 46037 w 24"/>
                <a:gd name="T25" fmla="*/ 19143 h 34"/>
                <a:gd name="T26" fmla="*/ 46037 w 24"/>
                <a:gd name="T27" fmla="*/ 26801 h 34"/>
                <a:gd name="T28" fmla="*/ 36446 w 24"/>
                <a:gd name="T29" fmla="*/ 36372 h 34"/>
                <a:gd name="T30" fmla="*/ 30691 w 24"/>
                <a:gd name="T31" fmla="*/ 45944 h 34"/>
                <a:gd name="T32" fmla="*/ 13427 w 24"/>
                <a:gd name="T33" fmla="*/ 65087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 name="Freeform 42"/>
            <p:cNvSpPr>
              <a:spLocks noChangeAspect="1"/>
            </p:cNvSpPr>
            <p:nvPr/>
          </p:nvSpPr>
          <p:spPr bwMode="auto">
            <a:xfrm>
              <a:off x="5030089" y="2892576"/>
              <a:ext cx="49654" cy="38690"/>
            </a:xfrm>
            <a:custGeom>
              <a:avLst/>
              <a:gdLst>
                <a:gd name="T0" fmla="*/ 1893 w 26"/>
                <a:gd name="T1" fmla="*/ 45720 h 25"/>
                <a:gd name="T2" fmla="*/ 0 w 26"/>
                <a:gd name="T3" fmla="*/ 38100 h 25"/>
                <a:gd name="T4" fmla="*/ 7571 w 26"/>
                <a:gd name="T5" fmla="*/ 15240 h 25"/>
                <a:gd name="T6" fmla="*/ 15142 w 26"/>
                <a:gd name="T7" fmla="*/ 5715 h 25"/>
                <a:gd name="T8" fmla="*/ 26499 w 26"/>
                <a:gd name="T9" fmla="*/ 7620 h 25"/>
                <a:gd name="T10" fmla="*/ 35963 w 26"/>
                <a:gd name="T11" fmla="*/ 0 h 25"/>
                <a:gd name="T12" fmla="*/ 45427 w 26"/>
                <a:gd name="T13" fmla="*/ 11430 h 25"/>
                <a:gd name="T14" fmla="*/ 45427 w 26"/>
                <a:gd name="T15" fmla="*/ 24765 h 25"/>
                <a:gd name="T16" fmla="*/ 49213 w 26"/>
                <a:gd name="T17" fmla="*/ 34290 h 25"/>
                <a:gd name="T18" fmla="*/ 39749 w 26"/>
                <a:gd name="T19" fmla="*/ 43815 h 25"/>
                <a:gd name="T20" fmla="*/ 34071 w 26"/>
                <a:gd name="T21" fmla="*/ 40005 h 25"/>
                <a:gd name="T22" fmla="*/ 24607 w 26"/>
                <a:gd name="T23" fmla="*/ 38100 h 25"/>
                <a:gd name="T24" fmla="*/ 20821 w 26"/>
                <a:gd name="T25" fmla="*/ 47625 h 25"/>
                <a:gd name="T26" fmla="*/ 13250 w 26"/>
                <a:gd name="T27" fmla="*/ 47625 h 25"/>
                <a:gd name="T28" fmla="*/ 9464 w 26"/>
                <a:gd name="T29" fmla="*/ 43815 h 25"/>
                <a:gd name="T30" fmla="*/ 1893 w 26"/>
                <a:gd name="T31" fmla="*/ 4572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 name="Freeform 43"/>
            <p:cNvSpPr>
              <a:spLocks noChangeAspect="1"/>
            </p:cNvSpPr>
            <p:nvPr/>
          </p:nvSpPr>
          <p:spPr bwMode="auto">
            <a:xfrm>
              <a:off x="4618450" y="2967376"/>
              <a:ext cx="27229" cy="33532"/>
            </a:xfrm>
            <a:custGeom>
              <a:avLst/>
              <a:gdLst>
                <a:gd name="T0" fmla="*/ 5783 w 14"/>
                <a:gd name="T1" fmla="*/ 39310 h 21"/>
                <a:gd name="T2" fmla="*/ 5783 w 14"/>
                <a:gd name="T3" fmla="*/ 27517 h 21"/>
                <a:gd name="T4" fmla="*/ 0 w 14"/>
                <a:gd name="T5" fmla="*/ 15724 h 21"/>
                <a:gd name="T6" fmla="*/ 19276 w 14"/>
                <a:gd name="T7" fmla="*/ 1965 h 21"/>
                <a:gd name="T8" fmla="*/ 26987 w 14"/>
                <a:gd name="T9" fmla="*/ 7862 h 21"/>
                <a:gd name="T10" fmla="*/ 11566 w 14"/>
                <a:gd name="T11" fmla="*/ 17689 h 21"/>
                <a:gd name="T12" fmla="*/ 13494 w 14"/>
                <a:gd name="T13" fmla="*/ 37344 h 21"/>
                <a:gd name="T14" fmla="*/ 5783 w 14"/>
                <a:gd name="T15" fmla="*/ 39310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 name="Freeform 44"/>
            <p:cNvSpPr>
              <a:spLocks noChangeAspect="1"/>
            </p:cNvSpPr>
            <p:nvPr/>
          </p:nvSpPr>
          <p:spPr bwMode="auto">
            <a:xfrm>
              <a:off x="4624857" y="2750710"/>
              <a:ext cx="462894" cy="426884"/>
            </a:xfrm>
            <a:custGeom>
              <a:avLst/>
              <a:gdLst>
                <a:gd name="T0" fmla="*/ 34266 w 241"/>
                <a:gd name="T1" fmla="*/ 271329 h 275"/>
                <a:gd name="T2" fmla="*/ 62821 w 241"/>
                <a:gd name="T3" fmla="*/ 277062 h 275"/>
                <a:gd name="T4" fmla="*/ 97088 w 241"/>
                <a:gd name="T5" fmla="*/ 231203 h 275"/>
                <a:gd name="T6" fmla="*/ 112317 w 241"/>
                <a:gd name="T7" fmla="*/ 181523 h 275"/>
                <a:gd name="T8" fmla="*/ 137065 w 241"/>
                <a:gd name="T9" fmla="*/ 162416 h 275"/>
                <a:gd name="T10" fmla="*/ 138969 w 241"/>
                <a:gd name="T11" fmla="*/ 103182 h 275"/>
                <a:gd name="T12" fmla="*/ 154198 w 241"/>
                <a:gd name="T13" fmla="*/ 45858 h 275"/>
                <a:gd name="T14" fmla="*/ 169428 w 241"/>
                <a:gd name="T15" fmla="*/ 5732 h 275"/>
                <a:gd name="T16" fmla="*/ 217020 w 241"/>
                <a:gd name="T17" fmla="*/ 24840 h 275"/>
                <a:gd name="T18" fmla="*/ 256997 w 241"/>
                <a:gd name="T19" fmla="*/ 11465 h 275"/>
                <a:gd name="T20" fmla="*/ 295071 w 241"/>
                <a:gd name="T21" fmla="*/ 3822 h 275"/>
                <a:gd name="T22" fmla="*/ 317915 w 241"/>
                <a:gd name="T23" fmla="*/ 0 h 275"/>
                <a:gd name="T24" fmla="*/ 342663 w 241"/>
                <a:gd name="T25" fmla="*/ 11465 h 275"/>
                <a:gd name="T26" fmla="*/ 375025 w 241"/>
                <a:gd name="T27" fmla="*/ 17197 h 275"/>
                <a:gd name="T28" fmla="*/ 407388 w 241"/>
                <a:gd name="T29" fmla="*/ 19108 h 275"/>
                <a:gd name="T30" fmla="*/ 437847 w 241"/>
                <a:gd name="T31" fmla="*/ 43948 h 275"/>
                <a:gd name="T32" fmla="*/ 443558 w 241"/>
                <a:gd name="T33" fmla="*/ 63055 h 275"/>
                <a:gd name="T34" fmla="*/ 458787 w 241"/>
                <a:gd name="T35" fmla="*/ 85985 h 275"/>
                <a:gd name="T36" fmla="*/ 437847 w 241"/>
                <a:gd name="T37" fmla="*/ 110825 h 275"/>
                <a:gd name="T38" fmla="*/ 420713 w 241"/>
                <a:gd name="T39" fmla="*/ 147129 h 275"/>
                <a:gd name="T40" fmla="*/ 409291 w 241"/>
                <a:gd name="T41" fmla="*/ 189166 h 275"/>
                <a:gd name="T42" fmla="*/ 411195 w 241"/>
                <a:gd name="T43" fmla="*/ 227382 h 275"/>
                <a:gd name="T44" fmla="*/ 416906 w 241"/>
                <a:gd name="T45" fmla="*/ 275151 h 275"/>
                <a:gd name="T46" fmla="*/ 420713 w 241"/>
                <a:gd name="T47" fmla="*/ 321009 h 275"/>
                <a:gd name="T48" fmla="*/ 445461 w 241"/>
                <a:gd name="T49" fmla="*/ 376422 h 275"/>
                <a:gd name="T50" fmla="*/ 397869 w 241"/>
                <a:gd name="T51" fmla="*/ 418459 h 275"/>
                <a:gd name="T52" fmla="*/ 392158 w 241"/>
                <a:gd name="T53" fmla="*/ 475782 h 275"/>
                <a:gd name="T54" fmla="*/ 422617 w 241"/>
                <a:gd name="T55" fmla="*/ 487246 h 275"/>
                <a:gd name="T56" fmla="*/ 388351 w 241"/>
                <a:gd name="T57" fmla="*/ 500622 h 275"/>
                <a:gd name="T58" fmla="*/ 354085 w 241"/>
                <a:gd name="T59" fmla="*/ 466228 h 275"/>
                <a:gd name="T60" fmla="*/ 312204 w 241"/>
                <a:gd name="T61" fmla="*/ 464317 h 275"/>
                <a:gd name="T62" fmla="*/ 279841 w 241"/>
                <a:gd name="T63" fmla="*/ 454763 h 275"/>
                <a:gd name="T64" fmla="*/ 239864 w 241"/>
                <a:gd name="T65" fmla="*/ 460496 h 275"/>
                <a:gd name="T66" fmla="*/ 241767 w 241"/>
                <a:gd name="T67" fmla="*/ 422280 h 275"/>
                <a:gd name="T68" fmla="*/ 228442 w 241"/>
                <a:gd name="T69" fmla="*/ 363046 h 275"/>
                <a:gd name="T70" fmla="*/ 203694 w 241"/>
                <a:gd name="T71" fmla="*/ 345849 h 275"/>
                <a:gd name="T72" fmla="*/ 178946 w 241"/>
                <a:gd name="T73" fmla="*/ 343939 h 275"/>
                <a:gd name="T74" fmla="*/ 173235 w 241"/>
                <a:gd name="T75" fmla="*/ 368779 h 275"/>
                <a:gd name="T76" fmla="*/ 125643 w 241"/>
                <a:gd name="T77" fmla="*/ 368779 h 275"/>
                <a:gd name="T78" fmla="*/ 108510 w 241"/>
                <a:gd name="T79" fmla="*/ 317188 h 275"/>
                <a:gd name="T80" fmla="*/ 15229 w 241"/>
                <a:gd name="T81" fmla="*/ 307634 h 275"/>
                <a:gd name="T82" fmla="*/ 7615 w 241"/>
                <a:gd name="T83" fmla="*/ 303813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 name="Freeform 45"/>
            <p:cNvSpPr>
              <a:spLocks noChangeAspect="1"/>
            </p:cNvSpPr>
            <p:nvPr/>
          </p:nvSpPr>
          <p:spPr bwMode="auto">
            <a:xfrm>
              <a:off x="4597627" y="2786822"/>
              <a:ext cx="184198" cy="193452"/>
            </a:xfrm>
            <a:custGeom>
              <a:avLst/>
              <a:gdLst>
                <a:gd name="T0" fmla="*/ 20919 w 96"/>
                <a:gd name="T1" fmla="*/ 238125 h 125"/>
                <a:gd name="T2" fmla="*/ 9508 w 96"/>
                <a:gd name="T3" fmla="*/ 222885 h 125"/>
                <a:gd name="T4" fmla="*/ 0 w 96"/>
                <a:gd name="T5" fmla="*/ 209550 h 125"/>
                <a:gd name="T6" fmla="*/ 3803 w 96"/>
                <a:gd name="T7" fmla="*/ 200025 h 125"/>
                <a:gd name="T8" fmla="*/ 15214 w 96"/>
                <a:gd name="T9" fmla="*/ 201930 h 125"/>
                <a:gd name="T10" fmla="*/ 17115 w 96"/>
                <a:gd name="T11" fmla="*/ 188595 h 125"/>
                <a:gd name="T12" fmla="*/ 7607 w 96"/>
                <a:gd name="T13" fmla="*/ 179070 h 125"/>
                <a:gd name="T14" fmla="*/ 9508 w 96"/>
                <a:gd name="T15" fmla="*/ 165735 h 125"/>
                <a:gd name="T16" fmla="*/ 26624 w 96"/>
                <a:gd name="T17" fmla="*/ 167640 h 125"/>
                <a:gd name="T18" fmla="*/ 30427 w 96"/>
                <a:gd name="T19" fmla="*/ 154305 h 125"/>
                <a:gd name="T20" fmla="*/ 41837 w 96"/>
                <a:gd name="T21" fmla="*/ 163830 h 125"/>
                <a:gd name="T22" fmla="*/ 57051 w 96"/>
                <a:gd name="T23" fmla="*/ 161925 h 125"/>
                <a:gd name="T24" fmla="*/ 60854 w 96"/>
                <a:gd name="T25" fmla="*/ 167640 h 125"/>
                <a:gd name="T26" fmla="*/ 68461 w 96"/>
                <a:gd name="T27" fmla="*/ 167640 h 125"/>
                <a:gd name="T28" fmla="*/ 70363 w 96"/>
                <a:gd name="T29" fmla="*/ 150495 h 125"/>
                <a:gd name="T30" fmla="*/ 70363 w 96"/>
                <a:gd name="T31" fmla="*/ 131445 h 125"/>
                <a:gd name="T32" fmla="*/ 74166 w 96"/>
                <a:gd name="T33" fmla="*/ 118110 h 125"/>
                <a:gd name="T34" fmla="*/ 62756 w 96"/>
                <a:gd name="T35" fmla="*/ 114300 h 125"/>
                <a:gd name="T36" fmla="*/ 66559 w 96"/>
                <a:gd name="T37" fmla="*/ 93345 h 125"/>
                <a:gd name="T38" fmla="*/ 79871 w 96"/>
                <a:gd name="T39" fmla="*/ 85725 h 125"/>
                <a:gd name="T40" fmla="*/ 79871 w 96"/>
                <a:gd name="T41" fmla="*/ 66675 h 125"/>
                <a:gd name="T42" fmla="*/ 53248 w 96"/>
                <a:gd name="T43" fmla="*/ 64770 h 125"/>
                <a:gd name="T44" fmla="*/ 49444 w 96"/>
                <a:gd name="T45" fmla="*/ 55245 h 125"/>
                <a:gd name="T46" fmla="*/ 55149 w 96"/>
                <a:gd name="T47" fmla="*/ 41910 h 125"/>
                <a:gd name="T48" fmla="*/ 81773 w 96"/>
                <a:gd name="T49" fmla="*/ 41910 h 125"/>
                <a:gd name="T50" fmla="*/ 119807 w 96"/>
                <a:gd name="T51" fmla="*/ 55245 h 125"/>
                <a:gd name="T52" fmla="*/ 119807 w 96"/>
                <a:gd name="T53" fmla="*/ 45720 h 125"/>
                <a:gd name="T54" fmla="*/ 121709 w 96"/>
                <a:gd name="T55" fmla="*/ 34290 h 125"/>
                <a:gd name="T56" fmla="*/ 127414 w 96"/>
                <a:gd name="T57" fmla="*/ 28575 h 125"/>
                <a:gd name="T58" fmla="*/ 129315 w 96"/>
                <a:gd name="T59" fmla="*/ 13335 h 125"/>
                <a:gd name="T60" fmla="*/ 131217 w 96"/>
                <a:gd name="T61" fmla="*/ 3810 h 125"/>
                <a:gd name="T62" fmla="*/ 148332 w 96"/>
                <a:gd name="T63" fmla="*/ 3810 h 125"/>
                <a:gd name="T64" fmla="*/ 155939 w 96"/>
                <a:gd name="T65" fmla="*/ 0 h 125"/>
                <a:gd name="T66" fmla="*/ 167349 w 96"/>
                <a:gd name="T67" fmla="*/ 3810 h 125"/>
                <a:gd name="T68" fmla="*/ 180661 w 96"/>
                <a:gd name="T69" fmla="*/ 1905 h 125"/>
                <a:gd name="T70" fmla="*/ 180661 w 96"/>
                <a:gd name="T71" fmla="*/ 13335 h 125"/>
                <a:gd name="T72" fmla="*/ 173055 w 96"/>
                <a:gd name="T73" fmla="*/ 34290 h 125"/>
                <a:gd name="T74" fmla="*/ 165448 w 96"/>
                <a:gd name="T75" fmla="*/ 59055 h 125"/>
                <a:gd name="T76" fmla="*/ 163546 w 96"/>
                <a:gd name="T77" fmla="*/ 76200 h 125"/>
                <a:gd name="T78" fmla="*/ 163546 w 96"/>
                <a:gd name="T79" fmla="*/ 99060 h 125"/>
                <a:gd name="T80" fmla="*/ 163546 w 96"/>
                <a:gd name="T81" fmla="*/ 118110 h 125"/>
                <a:gd name="T82" fmla="*/ 152136 w 96"/>
                <a:gd name="T83" fmla="*/ 123825 h 125"/>
                <a:gd name="T84" fmla="*/ 152136 w 96"/>
                <a:gd name="T85" fmla="*/ 133350 h 125"/>
                <a:gd name="T86" fmla="*/ 138824 w 96"/>
                <a:gd name="T87" fmla="*/ 137160 h 125"/>
                <a:gd name="T88" fmla="*/ 135021 w 96"/>
                <a:gd name="T89" fmla="*/ 148590 h 125"/>
                <a:gd name="T90" fmla="*/ 121709 w 96"/>
                <a:gd name="T91" fmla="*/ 165735 h 125"/>
                <a:gd name="T92" fmla="*/ 123610 w 96"/>
                <a:gd name="T93" fmla="*/ 186690 h 125"/>
                <a:gd name="T94" fmla="*/ 116004 w 96"/>
                <a:gd name="T95" fmla="*/ 211455 h 125"/>
                <a:gd name="T96" fmla="*/ 98888 w 96"/>
                <a:gd name="T97" fmla="*/ 219075 h 125"/>
                <a:gd name="T98" fmla="*/ 89380 w 96"/>
                <a:gd name="T99" fmla="*/ 232410 h 125"/>
                <a:gd name="T100" fmla="*/ 77970 w 96"/>
                <a:gd name="T101" fmla="*/ 230505 h 125"/>
                <a:gd name="T102" fmla="*/ 77970 w 96"/>
                <a:gd name="T103" fmla="*/ 219075 h 125"/>
                <a:gd name="T104" fmla="*/ 60854 w 96"/>
                <a:gd name="T105" fmla="*/ 226695 h 125"/>
                <a:gd name="T106" fmla="*/ 57051 w 96"/>
                <a:gd name="T107" fmla="*/ 236220 h 125"/>
                <a:gd name="T108" fmla="*/ 47542 w 96"/>
                <a:gd name="T109" fmla="*/ 230505 h 125"/>
                <a:gd name="T110" fmla="*/ 39936 w 96"/>
                <a:gd name="T111" fmla="*/ 224790 h 125"/>
                <a:gd name="T112" fmla="*/ 20919 w 96"/>
                <a:gd name="T113" fmla="*/ 238125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 name="Freeform 46"/>
            <p:cNvSpPr>
              <a:spLocks noChangeAspect="1"/>
            </p:cNvSpPr>
            <p:nvPr/>
          </p:nvSpPr>
          <p:spPr bwMode="auto">
            <a:xfrm>
              <a:off x="3915298" y="2239997"/>
              <a:ext cx="198612" cy="154761"/>
            </a:xfrm>
            <a:custGeom>
              <a:avLst/>
              <a:gdLst>
                <a:gd name="T0" fmla="*/ 1893 w 104"/>
                <a:gd name="T1" fmla="*/ 190500 h 100"/>
                <a:gd name="T2" fmla="*/ 1893 w 104"/>
                <a:gd name="T3" fmla="*/ 163830 h 100"/>
                <a:gd name="T4" fmla="*/ 7571 w 104"/>
                <a:gd name="T5" fmla="*/ 150495 h 100"/>
                <a:gd name="T6" fmla="*/ 17035 w 104"/>
                <a:gd name="T7" fmla="*/ 131445 h 100"/>
                <a:gd name="T8" fmla="*/ 28392 w 104"/>
                <a:gd name="T9" fmla="*/ 112395 h 100"/>
                <a:gd name="T10" fmla="*/ 37856 w 104"/>
                <a:gd name="T11" fmla="*/ 95250 h 100"/>
                <a:gd name="T12" fmla="*/ 51105 w 104"/>
                <a:gd name="T13" fmla="*/ 81915 h 100"/>
                <a:gd name="T14" fmla="*/ 56784 w 104"/>
                <a:gd name="T15" fmla="*/ 43815 h 100"/>
                <a:gd name="T16" fmla="*/ 79497 w 104"/>
                <a:gd name="T17" fmla="*/ 30480 h 100"/>
                <a:gd name="T18" fmla="*/ 85175 w 104"/>
                <a:gd name="T19" fmla="*/ 5715 h 100"/>
                <a:gd name="T20" fmla="*/ 90854 w 104"/>
                <a:gd name="T21" fmla="*/ 0 h 100"/>
                <a:gd name="T22" fmla="*/ 196850 w 104"/>
                <a:gd name="T23" fmla="*/ 0 h 100"/>
                <a:gd name="T24" fmla="*/ 196850 w 104"/>
                <a:gd name="T25" fmla="*/ 9525 h 100"/>
                <a:gd name="T26" fmla="*/ 196850 w 104"/>
                <a:gd name="T27" fmla="*/ 49530 h 100"/>
                <a:gd name="T28" fmla="*/ 119246 w 104"/>
                <a:gd name="T29" fmla="*/ 49530 h 100"/>
                <a:gd name="T30" fmla="*/ 119246 w 104"/>
                <a:gd name="T31" fmla="*/ 120015 h 100"/>
                <a:gd name="T32" fmla="*/ 111675 w 104"/>
                <a:gd name="T33" fmla="*/ 123825 h 100"/>
                <a:gd name="T34" fmla="*/ 102211 w 104"/>
                <a:gd name="T35" fmla="*/ 125730 h 100"/>
                <a:gd name="T36" fmla="*/ 88961 w 104"/>
                <a:gd name="T37" fmla="*/ 140970 h 100"/>
                <a:gd name="T38" fmla="*/ 92747 w 104"/>
                <a:gd name="T39" fmla="*/ 175260 h 100"/>
                <a:gd name="T40" fmla="*/ 88961 w 104"/>
                <a:gd name="T41" fmla="*/ 180975 h 100"/>
                <a:gd name="T42" fmla="*/ 9464 w 104"/>
                <a:gd name="T43" fmla="*/ 179070 h 100"/>
                <a:gd name="T44" fmla="*/ 1893 w 104"/>
                <a:gd name="T45" fmla="*/ 19050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 name="Freeform 47"/>
            <p:cNvSpPr>
              <a:spLocks noChangeAspect="1"/>
            </p:cNvSpPr>
            <p:nvPr/>
          </p:nvSpPr>
          <p:spPr bwMode="auto">
            <a:xfrm>
              <a:off x="4006596" y="2038808"/>
              <a:ext cx="288308" cy="201189"/>
            </a:xfrm>
            <a:custGeom>
              <a:avLst/>
              <a:gdLst>
                <a:gd name="T0" fmla="*/ 262890 w 150"/>
                <a:gd name="T1" fmla="*/ 26670 h 130"/>
                <a:gd name="T2" fmla="*/ 249555 w 150"/>
                <a:gd name="T3" fmla="*/ 24765 h 130"/>
                <a:gd name="T4" fmla="*/ 240030 w 150"/>
                <a:gd name="T5" fmla="*/ 19050 h 130"/>
                <a:gd name="T6" fmla="*/ 224790 w 150"/>
                <a:gd name="T7" fmla="*/ 20955 h 130"/>
                <a:gd name="T8" fmla="*/ 203835 w 150"/>
                <a:gd name="T9" fmla="*/ 22860 h 130"/>
                <a:gd name="T10" fmla="*/ 192405 w 150"/>
                <a:gd name="T11" fmla="*/ 9525 h 130"/>
                <a:gd name="T12" fmla="*/ 194310 w 150"/>
                <a:gd name="T13" fmla="*/ 1905 h 130"/>
                <a:gd name="T14" fmla="*/ 177165 w 150"/>
                <a:gd name="T15" fmla="*/ 5715 h 130"/>
                <a:gd name="T16" fmla="*/ 167640 w 150"/>
                <a:gd name="T17" fmla="*/ 22860 h 130"/>
                <a:gd name="T18" fmla="*/ 156210 w 150"/>
                <a:gd name="T19" fmla="*/ 49530 h 130"/>
                <a:gd name="T20" fmla="*/ 144780 w 150"/>
                <a:gd name="T21" fmla="*/ 66675 h 130"/>
                <a:gd name="T22" fmla="*/ 123825 w 150"/>
                <a:gd name="T23" fmla="*/ 76200 h 130"/>
                <a:gd name="T24" fmla="*/ 110490 w 150"/>
                <a:gd name="T25" fmla="*/ 85725 h 130"/>
                <a:gd name="T26" fmla="*/ 93345 w 150"/>
                <a:gd name="T27" fmla="*/ 102870 h 130"/>
                <a:gd name="T28" fmla="*/ 93345 w 150"/>
                <a:gd name="T29" fmla="*/ 110490 h 130"/>
                <a:gd name="T30" fmla="*/ 81915 w 150"/>
                <a:gd name="T31" fmla="*/ 129540 h 130"/>
                <a:gd name="T32" fmla="*/ 80010 w 150"/>
                <a:gd name="T33" fmla="*/ 160020 h 130"/>
                <a:gd name="T34" fmla="*/ 87630 w 150"/>
                <a:gd name="T35" fmla="*/ 171450 h 130"/>
                <a:gd name="T36" fmla="*/ 72390 w 150"/>
                <a:gd name="T37" fmla="*/ 190500 h 130"/>
                <a:gd name="T38" fmla="*/ 66675 w 150"/>
                <a:gd name="T39" fmla="*/ 200025 h 130"/>
                <a:gd name="T40" fmla="*/ 47625 w 150"/>
                <a:gd name="T41" fmla="*/ 215265 h 130"/>
                <a:gd name="T42" fmla="*/ 40005 w 150"/>
                <a:gd name="T43" fmla="*/ 228600 h 130"/>
                <a:gd name="T44" fmla="*/ 28575 w 150"/>
                <a:gd name="T45" fmla="*/ 228600 h 130"/>
                <a:gd name="T46" fmla="*/ 9525 w 150"/>
                <a:gd name="T47" fmla="*/ 238125 h 130"/>
                <a:gd name="T48" fmla="*/ 0 w 150"/>
                <a:gd name="T49" fmla="*/ 247650 h 130"/>
                <a:gd name="T50" fmla="*/ 106680 w 150"/>
                <a:gd name="T51" fmla="*/ 247650 h 130"/>
                <a:gd name="T52" fmla="*/ 106680 w 150"/>
                <a:gd name="T53" fmla="*/ 219075 h 130"/>
                <a:gd name="T54" fmla="*/ 125730 w 150"/>
                <a:gd name="T55" fmla="*/ 203835 h 130"/>
                <a:gd name="T56" fmla="*/ 140970 w 150"/>
                <a:gd name="T57" fmla="*/ 194310 h 130"/>
                <a:gd name="T58" fmla="*/ 154305 w 150"/>
                <a:gd name="T59" fmla="*/ 190500 h 130"/>
                <a:gd name="T60" fmla="*/ 160020 w 150"/>
                <a:gd name="T61" fmla="*/ 184785 h 130"/>
                <a:gd name="T62" fmla="*/ 175260 w 150"/>
                <a:gd name="T63" fmla="*/ 184785 h 130"/>
                <a:gd name="T64" fmla="*/ 190500 w 150"/>
                <a:gd name="T65" fmla="*/ 180975 h 130"/>
                <a:gd name="T66" fmla="*/ 201930 w 150"/>
                <a:gd name="T67" fmla="*/ 163830 h 130"/>
                <a:gd name="T68" fmla="*/ 224790 w 150"/>
                <a:gd name="T69" fmla="*/ 158115 h 130"/>
                <a:gd name="T70" fmla="*/ 230505 w 150"/>
                <a:gd name="T71" fmla="*/ 150495 h 130"/>
                <a:gd name="T72" fmla="*/ 220980 w 150"/>
                <a:gd name="T73" fmla="*/ 142875 h 130"/>
                <a:gd name="T74" fmla="*/ 228600 w 150"/>
                <a:gd name="T75" fmla="*/ 131445 h 130"/>
                <a:gd name="T76" fmla="*/ 245745 w 150"/>
                <a:gd name="T77" fmla="*/ 127635 h 130"/>
                <a:gd name="T78" fmla="*/ 268605 w 150"/>
                <a:gd name="T79" fmla="*/ 121920 h 130"/>
                <a:gd name="T80" fmla="*/ 280035 w 150"/>
                <a:gd name="T81" fmla="*/ 120015 h 130"/>
                <a:gd name="T82" fmla="*/ 285750 w 150"/>
                <a:gd name="T83" fmla="*/ 106680 h 130"/>
                <a:gd name="T84" fmla="*/ 278130 w 150"/>
                <a:gd name="T85" fmla="*/ 99060 h 130"/>
                <a:gd name="T86" fmla="*/ 278130 w 150"/>
                <a:gd name="T87" fmla="*/ 91440 h 130"/>
                <a:gd name="T88" fmla="*/ 272415 w 150"/>
                <a:gd name="T89" fmla="*/ 83820 h 130"/>
                <a:gd name="T90" fmla="*/ 274320 w 150"/>
                <a:gd name="T91" fmla="*/ 62865 h 130"/>
                <a:gd name="T92" fmla="*/ 272415 w 150"/>
                <a:gd name="T93" fmla="*/ 38100 h 130"/>
                <a:gd name="T94" fmla="*/ 262890 w 150"/>
                <a:gd name="T95" fmla="*/ 26670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 name="Freeform 48"/>
            <p:cNvSpPr>
              <a:spLocks noChangeAspect="1"/>
            </p:cNvSpPr>
            <p:nvPr/>
          </p:nvSpPr>
          <p:spPr bwMode="auto">
            <a:xfrm>
              <a:off x="3916900" y="2247736"/>
              <a:ext cx="289909" cy="290177"/>
            </a:xfrm>
            <a:custGeom>
              <a:avLst/>
              <a:gdLst>
                <a:gd name="T0" fmla="*/ 110368 w 151"/>
                <a:gd name="T1" fmla="*/ 355277 h 187"/>
                <a:gd name="T2" fmla="*/ 119882 w 151"/>
                <a:gd name="T3" fmla="*/ 353367 h 187"/>
                <a:gd name="T4" fmla="*/ 125591 w 151"/>
                <a:gd name="T5" fmla="*/ 338086 h 187"/>
                <a:gd name="T6" fmla="*/ 133203 w 151"/>
                <a:gd name="T7" fmla="*/ 338086 h 187"/>
                <a:gd name="T8" fmla="*/ 142717 w 151"/>
                <a:gd name="T9" fmla="*/ 349547 h 187"/>
                <a:gd name="T10" fmla="*/ 150329 w 151"/>
                <a:gd name="T11" fmla="*/ 339996 h 187"/>
                <a:gd name="T12" fmla="*/ 175066 w 151"/>
                <a:gd name="T13" fmla="*/ 339996 h 187"/>
                <a:gd name="T14" fmla="*/ 180775 w 151"/>
                <a:gd name="T15" fmla="*/ 332356 h 187"/>
                <a:gd name="T16" fmla="*/ 184581 w 151"/>
                <a:gd name="T17" fmla="*/ 339996 h 187"/>
                <a:gd name="T18" fmla="*/ 274017 w 151"/>
                <a:gd name="T19" fmla="*/ 339996 h 187"/>
                <a:gd name="T20" fmla="*/ 279725 w 151"/>
                <a:gd name="T21" fmla="*/ 313255 h 187"/>
                <a:gd name="T22" fmla="*/ 272114 w 151"/>
                <a:gd name="T23" fmla="*/ 309435 h 187"/>
                <a:gd name="T24" fmla="*/ 251182 w 151"/>
                <a:gd name="T25" fmla="*/ 66853 h 187"/>
                <a:gd name="T26" fmla="*/ 287337 w 151"/>
                <a:gd name="T27" fmla="*/ 66853 h 187"/>
                <a:gd name="T28" fmla="*/ 195998 w 151"/>
                <a:gd name="T29" fmla="*/ 0 h 187"/>
                <a:gd name="T30" fmla="*/ 195998 w 151"/>
                <a:gd name="T31" fmla="*/ 40112 h 187"/>
                <a:gd name="T32" fmla="*/ 117979 w 151"/>
                <a:gd name="T33" fmla="*/ 40112 h 187"/>
                <a:gd name="T34" fmla="*/ 117979 w 151"/>
                <a:gd name="T35" fmla="*/ 110785 h 187"/>
                <a:gd name="T36" fmla="*/ 110368 w 151"/>
                <a:gd name="T37" fmla="*/ 114605 h 187"/>
                <a:gd name="T38" fmla="*/ 100853 w 151"/>
                <a:gd name="T39" fmla="*/ 116516 h 187"/>
                <a:gd name="T40" fmla="*/ 87533 w 151"/>
                <a:gd name="T41" fmla="*/ 131796 h 187"/>
                <a:gd name="T42" fmla="*/ 91339 w 151"/>
                <a:gd name="T43" fmla="*/ 166178 h 187"/>
                <a:gd name="T44" fmla="*/ 87533 w 151"/>
                <a:gd name="T45" fmla="*/ 171908 h 187"/>
                <a:gd name="T46" fmla="*/ 7612 w 151"/>
                <a:gd name="T47" fmla="*/ 169998 h 187"/>
                <a:gd name="T48" fmla="*/ 0 w 151"/>
                <a:gd name="T49" fmla="*/ 181459 h 187"/>
                <a:gd name="T50" fmla="*/ 7612 w 151"/>
                <a:gd name="T51" fmla="*/ 189099 h 187"/>
                <a:gd name="T52" fmla="*/ 11417 w 151"/>
                <a:gd name="T53" fmla="*/ 189099 h 187"/>
                <a:gd name="T54" fmla="*/ 15223 w 151"/>
                <a:gd name="T55" fmla="*/ 204380 h 187"/>
                <a:gd name="T56" fmla="*/ 9514 w 151"/>
                <a:gd name="T57" fmla="*/ 231121 h 187"/>
                <a:gd name="T58" fmla="*/ 13320 w 151"/>
                <a:gd name="T59" fmla="*/ 236851 h 187"/>
                <a:gd name="T60" fmla="*/ 17126 w 151"/>
                <a:gd name="T61" fmla="*/ 257862 h 187"/>
                <a:gd name="T62" fmla="*/ 13320 w 151"/>
                <a:gd name="T63" fmla="*/ 284604 h 187"/>
                <a:gd name="T64" fmla="*/ 5709 w 151"/>
                <a:gd name="T65" fmla="*/ 313255 h 187"/>
                <a:gd name="T66" fmla="*/ 15223 w 151"/>
                <a:gd name="T67" fmla="*/ 303704 h 187"/>
                <a:gd name="T68" fmla="*/ 39961 w 151"/>
                <a:gd name="T69" fmla="*/ 303704 h 187"/>
                <a:gd name="T70" fmla="*/ 43767 w 151"/>
                <a:gd name="T71" fmla="*/ 299884 h 187"/>
                <a:gd name="T72" fmla="*/ 58990 w 151"/>
                <a:gd name="T73" fmla="*/ 301794 h 187"/>
                <a:gd name="T74" fmla="*/ 70407 w 151"/>
                <a:gd name="T75" fmla="*/ 317075 h 187"/>
                <a:gd name="T76" fmla="*/ 81824 w 151"/>
                <a:gd name="T77" fmla="*/ 317075 h 187"/>
                <a:gd name="T78" fmla="*/ 87533 w 151"/>
                <a:gd name="T79" fmla="*/ 336176 h 187"/>
                <a:gd name="T80" fmla="*/ 97048 w 151"/>
                <a:gd name="T81" fmla="*/ 347637 h 187"/>
                <a:gd name="T82" fmla="*/ 110368 w 151"/>
                <a:gd name="T83" fmla="*/ 355277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 name="Freeform 49"/>
            <p:cNvSpPr>
              <a:spLocks noChangeAspect="1"/>
            </p:cNvSpPr>
            <p:nvPr/>
          </p:nvSpPr>
          <p:spPr bwMode="auto">
            <a:xfrm>
              <a:off x="3897680" y="2490195"/>
              <a:ext cx="148959" cy="98015"/>
            </a:xfrm>
            <a:custGeom>
              <a:avLst/>
              <a:gdLst>
                <a:gd name="T0" fmla="*/ 18928 w 78"/>
                <a:gd name="T1" fmla="*/ 120650 h 64"/>
                <a:gd name="T2" fmla="*/ 17035 w 78"/>
                <a:gd name="T3" fmla="*/ 111224 h 64"/>
                <a:gd name="T4" fmla="*/ 17035 w 78"/>
                <a:gd name="T5" fmla="*/ 101798 h 64"/>
                <a:gd name="T6" fmla="*/ 37856 w 78"/>
                <a:gd name="T7" fmla="*/ 101798 h 64"/>
                <a:gd name="T8" fmla="*/ 56783 w 78"/>
                <a:gd name="T9" fmla="*/ 96143 h 64"/>
                <a:gd name="T10" fmla="*/ 73819 w 78"/>
                <a:gd name="T11" fmla="*/ 98028 h 64"/>
                <a:gd name="T12" fmla="*/ 87068 w 78"/>
                <a:gd name="T13" fmla="*/ 96143 h 64"/>
                <a:gd name="T14" fmla="*/ 88961 w 78"/>
                <a:gd name="T15" fmla="*/ 88602 h 64"/>
                <a:gd name="T16" fmla="*/ 68140 w 78"/>
                <a:gd name="T17" fmla="*/ 84832 h 64"/>
                <a:gd name="T18" fmla="*/ 54891 w 78"/>
                <a:gd name="T19" fmla="*/ 82947 h 64"/>
                <a:gd name="T20" fmla="*/ 49212 w 78"/>
                <a:gd name="T21" fmla="*/ 88602 h 64"/>
                <a:gd name="T22" fmla="*/ 26499 w 78"/>
                <a:gd name="T23" fmla="*/ 90487 h 64"/>
                <a:gd name="T24" fmla="*/ 20821 w 78"/>
                <a:gd name="T25" fmla="*/ 77291 h 64"/>
                <a:gd name="T26" fmla="*/ 15142 w 78"/>
                <a:gd name="T27" fmla="*/ 62210 h 64"/>
                <a:gd name="T28" fmla="*/ 0 w 78"/>
                <a:gd name="T29" fmla="*/ 58440 h 64"/>
                <a:gd name="T30" fmla="*/ 15142 w 78"/>
                <a:gd name="T31" fmla="*/ 43359 h 64"/>
                <a:gd name="T32" fmla="*/ 26499 w 78"/>
                <a:gd name="T33" fmla="*/ 30163 h 64"/>
                <a:gd name="T34" fmla="*/ 24606 w 78"/>
                <a:gd name="T35" fmla="*/ 15081 h 64"/>
                <a:gd name="T36" fmla="*/ 34070 w 78"/>
                <a:gd name="T37" fmla="*/ 5655 h 64"/>
                <a:gd name="T38" fmla="*/ 58676 w 78"/>
                <a:gd name="T39" fmla="*/ 5655 h 64"/>
                <a:gd name="T40" fmla="*/ 62462 w 78"/>
                <a:gd name="T41" fmla="*/ 1885 h 64"/>
                <a:gd name="T42" fmla="*/ 77604 w 78"/>
                <a:gd name="T43" fmla="*/ 3770 h 64"/>
                <a:gd name="T44" fmla="*/ 88961 w 78"/>
                <a:gd name="T45" fmla="*/ 18852 h 64"/>
                <a:gd name="T46" fmla="*/ 100317 w 78"/>
                <a:gd name="T47" fmla="*/ 18852 h 64"/>
                <a:gd name="T48" fmla="*/ 105996 w 78"/>
                <a:gd name="T49" fmla="*/ 37703 h 64"/>
                <a:gd name="T50" fmla="*/ 115460 w 78"/>
                <a:gd name="T51" fmla="*/ 49014 h 64"/>
                <a:gd name="T52" fmla="*/ 128709 w 78"/>
                <a:gd name="T53" fmla="*/ 56555 h 64"/>
                <a:gd name="T54" fmla="*/ 134388 w 78"/>
                <a:gd name="T55" fmla="*/ 71636 h 64"/>
                <a:gd name="T56" fmla="*/ 130602 w 78"/>
                <a:gd name="T57" fmla="*/ 88602 h 64"/>
                <a:gd name="T58" fmla="*/ 136280 w 78"/>
                <a:gd name="T59" fmla="*/ 96143 h 64"/>
                <a:gd name="T60" fmla="*/ 141959 w 78"/>
                <a:gd name="T61" fmla="*/ 96143 h 64"/>
                <a:gd name="T62" fmla="*/ 147637 w 78"/>
                <a:gd name="T63" fmla="*/ 107454 h 64"/>
                <a:gd name="T64" fmla="*/ 143851 w 78"/>
                <a:gd name="T65" fmla="*/ 118765 h 64"/>
                <a:gd name="T66" fmla="*/ 128709 w 78"/>
                <a:gd name="T67" fmla="*/ 120650 h 64"/>
                <a:gd name="T68" fmla="*/ 113567 w 78"/>
                <a:gd name="T69" fmla="*/ 118765 h 64"/>
                <a:gd name="T70" fmla="*/ 107889 w 78"/>
                <a:gd name="T71" fmla="*/ 118765 h 64"/>
                <a:gd name="T72" fmla="*/ 104103 w 78"/>
                <a:gd name="T73" fmla="*/ 114995 h 64"/>
                <a:gd name="T74" fmla="*/ 90854 w 78"/>
                <a:gd name="T75" fmla="*/ 114995 h 64"/>
                <a:gd name="T76" fmla="*/ 62462 w 78"/>
                <a:gd name="T77" fmla="*/ 113109 h 64"/>
                <a:gd name="T78" fmla="*/ 47320 w 78"/>
                <a:gd name="T79" fmla="*/ 120650 h 64"/>
                <a:gd name="T80" fmla="*/ 30285 w 78"/>
                <a:gd name="T81" fmla="*/ 118765 h 64"/>
                <a:gd name="T82" fmla="*/ 18928 w 78"/>
                <a:gd name="T83" fmla="*/ 120650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 name="Freeform 50"/>
            <p:cNvSpPr>
              <a:spLocks noChangeAspect="1"/>
            </p:cNvSpPr>
            <p:nvPr/>
          </p:nvSpPr>
          <p:spPr bwMode="auto">
            <a:xfrm>
              <a:off x="3916900" y="2580473"/>
              <a:ext cx="80086" cy="42559"/>
            </a:xfrm>
            <a:custGeom>
              <a:avLst/>
              <a:gdLst>
                <a:gd name="T0" fmla="*/ 41577 w 42"/>
                <a:gd name="T1" fmla="*/ 52387 h 27"/>
                <a:gd name="T2" fmla="*/ 49137 w 42"/>
                <a:gd name="T3" fmla="*/ 34925 h 27"/>
                <a:gd name="T4" fmla="*/ 62366 w 42"/>
                <a:gd name="T5" fmla="*/ 29104 h 27"/>
                <a:gd name="T6" fmla="*/ 75595 w 42"/>
                <a:gd name="T7" fmla="*/ 27164 h 27"/>
                <a:gd name="T8" fmla="*/ 71815 w 42"/>
                <a:gd name="T9" fmla="*/ 15522 h 27"/>
                <a:gd name="T10" fmla="*/ 73705 w 42"/>
                <a:gd name="T11" fmla="*/ 9701 h 27"/>
                <a:gd name="T12" fmla="*/ 71815 w 42"/>
                <a:gd name="T13" fmla="*/ 3881 h 27"/>
                <a:gd name="T14" fmla="*/ 43467 w 42"/>
                <a:gd name="T15" fmla="*/ 1940 h 27"/>
                <a:gd name="T16" fmla="*/ 28348 w 42"/>
                <a:gd name="T17" fmla="*/ 9701 h 27"/>
                <a:gd name="T18" fmla="*/ 11339 w 42"/>
                <a:gd name="T19" fmla="*/ 7761 h 27"/>
                <a:gd name="T20" fmla="*/ 0 w 42"/>
                <a:gd name="T21" fmla="*/ 9701 h 27"/>
                <a:gd name="T22" fmla="*/ 9449 w 42"/>
                <a:gd name="T23" fmla="*/ 23283 h 27"/>
                <a:gd name="T24" fmla="*/ 41577 w 42"/>
                <a:gd name="T25" fmla="*/ 23283 h 27"/>
                <a:gd name="T26" fmla="*/ 26458 w 42"/>
                <a:gd name="T27" fmla="*/ 29104 h 27"/>
                <a:gd name="T28" fmla="*/ 34018 w 42"/>
                <a:gd name="T29" fmla="*/ 38805 h 27"/>
                <a:gd name="T30" fmla="*/ 41577 w 42"/>
                <a:gd name="T31" fmla="*/ 5238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 name="Freeform 51"/>
            <p:cNvSpPr>
              <a:spLocks noChangeAspect="1"/>
            </p:cNvSpPr>
            <p:nvPr/>
          </p:nvSpPr>
          <p:spPr bwMode="auto">
            <a:xfrm>
              <a:off x="3915298" y="2557259"/>
              <a:ext cx="73679" cy="18056"/>
            </a:xfrm>
            <a:custGeom>
              <a:avLst/>
              <a:gdLst>
                <a:gd name="T0" fmla="*/ 0 w 39"/>
                <a:gd name="T1" fmla="*/ 20205 h 11"/>
                <a:gd name="T2" fmla="*/ 26214 w 39"/>
                <a:gd name="T3" fmla="*/ 14143 h 11"/>
                <a:gd name="T4" fmla="*/ 9362 w 39"/>
                <a:gd name="T5" fmla="*/ 8082 h 11"/>
                <a:gd name="T6" fmla="*/ 31831 w 39"/>
                <a:gd name="T7" fmla="*/ 6061 h 11"/>
                <a:gd name="T8" fmla="*/ 37449 w 39"/>
                <a:gd name="T9" fmla="*/ 0 h 11"/>
                <a:gd name="T10" fmla="*/ 50556 w 39"/>
                <a:gd name="T11" fmla="*/ 2020 h 11"/>
                <a:gd name="T12" fmla="*/ 71153 w 39"/>
                <a:gd name="T13" fmla="*/ 6061 h 11"/>
                <a:gd name="T14" fmla="*/ 69280 w 39"/>
                <a:gd name="T15" fmla="*/ 14143 h 11"/>
                <a:gd name="T16" fmla="*/ 56173 w 39"/>
                <a:gd name="T17" fmla="*/ 16164 h 11"/>
                <a:gd name="T18" fmla="*/ 39321 w 39"/>
                <a:gd name="T19" fmla="*/ 14143 h 11"/>
                <a:gd name="T20" fmla="*/ 20597 w 39"/>
                <a:gd name="T21" fmla="*/ 20205 h 11"/>
                <a:gd name="T22" fmla="*/ 0 w 39"/>
                <a:gd name="T23" fmla="*/ 20205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 name="Freeform 52"/>
            <p:cNvSpPr>
              <a:spLocks noChangeAspect="1"/>
            </p:cNvSpPr>
            <p:nvPr/>
          </p:nvSpPr>
          <p:spPr bwMode="auto">
            <a:xfrm>
              <a:off x="3958545" y="2583052"/>
              <a:ext cx="184196" cy="125099"/>
            </a:xfrm>
            <a:custGeom>
              <a:avLst/>
              <a:gdLst>
                <a:gd name="T0" fmla="*/ 161643 w 96"/>
                <a:gd name="T1" fmla="*/ 60834 h 81"/>
                <a:gd name="T2" fmla="*/ 152135 w 96"/>
                <a:gd name="T3" fmla="*/ 51329 h 81"/>
                <a:gd name="T4" fmla="*/ 152135 w 96"/>
                <a:gd name="T5" fmla="*/ 28516 h 81"/>
                <a:gd name="T6" fmla="*/ 135020 w 96"/>
                <a:gd name="T7" fmla="*/ 9505 h 81"/>
                <a:gd name="T8" fmla="*/ 127413 w 96"/>
                <a:gd name="T9" fmla="*/ 17110 h 81"/>
                <a:gd name="T10" fmla="*/ 106494 w 96"/>
                <a:gd name="T11" fmla="*/ 22813 h 81"/>
                <a:gd name="T12" fmla="*/ 93183 w 96"/>
                <a:gd name="T13" fmla="*/ 17110 h 81"/>
                <a:gd name="T14" fmla="*/ 83674 w 96"/>
                <a:gd name="T15" fmla="*/ 5703 h 81"/>
                <a:gd name="T16" fmla="*/ 53247 w 96"/>
                <a:gd name="T17" fmla="*/ 5703 h 81"/>
                <a:gd name="T18" fmla="*/ 43739 w 96"/>
                <a:gd name="T19" fmla="*/ 1901 h 81"/>
                <a:gd name="T20" fmla="*/ 32329 w 96"/>
                <a:gd name="T21" fmla="*/ 7604 h 81"/>
                <a:gd name="T22" fmla="*/ 34230 w 96"/>
                <a:gd name="T23" fmla="*/ 24714 h 81"/>
                <a:gd name="T24" fmla="*/ 7607 w 96"/>
                <a:gd name="T25" fmla="*/ 32318 h 81"/>
                <a:gd name="T26" fmla="*/ 11410 w 96"/>
                <a:gd name="T27" fmla="*/ 49428 h 81"/>
                <a:gd name="T28" fmla="*/ 22820 w 96"/>
                <a:gd name="T29" fmla="*/ 70340 h 81"/>
                <a:gd name="T30" fmla="*/ 39935 w 96"/>
                <a:gd name="T31" fmla="*/ 89350 h 81"/>
                <a:gd name="T32" fmla="*/ 53247 w 96"/>
                <a:gd name="T33" fmla="*/ 91252 h 81"/>
                <a:gd name="T34" fmla="*/ 74166 w 96"/>
                <a:gd name="T35" fmla="*/ 79845 h 81"/>
                <a:gd name="T36" fmla="*/ 89379 w 96"/>
                <a:gd name="T37" fmla="*/ 76043 h 81"/>
                <a:gd name="T38" fmla="*/ 98888 w 96"/>
                <a:gd name="T39" fmla="*/ 87449 h 81"/>
                <a:gd name="T40" fmla="*/ 104593 w 96"/>
                <a:gd name="T41" fmla="*/ 100757 h 81"/>
                <a:gd name="T42" fmla="*/ 104593 w 96"/>
                <a:gd name="T43" fmla="*/ 119768 h 81"/>
                <a:gd name="T44" fmla="*/ 117905 w 96"/>
                <a:gd name="T45" fmla="*/ 117867 h 81"/>
                <a:gd name="T46" fmla="*/ 127413 w 96"/>
                <a:gd name="T47" fmla="*/ 115966 h 81"/>
                <a:gd name="T48" fmla="*/ 135020 w 96"/>
                <a:gd name="T49" fmla="*/ 127372 h 81"/>
                <a:gd name="T50" fmla="*/ 135020 w 96"/>
                <a:gd name="T51" fmla="*/ 140679 h 81"/>
                <a:gd name="T52" fmla="*/ 140725 w 96"/>
                <a:gd name="T53" fmla="*/ 153987 h 81"/>
                <a:gd name="T54" fmla="*/ 154037 w 96"/>
                <a:gd name="T55" fmla="*/ 140679 h 81"/>
                <a:gd name="T56" fmla="*/ 167349 w 96"/>
                <a:gd name="T57" fmla="*/ 142581 h 81"/>
                <a:gd name="T58" fmla="*/ 173054 w 96"/>
                <a:gd name="T59" fmla="*/ 127372 h 81"/>
                <a:gd name="T60" fmla="*/ 180660 w 96"/>
                <a:gd name="T61" fmla="*/ 117867 h 81"/>
                <a:gd name="T62" fmla="*/ 176857 w 96"/>
                <a:gd name="T63" fmla="*/ 104559 h 81"/>
                <a:gd name="T64" fmla="*/ 167349 w 96"/>
                <a:gd name="T65" fmla="*/ 8174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 name="Freeform 53"/>
            <p:cNvSpPr>
              <a:spLocks noChangeAspect="1"/>
            </p:cNvSpPr>
            <p:nvPr/>
          </p:nvSpPr>
          <p:spPr bwMode="auto">
            <a:xfrm>
              <a:off x="4003392" y="2642378"/>
              <a:ext cx="68873" cy="72222"/>
            </a:xfrm>
            <a:custGeom>
              <a:avLst/>
              <a:gdLst>
                <a:gd name="T0" fmla="*/ 64470 w 36"/>
                <a:gd name="T1" fmla="*/ 50248 h 46"/>
                <a:gd name="T2" fmla="*/ 66366 w 36"/>
                <a:gd name="T3" fmla="*/ 65709 h 46"/>
                <a:gd name="T4" fmla="*/ 53093 w 36"/>
                <a:gd name="T5" fmla="*/ 73439 h 46"/>
                <a:gd name="T6" fmla="*/ 49300 w 36"/>
                <a:gd name="T7" fmla="*/ 81170 h 46"/>
                <a:gd name="T8" fmla="*/ 43612 w 36"/>
                <a:gd name="T9" fmla="*/ 88900 h 46"/>
                <a:gd name="T10" fmla="*/ 20858 w 36"/>
                <a:gd name="T11" fmla="*/ 77304 h 46"/>
                <a:gd name="T12" fmla="*/ 20858 w 36"/>
                <a:gd name="T13" fmla="*/ 69574 h 46"/>
                <a:gd name="T14" fmla="*/ 7585 w 36"/>
                <a:gd name="T15" fmla="*/ 61843 h 46"/>
                <a:gd name="T16" fmla="*/ 7585 w 36"/>
                <a:gd name="T17" fmla="*/ 50248 h 46"/>
                <a:gd name="T18" fmla="*/ 0 w 36"/>
                <a:gd name="T19" fmla="*/ 44450 h 46"/>
                <a:gd name="T20" fmla="*/ 1896 w 36"/>
                <a:gd name="T21" fmla="*/ 32854 h 46"/>
                <a:gd name="T22" fmla="*/ 3792 w 36"/>
                <a:gd name="T23" fmla="*/ 25124 h 46"/>
                <a:gd name="T24" fmla="*/ 9481 w 36"/>
                <a:gd name="T25" fmla="*/ 17393 h 46"/>
                <a:gd name="T26" fmla="*/ 20858 w 36"/>
                <a:gd name="T27" fmla="*/ 5798 h 46"/>
                <a:gd name="T28" fmla="*/ 30339 w 36"/>
                <a:gd name="T29" fmla="*/ 5798 h 46"/>
                <a:gd name="T30" fmla="*/ 34131 w 36"/>
                <a:gd name="T31" fmla="*/ 1933 h 46"/>
                <a:gd name="T32" fmla="*/ 45508 w 36"/>
                <a:gd name="T33" fmla="*/ 1933 h 46"/>
                <a:gd name="T34" fmla="*/ 53093 w 36"/>
                <a:gd name="T35" fmla="*/ 5798 h 46"/>
                <a:gd name="T36" fmla="*/ 54989 w 36"/>
                <a:gd name="T37" fmla="*/ 13528 h 46"/>
                <a:gd name="T38" fmla="*/ 62574 w 36"/>
                <a:gd name="T39" fmla="*/ 19326 h 46"/>
                <a:gd name="T40" fmla="*/ 60677 w 36"/>
                <a:gd name="T41" fmla="*/ 27057 h 46"/>
                <a:gd name="T42" fmla="*/ 66366 w 36"/>
                <a:gd name="T43" fmla="*/ 38652 h 46"/>
                <a:gd name="T44" fmla="*/ 60677 w 36"/>
                <a:gd name="T45" fmla="*/ 46383 h 46"/>
                <a:gd name="T46" fmla="*/ 64470 w 36"/>
                <a:gd name="T47" fmla="*/ 50248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 name="Freeform 54"/>
            <p:cNvSpPr>
              <a:spLocks noChangeAspect="1"/>
            </p:cNvSpPr>
            <p:nvPr/>
          </p:nvSpPr>
          <p:spPr bwMode="auto">
            <a:xfrm>
              <a:off x="4046638" y="2677198"/>
              <a:ext cx="100908" cy="95436"/>
            </a:xfrm>
            <a:custGeom>
              <a:avLst/>
              <a:gdLst>
                <a:gd name="T0" fmla="*/ 94243 w 52"/>
                <a:gd name="T1" fmla="*/ 117475 h 62"/>
                <a:gd name="T2" fmla="*/ 82703 w 52"/>
                <a:gd name="T3" fmla="*/ 109896 h 62"/>
                <a:gd name="T4" fmla="*/ 67316 w 52"/>
                <a:gd name="T5" fmla="*/ 102317 h 62"/>
                <a:gd name="T6" fmla="*/ 48083 w 52"/>
                <a:gd name="T7" fmla="*/ 89054 h 62"/>
                <a:gd name="T8" fmla="*/ 30773 w 52"/>
                <a:gd name="T9" fmla="*/ 72001 h 62"/>
                <a:gd name="T10" fmla="*/ 15387 w 52"/>
                <a:gd name="T11" fmla="*/ 60632 h 62"/>
                <a:gd name="T12" fmla="*/ 1923 w 52"/>
                <a:gd name="T13" fmla="*/ 53053 h 62"/>
                <a:gd name="T14" fmla="*/ 0 w 52"/>
                <a:gd name="T15" fmla="*/ 45474 h 62"/>
                <a:gd name="T16" fmla="*/ 5770 w 52"/>
                <a:gd name="T17" fmla="*/ 37895 h 62"/>
                <a:gd name="T18" fmla="*/ 9617 w 52"/>
                <a:gd name="T19" fmla="*/ 30316 h 62"/>
                <a:gd name="T20" fmla="*/ 23080 w 52"/>
                <a:gd name="T21" fmla="*/ 22737 h 62"/>
                <a:gd name="T22" fmla="*/ 21157 w 52"/>
                <a:gd name="T23" fmla="*/ 7579 h 62"/>
                <a:gd name="T24" fmla="*/ 30773 w 52"/>
                <a:gd name="T25" fmla="*/ 1895 h 62"/>
                <a:gd name="T26" fmla="*/ 38467 w 52"/>
                <a:gd name="T27" fmla="*/ 3790 h 62"/>
                <a:gd name="T28" fmla="*/ 40390 w 52"/>
                <a:gd name="T29" fmla="*/ 0 h 62"/>
                <a:gd name="T30" fmla="*/ 48083 w 52"/>
                <a:gd name="T31" fmla="*/ 1895 h 62"/>
                <a:gd name="T32" fmla="*/ 48083 w 52"/>
                <a:gd name="T33" fmla="*/ 11369 h 62"/>
                <a:gd name="T34" fmla="*/ 55776 w 52"/>
                <a:gd name="T35" fmla="*/ 20842 h 62"/>
                <a:gd name="T36" fmla="*/ 48083 w 52"/>
                <a:gd name="T37" fmla="*/ 24632 h 62"/>
                <a:gd name="T38" fmla="*/ 46160 w 52"/>
                <a:gd name="T39" fmla="*/ 36000 h 62"/>
                <a:gd name="T40" fmla="*/ 53853 w 52"/>
                <a:gd name="T41" fmla="*/ 37895 h 62"/>
                <a:gd name="T42" fmla="*/ 61546 w 52"/>
                <a:gd name="T43" fmla="*/ 34106 h 62"/>
                <a:gd name="T44" fmla="*/ 67316 w 52"/>
                <a:gd name="T45" fmla="*/ 24632 h 62"/>
                <a:gd name="T46" fmla="*/ 76933 w 52"/>
                <a:gd name="T47" fmla="*/ 34106 h 62"/>
                <a:gd name="T48" fmla="*/ 78856 w 52"/>
                <a:gd name="T49" fmla="*/ 43579 h 62"/>
                <a:gd name="T50" fmla="*/ 71163 w 52"/>
                <a:gd name="T51" fmla="*/ 53053 h 62"/>
                <a:gd name="T52" fmla="*/ 78856 w 52"/>
                <a:gd name="T53" fmla="*/ 62527 h 62"/>
                <a:gd name="T54" fmla="*/ 88473 w 52"/>
                <a:gd name="T55" fmla="*/ 64422 h 62"/>
                <a:gd name="T56" fmla="*/ 88473 w 52"/>
                <a:gd name="T57" fmla="*/ 72001 h 62"/>
                <a:gd name="T58" fmla="*/ 98090 w 52"/>
                <a:gd name="T59" fmla="*/ 73896 h 62"/>
                <a:gd name="T60" fmla="*/ 98090 w 52"/>
                <a:gd name="T61" fmla="*/ 87159 h 62"/>
                <a:gd name="T62" fmla="*/ 92320 w 52"/>
                <a:gd name="T63" fmla="*/ 96633 h 62"/>
                <a:gd name="T64" fmla="*/ 94243 w 52"/>
                <a:gd name="T65" fmla="*/ 117475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 name="Freeform 55"/>
            <p:cNvSpPr>
              <a:spLocks noChangeAspect="1"/>
            </p:cNvSpPr>
            <p:nvPr/>
          </p:nvSpPr>
          <p:spPr bwMode="auto">
            <a:xfrm>
              <a:off x="4118715" y="2630770"/>
              <a:ext cx="145755" cy="141864"/>
            </a:xfrm>
            <a:custGeom>
              <a:avLst/>
              <a:gdLst>
                <a:gd name="T0" fmla="*/ 136859 w 76"/>
                <a:gd name="T1" fmla="*/ 153746 h 92"/>
                <a:gd name="T2" fmla="*/ 114049 w 76"/>
                <a:gd name="T3" fmla="*/ 149950 h 92"/>
                <a:gd name="T4" fmla="*/ 108346 w 76"/>
                <a:gd name="T5" fmla="*/ 153746 h 92"/>
                <a:gd name="T6" fmla="*/ 100743 w 76"/>
                <a:gd name="T7" fmla="*/ 149950 h 92"/>
                <a:gd name="T8" fmla="*/ 72231 w 76"/>
                <a:gd name="T9" fmla="*/ 151848 h 92"/>
                <a:gd name="T10" fmla="*/ 43719 w 76"/>
                <a:gd name="T11" fmla="*/ 161338 h 92"/>
                <a:gd name="T12" fmla="*/ 22810 w 76"/>
                <a:gd name="T13" fmla="*/ 174625 h 92"/>
                <a:gd name="T14" fmla="*/ 20909 w 76"/>
                <a:gd name="T15" fmla="*/ 153746 h 92"/>
                <a:gd name="T16" fmla="*/ 26611 w 76"/>
                <a:gd name="T17" fmla="*/ 144255 h 92"/>
                <a:gd name="T18" fmla="*/ 26611 w 76"/>
                <a:gd name="T19" fmla="*/ 130969 h 92"/>
                <a:gd name="T20" fmla="*/ 17107 w 76"/>
                <a:gd name="T21" fmla="*/ 129071 h 92"/>
                <a:gd name="T22" fmla="*/ 17107 w 76"/>
                <a:gd name="T23" fmla="*/ 121478 h 92"/>
                <a:gd name="T24" fmla="*/ 7603 w 76"/>
                <a:gd name="T25" fmla="*/ 119580 h 92"/>
                <a:gd name="T26" fmla="*/ 0 w 76"/>
                <a:gd name="T27" fmla="*/ 110090 h 92"/>
                <a:gd name="T28" fmla="*/ 7603 w 76"/>
                <a:gd name="T29" fmla="*/ 100599 h 92"/>
                <a:gd name="T30" fmla="*/ 5702 w 76"/>
                <a:gd name="T31" fmla="*/ 91109 h 92"/>
                <a:gd name="T32" fmla="*/ 9504 w 76"/>
                <a:gd name="T33" fmla="*/ 83516 h 92"/>
                <a:gd name="T34" fmla="*/ 7603 w 76"/>
                <a:gd name="T35" fmla="*/ 77822 h 92"/>
                <a:gd name="T36" fmla="*/ 15207 w 76"/>
                <a:gd name="T37" fmla="*/ 68332 h 92"/>
                <a:gd name="T38" fmla="*/ 5702 w 76"/>
                <a:gd name="T39" fmla="*/ 64535 h 92"/>
                <a:gd name="T40" fmla="*/ 22810 w 76"/>
                <a:gd name="T41" fmla="*/ 58841 h 92"/>
                <a:gd name="T42" fmla="*/ 13306 w 76"/>
                <a:gd name="T43" fmla="*/ 51249 h 92"/>
                <a:gd name="T44" fmla="*/ 19008 w 76"/>
                <a:gd name="T45" fmla="*/ 45554 h 92"/>
                <a:gd name="T46" fmla="*/ 17107 w 76"/>
                <a:gd name="T47" fmla="*/ 36064 h 92"/>
                <a:gd name="T48" fmla="*/ 9504 w 76"/>
                <a:gd name="T49" fmla="*/ 22777 h 92"/>
                <a:gd name="T50" fmla="*/ 17107 w 76"/>
                <a:gd name="T51" fmla="*/ 13287 h 92"/>
                <a:gd name="T52" fmla="*/ 20909 w 76"/>
                <a:gd name="T53" fmla="*/ 5694 h 92"/>
                <a:gd name="T54" fmla="*/ 30413 w 76"/>
                <a:gd name="T55" fmla="*/ 7592 h 92"/>
                <a:gd name="T56" fmla="*/ 39917 w 76"/>
                <a:gd name="T57" fmla="*/ 9490 h 92"/>
                <a:gd name="T58" fmla="*/ 41818 w 76"/>
                <a:gd name="T59" fmla="*/ 0 h 92"/>
                <a:gd name="T60" fmla="*/ 47520 w 76"/>
                <a:gd name="T61" fmla="*/ 3796 h 92"/>
                <a:gd name="T62" fmla="*/ 55124 w 76"/>
                <a:gd name="T63" fmla="*/ 0 h 92"/>
                <a:gd name="T64" fmla="*/ 55124 w 76"/>
                <a:gd name="T65" fmla="*/ 11389 h 92"/>
                <a:gd name="T66" fmla="*/ 62727 w 76"/>
                <a:gd name="T67" fmla="*/ 9490 h 92"/>
                <a:gd name="T68" fmla="*/ 77933 w 76"/>
                <a:gd name="T69" fmla="*/ 5694 h 92"/>
                <a:gd name="T70" fmla="*/ 77933 w 76"/>
                <a:gd name="T71" fmla="*/ 13287 h 92"/>
                <a:gd name="T72" fmla="*/ 83636 w 76"/>
                <a:gd name="T73" fmla="*/ 15185 h 92"/>
                <a:gd name="T74" fmla="*/ 83636 w 76"/>
                <a:gd name="T75" fmla="*/ 22777 h 92"/>
                <a:gd name="T76" fmla="*/ 89338 w 76"/>
                <a:gd name="T77" fmla="*/ 24675 h 92"/>
                <a:gd name="T78" fmla="*/ 95041 w 76"/>
                <a:gd name="T79" fmla="*/ 26573 h 92"/>
                <a:gd name="T80" fmla="*/ 106446 w 76"/>
                <a:gd name="T81" fmla="*/ 22777 h 92"/>
                <a:gd name="T82" fmla="*/ 121652 w 76"/>
                <a:gd name="T83" fmla="*/ 20879 h 92"/>
                <a:gd name="T84" fmla="*/ 131156 w 76"/>
                <a:gd name="T85" fmla="*/ 22777 h 92"/>
                <a:gd name="T86" fmla="*/ 136859 w 76"/>
                <a:gd name="T87" fmla="*/ 28471 h 92"/>
                <a:gd name="T88" fmla="*/ 138760 w 76"/>
                <a:gd name="T89" fmla="*/ 39860 h 92"/>
                <a:gd name="T90" fmla="*/ 140660 w 76"/>
                <a:gd name="T91" fmla="*/ 47452 h 92"/>
                <a:gd name="T92" fmla="*/ 142561 w 76"/>
                <a:gd name="T93" fmla="*/ 56943 h 92"/>
                <a:gd name="T94" fmla="*/ 142561 w 76"/>
                <a:gd name="T95" fmla="*/ 66433 h 92"/>
                <a:gd name="T96" fmla="*/ 138760 w 76"/>
                <a:gd name="T97" fmla="*/ 75924 h 92"/>
                <a:gd name="T98" fmla="*/ 136859 w 76"/>
                <a:gd name="T99" fmla="*/ 93007 h 92"/>
                <a:gd name="T100" fmla="*/ 129255 w 76"/>
                <a:gd name="T101" fmla="*/ 104395 h 92"/>
                <a:gd name="T102" fmla="*/ 133057 w 76"/>
                <a:gd name="T103" fmla="*/ 119580 h 92"/>
                <a:gd name="T104" fmla="*/ 131156 w 76"/>
                <a:gd name="T105" fmla="*/ 132867 h 92"/>
                <a:gd name="T106" fmla="*/ 138760 w 76"/>
                <a:gd name="T107" fmla="*/ 138561 h 92"/>
                <a:gd name="T108" fmla="*/ 138760 w 76"/>
                <a:gd name="T109" fmla="*/ 149950 h 92"/>
                <a:gd name="T110" fmla="*/ 136859 w 76"/>
                <a:gd name="T111" fmla="*/ 153746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 name="Freeform 56"/>
            <p:cNvSpPr>
              <a:spLocks noChangeAspect="1"/>
            </p:cNvSpPr>
            <p:nvPr/>
          </p:nvSpPr>
          <p:spPr bwMode="auto">
            <a:xfrm>
              <a:off x="4027418" y="2292874"/>
              <a:ext cx="400428" cy="348213"/>
            </a:xfrm>
            <a:custGeom>
              <a:avLst/>
              <a:gdLst>
                <a:gd name="T0" fmla="*/ 152644 w 208"/>
                <a:gd name="T1" fmla="*/ 424815 h 225"/>
                <a:gd name="T2" fmla="*/ 145012 w 208"/>
                <a:gd name="T3" fmla="*/ 415290 h 225"/>
                <a:gd name="T4" fmla="*/ 131656 w 208"/>
                <a:gd name="T5" fmla="*/ 415290 h 225"/>
                <a:gd name="T6" fmla="*/ 120207 w 208"/>
                <a:gd name="T7" fmla="*/ 422910 h 225"/>
                <a:gd name="T8" fmla="*/ 106851 w 208"/>
                <a:gd name="T9" fmla="*/ 428625 h 225"/>
                <a:gd name="T10" fmla="*/ 93495 w 208"/>
                <a:gd name="T11" fmla="*/ 405765 h 225"/>
                <a:gd name="T12" fmla="*/ 91587 w 208"/>
                <a:gd name="T13" fmla="*/ 392430 h 225"/>
                <a:gd name="T14" fmla="*/ 82046 w 208"/>
                <a:gd name="T15" fmla="*/ 369570 h 225"/>
                <a:gd name="T16" fmla="*/ 66782 w 208"/>
                <a:gd name="T17" fmla="*/ 371475 h 225"/>
                <a:gd name="T18" fmla="*/ 51517 w 208"/>
                <a:gd name="T19" fmla="*/ 371475 h 225"/>
                <a:gd name="T20" fmla="*/ 30529 w 208"/>
                <a:gd name="T21" fmla="*/ 367665 h 225"/>
                <a:gd name="T22" fmla="*/ 17172 w 208"/>
                <a:gd name="T23" fmla="*/ 373380 h 225"/>
                <a:gd name="T24" fmla="*/ 19081 w 208"/>
                <a:gd name="T25" fmla="*/ 350520 h 225"/>
                <a:gd name="T26" fmla="*/ 7632 w 208"/>
                <a:gd name="T27" fmla="*/ 339090 h 225"/>
                <a:gd name="T28" fmla="*/ 5724 w 208"/>
                <a:gd name="T29" fmla="*/ 314325 h 225"/>
                <a:gd name="T30" fmla="*/ 9540 w 208"/>
                <a:gd name="T31" fmla="*/ 297180 h 225"/>
                <a:gd name="T32" fmla="*/ 22897 w 208"/>
                <a:gd name="T33" fmla="*/ 281940 h 225"/>
                <a:gd name="T34" fmla="*/ 40069 w 208"/>
                <a:gd name="T35" fmla="*/ 283845 h 225"/>
                <a:gd name="T36" fmla="*/ 70598 w 208"/>
                <a:gd name="T37" fmla="*/ 276225 h 225"/>
                <a:gd name="T38" fmla="*/ 164093 w 208"/>
                <a:gd name="T39" fmla="*/ 283845 h 225"/>
                <a:gd name="T40" fmla="*/ 162185 w 208"/>
                <a:gd name="T41" fmla="*/ 253365 h 225"/>
                <a:gd name="T42" fmla="*/ 177449 w 208"/>
                <a:gd name="T43" fmla="*/ 11430 h 225"/>
                <a:gd name="T44" fmla="*/ 322461 w 208"/>
                <a:gd name="T45" fmla="*/ 137160 h 225"/>
                <a:gd name="T46" fmla="*/ 341541 w 208"/>
                <a:gd name="T47" fmla="*/ 150495 h 225"/>
                <a:gd name="T48" fmla="*/ 370162 w 208"/>
                <a:gd name="T49" fmla="*/ 161925 h 225"/>
                <a:gd name="T50" fmla="*/ 373978 w 208"/>
                <a:gd name="T51" fmla="*/ 184785 h 225"/>
                <a:gd name="T52" fmla="*/ 396875 w 208"/>
                <a:gd name="T53" fmla="*/ 264795 h 225"/>
                <a:gd name="T54" fmla="*/ 385427 w 208"/>
                <a:gd name="T55" fmla="*/ 274320 h 225"/>
                <a:gd name="T56" fmla="*/ 373978 w 208"/>
                <a:gd name="T57" fmla="*/ 283845 h 225"/>
                <a:gd name="T58" fmla="*/ 314829 w 208"/>
                <a:gd name="T59" fmla="*/ 297180 h 225"/>
                <a:gd name="T60" fmla="*/ 280484 w 208"/>
                <a:gd name="T61" fmla="*/ 291465 h 225"/>
                <a:gd name="T62" fmla="*/ 246139 w 208"/>
                <a:gd name="T63" fmla="*/ 318135 h 225"/>
                <a:gd name="T64" fmla="*/ 228966 w 208"/>
                <a:gd name="T65" fmla="*/ 323850 h 225"/>
                <a:gd name="T66" fmla="*/ 219426 w 208"/>
                <a:gd name="T67" fmla="*/ 331470 h 225"/>
                <a:gd name="T68" fmla="*/ 211794 w 208"/>
                <a:gd name="T69" fmla="*/ 344805 h 225"/>
                <a:gd name="T70" fmla="*/ 192713 w 208"/>
                <a:gd name="T71" fmla="*/ 342900 h 225"/>
                <a:gd name="T72" fmla="*/ 188897 w 208"/>
                <a:gd name="T73" fmla="*/ 360045 h 225"/>
                <a:gd name="T74" fmla="*/ 186989 w 208"/>
                <a:gd name="T75" fmla="*/ 367665 h 225"/>
                <a:gd name="T76" fmla="*/ 164093 w 208"/>
                <a:gd name="T77" fmla="*/ 379095 h 225"/>
                <a:gd name="T78" fmla="*/ 166001 w 208"/>
                <a:gd name="T79" fmla="*/ 403860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 name="Freeform 57"/>
            <p:cNvSpPr>
              <a:spLocks noChangeAspect="1"/>
            </p:cNvSpPr>
            <p:nvPr/>
          </p:nvSpPr>
          <p:spPr bwMode="auto">
            <a:xfrm>
              <a:off x="4190792" y="2528885"/>
              <a:ext cx="190605" cy="125099"/>
            </a:xfrm>
            <a:custGeom>
              <a:avLst/>
              <a:gdLst>
                <a:gd name="T0" fmla="*/ 64879 w 99"/>
                <a:gd name="T1" fmla="*/ 153987 h 81"/>
                <a:gd name="T2" fmla="*/ 59155 w 99"/>
                <a:gd name="T3" fmla="*/ 148284 h 81"/>
                <a:gd name="T4" fmla="*/ 49614 w 99"/>
                <a:gd name="T5" fmla="*/ 146383 h 81"/>
                <a:gd name="T6" fmla="*/ 34348 w 99"/>
                <a:gd name="T7" fmla="*/ 148284 h 81"/>
                <a:gd name="T8" fmla="*/ 22899 w 99"/>
                <a:gd name="T9" fmla="*/ 152086 h 81"/>
                <a:gd name="T10" fmla="*/ 17174 w 99"/>
                <a:gd name="T11" fmla="*/ 150185 h 81"/>
                <a:gd name="T12" fmla="*/ 11449 w 99"/>
                <a:gd name="T13" fmla="*/ 148284 h 81"/>
                <a:gd name="T14" fmla="*/ 11449 w 99"/>
                <a:gd name="T15" fmla="*/ 140679 h 81"/>
                <a:gd name="T16" fmla="*/ 5725 w 99"/>
                <a:gd name="T17" fmla="*/ 138778 h 81"/>
                <a:gd name="T18" fmla="*/ 5725 w 99"/>
                <a:gd name="T19" fmla="*/ 131174 h 81"/>
                <a:gd name="T20" fmla="*/ 3816 w 99"/>
                <a:gd name="T21" fmla="*/ 114064 h 81"/>
                <a:gd name="T22" fmla="*/ 7633 w 99"/>
                <a:gd name="T23" fmla="*/ 100757 h 81"/>
                <a:gd name="T24" fmla="*/ 1908 w 99"/>
                <a:gd name="T25" fmla="*/ 89350 h 81"/>
                <a:gd name="T26" fmla="*/ 15266 w 99"/>
                <a:gd name="T27" fmla="*/ 89350 h 81"/>
                <a:gd name="T28" fmla="*/ 24807 w 99"/>
                <a:gd name="T29" fmla="*/ 77944 h 81"/>
                <a:gd name="T30" fmla="*/ 20990 w 99"/>
                <a:gd name="T31" fmla="*/ 70340 h 81"/>
                <a:gd name="T32" fmla="*/ 26715 w 99"/>
                <a:gd name="T33" fmla="*/ 70340 h 81"/>
                <a:gd name="T34" fmla="*/ 22899 w 99"/>
                <a:gd name="T35" fmla="*/ 57032 h 81"/>
                <a:gd name="T36" fmla="*/ 30531 w 99"/>
                <a:gd name="T37" fmla="*/ 53230 h 81"/>
                <a:gd name="T38" fmla="*/ 38164 w 99"/>
                <a:gd name="T39" fmla="*/ 47527 h 81"/>
                <a:gd name="T40" fmla="*/ 49614 w 99"/>
                <a:gd name="T41" fmla="*/ 55131 h 81"/>
                <a:gd name="T42" fmla="*/ 57246 w 99"/>
                <a:gd name="T43" fmla="*/ 51329 h 81"/>
                <a:gd name="T44" fmla="*/ 57246 w 99"/>
                <a:gd name="T45" fmla="*/ 41824 h 81"/>
                <a:gd name="T46" fmla="*/ 66787 w 99"/>
                <a:gd name="T47" fmla="*/ 43725 h 81"/>
                <a:gd name="T48" fmla="*/ 66787 w 99"/>
                <a:gd name="T49" fmla="*/ 34219 h 81"/>
                <a:gd name="T50" fmla="*/ 78237 w 99"/>
                <a:gd name="T51" fmla="*/ 26615 h 81"/>
                <a:gd name="T52" fmla="*/ 83961 w 99"/>
                <a:gd name="T53" fmla="*/ 28516 h 81"/>
                <a:gd name="T54" fmla="*/ 87778 w 99"/>
                <a:gd name="T55" fmla="*/ 19011 h 81"/>
                <a:gd name="T56" fmla="*/ 118309 w 99"/>
                <a:gd name="T57" fmla="*/ 1901 h 81"/>
                <a:gd name="T58" fmla="*/ 135483 w 99"/>
                <a:gd name="T59" fmla="*/ 5703 h 81"/>
                <a:gd name="T60" fmla="*/ 133575 w 99"/>
                <a:gd name="T61" fmla="*/ 22813 h 81"/>
                <a:gd name="T62" fmla="*/ 137391 w 99"/>
                <a:gd name="T63" fmla="*/ 36120 h 81"/>
                <a:gd name="T64" fmla="*/ 148841 w 99"/>
                <a:gd name="T65" fmla="*/ 45626 h 81"/>
                <a:gd name="T66" fmla="*/ 154565 w 99"/>
                <a:gd name="T67" fmla="*/ 47527 h 81"/>
                <a:gd name="T68" fmla="*/ 148841 w 99"/>
                <a:gd name="T69" fmla="*/ 60834 h 81"/>
                <a:gd name="T70" fmla="*/ 171739 w 99"/>
                <a:gd name="T71" fmla="*/ 70340 h 81"/>
                <a:gd name="T72" fmla="*/ 179372 w 99"/>
                <a:gd name="T73" fmla="*/ 68439 h 81"/>
                <a:gd name="T74" fmla="*/ 187005 w 99"/>
                <a:gd name="T75" fmla="*/ 74142 h 81"/>
                <a:gd name="T76" fmla="*/ 183188 w 99"/>
                <a:gd name="T77" fmla="*/ 79845 h 81"/>
                <a:gd name="T78" fmla="*/ 185097 w 99"/>
                <a:gd name="T79" fmla="*/ 91252 h 81"/>
                <a:gd name="T80" fmla="*/ 188913 w 99"/>
                <a:gd name="T81" fmla="*/ 93153 h 81"/>
                <a:gd name="T82" fmla="*/ 187005 w 99"/>
                <a:gd name="T83" fmla="*/ 100757 h 81"/>
                <a:gd name="T84" fmla="*/ 177464 w 99"/>
                <a:gd name="T85" fmla="*/ 104559 h 81"/>
                <a:gd name="T86" fmla="*/ 166014 w 99"/>
                <a:gd name="T87" fmla="*/ 104559 h 81"/>
                <a:gd name="T88" fmla="*/ 158382 w 99"/>
                <a:gd name="T89" fmla="*/ 106460 h 81"/>
                <a:gd name="T90" fmla="*/ 158382 w 99"/>
                <a:gd name="T91" fmla="*/ 115966 h 81"/>
                <a:gd name="T92" fmla="*/ 152657 w 99"/>
                <a:gd name="T93" fmla="*/ 114064 h 81"/>
                <a:gd name="T94" fmla="*/ 150749 w 99"/>
                <a:gd name="T95" fmla="*/ 121669 h 81"/>
                <a:gd name="T96" fmla="*/ 141208 w 99"/>
                <a:gd name="T97" fmla="*/ 119768 h 81"/>
                <a:gd name="T98" fmla="*/ 131667 w 99"/>
                <a:gd name="T99" fmla="*/ 115966 h 81"/>
                <a:gd name="T100" fmla="*/ 124034 w 99"/>
                <a:gd name="T101" fmla="*/ 112163 h 81"/>
                <a:gd name="T102" fmla="*/ 116401 w 99"/>
                <a:gd name="T103" fmla="*/ 115966 h 81"/>
                <a:gd name="T104" fmla="*/ 83961 w 99"/>
                <a:gd name="T105" fmla="*/ 115966 h 81"/>
                <a:gd name="T106" fmla="*/ 64879 w 99"/>
                <a:gd name="T107" fmla="*/ 115966 h 81"/>
                <a:gd name="T108" fmla="*/ 61063 w 99"/>
                <a:gd name="T109" fmla="*/ 123570 h 81"/>
                <a:gd name="T110" fmla="*/ 64879 w 99"/>
                <a:gd name="T111" fmla="*/ 129273 h 81"/>
                <a:gd name="T112" fmla="*/ 62971 w 99"/>
                <a:gd name="T113" fmla="*/ 133075 h 81"/>
                <a:gd name="T114" fmla="*/ 66787 w 99"/>
                <a:gd name="T115" fmla="*/ 136877 h 81"/>
                <a:gd name="T116" fmla="*/ 62971 w 99"/>
                <a:gd name="T117" fmla="*/ 138778 h 81"/>
                <a:gd name="T118" fmla="*/ 64879 w 99"/>
                <a:gd name="T119" fmla="*/ 15398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 name="Freeform 58"/>
            <p:cNvSpPr>
              <a:spLocks noChangeAspect="1"/>
            </p:cNvSpPr>
            <p:nvPr/>
          </p:nvSpPr>
          <p:spPr bwMode="auto">
            <a:xfrm>
              <a:off x="4246853" y="2619163"/>
              <a:ext cx="112120" cy="143154"/>
            </a:xfrm>
            <a:custGeom>
              <a:avLst/>
              <a:gdLst>
                <a:gd name="T0" fmla="*/ 9580 w 58"/>
                <a:gd name="T1" fmla="*/ 168551 h 92"/>
                <a:gd name="T2" fmla="*/ 32571 w 58"/>
                <a:gd name="T3" fmla="*/ 176212 h 92"/>
                <a:gd name="T4" fmla="*/ 40235 w 58"/>
                <a:gd name="T5" fmla="*/ 168551 h 92"/>
                <a:gd name="T6" fmla="*/ 55563 w 58"/>
                <a:gd name="T7" fmla="*/ 168551 h 92"/>
                <a:gd name="T8" fmla="*/ 65142 w 58"/>
                <a:gd name="T9" fmla="*/ 162805 h 92"/>
                <a:gd name="T10" fmla="*/ 72806 w 58"/>
                <a:gd name="T11" fmla="*/ 155143 h 92"/>
                <a:gd name="T12" fmla="*/ 90050 w 58"/>
                <a:gd name="T13" fmla="*/ 151312 h 92"/>
                <a:gd name="T14" fmla="*/ 99629 w 58"/>
                <a:gd name="T15" fmla="*/ 145566 h 92"/>
                <a:gd name="T16" fmla="*/ 111125 w 58"/>
                <a:gd name="T17" fmla="*/ 141736 h 92"/>
                <a:gd name="T18" fmla="*/ 93881 w 58"/>
                <a:gd name="T19" fmla="*/ 132159 h 92"/>
                <a:gd name="T20" fmla="*/ 88134 w 58"/>
                <a:gd name="T21" fmla="*/ 124498 h 92"/>
                <a:gd name="T22" fmla="*/ 91966 w 58"/>
                <a:gd name="T23" fmla="*/ 111090 h 92"/>
                <a:gd name="T24" fmla="*/ 90050 w 58"/>
                <a:gd name="T25" fmla="*/ 103429 h 92"/>
                <a:gd name="T26" fmla="*/ 91966 w 58"/>
                <a:gd name="T27" fmla="*/ 88106 h 92"/>
                <a:gd name="T28" fmla="*/ 93881 w 58"/>
                <a:gd name="T29" fmla="*/ 80445 h 92"/>
                <a:gd name="T30" fmla="*/ 90050 w 58"/>
                <a:gd name="T31" fmla="*/ 70868 h 92"/>
                <a:gd name="T32" fmla="*/ 90050 w 58"/>
                <a:gd name="T33" fmla="*/ 49799 h 92"/>
                <a:gd name="T34" fmla="*/ 84302 w 58"/>
                <a:gd name="T35" fmla="*/ 44053 h 92"/>
                <a:gd name="T36" fmla="*/ 86218 w 58"/>
                <a:gd name="T37" fmla="*/ 26815 h 92"/>
                <a:gd name="T38" fmla="*/ 80470 w 58"/>
                <a:gd name="T39" fmla="*/ 22984 h 92"/>
                <a:gd name="T40" fmla="*/ 80470 w 58"/>
                <a:gd name="T41" fmla="*/ 17238 h 92"/>
                <a:gd name="T42" fmla="*/ 74722 w 58"/>
                <a:gd name="T43" fmla="*/ 11492 h 92"/>
                <a:gd name="T44" fmla="*/ 76638 w 58"/>
                <a:gd name="T45" fmla="*/ 3831 h 92"/>
                <a:gd name="T46" fmla="*/ 68974 w 58"/>
                <a:gd name="T47" fmla="*/ 0 h 92"/>
                <a:gd name="T48" fmla="*/ 61310 w 58"/>
                <a:gd name="T49" fmla="*/ 3831 h 92"/>
                <a:gd name="T50" fmla="*/ 28739 w 58"/>
                <a:gd name="T51" fmla="*/ 3831 h 92"/>
                <a:gd name="T52" fmla="*/ 9580 w 58"/>
                <a:gd name="T53" fmla="*/ 3831 h 92"/>
                <a:gd name="T54" fmla="*/ 5748 w 58"/>
                <a:gd name="T55" fmla="*/ 11492 h 92"/>
                <a:gd name="T56" fmla="*/ 9580 w 58"/>
                <a:gd name="T57" fmla="*/ 17238 h 92"/>
                <a:gd name="T58" fmla="*/ 7664 w 58"/>
                <a:gd name="T59" fmla="*/ 21069 h 92"/>
                <a:gd name="T60" fmla="*/ 11496 w 58"/>
                <a:gd name="T61" fmla="*/ 24900 h 92"/>
                <a:gd name="T62" fmla="*/ 7664 w 58"/>
                <a:gd name="T63" fmla="*/ 26815 h 92"/>
                <a:gd name="T64" fmla="*/ 9580 w 58"/>
                <a:gd name="T65" fmla="*/ 42138 h 92"/>
                <a:gd name="T66" fmla="*/ 11496 w 58"/>
                <a:gd name="T67" fmla="*/ 53630 h 92"/>
                <a:gd name="T68" fmla="*/ 13412 w 58"/>
                <a:gd name="T69" fmla="*/ 61291 h 92"/>
                <a:gd name="T70" fmla="*/ 15328 w 58"/>
                <a:gd name="T71" fmla="*/ 70868 h 92"/>
                <a:gd name="T72" fmla="*/ 15328 w 58"/>
                <a:gd name="T73" fmla="*/ 80445 h 92"/>
                <a:gd name="T74" fmla="*/ 11496 w 58"/>
                <a:gd name="T75" fmla="*/ 90021 h 92"/>
                <a:gd name="T76" fmla="*/ 9580 w 58"/>
                <a:gd name="T77" fmla="*/ 107259 h 92"/>
                <a:gd name="T78" fmla="*/ 1916 w 58"/>
                <a:gd name="T79" fmla="*/ 118752 h 92"/>
                <a:gd name="T80" fmla="*/ 5748 w 58"/>
                <a:gd name="T81" fmla="*/ 134074 h 92"/>
                <a:gd name="T82" fmla="*/ 3832 w 58"/>
                <a:gd name="T83" fmla="*/ 147482 h 92"/>
                <a:gd name="T84" fmla="*/ 11496 w 58"/>
                <a:gd name="T85" fmla="*/ 153228 h 92"/>
                <a:gd name="T86" fmla="*/ 11496 w 58"/>
                <a:gd name="T87" fmla="*/ 164720 h 92"/>
                <a:gd name="T88" fmla="*/ 9580 w 58"/>
                <a:gd name="T89" fmla="*/ 168551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 name="Freeform 59"/>
            <p:cNvSpPr>
              <a:spLocks noChangeAspect="1"/>
            </p:cNvSpPr>
            <p:nvPr/>
          </p:nvSpPr>
          <p:spPr bwMode="auto">
            <a:xfrm>
              <a:off x="4322133" y="2623032"/>
              <a:ext cx="46450" cy="110913"/>
            </a:xfrm>
            <a:custGeom>
              <a:avLst/>
              <a:gdLst>
                <a:gd name="T0" fmla="*/ 36447 w 24"/>
                <a:gd name="T1" fmla="*/ 136525 h 72"/>
                <a:gd name="T2" fmla="*/ 19183 w 24"/>
                <a:gd name="T3" fmla="*/ 127044 h 72"/>
                <a:gd name="T4" fmla="*/ 13428 w 24"/>
                <a:gd name="T5" fmla="*/ 119459 h 72"/>
                <a:gd name="T6" fmla="*/ 17264 w 24"/>
                <a:gd name="T7" fmla="*/ 106186 h 72"/>
                <a:gd name="T8" fmla="*/ 15346 w 24"/>
                <a:gd name="T9" fmla="*/ 98601 h 72"/>
                <a:gd name="T10" fmla="*/ 17264 w 24"/>
                <a:gd name="T11" fmla="*/ 83432 h 72"/>
                <a:gd name="T12" fmla="*/ 19183 w 24"/>
                <a:gd name="T13" fmla="*/ 75847 h 72"/>
                <a:gd name="T14" fmla="*/ 15346 w 24"/>
                <a:gd name="T15" fmla="*/ 66366 h 72"/>
                <a:gd name="T16" fmla="*/ 15346 w 24"/>
                <a:gd name="T17" fmla="*/ 45508 h 72"/>
                <a:gd name="T18" fmla="*/ 9591 w 24"/>
                <a:gd name="T19" fmla="*/ 39820 h 72"/>
                <a:gd name="T20" fmla="*/ 11510 w 24"/>
                <a:gd name="T21" fmla="*/ 22754 h 72"/>
                <a:gd name="T22" fmla="*/ 5755 w 24"/>
                <a:gd name="T23" fmla="*/ 18962 h 72"/>
                <a:gd name="T24" fmla="*/ 5755 w 24"/>
                <a:gd name="T25" fmla="*/ 13273 h 72"/>
                <a:gd name="T26" fmla="*/ 0 w 24"/>
                <a:gd name="T27" fmla="*/ 7585 h 72"/>
                <a:gd name="T28" fmla="*/ 1918 w 24"/>
                <a:gd name="T29" fmla="*/ 0 h 72"/>
                <a:gd name="T30" fmla="*/ 11510 w 24"/>
                <a:gd name="T31" fmla="*/ 3792 h 72"/>
                <a:gd name="T32" fmla="*/ 21101 w 24"/>
                <a:gd name="T33" fmla="*/ 5689 h 72"/>
                <a:gd name="T34" fmla="*/ 23019 w 24"/>
                <a:gd name="T35" fmla="*/ 17066 h 72"/>
                <a:gd name="T36" fmla="*/ 32610 w 24"/>
                <a:gd name="T37" fmla="*/ 28443 h 72"/>
                <a:gd name="T38" fmla="*/ 34529 w 24"/>
                <a:gd name="T39" fmla="*/ 45508 h 72"/>
                <a:gd name="T40" fmla="*/ 40283 w 24"/>
                <a:gd name="T41" fmla="*/ 53093 h 72"/>
                <a:gd name="T42" fmla="*/ 40283 w 24"/>
                <a:gd name="T43" fmla="*/ 117563 h 72"/>
                <a:gd name="T44" fmla="*/ 46038 w 24"/>
                <a:gd name="T45" fmla="*/ 130836 h 72"/>
                <a:gd name="T46" fmla="*/ 36447 w 24"/>
                <a:gd name="T47" fmla="*/ 136525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 name="Freeform 60"/>
            <p:cNvSpPr>
              <a:spLocks noChangeAspect="1"/>
            </p:cNvSpPr>
            <p:nvPr/>
          </p:nvSpPr>
          <p:spPr bwMode="auto">
            <a:xfrm>
              <a:off x="4342956" y="2588211"/>
              <a:ext cx="75280" cy="141864"/>
            </a:xfrm>
            <a:custGeom>
              <a:avLst/>
              <a:gdLst>
                <a:gd name="T0" fmla="*/ 24871 w 39"/>
                <a:gd name="T1" fmla="*/ 174625 h 91"/>
                <a:gd name="T2" fmla="*/ 36349 w 39"/>
                <a:gd name="T3" fmla="*/ 172706 h 91"/>
                <a:gd name="T4" fmla="*/ 49741 w 39"/>
                <a:gd name="T5" fmla="*/ 172706 h 91"/>
                <a:gd name="T6" fmla="*/ 45915 w 39"/>
                <a:gd name="T7" fmla="*/ 140084 h 91"/>
                <a:gd name="T8" fmla="*/ 47828 w 39"/>
                <a:gd name="T9" fmla="*/ 120894 h 91"/>
                <a:gd name="T10" fmla="*/ 49741 w 39"/>
                <a:gd name="T11" fmla="*/ 95948 h 91"/>
                <a:gd name="T12" fmla="*/ 57394 w 39"/>
                <a:gd name="T13" fmla="*/ 94029 h 91"/>
                <a:gd name="T14" fmla="*/ 63133 w 39"/>
                <a:gd name="T15" fmla="*/ 78677 h 91"/>
                <a:gd name="T16" fmla="*/ 70786 w 39"/>
                <a:gd name="T17" fmla="*/ 69082 h 91"/>
                <a:gd name="T18" fmla="*/ 66959 w 39"/>
                <a:gd name="T19" fmla="*/ 59488 h 91"/>
                <a:gd name="T20" fmla="*/ 74612 w 39"/>
                <a:gd name="T21" fmla="*/ 55650 h 91"/>
                <a:gd name="T22" fmla="*/ 68873 w 39"/>
                <a:gd name="T23" fmla="*/ 46055 h 91"/>
                <a:gd name="T24" fmla="*/ 65046 w 39"/>
                <a:gd name="T25" fmla="*/ 32622 h 91"/>
                <a:gd name="T26" fmla="*/ 70786 w 39"/>
                <a:gd name="T27" fmla="*/ 19190 h 91"/>
                <a:gd name="T28" fmla="*/ 63133 w 39"/>
                <a:gd name="T29" fmla="*/ 17271 h 91"/>
                <a:gd name="T30" fmla="*/ 49741 w 39"/>
                <a:gd name="T31" fmla="*/ 1919 h 91"/>
                <a:gd name="T32" fmla="*/ 42089 w 39"/>
                <a:gd name="T33" fmla="*/ 5757 h 91"/>
                <a:gd name="T34" fmla="*/ 40176 w 39"/>
                <a:gd name="T35" fmla="*/ 15352 h 91"/>
                <a:gd name="T36" fmla="*/ 38263 w 39"/>
                <a:gd name="T37" fmla="*/ 19190 h 91"/>
                <a:gd name="T38" fmla="*/ 36349 w 39"/>
                <a:gd name="T39" fmla="*/ 26865 h 91"/>
                <a:gd name="T40" fmla="*/ 26784 w 39"/>
                <a:gd name="T41" fmla="*/ 30703 h 91"/>
                <a:gd name="T42" fmla="*/ 15305 w 39"/>
                <a:gd name="T43" fmla="*/ 30703 h 91"/>
                <a:gd name="T44" fmla="*/ 7653 w 39"/>
                <a:gd name="T45" fmla="*/ 32622 h 91"/>
                <a:gd name="T46" fmla="*/ 7653 w 39"/>
                <a:gd name="T47" fmla="*/ 42217 h 91"/>
                <a:gd name="T48" fmla="*/ 1913 w 39"/>
                <a:gd name="T49" fmla="*/ 40298 h 91"/>
                <a:gd name="T50" fmla="*/ 0 w 39"/>
                <a:gd name="T51" fmla="*/ 47974 h 91"/>
                <a:gd name="T52" fmla="*/ 1913 w 39"/>
                <a:gd name="T53" fmla="*/ 59488 h 91"/>
                <a:gd name="T54" fmla="*/ 11479 w 39"/>
                <a:gd name="T55" fmla="*/ 71001 h 91"/>
                <a:gd name="T56" fmla="*/ 13392 w 39"/>
                <a:gd name="T57" fmla="*/ 88272 h 91"/>
                <a:gd name="T58" fmla="*/ 19131 w 39"/>
                <a:gd name="T59" fmla="*/ 95948 h 91"/>
                <a:gd name="T60" fmla="*/ 19131 w 39"/>
                <a:gd name="T61" fmla="*/ 161192 h 91"/>
                <a:gd name="T62" fmla="*/ 24871 w 39"/>
                <a:gd name="T63" fmla="*/ 174625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 name="Freeform 61"/>
            <p:cNvSpPr>
              <a:spLocks noChangeAspect="1"/>
            </p:cNvSpPr>
            <p:nvPr/>
          </p:nvSpPr>
          <p:spPr bwMode="auto">
            <a:xfrm>
              <a:off x="4389404" y="2561127"/>
              <a:ext cx="294715" cy="211507"/>
            </a:xfrm>
            <a:custGeom>
              <a:avLst/>
              <a:gdLst>
                <a:gd name="T0" fmla="*/ 148914 w 153"/>
                <a:gd name="T1" fmla="*/ 235645 h 137"/>
                <a:gd name="T2" fmla="*/ 154641 w 153"/>
                <a:gd name="T3" fmla="*/ 205239 h 137"/>
                <a:gd name="T4" fmla="*/ 179460 w 153"/>
                <a:gd name="T5" fmla="*/ 184335 h 137"/>
                <a:gd name="T6" fmla="*/ 190915 w 153"/>
                <a:gd name="T7" fmla="*/ 188136 h 137"/>
                <a:gd name="T8" fmla="*/ 204279 w 153"/>
                <a:gd name="T9" fmla="*/ 197638 h 137"/>
                <a:gd name="T10" fmla="*/ 223371 w 153"/>
                <a:gd name="T11" fmla="*/ 180535 h 137"/>
                <a:gd name="T12" fmla="*/ 231007 w 153"/>
                <a:gd name="T13" fmla="*/ 152029 h 137"/>
                <a:gd name="T14" fmla="*/ 248190 w 153"/>
                <a:gd name="T15" fmla="*/ 119723 h 137"/>
                <a:gd name="T16" fmla="*/ 255826 w 153"/>
                <a:gd name="T17" fmla="*/ 102620 h 137"/>
                <a:gd name="T18" fmla="*/ 271099 w 153"/>
                <a:gd name="T19" fmla="*/ 70314 h 137"/>
                <a:gd name="T20" fmla="*/ 286373 w 153"/>
                <a:gd name="T21" fmla="*/ 43708 h 137"/>
                <a:gd name="T22" fmla="*/ 278736 w 153"/>
                <a:gd name="T23" fmla="*/ 26605 h 137"/>
                <a:gd name="T24" fmla="*/ 263463 w 153"/>
                <a:gd name="T25" fmla="*/ 3801 h 137"/>
                <a:gd name="T26" fmla="*/ 240553 w 153"/>
                <a:gd name="T27" fmla="*/ 13303 h 137"/>
                <a:gd name="T28" fmla="*/ 204279 w 153"/>
                <a:gd name="T29" fmla="*/ 13303 h 137"/>
                <a:gd name="T30" fmla="*/ 166096 w 153"/>
                <a:gd name="T31" fmla="*/ 26605 h 137"/>
                <a:gd name="T32" fmla="*/ 139368 w 153"/>
                <a:gd name="T33" fmla="*/ 17103 h 137"/>
                <a:gd name="T34" fmla="*/ 106912 w 153"/>
                <a:gd name="T35" fmla="*/ 17103 h 137"/>
                <a:gd name="T36" fmla="*/ 61093 w 153"/>
                <a:gd name="T37" fmla="*/ 0 h 137"/>
                <a:gd name="T38" fmla="*/ 30546 w 153"/>
                <a:gd name="T39" fmla="*/ 22804 h 137"/>
                <a:gd name="T40" fmla="*/ 24819 w 153"/>
                <a:gd name="T41" fmla="*/ 53210 h 137"/>
                <a:gd name="T42" fmla="*/ 22910 w 153"/>
                <a:gd name="T43" fmla="*/ 79815 h 137"/>
                <a:gd name="T44" fmla="*/ 21001 w 153"/>
                <a:gd name="T45" fmla="*/ 93118 h 137"/>
                <a:gd name="T46" fmla="*/ 17182 w 153"/>
                <a:gd name="T47" fmla="*/ 112122 h 137"/>
                <a:gd name="T48" fmla="*/ 3818 w 153"/>
                <a:gd name="T49" fmla="*/ 129225 h 137"/>
                <a:gd name="T50" fmla="*/ 0 w 153"/>
                <a:gd name="T51" fmla="*/ 172933 h 137"/>
                <a:gd name="T52" fmla="*/ 22910 w 153"/>
                <a:gd name="T53" fmla="*/ 201439 h 137"/>
                <a:gd name="T54" fmla="*/ 57275 w 153"/>
                <a:gd name="T55" fmla="*/ 214741 h 137"/>
                <a:gd name="T56" fmla="*/ 68729 w 153"/>
                <a:gd name="T57" fmla="*/ 231844 h 137"/>
                <a:gd name="T58" fmla="*/ 70639 w 153"/>
                <a:gd name="T59" fmla="*/ 254649 h 137"/>
                <a:gd name="T60" fmla="*/ 106912 w 153"/>
                <a:gd name="T61" fmla="*/ 258450 h 137"/>
                <a:gd name="T62" fmla="*/ 131731 w 153"/>
                <a:gd name="T63" fmla="*/ 243247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 name="Freeform 62"/>
            <p:cNvSpPr>
              <a:spLocks noChangeAspect="1"/>
            </p:cNvSpPr>
            <p:nvPr/>
          </p:nvSpPr>
          <p:spPr bwMode="auto">
            <a:xfrm>
              <a:off x="4325335" y="2338014"/>
              <a:ext cx="386013" cy="265674"/>
            </a:xfrm>
            <a:custGeom>
              <a:avLst/>
              <a:gdLst>
                <a:gd name="T0" fmla="*/ 327113 w 200"/>
                <a:gd name="T1" fmla="*/ 277591 h 172"/>
                <a:gd name="T2" fmla="*/ 327113 w 200"/>
                <a:gd name="T3" fmla="*/ 249071 h 172"/>
                <a:gd name="T4" fmla="*/ 371110 w 200"/>
                <a:gd name="T5" fmla="*/ 193933 h 172"/>
                <a:gd name="T6" fmla="*/ 369197 w 200"/>
                <a:gd name="T7" fmla="*/ 155907 h 172"/>
                <a:gd name="T8" fmla="*/ 369197 w 200"/>
                <a:gd name="T9" fmla="*/ 114078 h 172"/>
                <a:gd name="T10" fmla="*/ 382588 w 200"/>
                <a:gd name="T11" fmla="*/ 87460 h 172"/>
                <a:gd name="T12" fmla="*/ 369197 w 200"/>
                <a:gd name="T13" fmla="*/ 77954 h 172"/>
                <a:gd name="T14" fmla="*/ 371110 w 200"/>
                <a:gd name="T15" fmla="*/ 66546 h 172"/>
                <a:gd name="T16" fmla="*/ 363459 w 200"/>
                <a:gd name="T17" fmla="*/ 57039 h 172"/>
                <a:gd name="T18" fmla="*/ 365372 w 200"/>
                <a:gd name="T19" fmla="*/ 39927 h 172"/>
                <a:gd name="T20" fmla="*/ 357720 w 200"/>
                <a:gd name="T21" fmla="*/ 17112 h 172"/>
                <a:gd name="T22" fmla="*/ 330939 w 200"/>
                <a:gd name="T23" fmla="*/ 28520 h 172"/>
                <a:gd name="T24" fmla="*/ 319461 w 200"/>
                <a:gd name="T25" fmla="*/ 11408 h 172"/>
                <a:gd name="T26" fmla="*/ 296506 w 200"/>
                <a:gd name="T27" fmla="*/ 9507 h 172"/>
                <a:gd name="T28" fmla="*/ 283115 w 200"/>
                <a:gd name="T29" fmla="*/ 0 h 172"/>
                <a:gd name="T30" fmla="*/ 131993 w 200"/>
                <a:gd name="T31" fmla="*/ 112177 h 172"/>
                <a:gd name="T32" fmla="*/ 101386 w 200"/>
                <a:gd name="T33" fmla="*/ 123585 h 172"/>
                <a:gd name="T34" fmla="*/ 101386 w 200"/>
                <a:gd name="T35" fmla="*/ 209144 h 172"/>
                <a:gd name="T36" fmla="*/ 93734 w 200"/>
                <a:gd name="T37" fmla="*/ 211045 h 172"/>
                <a:gd name="T38" fmla="*/ 89908 w 200"/>
                <a:gd name="T39" fmla="*/ 218650 h 172"/>
                <a:gd name="T40" fmla="*/ 82256 w 200"/>
                <a:gd name="T41" fmla="*/ 220552 h 172"/>
                <a:gd name="T42" fmla="*/ 78431 w 200"/>
                <a:gd name="T43" fmla="*/ 228157 h 172"/>
                <a:gd name="T44" fmla="*/ 26781 w 200"/>
                <a:gd name="T45" fmla="*/ 233861 h 172"/>
                <a:gd name="T46" fmla="*/ 19129 w 200"/>
                <a:gd name="T47" fmla="*/ 241466 h 172"/>
                <a:gd name="T48" fmla="*/ 1913 w 200"/>
                <a:gd name="T49" fmla="*/ 239565 h 172"/>
                <a:gd name="T50" fmla="*/ 0 w 200"/>
                <a:gd name="T51" fmla="*/ 256677 h 172"/>
                <a:gd name="T52" fmla="*/ 3826 w 200"/>
                <a:gd name="T53" fmla="*/ 269986 h 172"/>
                <a:gd name="T54" fmla="*/ 15304 w 200"/>
                <a:gd name="T55" fmla="*/ 279492 h 172"/>
                <a:gd name="T56" fmla="*/ 21042 w 200"/>
                <a:gd name="T57" fmla="*/ 281394 h 172"/>
                <a:gd name="T58" fmla="*/ 15304 w 200"/>
                <a:gd name="T59" fmla="*/ 294703 h 172"/>
                <a:gd name="T60" fmla="*/ 38259 w 200"/>
                <a:gd name="T61" fmla="*/ 304209 h 172"/>
                <a:gd name="T62" fmla="*/ 45911 w 200"/>
                <a:gd name="T63" fmla="*/ 302308 h 172"/>
                <a:gd name="T64" fmla="*/ 53562 w 200"/>
                <a:gd name="T65" fmla="*/ 308012 h 172"/>
                <a:gd name="T66" fmla="*/ 49736 w 200"/>
                <a:gd name="T67" fmla="*/ 313716 h 172"/>
                <a:gd name="T68" fmla="*/ 51649 w 200"/>
                <a:gd name="T69" fmla="*/ 325124 h 172"/>
                <a:gd name="T70" fmla="*/ 55475 w 200"/>
                <a:gd name="T71" fmla="*/ 327025 h 172"/>
                <a:gd name="T72" fmla="*/ 57388 w 200"/>
                <a:gd name="T73" fmla="*/ 323222 h 172"/>
                <a:gd name="T74" fmla="*/ 59301 w 200"/>
                <a:gd name="T75" fmla="*/ 313716 h 172"/>
                <a:gd name="T76" fmla="*/ 66953 w 200"/>
                <a:gd name="T77" fmla="*/ 309913 h 172"/>
                <a:gd name="T78" fmla="*/ 80343 w 200"/>
                <a:gd name="T79" fmla="*/ 325124 h 172"/>
                <a:gd name="T80" fmla="*/ 87995 w 200"/>
                <a:gd name="T81" fmla="*/ 327025 h 172"/>
                <a:gd name="T82" fmla="*/ 86082 w 200"/>
                <a:gd name="T83" fmla="*/ 308012 h 172"/>
                <a:gd name="T84" fmla="*/ 93734 w 200"/>
                <a:gd name="T85" fmla="*/ 296604 h 172"/>
                <a:gd name="T86" fmla="*/ 99473 w 200"/>
                <a:gd name="T87" fmla="*/ 277591 h 172"/>
                <a:gd name="T88" fmla="*/ 124341 w 200"/>
                <a:gd name="T89" fmla="*/ 273788 h 172"/>
                <a:gd name="T90" fmla="*/ 154948 w 200"/>
                <a:gd name="T91" fmla="*/ 283295 h 172"/>
                <a:gd name="T92" fmla="*/ 170252 w 200"/>
                <a:gd name="T93" fmla="*/ 290900 h 172"/>
                <a:gd name="T94" fmla="*/ 183642 w 200"/>
                <a:gd name="T95" fmla="*/ 287098 h 172"/>
                <a:gd name="T96" fmla="*/ 202772 w 200"/>
                <a:gd name="T97" fmla="*/ 290900 h 172"/>
                <a:gd name="T98" fmla="*/ 218075 w 200"/>
                <a:gd name="T99" fmla="*/ 302308 h 172"/>
                <a:gd name="T100" fmla="*/ 229553 w 200"/>
                <a:gd name="T101" fmla="*/ 300407 h 172"/>
                <a:gd name="T102" fmla="*/ 244856 w 200"/>
                <a:gd name="T103" fmla="*/ 288999 h 172"/>
                <a:gd name="T104" fmla="*/ 267812 w 200"/>
                <a:gd name="T105" fmla="*/ 287098 h 172"/>
                <a:gd name="T106" fmla="*/ 292680 w 200"/>
                <a:gd name="T107" fmla="*/ 290900 h 172"/>
                <a:gd name="T108" fmla="*/ 304157 w 200"/>
                <a:gd name="T109" fmla="*/ 287098 h 172"/>
                <a:gd name="T110" fmla="*/ 313722 w 200"/>
                <a:gd name="T111" fmla="*/ 279492 h 172"/>
                <a:gd name="T112" fmla="*/ 327113 w 200"/>
                <a:gd name="T113" fmla="*/ 277591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 name="Freeform 63"/>
            <p:cNvSpPr>
              <a:spLocks noChangeAspect="1"/>
            </p:cNvSpPr>
            <p:nvPr/>
          </p:nvSpPr>
          <p:spPr bwMode="auto">
            <a:xfrm>
              <a:off x="4113910" y="2013015"/>
              <a:ext cx="496531" cy="430752"/>
            </a:xfrm>
            <a:custGeom>
              <a:avLst/>
              <a:gdLst>
                <a:gd name="T0" fmla="*/ 341436 w 258"/>
                <a:gd name="T1" fmla="*/ 513059 h 278"/>
                <a:gd name="T2" fmla="*/ 288027 w 258"/>
                <a:gd name="T3" fmla="*/ 530225 h 278"/>
                <a:gd name="T4" fmla="*/ 284212 w 258"/>
                <a:gd name="T5" fmla="*/ 507338 h 278"/>
                <a:gd name="T6" fmla="*/ 255600 w 258"/>
                <a:gd name="T7" fmla="*/ 495894 h 278"/>
                <a:gd name="T8" fmla="*/ 236525 w 258"/>
                <a:gd name="T9" fmla="*/ 482543 h 278"/>
                <a:gd name="T10" fmla="*/ 91558 w 258"/>
                <a:gd name="T11" fmla="*/ 356662 h 278"/>
                <a:gd name="T12" fmla="*/ 0 w 258"/>
                <a:gd name="T13" fmla="*/ 280371 h 278"/>
                <a:gd name="T14" fmla="*/ 19075 w 258"/>
                <a:gd name="T15" fmla="*/ 236503 h 278"/>
                <a:gd name="T16" fmla="*/ 47687 w 258"/>
                <a:gd name="T17" fmla="*/ 223152 h 278"/>
                <a:gd name="T18" fmla="*/ 68669 w 258"/>
                <a:gd name="T19" fmla="*/ 217430 h 278"/>
                <a:gd name="T20" fmla="*/ 95373 w 258"/>
                <a:gd name="T21" fmla="*/ 196450 h 278"/>
                <a:gd name="T22" fmla="*/ 123985 w 258"/>
                <a:gd name="T23" fmla="*/ 183099 h 278"/>
                <a:gd name="T24" fmla="*/ 122078 w 258"/>
                <a:gd name="T25" fmla="*/ 164026 h 278"/>
                <a:gd name="T26" fmla="*/ 162134 w 258"/>
                <a:gd name="T27" fmla="*/ 154490 h 278"/>
                <a:gd name="T28" fmla="*/ 179301 w 258"/>
                <a:gd name="T29" fmla="*/ 139232 h 278"/>
                <a:gd name="T30" fmla="*/ 171671 w 258"/>
                <a:gd name="T31" fmla="*/ 123973 h 278"/>
                <a:gd name="T32" fmla="*/ 167857 w 258"/>
                <a:gd name="T33" fmla="*/ 95364 h 278"/>
                <a:gd name="T34" fmla="*/ 156412 w 258"/>
                <a:gd name="T35" fmla="*/ 59126 h 278"/>
                <a:gd name="T36" fmla="*/ 177394 w 258"/>
                <a:gd name="T37" fmla="*/ 43868 h 278"/>
                <a:gd name="T38" fmla="*/ 204098 w 258"/>
                <a:gd name="T39" fmla="*/ 34331 h 278"/>
                <a:gd name="T40" fmla="*/ 238433 w 258"/>
                <a:gd name="T41" fmla="*/ 13351 h 278"/>
                <a:gd name="T42" fmla="*/ 288027 w 258"/>
                <a:gd name="T43" fmla="*/ 5722 h 278"/>
                <a:gd name="T44" fmla="*/ 326176 w 258"/>
                <a:gd name="T45" fmla="*/ 7629 h 278"/>
                <a:gd name="T46" fmla="*/ 343343 w 258"/>
                <a:gd name="T47" fmla="*/ 5722 h 278"/>
                <a:gd name="T48" fmla="*/ 366233 w 258"/>
                <a:gd name="T49" fmla="*/ 0 h 278"/>
                <a:gd name="T50" fmla="*/ 381492 w 258"/>
                <a:gd name="T51" fmla="*/ 0 h 278"/>
                <a:gd name="T52" fmla="*/ 408197 w 258"/>
                <a:gd name="T53" fmla="*/ 3815 h 278"/>
                <a:gd name="T54" fmla="*/ 402474 w 258"/>
                <a:gd name="T55" fmla="*/ 15258 h 278"/>
                <a:gd name="T56" fmla="*/ 404382 w 258"/>
                <a:gd name="T57" fmla="*/ 26702 h 278"/>
                <a:gd name="T58" fmla="*/ 404382 w 258"/>
                <a:gd name="T59" fmla="*/ 55311 h 278"/>
                <a:gd name="T60" fmla="*/ 392937 w 258"/>
                <a:gd name="T61" fmla="*/ 80106 h 278"/>
                <a:gd name="T62" fmla="*/ 383400 w 258"/>
                <a:gd name="T63" fmla="*/ 101086 h 278"/>
                <a:gd name="T64" fmla="*/ 402474 w 258"/>
                <a:gd name="T65" fmla="*/ 125881 h 278"/>
                <a:gd name="T66" fmla="*/ 412012 w 258"/>
                <a:gd name="T67" fmla="*/ 144954 h 278"/>
                <a:gd name="T68" fmla="*/ 431086 w 258"/>
                <a:gd name="T69" fmla="*/ 204079 h 278"/>
                <a:gd name="T70" fmla="*/ 440623 w 258"/>
                <a:gd name="T71" fmla="*/ 247947 h 278"/>
                <a:gd name="T72" fmla="*/ 444438 w 258"/>
                <a:gd name="T73" fmla="*/ 312795 h 278"/>
                <a:gd name="T74" fmla="*/ 448253 w 258"/>
                <a:gd name="T75" fmla="*/ 356662 h 278"/>
                <a:gd name="T76" fmla="*/ 465420 w 258"/>
                <a:gd name="T77" fmla="*/ 375735 h 278"/>
                <a:gd name="T78" fmla="*/ 478773 w 258"/>
                <a:gd name="T79" fmla="*/ 390993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 name="Freeform 64"/>
            <p:cNvSpPr>
              <a:spLocks noChangeAspect="1"/>
            </p:cNvSpPr>
            <p:nvPr/>
          </p:nvSpPr>
          <p:spPr bwMode="auto">
            <a:xfrm>
              <a:off x="4499923" y="2006565"/>
              <a:ext cx="100908" cy="171528"/>
            </a:xfrm>
            <a:custGeom>
              <a:avLst/>
              <a:gdLst>
                <a:gd name="T0" fmla="*/ 49062 w 53"/>
                <a:gd name="T1" fmla="*/ 211138 h 111"/>
                <a:gd name="T2" fmla="*/ 62272 w 53"/>
                <a:gd name="T3" fmla="*/ 203529 h 111"/>
                <a:gd name="T4" fmla="*/ 66046 w 53"/>
                <a:gd name="T5" fmla="*/ 192117 h 111"/>
                <a:gd name="T6" fmla="*/ 62272 w 53"/>
                <a:gd name="T7" fmla="*/ 171193 h 111"/>
                <a:gd name="T8" fmla="*/ 71707 w 53"/>
                <a:gd name="T9" fmla="*/ 165487 h 111"/>
                <a:gd name="T10" fmla="*/ 83029 w 53"/>
                <a:gd name="T11" fmla="*/ 154074 h 111"/>
                <a:gd name="T12" fmla="*/ 98125 w 53"/>
                <a:gd name="T13" fmla="*/ 144563 h 111"/>
                <a:gd name="T14" fmla="*/ 94351 w 53"/>
                <a:gd name="T15" fmla="*/ 138857 h 111"/>
                <a:gd name="T16" fmla="*/ 96238 w 53"/>
                <a:gd name="T17" fmla="*/ 123639 h 111"/>
                <a:gd name="T18" fmla="*/ 71707 w 53"/>
                <a:gd name="T19" fmla="*/ 110324 h 111"/>
                <a:gd name="T20" fmla="*/ 64159 w 53"/>
                <a:gd name="T21" fmla="*/ 104618 h 111"/>
                <a:gd name="T22" fmla="*/ 60385 w 53"/>
                <a:gd name="T23" fmla="*/ 91303 h 111"/>
                <a:gd name="T24" fmla="*/ 73594 w 53"/>
                <a:gd name="T25" fmla="*/ 85596 h 111"/>
                <a:gd name="T26" fmla="*/ 83029 w 53"/>
                <a:gd name="T27" fmla="*/ 66575 h 111"/>
                <a:gd name="T28" fmla="*/ 83029 w 53"/>
                <a:gd name="T29" fmla="*/ 47554 h 111"/>
                <a:gd name="T30" fmla="*/ 71707 w 53"/>
                <a:gd name="T31" fmla="*/ 39945 h 111"/>
                <a:gd name="T32" fmla="*/ 69820 w 53"/>
                <a:gd name="T33" fmla="*/ 32336 h 111"/>
                <a:gd name="T34" fmla="*/ 79255 w 53"/>
                <a:gd name="T35" fmla="*/ 26630 h 111"/>
                <a:gd name="T36" fmla="*/ 84916 w 53"/>
                <a:gd name="T37" fmla="*/ 15217 h 111"/>
                <a:gd name="T38" fmla="*/ 83029 w 53"/>
                <a:gd name="T39" fmla="*/ 7609 h 111"/>
                <a:gd name="T40" fmla="*/ 73594 w 53"/>
                <a:gd name="T41" fmla="*/ 17119 h 111"/>
                <a:gd name="T42" fmla="*/ 64159 w 53"/>
                <a:gd name="T43" fmla="*/ 15217 h 111"/>
                <a:gd name="T44" fmla="*/ 67933 w 53"/>
                <a:gd name="T45" fmla="*/ 5706 h 111"/>
                <a:gd name="T46" fmla="*/ 56611 w 53"/>
                <a:gd name="T47" fmla="*/ 1902 h 111"/>
                <a:gd name="T48" fmla="*/ 41514 w 53"/>
                <a:gd name="T49" fmla="*/ 1902 h 111"/>
                <a:gd name="T50" fmla="*/ 26418 w 53"/>
                <a:gd name="T51" fmla="*/ 11413 h 111"/>
                <a:gd name="T52" fmla="*/ 26418 w 53"/>
                <a:gd name="T53" fmla="*/ 17119 h 111"/>
                <a:gd name="T54" fmla="*/ 20757 w 53"/>
                <a:gd name="T55" fmla="*/ 22826 h 111"/>
                <a:gd name="T56" fmla="*/ 16983 w 53"/>
                <a:gd name="T57" fmla="*/ 26630 h 111"/>
                <a:gd name="T58" fmla="*/ 22644 w 53"/>
                <a:gd name="T59" fmla="*/ 34239 h 111"/>
                <a:gd name="T60" fmla="*/ 20757 w 53"/>
                <a:gd name="T61" fmla="*/ 41847 h 111"/>
                <a:gd name="T62" fmla="*/ 22644 w 53"/>
                <a:gd name="T63" fmla="*/ 62771 h 111"/>
                <a:gd name="T64" fmla="*/ 18870 w 53"/>
                <a:gd name="T65" fmla="*/ 79890 h 111"/>
                <a:gd name="T66" fmla="*/ 11322 w 53"/>
                <a:gd name="T67" fmla="*/ 87499 h 111"/>
                <a:gd name="T68" fmla="*/ 1887 w 53"/>
                <a:gd name="T69" fmla="*/ 98911 h 111"/>
                <a:gd name="T70" fmla="*/ 1887 w 53"/>
                <a:gd name="T71" fmla="*/ 108422 h 111"/>
                <a:gd name="T72" fmla="*/ 7548 w 53"/>
                <a:gd name="T73" fmla="*/ 123639 h 111"/>
                <a:gd name="T74" fmla="*/ 20757 w 53"/>
                <a:gd name="T75" fmla="*/ 133150 h 111"/>
                <a:gd name="T76" fmla="*/ 20757 w 53"/>
                <a:gd name="T77" fmla="*/ 144563 h 111"/>
                <a:gd name="T78" fmla="*/ 30192 w 53"/>
                <a:gd name="T79" fmla="*/ 152172 h 111"/>
                <a:gd name="T80" fmla="*/ 39627 w 53"/>
                <a:gd name="T81" fmla="*/ 155976 h 111"/>
                <a:gd name="T82" fmla="*/ 49062 w 53"/>
                <a:gd name="T83" fmla="*/ 211138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 name="Freeform 65"/>
            <p:cNvSpPr>
              <a:spLocks noChangeAspect="1"/>
            </p:cNvSpPr>
            <p:nvPr/>
          </p:nvSpPr>
          <p:spPr bwMode="auto">
            <a:xfrm>
              <a:off x="4543169" y="2817774"/>
              <a:ext cx="140951" cy="139285"/>
            </a:xfrm>
            <a:custGeom>
              <a:avLst/>
              <a:gdLst>
                <a:gd name="T0" fmla="*/ 109081 w 73"/>
                <a:gd name="T1" fmla="*/ 3810 h 90"/>
                <a:gd name="T2" fmla="*/ 95685 w 73"/>
                <a:gd name="T3" fmla="*/ 0 h 90"/>
                <a:gd name="T4" fmla="*/ 57411 w 73"/>
                <a:gd name="T5" fmla="*/ 0 h 90"/>
                <a:gd name="T6" fmla="*/ 55497 w 73"/>
                <a:gd name="T7" fmla="*/ 5715 h 90"/>
                <a:gd name="T8" fmla="*/ 57411 w 73"/>
                <a:gd name="T9" fmla="*/ 30480 h 90"/>
                <a:gd name="T10" fmla="*/ 51670 w 73"/>
                <a:gd name="T11" fmla="*/ 34290 h 90"/>
                <a:gd name="T12" fmla="*/ 17223 w 73"/>
                <a:gd name="T13" fmla="*/ 32385 h 90"/>
                <a:gd name="T14" fmla="*/ 15310 w 73"/>
                <a:gd name="T15" fmla="*/ 47625 h 90"/>
                <a:gd name="T16" fmla="*/ 11482 w 73"/>
                <a:gd name="T17" fmla="*/ 64770 h 90"/>
                <a:gd name="T18" fmla="*/ 5741 w 73"/>
                <a:gd name="T19" fmla="*/ 85725 h 90"/>
                <a:gd name="T20" fmla="*/ 0 w 73"/>
                <a:gd name="T21" fmla="*/ 81915 h 90"/>
                <a:gd name="T22" fmla="*/ 5741 w 73"/>
                <a:gd name="T23" fmla="*/ 99060 h 90"/>
                <a:gd name="T24" fmla="*/ 17223 w 73"/>
                <a:gd name="T25" fmla="*/ 108585 h 90"/>
                <a:gd name="T26" fmla="*/ 9568 w 73"/>
                <a:gd name="T27" fmla="*/ 110490 h 90"/>
                <a:gd name="T28" fmla="*/ 17223 w 73"/>
                <a:gd name="T29" fmla="*/ 118110 h 90"/>
                <a:gd name="T30" fmla="*/ 15310 w 73"/>
                <a:gd name="T31" fmla="*/ 125730 h 90"/>
                <a:gd name="T32" fmla="*/ 28705 w 73"/>
                <a:gd name="T33" fmla="*/ 133350 h 90"/>
                <a:gd name="T34" fmla="*/ 22964 w 73"/>
                <a:gd name="T35" fmla="*/ 135255 h 90"/>
                <a:gd name="T36" fmla="*/ 32533 w 73"/>
                <a:gd name="T37" fmla="*/ 146685 h 90"/>
                <a:gd name="T38" fmla="*/ 44015 w 73"/>
                <a:gd name="T39" fmla="*/ 163830 h 90"/>
                <a:gd name="T40" fmla="*/ 53584 w 73"/>
                <a:gd name="T41" fmla="*/ 171450 h 90"/>
                <a:gd name="T42" fmla="*/ 57411 w 73"/>
                <a:gd name="T43" fmla="*/ 161925 h 90"/>
                <a:gd name="T44" fmla="*/ 68893 w 73"/>
                <a:gd name="T45" fmla="*/ 163830 h 90"/>
                <a:gd name="T46" fmla="*/ 70807 w 73"/>
                <a:gd name="T47" fmla="*/ 150495 h 90"/>
                <a:gd name="T48" fmla="*/ 61238 w 73"/>
                <a:gd name="T49" fmla="*/ 140970 h 90"/>
                <a:gd name="T50" fmla="*/ 63152 w 73"/>
                <a:gd name="T51" fmla="*/ 127635 h 90"/>
                <a:gd name="T52" fmla="*/ 80375 w 73"/>
                <a:gd name="T53" fmla="*/ 129540 h 90"/>
                <a:gd name="T54" fmla="*/ 84203 w 73"/>
                <a:gd name="T55" fmla="*/ 116205 h 90"/>
                <a:gd name="T56" fmla="*/ 95685 w 73"/>
                <a:gd name="T57" fmla="*/ 125730 h 90"/>
                <a:gd name="T58" fmla="*/ 110995 w 73"/>
                <a:gd name="T59" fmla="*/ 123825 h 90"/>
                <a:gd name="T60" fmla="*/ 114822 w 73"/>
                <a:gd name="T61" fmla="*/ 129540 h 90"/>
                <a:gd name="T62" fmla="*/ 122477 w 73"/>
                <a:gd name="T63" fmla="*/ 129540 h 90"/>
                <a:gd name="T64" fmla="*/ 124390 w 73"/>
                <a:gd name="T65" fmla="*/ 112395 h 90"/>
                <a:gd name="T66" fmla="*/ 124390 w 73"/>
                <a:gd name="T67" fmla="*/ 93345 h 90"/>
                <a:gd name="T68" fmla="*/ 128218 w 73"/>
                <a:gd name="T69" fmla="*/ 80010 h 90"/>
                <a:gd name="T70" fmla="*/ 116736 w 73"/>
                <a:gd name="T71" fmla="*/ 76200 h 90"/>
                <a:gd name="T72" fmla="*/ 120563 w 73"/>
                <a:gd name="T73" fmla="*/ 55245 h 90"/>
                <a:gd name="T74" fmla="*/ 133959 w 73"/>
                <a:gd name="T75" fmla="*/ 47625 h 90"/>
                <a:gd name="T76" fmla="*/ 133959 w 73"/>
                <a:gd name="T77" fmla="*/ 28575 h 90"/>
                <a:gd name="T78" fmla="*/ 107167 w 73"/>
                <a:gd name="T79" fmla="*/ 26670 h 90"/>
                <a:gd name="T80" fmla="*/ 103340 w 73"/>
                <a:gd name="T81" fmla="*/ 17145 h 90"/>
                <a:gd name="T82" fmla="*/ 109081 w 73"/>
                <a:gd name="T83" fmla="*/ 3810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 name="Freeform 66"/>
            <p:cNvSpPr>
              <a:spLocks noChangeAspect="1"/>
            </p:cNvSpPr>
            <p:nvPr/>
          </p:nvSpPr>
          <p:spPr bwMode="auto">
            <a:xfrm>
              <a:off x="4559186" y="2820353"/>
              <a:ext cx="43247" cy="25793"/>
            </a:xfrm>
            <a:custGeom>
              <a:avLst/>
              <a:gdLst>
                <a:gd name="T0" fmla="*/ 1864 w 23"/>
                <a:gd name="T1" fmla="*/ 29766 h 16"/>
                <a:gd name="T2" fmla="*/ 1864 w 23"/>
                <a:gd name="T3" fmla="*/ 11906 h 16"/>
                <a:gd name="T4" fmla="*/ 3727 w 23"/>
                <a:gd name="T5" fmla="*/ 0 h 16"/>
                <a:gd name="T6" fmla="*/ 39136 w 23"/>
                <a:gd name="T7" fmla="*/ 1984 h 16"/>
                <a:gd name="T8" fmla="*/ 40999 w 23"/>
                <a:gd name="T9" fmla="*/ 27781 h 16"/>
                <a:gd name="T10" fmla="*/ 35409 w 23"/>
                <a:gd name="T11" fmla="*/ 31750 h 16"/>
                <a:gd name="T12" fmla="*/ 1864 w 23"/>
                <a:gd name="T13" fmla="*/ 29766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 name="Freeform 67"/>
            <p:cNvSpPr>
              <a:spLocks noChangeAspect="1"/>
            </p:cNvSpPr>
            <p:nvPr/>
          </p:nvSpPr>
          <p:spPr bwMode="auto">
            <a:xfrm>
              <a:off x="4530355" y="2580473"/>
              <a:ext cx="190605" cy="251487"/>
            </a:xfrm>
            <a:custGeom>
              <a:avLst/>
              <a:gdLst>
                <a:gd name="T0" fmla="*/ 36256 w 99"/>
                <a:gd name="T1" fmla="*/ 277077 h 162"/>
                <a:gd name="T2" fmla="*/ 30531 w 99"/>
                <a:gd name="T3" fmla="*/ 250325 h 162"/>
                <a:gd name="T4" fmla="*/ 24807 w 99"/>
                <a:gd name="T5" fmla="*/ 248414 h 162"/>
                <a:gd name="T6" fmla="*/ 11449 w 99"/>
                <a:gd name="T7" fmla="*/ 229305 h 162"/>
                <a:gd name="T8" fmla="*/ 0 w 99"/>
                <a:gd name="T9" fmla="*/ 223573 h 162"/>
                <a:gd name="T10" fmla="*/ 7633 w 99"/>
                <a:gd name="T11" fmla="*/ 192999 h 162"/>
                <a:gd name="T12" fmla="*/ 28623 w 99"/>
                <a:gd name="T13" fmla="*/ 173890 h 162"/>
                <a:gd name="T14" fmla="*/ 47705 w 99"/>
                <a:gd name="T15" fmla="*/ 166246 h 162"/>
                <a:gd name="T16" fmla="*/ 53430 w 99"/>
                <a:gd name="T17" fmla="*/ 160514 h 162"/>
                <a:gd name="T18" fmla="*/ 74420 w 99"/>
                <a:gd name="T19" fmla="*/ 175801 h 162"/>
                <a:gd name="T20" fmla="*/ 91594 w 99"/>
                <a:gd name="T21" fmla="*/ 139494 h 162"/>
                <a:gd name="T22" fmla="*/ 104952 w 99"/>
                <a:gd name="T23" fmla="*/ 114653 h 162"/>
                <a:gd name="T24" fmla="*/ 116401 w 99"/>
                <a:gd name="T25" fmla="*/ 85989 h 162"/>
                <a:gd name="T26" fmla="*/ 122126 w 99"/>
                <a:gd name="T27" fmla="*/ 66881 h 162"/>
                <a:gd name="T28" fmla="*/ 150749 w 99"/>
                <a:gd name="T29" fmla="*/ 38218 h 162"/>
                <a:gd name="T30" fmla="*/ 135483 w 99"/>
                <a:gd name="T31" fmla="*/ 13376 h 162"/>
                <a:gd name="T32" fmla="*/ 146932 w 99"/>
                <a:gd name="T33" fmla="*/ 0 h 162"/>
                <a:gd name="T34" fmla="*/ 160290 w 99"/>
                <a:gd name="T35" fmla="*/ 47772 h 162"/>
                <a:gd name="T36" fmla="*/ 177464 w 99"/>
                <a:gd name="T37" fmla="*/ 82168 h 162"/>
                <a:gd name="T38" fmla="*/ 154565 w 99"/>
                <a:gd name="T39" fmla="*/ 80257 h 162"/>
                <a:gd name="T40" fmla="*/ 135483 w 99"/>
                <a:gd name="T41" fmla="*/ 89811 h 162"/>
                <a:gd name="T42" fmla="*/ 160290 w 99"/>
                <a:gd name="T43" fmla="*/ 118474 h 162"/>
                <a:gd name="T44" fmla="*/ 173647 w 99"/>
                <a:gd name="T45" fmla="*/ 143316 h 162"/>
                <a:gd name="T46" fmla="*/ 164106 w 99"/>
                <a:gd name="T47" fmla="*/ 162425 h 162"/>
                <a:gd name="T48" fmla="*/ 146932 w 99"/>
                <a:gd name="T49" fmla="*/ 189177 h 162"/>
                <a:gd name="T50" fmla="*/ 152657 w 99"/>
                <a:gd name="T51" fmla="*/ 229305 h 162"/>
                <a:gd name="T52" fmla="*/ 166014 w 99"/>
                <a:gd name="T53" fmla="*/ 242681 h 162"/>
                <a:gd name="T54" fmla="*/ 173647 w 99"/>
                <a:gd name="T55" fmla="*/ 269434 h 162"/>
                <a:gd name="T56" fmla="*/ 188913 w 99"/>
                <a:gd name="T57" fmla="*/ 288542 h 162"/>
                <a:gd name="T58" fmla="*/ 187005 w 99"/>
                <a:gd name="T59" fmla="*/ 309562 h 162"/>
                <a:gd name="T60" fmla="*/ 122126 w 99"/>
                <a:gd name="T61" fmla="*/ 296186 h 162"/>
                <a:gd name="T62" fmla="*/ 70604 w 99"/>
                <a:gd name="T63" fmla="*/ 292364 h 162"/>
                <a:gd name="T64" fmla="*/ 32440 w 99"/>
                <a:gd name="T65" fmla="*/ 296186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 name="Freeform 68"/>
            <p:cNvSpPr>
              <a:spLocks noChangeAspect="1"/>
            </p:cNvSpPr>
            <p:nvPr/>
          </p:nvSpPr>
          <p:spPr bwMode="auto">
            <a:xfrm>
              <a:off x="4655289" y="2340593"/>
              <a:ext cx="249867" cy="359820"/>
            </a:xfrm>
            <a:custGeom>
              <a:avLst/>
              <a:gdLst>
                <a:gd name="T0" fmla="*/ 49530 w 130"/>
                <a:gd name="T1" fmla="*/ 442912 h 232"/>
                <a:gd name="T2" fmla="*/ 62865 w 130"/>
                <a:gd name="T3" fmla="*/ 441003 h 232"/>
                <a:gd name="T4" fmla="*/ 74295 w 130"/>
                <a:gd name="T5" fmla="*/ 435276 h 232"/>
                <a:gd name="T6" fmla="*/ 85725 w 130"/>
                <a:gd name="T7" fmla="*/ 441003 h 232"/>
                <a:gd name="T8" fmla="*/ 91440 w 130"/>
                <a:gd name="T9" fmla="*/ 433366 h 232"/>
                <a:gd name="T10" fmla="*/ 112395 w 130"/>
                <a:gd name="T11" fmla="*/ 429548 h 232"/>
                <a:gd name="T12" fmla="*/ 120015 w 130"/>
                <a:gd name="T13" fmla="*/ 429548 h 232"/>
                <a:gd name="T14" fmla="*/ 127635 w 130"/>
                <a:gd name="T15" fmla="*/ 421912 h 232"/>
                <a:gd name="T16" fmla="*/ 135255 w 130"/>
                <a:gd name="T17" fmla="*/ 412366 h 232"/>
                <a:gd name="T18" fmla="*/ 127635 w 130"/>
                <a:gd name="T19" fmla="*/ 408548 h 232"/>
                <a:gd name="T20" fmla="*/ 135255 w 130"/>
                <a:gd name="T21" fmla="*/ 402821 h 232"/>
                <a:gd name="T22" fmla="*/ 156210 w 130"/>
                <a:gd name="T23" fmla="*/ 402821 h 232"/>
                <a:gd name="T24" fmla="*/ 177165 w 130"/>
                <a:gd name="T25" fmla="*/ 393275 h 232"/>
                <a:gd name="T26" fmla="*/ 180975 w 130"/>
                <a:gd name="T27" fmla="*/ 378002 h 232"/>
                <a:gd name="T28" fmla="*/ 190500 w 130"/>
                <a:gd name="T29" fmla="*/ 378002 h 232"/>
                <a:gd name="T30" fmla="*/ 200025 w 130"/>
                <a:gd name="T31" fmla="*/ 366548 h 232"/>
                <a:gd name="T32" fmla="*/ 200025 w 130"/>
                <a:gd name="T33" fmla="*/ 353184 h 232"/>
                <a:gd name="T34" fmla="*/ 220980 w 130"/>
                <a:gd name="T35" fmla="*/ 349366 h 232"/>
                <a:gd name="T36" fmla="*/ 222885 w 130"/>
                <a:gd name="T37" fmla="*/ 341730 h 232"/>
                <a:gd name="T38" fmla="*/ 213360 w 130"/>
                <a:gd name="T39" fmla="*/ 330275 h 232"/>
                <a:gd name="T40" fmla="*/ 219075 w 130"/>
                <a:gd name="T41" fmla="*/ 322639 h 232"/>
                <a:gd name="T42" fmla="*/ 213360 w 130"/>
                <a:gd name="T43" fmla="*/ 320729 h 232"/>
                <a:gd name="T44" fmla="*/ 211455 w 130"/>
                <a:gd name="T45" fmla="*/ 301638 h 232"/>
                <a:gd name="T46" fmla="*/ 198120 w 130"/>
                <a:gd name="T47" fmla="*/ 305457 h 232"/>
                <a:gd name="T48" fmla="*/ 198120 w 130"/>
                <a:gd name="T49" fmla="*/ 295911 h 232"/>
                <a:gd name="T50" fmla="*/ 207645 w 130"/>
                <a:gd name="T51" fmla="*/ 284456 h 232"/>
                <a:gd name="T52" fmla="*/ 205740 w 130"/>
                <a:gd name="T53" fmla="*/ 267275 h 232"/>
                <a:gd name="T54" fmla="*/ 215265 w 130"/>
                <a:gd name="T55" fmla="*/ 261547 h 232"/>
                <a:gd name="T56" fmla="*/ 209550 w 130"/>
                <a:gd name="T57" fmla="*/ 250093 h 232"/>
                <a:gd name="T58" fmla="*/ 215265 w 130"/>
                <a:gd name="T59" fmla="*/ 244365 h 232"/>
                <a:gd name="T60" fmla="*/ 224790 w 130"/>
                <a:gd name="T61" fmla="*/ 231002 h 232"/>
                <a:gd name="T62" fmla="*/ 222885 w 130"/>
                <a:gd name="T63" fmla="*/ 221456 h 232"/>
                <a:gd name="T64" fmla="*/ 232410 w 130"/>
                <a:gd name="T65" fmla="*/ 215729 h 232"/>
                <a:gd name="T66" fmla="*/ 243840 w 130"/>
                <a:gd name="T67" fmla="*/ 215729 h 232"/>
                <a:gd name="T68" fmla="*/ 243840 w 130"/>
                <a:gd name="T69" fmla="*/ 114546 h 232"/>
                <a:gd name="T70" fmla="*/ 45720 w 130"/>
                <a:gd name="T71" fmla="*/ 0 h 232"/>
                <a:gd name="T72" fmla="*/ 30480 w 130"/>
                <a:gd name="T73" fmla="*/ 13364 h 232"/>
                <a:gd name="T74" fmla="*/ 38100 w 130"/>
                <a:gd name="T75" fmla="*/ 36273 h 232"/>
                <a:gd name="T76" fmla="*/ 36195 w 130"/>
                <a:gd name="T77" fmla="*/ 53455 h 232"/>
                <a:gd name="T78" fmla="*/ 43815 w 130"/>
                <a:gd name="T79" fmla="*/ 63000 h 232"/>
                <a:gd name="T80" fmla="*/ 41910 w 130"/>
                <a:gd name="T81" fmla="*/ 74455 h 232"/>
                <a:gd name="T82" fmla="*/ 55245 w 130"/>
                <a:gd name="T83" fmla="*/ 84001 h 232"/>
                <a:gd name="T84" fmla="*/ 41910 w 130"/>
                <a:gd name="T85" fmla="*/ 110728 h 232"/>
                <a:gd name="T86" fmla="*/ 41910 w 130"/>
                <a:gd name="T87" fmla="*/ 152728 h 232"/>
                <a:gd name="T88" fmla="*/ 43815 w 130"/>
                <a:gd name="T89" fmla="*/ 190910 h 232"/>
                <a:gd name="T90" fmla="*/ 0 w 130"/>
                <a:gd name="T91" fmla="*/ 246274 h 232"/>
                <a:gd name="T92" fmla="*/ 0 w 130"/>
                <a:gd name="T93" fmla="*/ 274911 h 232"/>
                <a:gd name="T94" fmla="*/ 9525 w 130"/>
                <a:gd name="T95" fmla="*/ 290184 h 232"/>
                <a:gd name="T96" fmla="*/ 15240 w 130"/>
                <a:gd name="T97" fmla="*/ 297820 h 232"/>
                <a:gd name="T98" fmla="*/ 22860 w 130"/>
                <a:gd name="T99" fmla="*/ 295911 h 232"/>
                <a:gd name="T100" fmla="*/ 34290 w 130"/>
                <a:gd name="T101" fmla="*/ 318820 h 232"/>
                <a:gd name="T102" fmla="*/ 36195 w 130"/>
                <a:gd name="T103" fmla="*/ 343639 h 232"/>
                <a:gd name="T104" fmla="*/ 40005 w 130"/>
                <a:gd name="T105" fmla="*/ 362730 h 232"/>
                <a:gd name="T106" fmla="*/ 53340 w 130"/>
                <a:gd name="T107" fmla="*/ 378002 h 232"/>
                <a:gd name="T108" fmla="*/ 36195 w 130"/>
                <a:gd name="T109" fmla="*/ 376093 h 232"/>
                <a:gd name="T110" fmla="*/ 30480 w 130"/>
                <a:gd name="T111" fmla="*/ 376093 h 232"/>
                <a:gd name="T112" fmla="*/ 15240 w 130"/>
                <a:gd name="T113" fmla="*/ 374184 h 232"/>
                <a:gd name="T114" fmla="*/ 11430 w 130"/>
                <a:gd name="T115" fmla="*/ 385639 h 232"/>
                <a:gd name="T116" fmla="*/ 20955 w 130"/>
                <a:gd name="T117" fmla="*/ 397094 h 232"/>
                <a:gd name="T118" fmla="*/ 36195 w 130"/>
                <a:gd name="T119" fmla="*/ 414275 h 232"/>
                <a:gd name="T120" fmla="*/ 43815 w 130"/>
                <a:gd name="T121" fmla="*/ 427639 h 232"/>
                <a:gd name="T122" fmla="*/ 49530 w 130"/>
                <a:gd name="T123" fmla="*/ 439094 h 232"/>
                <a:gd name="T124" fmla="*/ 49530 w 130"/>
                <a:gd name="T125" fmla="*/ 442912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 name="Freeform 69"/>
            <p:cNvSpPr>
              <a:spLocks noChangeAspect="1"/>
            </p:cNvSpPr>
            <p:nvPr/>
          </p:nvSpPr>
          <p:spPr bwMode="auto">
            <a:xfrm>
              <a:off x="4676112" y="2623032"/>
              <a:ext cx="317139" cy="192163"/>
            </a:xfrm>
            <a:custGeom>
              <a:avLst/>
              <a:gdLst>
                <a:gd name="T0" fmla="*/ 314325 w 165"/>
                <a:gd name="T1" fmla="*/ 154513 h 124"/>
                <a:gd name="T2" fmla="*/ 300990 w 165"/>
                <a:gd name="T3" fmla="*/ 137345 h 124"/>
                <a:gd name="T4" fmla="*/ 293370 w 165"/>
                <a:gd name="T5" fmla="*/ 123992 h 124"/>
                <a:gd name="T6" fmla="*/ 270510 w 165"/>
                <a:gd name="T7" fmla="*/ 108731 h 124"/>
                <a:gd name="T8" fmla="*/ 262890 w 165"/>
                <a:gd name="T9" fmla="*/ 87748 h 124"/>
                <a:gd name="T10" fmla="*/ 253365 w 165"/>
                <a:gd name="T11" fmla="*/ 78210 h 124"/>
                <a:gd name="T12" fmla="*/ 236220 w 165"/>
                <a:gd name="T13" fmla="*/ 64857 h 124"/>
                <a:gd name="T14" fmla="*/ 215265 w 165"/>
                <a:gd name="T15" fmla="*/ 55319 h 124"/>
                <a:gd name="T16" fmla="*/ 222885 w 165"/>
                <a:gd name="T17" fmla="*/ 34336 h 124"/>
                <a:gd name="T18" fmla="*/ 200025 w 165"/>
                <a:gd name="T19" fmla="*/ 1908 h 124"/>
                <a:gd name="T20" fmla="*/ 179070 w 165"/>
                <a:gd name="T21" fmla="*/ 19076 h 124"/>
                <a:gd name="T22" fmla="*/ 160020 w 165"/>
                <a:gd name="T23" fmla="*/ 30521 h 124"/>
                <a:gd name="T24" fmla="*/ 135255 w 165"/>
                <a:gd name="T25" fmla="*/ 55319 h 124"/>
                <a:gd name="T26" fmla="*/ 106680 w 165"/>
                <a:gd name="T27" fmla="*/ 61042 h 124"/>
                <a:gd name="T28" fmla="*/ 106680 w 165"/>
                <a:gd name="T29" fmla="*/ 74395 h 124"/>
                <a:gd name="T30" fmla="*/ 91440 w 165"/>
                <a:gd name="T31" fmla="*/ 82025 h 124"/>
                <a:gd name="T32" fmla="*/ 64770 w 165"/>
                <a:gd name="T33" fmla="*/ 93471 h 124"/>
                <a:gd name="T34" fmla="*/ 41910 w 165"/>
                <a:gd name="T35" fmla="*/ 93471 h 124"/>
                <a:gd name="T36" fmla="*/ 19050 w 165"/>
                <a:gd name="T37" fmla="*/ 110639 h 124"/>
                <a:gd name="T38" fmla="*/ 1905 w 165"/>
                <a:gd name="T39" fmla="*/ 137345 h 124"/>
                <a:gd name="T40" fmla="*/ 7620 w 165"/>
                <a:gd name="T41" fmla="*/ 177404 h 124"/>
                <a:gd name="T42" fmla="*/ 20955 w 165"/>
                <a:gd name="T43" fmla="*/ 190756 h 124"/>
                <a:gd name="T44" fmla="*/ 28575 w 165"/>
                <a:gd name="T45" fmla="*/ 217462 h 124"/>
                <a:gd name="T46" fmla="*/ 43815 w 165"/>
                <a:gd name="T47" fmla="*/ 236538 h 124"/>
                <a:gd name="T48" fmla="*/ 51435 w 165"/>
                <a:gd name="T49" fmla="*/ 215555 h 124"/>
                <a:gd name="T50" fmla="*/ 70485 w 165"/>
                <a:gd name="T51" fmla="*/ 206017 h 124"/>
                <a:gd name="T52" fmla="*/ 89535 w 165"/>
                <a:gd name="T53" fmla="*/ 206017 h 124"/>
                <a:gd name="T54" fmla="*/ 102870 w 165"/>
                <a:gd name="T55" fmla="*/ 185034 h 124"/>
                <a:gd name="T56" fmla="*/ 118110 w 165"/>
                <a:gd name="T57" fmla="*/ 164051 h 124"/>
                <a:gd name="T58" fmla="*/ 148590 w 165"/>
                <a:gd name="T59" fmla="*/ 179311 h 124"/>
                <a:gd name="T60" fmla="*/ 190500 w 165"/>
                <a:gd name="T61" fmla="*/ 188849 h 124"/>
                <a:gd name="T62" fmla="*/ 205740 w 165"/>
                <a:gd name="T63" fmla="*/ 169773 h 124"/>
                <a:gd name="T64" fmla="*/ 238125 w 165"/>
                <a:gd name="T65" fmla="*/ 169773 h 124"/>
                <a:gd name="T66" fmla="*/ 249555 w 165"/>
                <a:gd name="T67" fmla="*/ 167866 h 124"/>
                <a:gd name="T68" fmla="*/ 266700 w 165"/>
                <a:gd name="T69" fmla="*/ 158328 h 124"/>
                <a:gd name="T70" fmla="*/ 285750 w 165"/>
                <a:gd name="T71" fmla="*/ 162143 h 124"/>
                <a:gd name="T72" fmla="*/ 304800 w 165"/>
                <a:gd name="T73" fmla="*/ 162143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 name="Freeform 70"/>
            <p:cNvSpPr>
              <a:spLocks noChangeAspect="1"/>
            </p:cNvSpPr>
            <p:nvPr/>
          </p:nvSpPr>
          <p:spPr bwMode="auto">
            <a:xfrm>
              <a:off x="5143812" y="2748131"/>
              <a:ext cx="193807" cy="226984"/>
            </a:xfrm>
            <a:custGeom>
              <a:avLst/>
              <a:gdLst>
                <a:gd name="T0" fmla="*/ 192087 w 101"/>
                <a:gd name="T1" fmla="*/ 41815 h 147"/>
                <a:gd name="T2" fmla="*/ 182578 w 101"/>
                <a:gd name="T3" fmla="*/ 41815 h 147"/>
                <a:gd name="T4" fmla="*/ 171167 w 101"/>
                <a:gd name="T5" fmla="*/ 30411 h 147"/>
                <a:gd name="T6" fmla="*/ 148344 w 101"/>
                <a:gd name="T7" fmla="*/ 41815 h 147"/>
                <a:gd name="T8" fmla="*/ 144541 w 101"/>
                <a:gd name="T9" fmla="*/ 53219 h 147"/>
                <a:gd name="T10" fmla="*/ 110307 w 101"/>
                <a:gd name="T11" fmla="*/ 51318 h 147"/>
                <a:gd name="T12" fmla="*/ 83681 w 101"/>
                <a:gd name="T13" fmla="*/ 28510 h 147"/>
                <a:gd name="T14" fmla="*/ 68467 w 101"/>
                <a:gd name="T15" fmla="*/ 26610 h 147"/>
                <a:gd name="T16" fmla="*/ 55154 w 101"/>
                <a:gd name="T17" fmla="*/ 22808 h 147"/>
                <a:gd name="T18" fmla="*/ 53252 w 101"/>
                <a:gd name="T19" fmla="*/ 3801 h 147"/>
                <a:gd name="T20" fmla="*/ 39939 w 101"/>
                <a:gd name="T21" fmla="*/ 0 h 147"/>
                <a:gd name="T22" fmla="*/ 9509 w 101"/>
                <a:gd name="T23" fmla="*/ 32312 h 147"/>
                <a:gd name="T24" fmla="*/ 13313 w 101"/>
                <a:gd name="T25" fmla="*/ 41815 h 147"/>
                <a:gd name="T26" fmla="*/ 20920 w 101"/>
                <a:gd name="T27" fmla="*/ 45616 h 147"/>
                <a:gd name="T28" fmla="*/ 22822 w 101"/>
                <a:gd name="T29" fmla="*/ 62722 h 147"/>
                <a:gd name="T30" fmla="*/ 34233 w 101"/>
                <a:gd name="T31" fmla="*/ 79829 h 147"/>
                <a:gd name="T32" fmla="*/ 36135 w 101"/>
                <a:gd name="T33" fmla="*/ 100736 h 147"/>
                <a:gd name="T34" fmla="*/ 24724 w 101"/>
                <a:gd name="T35" fmla="*/ 117842 h 147"/>
                <a:gd name="T36" fmla="*/ 9509 w 101"/>
                <a:gd name="T37" fmla="*/ 136849 h 147"/>
                <a:gd name="T38" fmla="*/ 0 w 101"/>
                <a:gd name="T39" fmla="*/ 169161 h 147"/>
                <a:gd name="T40" fmla="*/ 95093 w 101"/>
                <a:gd name="T41" fmla="*/ 231883 h 147"/>
                <a:gd name="T42" fmla="*/ 96994 w 101"/>
                <a:gd name="T43" fmla="*/ 243287 h 147"/>
                <a:gd name="T44" fmla="*/ 136933 w 101"/>
                <a:gd name="T45" fmla="*/ 279400 h 147"/>
                <a:gd name="T46" fmla="*/ 138835 w 101"/>
                <a:gd name="T47" fmla="*/ 269897 h 147"/>
                <a:gd name="T48" fmla="*/ 142639 w 101"/>
                <a:gd name="T49" fmla="*/ 258493 h 147"/>
                <a:gd name="T50" fmla="*/ 152148 w 101"/>
                <a:gd name="T51" fmla="*/ 241386 h 147"/>
                <a:gd name="T52" fmla="*/ 157854 w 101"/>
                <a:gd name="T53" fmla="*/ 228082 h 147"/>
                <a:gd name="T54" fmla="*/ 157854 w 101"/>
                <a:gd name="T55" fmla="*/ 218578 h 147"/>
                <a:gd name="T56" fmla="*/ 167363 w 101"/>
                <a:gd name="T57" fmla="*/ 216678 h 147"/>
                <a:gd name="T58" fmla="*/ 173068 w 101"/>
                <a:gd name="T59" fmla="*/ 207174 h 147"/>
                <a:gd name="T60" fmla="*/ 180676 w 101"/>
                <a:gd name="T61" fmla="*/ 199571 h 147"/>
                <a:gd name="T62" fmla="*/ 190185 w 101"/>
                <a:gd name="T63" fmla="*/ 193869 h 147"/>
                <a:gd name="T64" fmla="*/ 174970 w 101"/>
                <a:gd name="T65" fmla="*/ 174863 h 147"/>
                <a:gd name="T66" fmla="*/ 174970 w 101"/>
                <a:gd name="T67" fmla="*/ 72226 h 147"/>
                <a:gd name="T68" fmla="*/ 186381 w 101"/>
                <a:gd name="T69" fmla="*/ 58921 h 147"/>
                <a:gd name="T70" fmla="*/ 192087 w 101"/>
                <a:gd name="T71" fmla="*/ 41815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 name="Freeform 71"/>
            <p:cNvSpPr>
              <a:spLocks noChangeAspect="1"/>
            </p:cNvSpPr>
            <p:nvPr/>
          </p:nvSpPr>
          <p:spPr bwMode="auto">
            <a:xfrm>
              <a:off x="5044505" y="2773924"/>
              <a:ext cx="137748" cy="126389"/>
            </a:xfrm>
            <a:custGeom>
              <a:avLst/>
              <a:gdLst>
                <a:gd name="T0" fmla="*/ 98067 w 71"/>
                <a:gd name="T1" fmla="*/ 138289 h 81"/>
                <a:gd name="T2" fmla="*/ 88453 w 71"/>
                <a:gd name="T3" fmla="*/ 144051 h 81"/>
                <a:gd name="T4" fmla="*/ 65378 w 71"/>
                <a:gd name="T5" fmla="*/ 144051 h 81"/>
                <a:gd name="T6" fmla="*/ 36535 w 71"/>
                <a:gd name="T7" fmla="*/ 142130 h 81"/>
                <a:gd name="T8" fmla="*/ 21152 w 71"/>
                <a:gd name="T9" fmla="*/ 145972 h 81"/>
                <a:gd name="T10" fmla="*/ 11537 w 71"/>
                <a:gd name="T11" fmla="*/ 153654 h 81"/>
                <a:gd name="T12" fmla="*/ 0 w 71"/>
                <a:gd name="T13" fmla="*/ 151734 h 81"/>
                <a:gd name="T14" fmla="*/ 1923 w 71"/>
                <a:gd name="T15" fmla="*/ 130606 h 81"/>
                <a:gd name="T16" fmla="*/ 3846 w 71"/>
                <a:gd name="T17" fmla="*/ 119082 h 81"/>
                <a:gd name="T18" fmla="*/ 9614 w 71"/>
                <a:gd name="T19" fmla="*/ 101796 h 81"/>
                <a:gd name="T20" fmla="*/ 15383 w 71"/>
                <a:gd name="T21" fmla="*/ 88351 h 81"/>
                <a:gd name="T22" fmla="*/ 21152 w 71"/>
                <a:gd name="T23" fmla="*/ 82589 h 81"/>
                <a:gd name="T24" fmla="*/ 23075 w 71"/>
                <a:gd name="T25" fmla="*/ 72986 h 81"/>
                <a:gd name="T26" fmla="*/ 32689 w 71"/>
                <a:gd name="T27" fmla="*/ 65303 h 81"/>
                <a:gd name="T28" fmla="*/ 42304 w 71"/>
                <a:gd name="T29" fmla="*/ 57620 h 81"/>
                <a:gd name="T30" fmla="*/ 30766 w 71"/>
                <a:gd name="T31" fmla="*/ 53779 h 81"/>
                <a:gd name="T32" fmla="*/ 34612 w 71"/>
                <a:gd name="T33" fmla="*/ 40334 h 81"/>
                <a:gd name="T34" fmla="*/ 26920 w 71"/>
                <a:gd name="T35" fmla="*/ 34572 h 81"/>
                <a:gd name="T36" fmla="*/ 30766 w 71"/>
                <a:gd name="T37" fmla="*/ 28810 h 81"/>
                <a:gd name="T38" fmla="*/ 26920 w 71"/>
                <a:gd name="T39" fmla="*/ 21127 h 81"/>
                <a:gd name="T40" fmla="*/ 32689 w 71"/>
                <a:gd name="T41" fmla="*/ 15365 h 81"/>
                <a:gd name="T42" fmla="*/ 46149 w 71"/>
                <a:gd name="T43" fmla="*/ 15365 h 81"/>
                <a:gd name="T44" fmla="*/ 55764 w 71"/>
                <a:gd name="T45" fmla="*/ 9603 h 81"/>
                <a:gd name="T46" fmla="*/ 61532 w 71"/>
                <a:gd name="T47" fmla="*/ 17286 h 81"/>
                <a:gd name="T48" fmla="*/ 69224 w 71"/>
                <a:gd name="T49" fmla="*/ 13445 h 81"/>
                <a:gd name="T50" fmla="*/ 82684 w 71"/>
                <a:gd name="T51" fmla="*/ 7683 h 81"/>
                <a:gd name="T52" fmla="*/ 88453 w 71"/>
                <a:gd name="T53" fmla="*/ 11524 h 81"/>
                <a:gd name="T54" fmla="*/ 98067 w 71"/>
                <a:gd name="T55" fmla="*/ 11524 h 81"/>
                <a:gd name="T56" fmla="*/ 107682 w 71"/>
                <a:gd name="T57" fmla="*/ 0 h 81"/>
                <a:gd name="T58" fmla="*/ 111527 w 71"/>
                <a:gd name="T59" fmla="*/ 9603 h 81"/>
                <a:gd name="T60" fmla="*/ 119219 w 71"/>
                <a:gd name="T61" fmla="*/ 13445 h 81"/>
                <a:gd name="T62" fmla="*/ 121142 w 71"/>
                <a:gd name="T63" fmla="*/ 30731 h 81"/>
                <a:gd name="T64" fmla="*/ 132679 w 71"/>
                <a:gd name="T65" fmla="*/ 48017 h 81"/>
                <a:gd name="T66" fmla="*/ 134602 w 71"/>
                <a:gd name="T67" fmla="*/ 69144 h 81"/>
                <a:gd name="T68" fmla="*/ 123065 w 71"/>
                <a:gd name="T69" fmla="*/ 86431 h 81"/>
                <a:gd name="T70" fmla="*/ 107682 w 71"/>
                <a:gd name="T71" fmla="*/ 105637 h 81"/>
                <a:gd name="T72" fmla="*/ 98067 w 71"/>
                <a:gd name="T73" fmla="*/ 138289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 name="Freeform 72"/>
            <p:cNvSpPr>
              <a:spLocks noChangeAspect="1"/>
            </p:cNvSpPr>
            <p:nvPr/>
          </p:nvSpPr>
          <p:spPr bwMode="auto">
            <a:xfrm>
              <a:off x="5121388" y="2531465"/>
              <a:ext cx="371597" cy="260515"/>
            </a:xfrm>
            <a:custGeom>
              <a:avLst/>
              <a:gdLst>
                <a:gd name="T0" fmla="*/ 221362 w 193"/>
                <a:gd name="T1" fmla="*/ 87804 h 168"/>
                <a:gd name="T2" fmla="*/ 213728 w 193"/>
                <a:gd name="T3" fmla="*/ 114527 h 168"/>
                <a:gd name="T4" fmla="*/ 228995 w 193"/>
                <a:gd name="T5" fmla="*/ 114527 h 168"/>
                <a:gd name="T6" fmla="*/ 230903 w 193"/>
                <a:gd name="T7" fmla="*/ 131706 h 168"/>
                <a:gd name="T8" fmla="*/ 249986 w 193"/>
                <a:gd name="T9" fmla="*/ 156520 h 168"/>
                <a:gd name="T10" fmla="*/ 339676 w 193"/>
                <a:gd name="T11" fmla="*/ 198513 h 168"/>
                <a:gd name="T12" fmla="*/ 291968 w 193"/>
                <a:gd name="T13" fmla="*/ 280591 h 168"/>
                <a:gd name="T14" fmla="*/ 238536 w 193"/>
                <a:gd name="T15" fmla="*/ 293952 h 168"/>
                <a:gd name="T16" fmla="*/ 204187 w 193"/>
                <a:gd name="T17" fmla="*/ 309222 h 168"/>
                <a:gd name="T18" fmla="*/ 169838 w 193"/>
                <a:gd name="T19" fmla="*/ 309222 h 168"/>
                <a:gd name="T20" fmla="*/ 131672 w 193"/>
                <a:gd name="T21" fmla="*/ 318766 h 168"/>
                <a:gd name="T22" fmla="*/ 89690 w 193"/>
                <a:gd name="T23" fmla="*/ 293952 h 168"/>
                <a:gd name="T24" fmla="*/ 74423 w 193"/>
                <a:gd name="T25" fmla="*/ 271047 h 168"/>
                <a:gd name="T26" fmla="*/ 55340 w 193"/>
                <a:gd name="T27" fmla="*/ 257685 h 168"/>
                <a:gd name="T28" fmla="*/ 38166 w 193"/>
                <a:gd name="T29" fmla="*/ 223327 h 168"/>
                <a:gd name="T30" fmla="*/ 3817 w 193"/>
                <a:gd name="T31" fmla="*/ 202331 h 168"/>
                <a:gd name="T32" fmla="*/ 20991 w 193"/>
                <a:gd name="T33" fmla="*/ 185152 h 168"/>
                <a:gd name="T34" fmla="*/ 30533 w 193"/>
                <a:gd name="T35" fmla="*/ 158429 h 168"/>
                <a:gd name="T36" fmla="*/ 30533 w 193"/>
                <a:gd name="T37" fmla="*/ 127888 h 168"/>
                <a:gd name="T38" fmla="*/ 43891 w 193"/>
                <a:gd name="T39" fmla="*/ 122162 h 168"/>
                <a:gd name="T40" fmla="*/ 51524 w 193"/>
                <a:gd name="T41" fmla="*/ 87804 h 168"/>
                <a:gd name="T42" fmla="*/ 64882 w 193"/>
                <a:gd name="T43" fmla="*/ 64899 h 168"/>
                <a:gd name="T44" fmla="*/ 78240 w 193"/>
                <a:gd name="T45" fmla="*/ 55355 h 168"/>
                <a:gd name="T46" fmla="*/ 83965 w 193"/>
                <a:gd name="T47" fmla="*/ 30540 h 168"/>
                <a:gd name="T48" fmla="*/ 99231 w 193"/>
                <a:gd name="T49" fmla="*/ 22905 h 168"/>
                <a:gd name="T50" fmla="*/ 112589 w 193"/>
                <a:gd name="T51" fmla="*/ 24814 h 168"/>
                <a:gd name="T52" fmla="*/ 125947 w 193"/>
                <a:gd name="T53" fmla="*/ 11453 h 168"/>
                <a:gd name="T54" fmla="*/ 143122 w 193"/>
                <a:gd name="T55" fmla="*/ 15270 h 168"/>
                <a:gd name="T56" fmla="*/ 156480 w 193"/>
                <a:gd name="T57" fmla="*/ 17179 h 168"/>
                <a:gd name="T58" fmla="*/ 190829 w 193"/>
                <a:gd name="T59" fmla="*/ 28632 h 168"/>
                <a:gd name="T60" fmla="*/ 215637 w 193"/>
                <a:gd name="T61" fmla="*/ 57263 h 168"/>
                <a:gd name="T62" fmla="*/ 227087 w 193"/>
                <a:gd name="T63" fmla="*/ 74442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 name="Freeform 73"/>
            <p:cNvSpPr>
              <a:spLocks noChangeAspect="1"/>
            </p:cNvSpPr>
            <p:nvPr/>
          </p:nvSpPr>
          <p:spPr bwMode="auto">
            <a:xfrm>
              <a:off x="5337618" y="2586921"/>
              <a:ext cx="41645" cy="39980"/>
            </a:xfrm>
            <a:custGeom>
              <a:avLst/>
              <a:gdLst>
                <a:gd name="T0" fmla="*/ 26266 w 22"/>
                <a:gd name="T1" fmla="*/ 45427 h 26"/>
                <a:gd name="T2" fmla="*/ 15009 w 22"/>
                <a:gd name="T3" fmla="*/ 45427 h 26"/>
                <a:gd name="T4" fmla="*/ 5628 w 22"/>
                <a:gd name="T5" fmla="*/ 49213 h 26"/>
                <a:gd name="T6" fmla="*/ 0 w 22"/>
                <a:gd name="T7" fmla="*/ 45427 h 26"/>
                <a:gd name="T8" fmla="*/ 0 w 22"/>
                <a:gd name="T9" fmla="*/ 30285 h 26"/>
                <a:gd name="T10" fmla="*/ 7505 w 22"/>
                <a:gd name="T11" fmla="*/ 18928 h 26"/>
                <a:gd name="T12" fmla="*/ 13133 w 22"/>
                <a:gd name="T13" fmla="*/ 5678 h 26"/>
                <a:gd name="T14" fmla="*/ 22514 w 22"/>
                <a:gd name="T15" fmla="*/ 7571 h 26"/>
                <a:gd name="T16" fmla="*/ 26266 w 22"/>
                <a:gd name="T17" fmla="*/ 1893 h 26"/>
                <a:gd name="T18" fmla="*/ 31894 w 22"/>
                <a:gd name="T19" fmla="*/ 1893 h 26"/>
                <a:gd name="T20" fmla="*/ 35647 w 22"/>
                <a:gd name="T21" fmla="*/ 9464 h 26"/>
                <a:gd name="T22" fmla="*/ 39399 w 22"/>
                <a:gd name="T23" fmla="*/ 18928 h 26"/>
                <a:gd name="T24" fmla="*/ 28142 w 22"/>
                <a:gd name="T25" fmla="*/ 24607 h 26"/>
                <a:gd name="T26" fmla="*/ 15009 w 22"/>
                <a:gd name="T27" fmla="*/ 35963 h 26"/>
                <a:gd name="T28" fmla="*/ 28142 w 22"/>
                <a:gd name="T29" fmla="*/ 34071 h 26"/>
                <a:gd name="T30" fmla="*/ 37523 w 22"/>
                <a:gd name="T31" fmla="*/ 37856 h 26"/>
                <a:gd name="T32" fmla="*/ 31894 w 22"/>
                <a:gd name="T33" fmla="*/ 41642 h 26"/>
                <a:gd name="T34" fmla="*/ 26266 w 22"/>
                <a:gd name="T35" fmla="*/ 4542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 name="Freeform 74"/>
            <p:cNvSpPr>
              <a:spLocks noChangeAspect="1"/>
            </p:cNvSpPr>
            <p:nvPr/>
          </p:nvSpPr>
          <p:spPr bwMode="auto">
            <a:xfrm>
              <a:off x="5204676" y="2468270"/>
              <a:ext cx="164976" cy="126389"/>
            </a:xfrm>
            <a:custGeom>
              <a:avLst/>
              <a:gdLst>
                <a:gd name="T0" fmla="*/ 163512 w 86"/>
                <a:gd name="T1" fmla="*/ 147986 h 82"/>
                <a:gd name="T2" fmla="*/ 155907 w 86"/>
                <a:gd name="T3" fmla="*/ 140397 h 82"/>
                <a:gd name="T4" fmla="*/ 146400 w 86"/>
                <a:gd name="T5" fmla="*/ 129013 h 82"/>
                <a:gd name="T6" fmla="*/ 142598 w 86"/>
                <a:gd name="T7" fmla="*/ 123322 h 82"/>
                <a:gd name="T8" fmla="*/ 127387 w 86"/>
                <a:gd name="T9" fmla="*/ 110041 h 82"/>
                <a:gd name="T10" fmla="*/ 115979 w 86"/>
                <a:gd name="T11" fmla="*/ 94863 h 82"/>
                <a:gd name="T12" fmla="*/ 106473 w 86"/>
                <a:gd name="T13" fmla="*/ 89171 h 82"/>
                <a:gd name="T14" fmla="*/ 102670 w 86"/>
                <a:gd name="T15" fmla="*/ 83479 h 82"/>
                <a:gd name="T16" fmla="*/ 95065 w 86"/>
                <a:gd name="T17" fmla="*/ 83479 h 82"/>
                <a:gd name="T18" fmla="*/ 87460 w 86"/>
                <a:gd name="T19" fmla="*/ 79685 h 82"/>
                <a:gd name="T20" fmla="*/ 81756 w 86"/>
                <a:gd name="T21" fmla="*/ 70198 h 82"/>
                <a:gd name="T22" fmla="*/ 76052 w 86"/>
                <a:gd name="T23" fmla="*/ 75890 h 82"/>
                <a:gd name="T24" fmla="*/ 70348 w 86"/>
                <a:gd name="T25" fmla="*/ 62609 h 82"/>
                <a:gd name="T26" fmla="*/ 66546 w 86"/>
                <a:gd name="T27" fmla="*/ 47431 h 82"/>
                <a:gd name="T28" fmla="*/ 60842 w 86"/>
                <a:gd name="T29" fmla="*/ 26562 h 82"/>
                <a:gd name="T30" fmla="*/ 53236 w 86"/>
                <a:gd name="T31" fmla="*/ 0 h 82"/>
                <a:gd name="T32" fmla="*/ 41829 w 86"/>
                <a:gd name="T33" fmla="*/ 5692 h 82"/>
                <a:gd name="T34" fmla="*/ 34223 w 86"/>
                <a:gd name="T35" fmla="*/ 11384 h 82"/>
                <a:gd name="T36" fmla="*/ 26618 w 86"/>
                <a:gd name="T37" fmla="*/ 7589 h 82"/>
                <a:gd name="T38" fmla="*/ 22816 w 86"/>
                <a:gd name="T39" fmla="*/ 18973 h 82"/>
                <a:gd name="T40" fmla="*/ 13309 w 86"/>
                <a:gd name="T41" fmla="*/ 18973 h 82"/>
                <a:gd name="T42" fmla="*/ 11408 w 86"/>
                <a:gd name="T43" fmla="*/ 28459 h 82"/>
                <a:gd name="T44" fmla="*/ 7605 w 86"/>
                <a:gd name="T45" fmla="*/ 36048 h 82"/>
                <a:gd name="T46" fmla="*/ 13309 w 86"/>
                <a:gd name="T47" fmla="*/ 43637 h 82"/>
                <a:gd name="T48" fmla="*/ 7605 w 86"/>
                <a:gd name="T49" fmla="*/ 60712 h 82"/>
                <a:gd name="T50" fmla="*/ 1901 w 86"/>
                <a:gd name="T51" fmla="*/ 72096 h 82"/>
                <a:gd name="T52" fmla="*/ 3803 w 86"/>
                <a:gd name="T53" fmla="*/ 91068 h 82"/>
                <a:gd name="T54" fmla="*/ 7605 w 86"/>
                <a:gd name="T55" fmla="*/ 100555 h 82"/>
                <a:gd name="T56" fmla="*/ 17112 w 86"/>
                <a:gd name="T57" fmla="*/ 100555 h 82"/>
                <a:gd name="T58" fmla="*/ 22816 w 86"/>
                <a:gd name="T59" fmla="*/ 94863 h 82"/>
                <a:gd name="T60" fmla="*/ 30421 w 86"/>
                <a:gd name="T61" fmla="*/ 102452 h 82"/>
                <a:gd name="T62" fmla="*/ 36125 w 86"/>
                <a:gd name="T63" fmla="*/ 81582 h 82"/>
                <a:gd name="T64" fmla="*/ 43730 w 86"/>
                <a:gd name="T65" fmla="*/ 89171 h 82"/>
                <a:gd name="T66" fmla="*/ 49434 w 86"/>
                <a:gd name="T67" fmla="*/ 94863 h 82"/>
                <a:gd name="T68" fmla="*/ 60842 w 86"/>
                <a:gd name="T69" fmla="*/ 92966 h 82"/>
                <a:gd name="T70" fmla="*/ 66546 w 86"/>
                <a:gd name="T71" fmla="*/ 89171 h 82"/>
                <a:gd name="T72" fmla="*/ 74151 w 86"/>
                <a:gd name="T73" fmla="*/ 94863 h 82"/>
                <a:gd name="T74" fmla="*/ 95065 w 86"/>
                <a:gd name="T75" fmla="*/ 96760 h 82"/>
                <a:gd name="T76" fmla="*/ 108374 w 86"/>
                <a:gd name="T77" fmla="*/ 106246 h 82"/>
                <a:gd name="T78" fmla="*/ 115979 w 86"/>
                <a:gd name="T79" fmla="*/ 119527 h 82"/>
                <a:gd name="T80" fmla="*/ 133091 w 86"/>
                <a:gd name="T81" fmla="*/ 134705 h 82"/>
                <a:gd name="T82" fmla="*/ 136894 w 86"/>
                <a:gd name="T83" fmla="*/ 144191 h 82"/>
                <a:gd name="T84" fmla="*/ 144499 w 86"/>
                <a:gd name="T85" fmla="*/ 151780 h 82"/>
                <a:gd name="T86" fmla="*/ 154005 w 86"/>
                <a:gd name="T87" fmla="*/ 153678 h 82"/>
                <a:gd name="T88" fmla="*/ 157808 w 86"/>
                <a:gd name="T89" fmla="*/ 147986 h 82"/>
                <a:gd name="T90" fmla="*/ 163512 w 86"/>
                <a:gd name="T91" fmla="*/ 147986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 name="Freeform 75"/>
            <p:cNvSpPr>
              <a:spLocks noChangeAspect="1"/>
            </p:cNvSpPr>
            <p:nvPr/>
          </p:nvSpPr>
          <p:spPr bwMode="auto">
            <a:xfrm>
              <a:off x="4852300" y="2348331"/>
              <a:ext cx="406835" cy="443649"/>
            </a:xfrm>
            <a:custGeom>
              <a:avLst/>
              <a:gdLst>
                <a:gd name="T0" fmla="*/ 353539 w 211"/>
                <a:gd name="T1" fmla="*/ 238680 h 286"/>
                <a:gd name="T2" fmla="*/ 357361 w 211"/>
                <a:gd name="T3" fmla="*/ 208129 h 286"/>
                <a:gd name="T4" fmla="*/ 357361 w 211"/>
                <a:gd name="T5" fmla="*/ 183306 h 286"/>
                <a:gd name="T6" fmla="*/ 363094 w 211"/>
                <a:gd name="T7" fmla="*/ 166121 h 286"/>
                <a:gd name="T8" fmla="*/ 376471 w 211"/>
                <a:gd name="T9" fmla="*/ 154665 h 286"/>
                <a:gd name="T10" fmla="*/ 391759 w 211"/>
                <a:gd name="T11" fmla="*/ 152755 h 286"/>
                <a:gd name="T12" fmla="*/ 387937 w 211"/>
                <a:gd name="T13" fmla="*/ 137480 h 286"/>
                <a:gd name="T14" fmla="*/ 376471 w 211"/>
                <a:gd name="T15" fmla="*/ 122204 h 286"/>
                <a:gd name="T16" fmla="*/ 365005 w 211"/>
                <a:gd name="T17" fmla="*/ 82106 h 286"/>
                <a:gd name="T18" fmla="*/ 357361 w 211"/>
                <a:gd name="T19" fmla="*/ 42008 h 286"/>
                <a:gd name="T20" fmla="*/ 342072 w 211"/>
                <a:gd name="T21" fmla="*/ 9547 h 286"/>
                <a:gd name="T22" fmla="*/ 326784 w 211"/>
                <a:gd name="T23" fmla="*/ 0 h 286"/>
                <a:gd name="T24" fmla="*/ 305763 w 211"/>
                <a:gd name="T25" fmla="*/ 11457 h 286"/>
                <a:gd name="T26" fmla="*/ 292386 w 211"/>
                <a:gd name="T27" fmla="*/ 24823 h 286"/>
                <a:gd name="T28" fmla="*/ 279009 w 211"/>
                <a:gd name="T29" fmla="*/ 42008 h 286"/>
                <a:gd name="T30" fmla="*/ 72619 w 211"/>
                <a:gd name="T31" fmla="*/ 30551 h 286"/>
                <a:gd name="T32" fmla="*/ 49686 w 211"/>
                <a:gd name="T33" fmla="*/ 91653 h 286"/>
                <a:gd name="T34" fmla="*/ 47775 w 211"/>
                <a:gd name="T35" fmla="*/ 206220 h 286"/>
                <a:gd name="T36" fmla="*/ 26754 w 211"/>
                <a:gd name="T37" fmla="*/ 211948 h 286"/>
                <a:gd name="T38" fmla="*/ 19110 w 211"/>
                <a:gd name="T39" fmla="*/ 234861 h 286"/>
                <a:gd name="T40" fmla="*/ 19110 w 211"/>
                <a:gd name="T41" fmla="*/ 252046 h 286"/>
                <a:gd name="T42" fmla="*/ 11466 w 211"/>
                <a:gd name="T43" fmla="*/ 274959 h 286"/>
                <a:gd name="T44" fmla="*/ 1911 w 211"/>
                <a:gd name="T45" fmla="*/ 295963 h 286"/>
                <a:gd name="T46" fmla="*/ 17199 w 211"/>
                <a:gd name="T47" fmla="*/ 311239 h 286"/>
                <a:gd name="T48" fmla="*/ 17199 w 211"/>
                <a:gd name="T49" fmla="*/ 320786 h 286"/>
                <a:gd name="T50" fmla="*/ 24843 w 211"/>
                <a:gd name="T51" fmla="*/ 339880 h 286"/>
                <a:gd name="T52" fmla="*/ 47775 w 211"/>
                <a:gd name="T53" fmla="*/ 372341 h 286"/>
                <a:gd name="T54" fmla="*/ 40131 w 211"/>
                <a:gd name="T55" fmla="*/ 393345 h 286"/>
                <a:gd name="T56" fmla="*/ 61153 w 211"/>
                <a:gd name="T57" fmla="*/ 402892 h 286"/>
                <a:gd name="T58" fmla="*/ 78352 w 211"/>
                <a:gd name="T59" fmla="*/ 416258 h 286"/>
                <a:gd name="T60" fmla="*/ 87907 w 211"/>
                <a:gd name="T61" fmla="*/ 425805 h 286"/>
                <a:gd name="T62" fmla="*/ 95551 w 211"/>
                <a:gd name="T63" fmla="*/ 446809 h 286"/>
                <a:gd name="T64" fmla="*/ 118483 w 211"/>
                <a:gd name="T65" fmla="*/ 462085 h 286"/>
                <a:gd name="T66" fmla="*/ 126127 w 211"/>
                <a:gd name="T67" fmla="*/ 475451 h 286"/>
                <a:gd name="T68" fmla="*/ 139504 w 211"/>
                <a:gd name="T69" fmla="*/ 492636 h 286"/>
                <a:gd name="T70" fmla="*/ 149059 w 211"/>
                <a:gd name="T71" fmla="*/ 513640 h 286"/>
                <a:gd name="T72" fmla="*/ 170081 w 211"/>
                <a:gd name="T73" fmla="*/ 515549 h 286"/>
                <a:gd name="T74" fmla="*/ 189191 w 211"/>
                <a:gd name="T75" fmla="*/ 509821 h 286"/>
                <a:gd name="T76" fmla="*/ 212123 w 211"/>
                <a:gd name="T77" fmla="*/ 540372 h 286"/>
                <a:gd name="T78" fmla="*/ 223589 w 211"/>
                <a:gd name="T79" fmla="*/ 540372 h 286"/>
                <a:gd name="T80" fmla="*/ 246521 w 211"/>
                <a:gd name="T81" fmla="*/ 534643 h 286"/>
                <a:gd name="T82" fmla="*/ 259899 w 211"/>
                <a:gd name="T83" fmla="*/ 538462 h 286"/>
                <a:gd name="T84" fmla="*/ 279009 w 211"/>
                <a:gd name="T85" fmla="*/ 536553 h 286"/>
                <a:gd name="T86" fmla="*/ 298119 w 211"/>
                <a:gd name="T87" fmla="*/ 525096 h 286"/>
                <a:gd name="T88" fmla="*/ 322962 w 211"/>
                <a:gd name="T89" fmla="*/ 483088 h 286"/>
                <a:gd name="T90" fmla="*/ 305763 w 211"/>
                <a:gd name="T91" fmla="*/ 448718 h 286"/>
                <a:gd name="T92" fmla="*/ 271365 w 211"/>
                <a:gd name="T93" fmla="*/ 427715 h 286"/>
                <a:gd name="T94" fmla="*/ 288564 w 211"/>
                <a:gd name="T95" fmla="*/ 410530 h 286"/>
                <a:gd name="T96" fmla="*/ 298119 w 211"/>
                <a:gd name="T97" fmla="*/ 383798 h 286"/>
                <a:gd name="T98" fmla="*/ 298119 w 211"/>
                <a:gd name="T99" fmla="*/ 353246 h 286"/>
                <a:gd name="T100" fmla="*/ 311496 w 211"/>
                <a:gd name="T101" fmla="*/ 347518 h 286"/>
                <a:gd name="T102" fmla="*/ 319140 w 211"/>
                <a:gd name="T103" fmla="*/ 313148 h 286"/>
                <a:gd name="T104" fmla="*/ 332517 w 211"/>
                <a:gd name="T105" fmla="*/ 290235 h 286"/>
                <a:gd name="T106" fmla="*/ 345894 w 211"/>
                <a:gd name="T107" fmla="*/ 280688 h 286"/>
                <a:gd name="T108" fmla="*/ 351628 w 211"/>
                <a:gd name="T109" fmla="*/ 255865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 name="Freeform 76"/>
            <p:cNvSpPr>
              <a:spLocks noChangeAspect="1"/>
            </p:cNvSpPr>
            <p:nvPr/>
          </p:nvSpPr>
          <p:spPr bwMode="auto">
            <a:xfrm>
              <a:off x="4543169" y="2107161"/>
              <a:ext cx="382810" cy="326289"/>
            </a:xfrm>
            <a:custGeom>
              <a:avLst/>
              <a:gdLst>
                <a:gd name="T0" fmla="*/ 379413 w 199"/>
                <a:gd name="T1" fmla="*/ 327402 h 211"/>
                <a:gd name="T2" fmla="*/ 377506 w 199"/>
                <a:gd name="T3" fmla="*/ 388314 h 211"/>
                <a:gd name="T4" fmla="*/ 356534 w 199"/>
                <a:gd name="T5" fmla="*/ 388314 h 211"/>
                <a:gd name="T6" fmla="*/ 354627 w 199"/>
                <a:gd name="T7" fmla="*/ 401638 h 211"/>
                <a:gd name="T8" fmla="*/ 156341 w 199"/>
                <a:gd name="T9" fmla="*/ 287428 h 211"/>
                <a:gd name="T10" fmla="*/ 141088 w 199"/>
                <a:gd name="T11" fmla="*/ 300753 h 211"/>
                <a:gd name="T12" fmla="*/ 114396 w 199"/>
                <a:gd name="T13" fmla="*/ 312174 h 211"/>
                <a:gd name="T14" fmla="*/ 102956 w 199"/>
                <a:gd name="T15" fmla="*/ 295042 h 211"/>
                <a:gd name="T16" fmla="*/ 80077 w 199"/>
                <a:gd name="T17" fmla="*/ 293139 h 211"/>
                <a:gd name="T18" fmla="*/ 66731 w 199"/>
                <a:gd name="T19" fmla="*/ 283621 h 211"/>
                <a:gd name="T20" fmla="*/ 53385 w 199"/>
                <a:gd name="T21" fmla="*/ 274104 h 211"/>
                <a:gd name="T22" fmla="*/ 59105 w 199"/>
                <a:gd name="T23" fmla="*/ 268393 h 211"/>
                <a:gd name="T24" fmla="*/ 40039 w 199"/>
                <a:gd name="T25" fmla="*/ 258876 h 211"/>
                <a:gd name="T26" fmla="*/ 24786 w 199"/>
                <a:gd name="T27" fmla="*/ 260779 h 211"/>
                <a:gd name="T28" fmla="*/ 22879 w 199"/>
                <a:gd name="T29" fmla="*/ 239841 h 211"/>
                <a:gd name="T30" fmla="*/ 5720 w 199"/>
                <a:gd name="T31" fmla="*/ 205578 h 211"/>
                <a:gd name="T32" fmla="*/ 19066 w 199"/>
                <a:gd name="T33" fmla="*/ 196060 h 211"/>
                <a:gd name="T34" fmla="*/ 13346 w 199"/>
                <a:gd name="T35" fmla="*/ 167508 h 211"/>
                <a:gd name="T36" fmla="*/ 15253 w 199"/>
                <a:gd name="T37" fmla="*/ 131341 h 211"/>
                <a:gd name="T38" fmla="*/ 0 w 199"/>
                <a:gd name="T39" fmla="*/ 91368 h 211"/>
                <a:gd name="T40" fmla="*/ 5720 w 199"/>
                <a:gd name="T41" fmla="*/ 87561 h 211"/>
                <a:gd name="T42" fmla="*/ 19066 w 199"/>
                <a:gd name="T43" fmla="*/ 79947 h 211"/>
                <a:gd name="T44" fmla="*/ 22879 w 199"/>
                <a:gd name="T45" fmla="*/ 68526 h 211"/>
                <a:gd name="T46" fmla="*/ 19066 w 199"/>
                <a:gd name="T47" fmla="*/ 47587 h 211"/>
                <a:gd name="T48" fmla="*/ 28599 w 199"/>
                <a:gd name="T49" fmla="*/ 41877 h 211"/>
                <a:gd name="T50" fmla="*/ 40039 w 199"/>
                <a:gd name="T51" fmla="*/ 30456 h 211"/>
                <a:gd name="T52" fmla="*/ 55291 w 199"/>
                <a:gd name="T53" fmla="*/ 20938 h 211"/>
                <a:gd name="T54" fmla="*/ 51478 w 199"/>
                <a:gd name="T55" fmla="*/ 15228 h 211"/>
                <a:gd name="T56" fmla="*/ 53385 w 199"/>
                <a:gd name="T57" fmla="*/ 0 h 211"/>
                <a:gd name="T58" fmla="*/ 64824 w 199"/>
                <a:gd name="T59" fmla="*/ 5710 h 211"/>
                <a:gd name="T60" fmla="*/ 91517 w 199"/>
                <a:gd name="T61" fmla="*/ 9517 h 211"/>
                <a:gd name="T62" fmla="*/ 116302 w 199"/>
                <a:gd name="T63" fmla="*/ 15228 h 211"/>
                <a:gd name="T64" fmla="*/ 137275 w 199"/>
                <a:gd name="T65" fmla="*/ 22842 h 211"/>
                <a:gd name="T66" fmla="*/ 146808 w 199"/>
                <a:gd name="T67" fmla="*/ 43780 h 211"/>
                <a:gd name="T68" fmla="*/ 160154 w 199"/>
                <a:gd name="T69" fmla="*/ 57105 h 211"/>
                <a:gd name="T70" fmla="*/ 179220 w 199"/>
                <a:gd name="T71" fmla="*/ 60912 h 211"/>
                <a:gd name="T72" fmla="*/ 207819 w 199"/>
                <a:gd name="T73" fmla="*/ 68526 h 211"/>
                <a:gd name="T74" fmla="*/ 224979 w 199"/>
                <a:gd name="T75" fmla="*/ 83754 h 211"/>
                <a:gd name="T76" fmla="*/ 242138 w 199"/>
                <a:gd name="T77" fmla="*/ 85657 h 211"/>
                <a:gd name="T78" fmla="*/ 251671 w 199"/>
                <a:gd name="T79" fmla="*/ 74236 h 211"/>
                <a:gd name="T80" fmla="*/ 257391 w 199"/>
                <a:gd name="T81" fmla="*/ 60912 h 211"/>
                <a:gd name="T82" fmla="*/ 253578 w 199"/>
                <a:gd name="T83" fmla="*/ 49491 h 211"/>
                <a:gd name="T84" fmla="*/ 253578 w 199"/>
                <a:gd name="T85" fmla="*/ 32359 h 211"/>
                <a:gd name="T86" fmla="*/ 263111 w 199"/>
                <a:gd name="T87" fmla="*/ 19035 h 211"/>
                <a:gd name="T88" fmla="*/ 284083 w 199"/>
                <a:gd name="T89" fmla="*/ 11421 h 211"/>
                <a:gd name="T90" fmla="*/ 299336 w 199"/>
                <a:gd name="T91" fmla="*/ 7614 h 211"/>
                <a:gd name="T92" fmla="*/ 314589 w 199"/>
                <a:gd name="T93" fmla="*/ 13324 h 211"/>
                <a:gd name="T94" fmla="*/ 324122 w 199"/>
                <a:gd name="T95" fmla="*/ 17131 h 211"/>
                <a:gd name="T96" fmla="*/ 331748 w 199"/>
                <a:gd name="T97" fmla="*/ 28552 h 211"/>
                <a:gd name="T98" fmla="*/ 352721 w 199"/>
                <a:gd name="T99" fmla="*/ 36166 h 211"/>
                <a:gd name="T100" fmla="*/ 366067 w 199"/>
                <a:gd name="T101" fmla="*/ 36166 h 211"/>
                <a:gd name="T102" fmla="*/ 373693 w 199"/>
                <a:gd name="T103" fmla="*/ 36166 h 211"/>
                <a:gd name="T104" fmla="*/ 377506 w 199"/>
                <a:gd name="T105" fmla="*/ 41877 h 211"/>
                <a:gd name="T106" fmla="*/ 371787 w 199"/>
                <a:gd name="T107" fmla="*/ 51394 h 211"/>
                <a:gd name="T108" fmla="*/ 371787 w 199"/>
                <a:gd name="T109" fmla="*/ 72333 h 211"/>
                <a:gd name="T110" fmla="*/ 366067 w 199"/>
                <a:gd name="T111" fmla="*/ 87561 h 211"/>
                <a:gd name="T112" fmla="*/ 373693 w 199"/>
                <a:gd name="T113" fmla="*/ 118017 h 211"/>
                <a:gd name="T114" fmla="*/ 379413 w 199"/>
                <a:gd name="T115" fmla="*/ 327402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 name="Freeform 77"/>
            <p:cNvSpPr>
              <a:spLocks noChangeAspect="1"/>
            </p:cNvSpPr>
            <p:nvPr/>
          </p:nvSpPr>
          <p:spPr bwMode="auto">
            <a:xfrm>
              <a:off x="4101096" y="1881466"/>
              <a:ext cx="76882" cy="132837"/>
            </a:xfrm>
            <a:custGeom>
              <a:avLst/>
              <a:gdLst>
                <a:gd name="T0" fmla="*/ 47625 w 40"/>
                <a:gd name="T1" fmla="*/ 154005 h 86"/>
                <a:gd name="T2" fmla="*/ 36195 w 40"/>
                <a:gd name="T3" fmla="*/ 161611 h 86"/>
                <a:gd name="T4" fmla="*/ 32385 w 40"/>
                <a:gd name="T5" fmla="*/ 157808 h 86"/>
                <a:gd name="T6" fmla="*/ 19050 w 40"/>
                <a:gd name="T7" fmla="*/ 157808 h 86"/>
                <a:gd name="T8" fmla="*/ 11430 w 40"/>
                <a:gd name="T9" fmla="*/ 161611 h 86"/>
                <a:gd name="T10" fmla="*/ 15240 w 40"/>
                <a:gd name="T11" fmla="*/ 148302 h 86"/>
                <a:gd name="T12" fmla="*/ 13335 w 40"/>
                <a:gd name="T13" fmla="*/ 133091 h 86"/>
                <a:gd name="T14" fmla="*/ 19050 w 40"/>
                <a:gd name="T15" fmla="*/ 114078 h 86"/>
                <a:gd name="T16" fmla="*/ 13335 w 40"/>
                <a:gd name="T17" fmla="*/ 114078 h 86"/>
                <a:gd name="T18" fmla="*/ 5715 w 40"/>
                <a:gd name="T19" fmla="*/ 115979 h 86"/>
                <a:gd name="T20" fmla="*/ 11430 w 40"/>
                <a:gd name="T21" fmla="*/ 106473 h 86"/>
                <a:gd name="T22" fmla="*/ 11430 w 40"/>
                <a:gd name="T23" fmla="*/ 100769 h 86"/>
                <a:gd name="T24" fmla="*/ 5715 w 40"/>
                <a:gd name="T25" fmla="*/ 106473 h 86"/>
                <a:gd name="T26" fmla="*/ 0 w 40"/>
                <a:gd name="T27" fmla="*/ 104572 h 86"/>
                <a:gd name="T28" fmla="*/ 3810 w 40"/>
                <a:gd name="T29" fmla="*/ 93164 h 86"/>
                <a:gd name="T30" fmla="*/ 9525 w 40"/>
                <a:gd name="T31" fmla="*/ 79855 h 86"/>
                <a:gd name="T32" fmla="*/ 13335 w 40"/>
                <a:gd name="T33" fmla="*/ 64644 h 86"/>
                <a:gd name="T34" fmla="*/ 15240 w 40"/>
                <a:gd name="T35" fmla="*/ 55138 h 86"/>
                <a:gd name="T36" fmla="*/ 19050 w 40"/>
                <a:gd name="T37" fmla="*/ 45631 h 86"/>
                <a:gd name="T38" fmla="*/ 19050 w 40"/>
                <a:gd name="T39" fmla="*/ 30421 h 86"/>
                <a:gd name="T40" fmla="*/ 15240 w 40"/>
                <a:gd name="T41" fmla="*/ 19013 h 86"/>
                <a:gd name="T42" fmla="*/ 13335 w 40"/>
                <a:gd name="T43" fmla="*/ 7605 h 86"/>
                <a:gd name="T44" fmla="*/ 28575 w 40"/>
                <a:gd name="T45" fmla="*/ 0 h 86"/>
                <a:gd name="T46" fmla="*/ 34290 w 40"/>
                <a:gd name="T47" fmla="*/ 3803 h 86"/>
                <a:gd name="T48" fmla="*/ 30480 w 40"/>
                <a:gd name="T49" fmla="*/ 11408 h 86"/>
                <a:gd name="T50" fmla="*/ 41910 w 40"/>
                <a:gd name="T51" fmla="*/ 9507 h 86"/>
                <a:gd name="T52" fmla="*/ 49530 w 40"/>
                <a:gd name="T53" fmla="*/ 11408 h 86"/>
                <a:gd name="T54" fmla="*/ 55245 w 40"/>
                <a:gd name="T55" fmla="*/ 5704 h 86"/>
                <a:gd name="T56" fmla="*/ 68580 w 40"/>
                <a:gd name="T57" fmla="*/ 5704 h 86"/>
                <a:gd name="T58" fmla="*/ 66675 w 40"/>
                <a:gd name="T59" fmla="*/ 15210 h 86"/>
                <a:gd name="T60" fmla="*/ 76200 w 40"/>
                <a:gd name="T61" fmla="*/ 17112 h 86"/>
                <a:gd name="T62" fmla="*/ 68580 w 40"/>
                <a:gd name="T63" fmla="*/ 28520 h 86"/>
                <a:gd name="T64" fmla="*/ 59055 w 40"/>
                <a:gd name="T65" fmla="*/ 36125 h 86"/>
                <a:gd name="T66" fmla="*/ 60960 w 40"/>
                <a:gd name="T67" fmla="*/ 57039 h 86"/>
                <a:gd name="T68" fmla="*/ 57150 w 40"/>
                <a:gd name="T69" fmla="*/ 62743 h 86"/>
                <a:gd name="T70" fmla="*/ 59055 w 40"/>
                <a:gd name="T71" fmla="*/ 68447 h 86"/>
                <a:gd name="T72" fmla="*/ 57150 w 40"/>
                <a:gd name="T73" fmla="*/ 77953 h 86"/>
                <a:gd name="T74" fmla="*/ 47625 w 40"/>
                <a:gd name="T75" fmla="*/ 81756 h 86"/>
                <a:gd name="T76" fmla="*/ 51435 w 40"/>
                <a:gd name="T77" fmla="*/ 93164 h 86"/>
                <a:gd name="T78" fmla="*/ 57150 w 40"/>
                <a:gd name="T79" fmla="*/ 96966 h 86"/>
                <a:gd name="T80" fmla="*/ 57150 w 40"/>
                <a:gd name="T81" fmla="*/ 102670 h 86"/>
                <a:gd name="T82" fmla="*/ 49530 w 40"/>
                <a:gd name="T83" fmla="*/ 110276 h 86"/>
                <a:gd name="T84" fmla="*/ 49530 w 40"/>
                <a:gd name="T85" fmla="*/ 117881 h 86"/>
                <a:gd name="T86" fmla="*/ 57150 w 40"/>
                <a:gd name="T87" fmla="*/ 127387 h 86"/>
                <a:gd name="T88" fmla="*/ 49530 w 40"/>
                <a:gd name="T89" fmla="*/ 134992 h 86"/>
                <a:gd name="T90" fmla="*/ 43815 w 40"/>
                <a:gd name="T91" fmla="*/ 142598 h 86"/>
                <a:gd name="T92" fmla="*/ 47625 w 40"/>
                <a:gd name="T93" fmla="*/ 154005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 name="Freeform 78"/>
            <p:cNvSpPr>
              <a:spLocks noChangeAspect="1"/>
            </p:cNvSpPr>
            <p:nvPr/>
          </p:nvSpPr>
          <p:spPr bwMode="auto">
            <a:xfrm>
              <a:off x="4210013" y="1641587"/>
              <a:ext cx="301122" cy="232142"/>
            </a:xfrm>
            <a:custGeom>
              <a:avLst/>
              <a:gdLst>
                <a:gd name="T0" fmla="*/ 286971 w 156"/>
                <a:gd name="T1" fmla="*/ 238125 h 150"/>
                <a:gd name="T2" fmla="*/ 271666 w 156"/>
                <a:gd name="T3" fmla="*/ 224790 h 150"/>
                <a:gd name="T4" fmla="*/ 265927 w 156"/>
                <a:gd name="T5" fmla="*/ 203835 h 150"/>
                <a:gd name="T6" fmla="*/ 273579 w 156"/>
                <a:gd name="T7" fmla="*/ 186690 h 150"/>
                <a:gd name="T8" fmla="*/ 273579 w 156"/>
                <a:gd name="T9" fmla="*/ 173355 h 150"/>
                <a:gd name="T10" fmla="*/ 264013 w 156"/>
                <a:gd name="T11" fmla="*/ 158115 h 150"/>
                <a:gd name="T12" fmla="*/ 252535 w 156"/>
                <a:gd name="T13" fmla="*/ 156210 h 150"/>
                <a:gd name="T14" fmla="*/ 264013 w 156"/>
                <a:gd name="T15" fmla="*/ 135255 h 150"/>
                <a:gd name="T16" fmla="*/ 271666 w 156"/>
                <a:gd name="T17" fmla="*/ 121920 h 150"/>
                <a:gd name="T18" fmla="*/ 285058 w 156"/>
                <a:gd name="T19" fmla="*/ 108585 h 150"/>
                <a:gd name="T20" fmla="*/ 292711 w 156"/>
                <a:gd name="T21" fmla="*/ 76200 h 150"/>
                <a:gd name="T22" fmla="*/ 279319 w 156"/>
                <a:gd name="T23" fmla="*/ 62865 h 150"/>
                <a:gd name="T24" fmla="*/ 260187 w 156"/>
                <a:gd name="T25" fmla="*/ 55245 h 150"/>
                <a:gd name="T26" fmla="*/ 244882 w 156"/>
                <a:gd name="T27" fmla="*/ 51435 h 150"/>
                <a:gd name="T28" fmla="*/ 223837 w 156"/>
                <a:gd name="T29" fmla="*/ 41910 h 150"/>
                <a:gd name="T30" fmla="*/ 208532 w 156"/>
                <a:gd name="T31" fmla="*/ 36195 h 150"/>
                <a:gd name="T32" fmla="*/ 195140 w 156"/>
                <a:gd name="T33" fmla="*/ 24765 h 150"/>
                <a:gd name="T34" fmla="*/ 181748 w 156"/>
                <a:gd name="T35" fmla="*/ 13335 h 150"/>
                <a:gd name="T36" fmla="*/ 168356 w 156"/>
                <a:gd name="T37" fmla="*/ 1905 h 150"/>
                <a:gd name="T38" fmla="*/ 149225 w 156"/>
                <a:gd name="T39" fmla="*/ 34290 h 150"/>
                <a:gd name="T40" fmla="*/ 112875 w 156"/>
                <a:gd name="T41" fmla="*/ 47625 h 150"/>
                <a:gd name="T42" fmla="*/ 112875 w 156"/>
                <a:gd name="T43" fmla="*/ 59055 h 150"/>
                <a:gd name="T44" fmla="*/ 84178 w 156"/>
                <a:gd name="T45" fmla="*/ 59055 h 150"/>
                <a:gd name="T46" fmla="*/ 74613 w 156"/>
                <a:gd name="T47" fmla="*/ 47625 h 150"/>
                <a:gd name="T48" fmla="*/ 72699 w 156"/>
                <a:gd name="T49" fmla="*/ 66675 h 150"/>
                <a:gd name="T50" fmla="*/ 68873 w 156"/>
                <a:gd name="T51" fmla="*/ 83820 h 150"/>
                <a:gd name="T52" fmla="*/ 44002 w 156"/>
                <a:gd name="T53" fmla="*/ 80010 h 150"/>
                <a:gd name="T54" fmla="*/ 26784 w 156"/>
                <a:gd name="T55" fmla="*/ 81915 h 150"/>
                <a:gd name="T56" fmla="*/ 3826 w 156"/>
                <a:gd name="T57" fmla="*/ 85725 h 150"/>
                <a:gd name="T58" fmla="*/ 13392 w 156"/>
                <a:gd name="T59" fmla="*/ 100965 h 150"/>
                <a:gd name="T60" fmla="*/ 11479 w 156"/>
                <a:gd name="T61" fmla="*/ 112395 h 150"/>
                <a:gd name="T62" fmla="*/ 40176 w 156"/>
                <a:gd name="T63" fmla="*/ 120015 h 150"/>
                <a:gd name="T64" fmla="*/ 53568 w 156"/>
                <a:gd name="T65" fmla="*/ 121920 h 150"/>
                <a:gd name="T66" fmla="*/ 65047 w 156"/>
                <a:gd name="T67" fmla="*/ 127635 h 150"/>
                <a:gd name="T68" fmla="*/ 61221 w 156"/>
                <a:gd name="T69" fmla="*/ 142875 h 150"/>
                <a:gd name="T70" fmla="*/ 78439 w 156"/>
                <a:gd name="T71" fmla="*/ 160020 h 150"/>
                <a:gd name="T72" fmla="*/ 86091 w 156"/>
                <a:gd name="T73" fmla="*/ 169545 h 150"/>
                <a:gd name="T74" fmla="*/ 91831 w 156"/>
                <a:gd name="T75" fmla="*/ 184785 h 150"/>
                <a:gd name="T76" fmla="*/ 84178 w 156"/>
                <a:gd name="T77" fmla="*/ 186690 h 150"/>
                <a:gd name="T78" fmla="*/ 88004 w 156"/>
                <a:gd name="T79" fmla="*/ 211455 h 150"/>
                <a:gd name="T80" fmla="*/ 80352 w 156"/>
                <a:gd name="T81" fmla="*/ 243840 h 150"/>
                <a:gd name="T82" fmla="*/ 78439 w 156"/>
                <a:gd name="T83" fmla="*/ 259080 h 150"/>
                <a:gd name="T84" fmla="*/ 105223 w 156"/>
                <a:gd name="T85" fmla="*/ 274320 h 150"/>
                <a:gd name="T86" fmla="*/ 128180 w 156"/>
                <a:gd name="T87" fmla="*/ 270510 h 150"/>
                <a:gd name="T88" fmla="*/ 162617 w 156"/>
                <a:gd name="T89" fmla="*/ 283845 h 150"/>
                <a:gd name="T90" fmla="*/ 179835 w 156"/>
                <a:gd name="T91" fmla="*/ 270510 h 150"/>
                <a:gd name="T92" fmla="*/ 208532 w 156"/>
                <a:gd name="T93" fmla="*/ 253365 h 150"/>
                <a:gd name="T94" fmla="*/ 227664 w 156"/>
                <a:gd name="T95" fmla="*/ 249555 h 150"/>
                <a:gd name="T96" fmla="*/ 252535 w 156"/>
                <a:gd name="T97" fmla="*/ 264795 h 150"/>
                <a:gd name="T98" fmla="*/ 271666 w 156"/>
                <a:gd name="T99" fmla="*/ 253365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 name="Freeform 79"/>
            <p:cNvSpPr>
              <a:spLocks noChangeAspect="1"/>
            </p:cNvSpPr>
            <p:nvPr/>
          </p:nvSpPr>
          <p:spPr bwMode="auto">
            <a:xfrm>
              <a:off x="4453474" y="1666090"/>
              <a:ext cx="17619" cy="18056"/>
            </a:xfrm>
            <a:custGeom>
              <a:avLst/>
              <a:gdLst>
                <a:gd name="T0" fmla="*/ 15523 w 9"/>
                <a:gd name="T1" fmla="*/ 22225 h 12"/>
                <a:gd name="T2" fmla="*/ 17463 w 9"/>
                <a:gd name="T3" fmla="*/ 14817 h 12"/>
                <a:gd name="T4" fmla="*/ 15523 w 9"/>
                <a:gd name="T5" fmla="*/ 11113 h 12"/>
                <a:gd name="T6" fmla="*/ 9702 w 9"/>
                <a:gd name="T7" fmla="*/ 5556 h 12"/>
                <a:gd name="T8" fmla="*/ 7761 w 9"/>
                <a:gd name="T9" fmla="*/ 0 h 12"/>
                <a:gd name="T10" fmla="*/ 3881 w 9"/>
                <a:gd name="T11" fmla="*/ 1852 h 12"/>
                <a:gd name="T12" fmla="*/ 0 w 9"/>
                <a:gd name="T13" fmla="*/ 7408 h 12"/>
                <a:gd name="T14" fmla="*/ 1940 w 9"/>
                <a:gd name="T15" fmla="*/ 12965 h 12"/>
                <a:gd name="T16" fmla="*/ 3881 w 9"/>
                <a:gd name="T17" fmla="*/ 20373 h 12"/>
                <a:gd name="T18" fmla="*/ 9702 w 9"/>
                <a:gd name="T19" fmla="*/ 22225 h 12"/>
                <a:gd name="T20" fmla="*/ 15523 w 9"/>
                <a:gd name="T21" fmla="*/ 2222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 name="Freeform 80"/>
            <p:cNvSpPr>
              <a:spLocks noChangeAspect="1"/>
            </p:cNvSpPr>
            <p:nvPr/>
          </p:nvSpPr>
          <p:spPr bwMode="auto">
            <a:xfrm>
              <a:off x="4477500" y="1751209"/>
              <a:ext cx="278698" cy="238591"/>
            </a:xfrm>
            <a:custGeom>
              <a:avLst/>
              <a:gdLst>
                <a:gd name="T0" fmla="*/ 148590 w 145"/>
                <a:gd name="T1" fmla="*/ 45770 h 154"/>
                <a:gd name="T2" fmla="*/ 127635 w 145"/>
                <a:gd name="T3" fmla="*/ 61026 h 154"/>
                <a:gd name="T4" fmla="*/ 129540 w 145"/>
                <a:gd name="T5" fmla="*/ 91539 h 154"/>
                <a:gd name="T6" fmla="*/ 154305 w 145"/>
                <a:gd name="T7" fmla="*/ 112517 h 154"/>
                <a:gd name="T8" fmla="*/ 188595 w 145"/>
                <a:gd name="T9" fmla="*/ 162101 h 154"/>
                <a:gd name="T10" fmla="*/ 219075 w 145"/>
                <a:gd name="T11" fmla="*/ 165915 h 154"/>
                <a:gd name="T12" fmla="*/ 222885 w 145"/>
                <a:gd name="T13" fmla="*/ 186892 h 154"/>
                <a:gd name="T14" fmla="*/ 268605 w 145"/>
                <a:gd name="T15" fmla="*/ 211684 h 154"/>
                <a:gd name="T16" fmla="*/ 264795 w 145"/>
                <a:gd name="T17" fmla="*/ 226941 h 154"/>
                <a:gd name="T18" fmla="*/ 247650 w 145"/>
                <a:gd name="T19" fmla="*/ 215498 h 154"/>
                <a:gd name="T20" fmla="*/ 230505 w 145"/>
                <a:gd name="T21" fmla="*/ 232662 h 154"/>
                <a:gd name="T22" fmla="*/ 243840 w 145"/>
                <a:gd name="T23" fmla="*/ 251733 h 154"/>
                <a:gd name="T24" fmla="*/ 230505 w 145"/>
                <a:gd name="T25" fmla="*/ 265082 h 154"/>
                <a:gd name="T26" fmla="*/ 220980 w 145"/>
                <a:gd name="T27" fmla="*/ 291781 h 154"/>
                <a:gd name="T28" fmla="*/ 215265 w 145"/>
                <a:gd name="T29" fmla="*/ 274617 h 154"/>
                <a:gd name="T30" fmla="*/ 220980 w 145"/>
                <a:gd name="T31" fmla="*/ 259361 h 154"/>
                <a:gd name="T32" fmla="*/ 209550 w 145"/>
                <a:gd name="T33" fmla="*/ 226941 h 154"/>
                <a:gd name="T34" fmla="*/ 192405 w 145"/>
                <a:gd name="T35" fmla="*/ 219312 h 154"/>
                <a:gd name="T36" fmla="*/ 182880 w 145"/>
                <a:gd name="T37" fmla="*/ 209777 h 154"/>
                <a:gd name="T38" fmla="*/ 161925 w 145"/>
                <a:gd name="T39" fmla="*/ 188799 h 154"/>
                <a:gd name="T40" fmla="*/ 133350 w 145"/>
                <a:gd name="T41" fmla="*/ 175450 h 154"/>
                <a:gd name="T42" fmla="*/ 104775 w 145"/>
                <a:gd name="T43" fmla="*/ 150658 h 154"/>
                <a:gd name="T44" fmla="*/ 89535 w 145"/>
                <a:gd name="T45" fmla="*/ 129680 h 154"/>
                <a:gd name="T46" fmla="*/ 74295 w 145"/>
                <a:gd name="T47" fmla="*/ 99167 h 154"/>
                <a:gd name="T48" fmla="*/ 45720 w 145"/>
                <a:gd name="T49" fmla="*/ 87725 h 154"/>
                <a:gd name="T50" fmla="*/ 24765 w 145"/>
                <a:gd name="T51" fmla="*/ 104889 h 154"/>
                <a:gd name="T52" fmla="*/ 13335 w 145"/>
                <a:gd name="T53" fmla="*/ 104889 h 154"/>
                <a:gd name="T54" fmla="*/ 15240 w 145"/>
                <a:gd name="T55" fmla="*/ 97260 h 154"/>
                <a:gd name="T56" fmla="*/ 5715 w 145"/>
                <a:gd name="T57" fmla="*/ 72468 h 154"/>
                <a:gd name="T58" fmla="*/ 9525 w 145"/>
                <a:gd name="T59" fmla="*/ 59119 h 154"/>
                <a:gd name="T60" fmla="*/ 1905 w 145"/>
                <a:gd name="T61" fmla="*/ 40048 h 154"/>
                <a:gd name="T62" fmla="*/ 19050 w 145"/>
                <a:gd name="T63" fmla="*/ 36234 h 154"/>
                <a:gd name="T64" fmla="*/ 32385 w 145"/>
                <a:gd name="T65" fmla="*/ 24792 h 154"/>
                <a:gd name="T66" fmla="*/ 45720 w 145"/>
                <a:gd name="T67" fmla="*/ 32420 h 154"/>
                <a:gd name="T68" fmla="*/ 57150 w 145"/>
                <a:gd name="T69" fmla="*/ 24792 h 154"/>
                <a:gd name="T70" fmla="*/ 72390 w 145"/>
                <a:gd name="T71" fmla="*/ 24792 h 154"/>
                <a:gd name="T72" fmla="*/ 78105 w 145"/>
                <a:gd name="T73" fmla="*/ 15257 h 154"/>
                <a:gd name="T74" fmla="*/ 85725 w 145"/>
                <a:gd name="T75" fmla="*/ 7628 h 154"/>
                <a:gd name="T76" fmla="*/ 99060 w 145"/>
                <a:gd name="T77" fmla="*/ 5721 h 154"/>
                <a:gd name="T78" fmla="*/ 125730 w 145"/>
                <a:gd name="T79" fmla="*/ 0 h 154"/>
                <a:gd name="T80" fmla="*/ 142875 w 145"/>
                <a:gd name="T81" fmla="*/ 15257 h 154"/>
                <a:gd name="T82" fmla="*/ 154305 w 145"/>
                <a:gd name="T83" fmla="*/ 22885 h 154"/>
                <a:gd name="T84" fmla="*/ 160020 w 145"/>
                <a:gd name="T85" fmla="*/ 45770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 name="Freeform 81"/>
            <p:cNvSpPr>
              <a:spLocks noChangeAspect="1"/>
            </p:cNvSpPr>
            <p:nvPr/>
          </p:nvSpPr>
          <p:spPr bwMode="auto">
            <a:xfrm>
              <a:off x="4461482" y="1730574"/>
              <a:ext cx="102509" cy="52877"/>
            </a:xfrm>
            <a:custGeom>
              <a:avLst/>
              <a:gdLst>
                <a:gd name="T0" fmla="*/ 101600 w 54"/>
                <a:gd name="T1" fmla="*/ 32544 h 34"/>
                <a:gd name="T2" fmla="*/ 99719 w 54"/>
                <a:gd name="T3" fmla="*/ 26801 h 34"/>
                <a:gd name="T4" fmla="*/ 92193 w 54"/>
                <a:gd name="T5" fmla="*/ 32544 h 34"/>
                <a:gd name="T6" fmla="*/ 86548 w 54"/>
                <a:gd name="T7" fmla="*/ 26801 h 34"/>
                <a:gd name="T8" fmla="*/ 80904 w 54"/>
                <a:gd name="T9" fmla="*/ 24887 h 34"/>
                <a:gd name="T10" fmla="*/ 80904 w 54"/>
                <a:gd name="T11" fmla="*/ 19144 h 34"/>
                <a:gd name="T12" fmla="*/ 80904 w 54"/>
                <a:gd name="T13" fmla="*/ 15315 h 34"/>
                <a:gd name="T14" fmla="*/ 79022 w 54"/>
                <a:gd name="T15" fmla="*/ 9572 h 34"/>
                <a:gd name="T16" fmla="*/ 73378 w 54"/>
                <a:gd name="T17" fmla="*/ 3829 h 34"/>
                <a:gd name="T18" fmla="*/ 63970 w 54"/>
                <a:gd name="T19" fmla="*/ 3829 h 34"/>
                <a:gd name="T20" fmla="*/ 56444 w 54"/>
                <a:gd name="T21" fmla="*/ 0 h 34"/>
                <a:gd name="T22" fmla="*/ 56444 w 54"/>
                <a:gd name="T23" fmla="*/ 5743 h 34"/>
                <a:gd name="T24" fmla="*/ 50800 w 54"/>
                <a:gd name="T25" fmla="*/ 7657 h 34"/>
                <a:gd name="T26" fmla="*/ 45156 w 54"/>
                <a:gd name="T27" fmla="*/ 11486 h 34"/>
                <a:gd name="T28" fmla="*/ 35748 w 54"/>
                <a:gd name="T29" fmla="*/ 9572 h 34"/>
                <a:gd name="T30" fmla="*/ 30104 w 54"/>
                <a:gd name="T31" fmla="*/ 13400 h 34"/>
                <a:gd name="T32" fmla="*/ 22578 w 54"/>
                <a:gd name="T33" fmla="*/ 11486 h 34"/>
                <a:gd name="T34" fmla="*/ 18815 w 54"/>
                <a:gd name="T35" fmla="*/ 13400 h 34"/>
                <a:gd name="T36" fmla="*/ 22578 w 54"/>
                <a:gd name="T37" fmla="*/ 17229 h 34"/>
                <a:gd name="T38" fmla="*/ 15052 w 54"/>
                <a:gd name="T39" fmla="*/ 24887 h 34"/>
                <a:gd name="T40" fmla="*/ 9407 w 54"/>
                <a:gd name="T41" fmla="*/ 30630 h 34"/>
                <a:gd name="T42" fmla="*/ 5644 w 54"/>
                <a:gd name="T43" fmla="*/ 38287 h 34"/>
                <a:gd name="T44" fmla="*/ 3763 w 54"/>
                <a:gd name="T45" fmla="*/ 45944 h 34"/>
                <a:gd name="T46" fmla="*/ 1881 w 54"/>
                <a:gd name="T47" fmla="*/ 55516 h 34"/>
                <a:gd name="T48" fmla="*/ 9407 w 54"/>
                <a:gd name="T49" fmla="*/ 47859 h 34"/>
                <a:gd name="T50" fmla="*/ 15052 w 54"/>
                <a:gd name="T51" fmla="*/ 47859 h 34"/>
                <a:gd name="T52" fmla="*/ 18815 w 54"/>
                <a:gd name="T53" fmla="*/ 49773 h 34"/>
                <a:gd name="T54" fmla="*/ 18815 w 54"/>
                <a:gd name="T55" fmla="*/ 57431 h 34"/>
                <a:gd name="T56" fmla="*/ 24459 w 54"/>
                <a:gd name="T57" fmla="*/ 63174 h 34"/>
                <a:gd name="T58" fmla="*/ 30104 w 54"/>
                <a:gd name="T59" fmla="*/ 63174 h 34"/>
                <a:gd name="T60" fmla="*/ 35748 w 54"/>
                <a:gd name="T61" fmla="*/ 61259 h 34"/>
                <a:gd name="T62" fmla="*/ 41393 w 54"/>
                <a:gd name="T63" fmla="*/ 63174 h 34"/>
                <a:gd name="T64" fmla="*/ 48919 w 54"/>
                <a:gd name="T65" fmla="*/ 55516 h 34"/>
                <a:gd name="T66" fmla="*/ 48919 w 54"/>
                <a:gd name="T67" fmla="*/ 49773 h 34"/>
                <a:gd name="T68" fmla="*/ 54563 w 54"/>
                <a:gd name="T69" fmla="*/ 44030 h 34"/>
                <a:gd name="T70" fmla="*/ 56444 w 54"/>
                <a:gd name="T71" fmla="*/ 53602 h 34"/>
                <a:gd name="T72" fmla="*/ 62089 w 54"/>
                <a:gd name="T73" fmla="*/ 57431 h 34"/>
                <a:gd name="T74" fmla="*/ 65852 w 54"/>
                <a:gd name="T75" fmla="*/ 61259 h 34"/>
                <a:gd name="T76" fmla="*/ 71496 w 54"/>
                <a:gd name="T77" fmla="*/ 59345 h 34"/>
                <a:gd name="T78" fmla="*/ 73378 w 54"/>
                <a:gd name="T79" fmla="*/ 49773 h 34"/>
                <a:gd name="T80" fmla="*/ 75259 w 54"/>
                <a:gd name="T81" fmla="*/ 45944 h 34"/>
                <a:gd name="T82" fmla="*/ 80904 w 54"/>
                <a:gd name="T83" fmla="*/ 49773 h 34"/>
                <a:gd name="T84" fmla="*/ 88430 w 54"/>
                <a:gd name="T85" fmla="*/ 49773 h 34"/>
                <a:gd name="T86" fmla="*/ 92193 w 54"/>
                <a:gd name="T87" fmla="*/ 51688 h 34"/>
                <a:gd name="T88" fmla="*/ 92193 w 54"/>
                <a:gd name="T89" fmla="*/ 42116 h 34"/>
                <a:gd name="T90" fmla="*/ 94074 w 54"/>
                <a:gd name="T91" fmla="*/ 40201 h 34"/>
                <a:gd name="T92" fmla="*/ 99719 w 54"/>
                <a:gd name="T93" fmla="*/ 44030 h 34"/>
                <a:gd name="T94" fmla="*/ 99719 w 54"/>
                <a:gd name="T95" fmla="*/ 36373 h 34"/>
                <a:gd name="T96" fmla="*/ 101600 w 54"/>
                <a:gd name="T97" fmla="*/ 32544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 name="Freeform 82"/>
            <p:cNvSpPr>
              <a:spLocks noChangeAspect="1"/>
            </p:cNvSpPr>
            <p:nvPr/>
          </p:nvSpPr>
          <p:spPr bwMode="auto">
            <a:xfrm>
              <a:off x="4541567" y="1695753"/>
              <a:ext cx="174586" cy="73511"/>
            </a:xfrm>
            <a:custGeom>
              <a:avLst/>
              <a:gdLst>
                <a:gd name="T0" fmla="*/ 154022 w 91"/>
                <a:gd name="T1" fmla="*/ 73521 h 48"/>
                <a:gd name="T2" fmla="*/ 155923 w 91"/>
                <a:gd name="T3" fmla="*/ 69750 h 48"/>
                <a:gd name="T4" fmla="*/ 159726 w 91"/>
                <a:gd name="T5" fmla="*/ 69750 h 48"/>
                <a:gd name="T6" fmla="*/ 155923 w 91"/>
                <a:gd name="T7" fmla="*/ 58440 h 48"/>
                <a:gd name="T8" fmla="*/ 163529 w 91"/>
                <a:gd name="T9" fmla="*/ 52784 h 48"/>
                <a:gd name="T10" fmla="*/ 167332 w 91"/>
                <a:gd name="T11" fmla="*/ 47129 h 48"/>
                <a:gd name="T12" fmla="*/ 171135 w 91"/>
                <a:gd name="T13" fmla="*/ 45244 h 48"/>
                <a:gd name="T14" fmla="*/ 173037 w 91"/>
                <a:gd name="T15" fmla="*/ 35818 h 48"/>
                <a:gd name="T16" fmla="*/ 167332 w 91"/>
                <a:gd name="T17" fmla="*/ 28277 h 48"/>
                <a:gd name="T18" fmla="*/ 167332 w 91"/>
                <a:gd name="T19" fmla="*/ 20737 h 48"/>
                <a:gd name="T20" fmla="*/ 167332 w 91"/>
                <a:gd name="T21" fmla="*/ 13196 h 48"/>
                <a:gd name="T22" fmla="*/ 157825 w 91"/>
                <a:gd name="T23" fmla="*/ 11311 h 48"/>
                <a:gd name="T24" fmla="*/ 150219 w 91"/>
                <a:gd name="T25" fmla="*/ 11311 h 48"/>
                <a:gd name="T26" fmla="*/ 136908 w 91"/>
                <a:gd name="T27" fmla="*/ 5655 h 48"/>
                <a:gd name="T28" fmla="*/ 125499 w 91"/>
                <a:gd name="T29" fmla="*/ 3770 h 48"/>
                <a:gd name="T30" fmla="*/ 121696 w 91"/>
                <a:gd name="T31" fmla="*/ 1885 h 48"/>
                <a:gd name="T32" fmla="*/ 121696 w 91"/>
                <a:gd name="T33" fmla="*/ 11311 h 48"/>
                <a:gd name="T34" fmla="*/ 108386 w 91"/>
                <a:gd name="T35" fmla="*/ 16966 h 48"/>
                <a:gd name="T36" fmla="*/ 96977 w 91"/>
                <a:gd name="T37" fmla="*/ 11311 h 48"/>
                <a:gd name="T38" fmla="*/ 96977 w 91"/>
                <a:gd name="T39" fmla="*/ 16966 h 48"/>
                <a:gd name="T40" fmla="*/ 87469 w 91"/>
                <a:gd name="T41" fmla="*/ 16966 h 48"/>
                <a:gd name="T42" fmla="*/ 87469 w 91"/>
                <a:gd name="T43" fmla="*/ 24507 h 48"/>
                <a:gd name="T44" fmla="*/ 74159 w 91"/>
                <a:gd name="T45" fmla="*/ 30162 h 48"/>
                <a:gd name="T46" fmla="*/ 77962 w 91"/>
                <a:gd name="T47" fmla="*/ 41473 h 48"/>
                <a:gd name="T48" fmla="*/ 62750 w 91"/>
                <a:gd name="T49" fmla="*/ 47129 h 48"/>
                <a:gd name="T50" fmla="*/ 47538 w 91"/>
                <a:gd name="T51" fmla="*/ 50899 h 48"/>
                <a:gd name="T52" fmla="*/ 39932 w 91"/>
                <a:gd name="T53" fmla="*/ 56554 h 48"/>
                <a:gd name="T54" fmla="*/ 30424 w 91"/>
                <a:gd name="T55" fmla="*/ 52784 h 48"/>
                <a:gd name="T56" fmla="*/ 20917 w 91"/>
                <a:gd name="T57" fmla="*/ 52784 h 48"/>
                <a:gd name="T58" fmla="*/ 17114 w 91"/>
                <a:gd name="T59" fmla="*/ 60325 h 48"/>
                <a:gd name="T60" fmla="*/ 5705 w 91"/>
                <a:gd name="T61" fmla="*/ 50899 h 48"/>
                <a:gd name="T62" fmla="*/ 1902 w 91"/>
                <a:gd name="T63" fmla="*/ 58440 h 48"/>
                <a:gd name="T64" fmla="*/ 1902 w 91"/>
                <a:gd name="T65" fmla="*/ 62210 h 48"/>
                <a:gd name="T66" fmla="*/ 1902 w 91"/>
                <a:gd name="T67" fmla="*/ 67865 h 48"/>
                <a:gd name="T68" fmla="*/ 7606 w 91"/>
                <a:gd name="T69" fmla="*/ 69750 h 48"/>
                <a:gd name="T70" fmla="*/ 13311 w 91"/>
                <a:gd name="T71" fmla="*/ 75406 h 48"/>
                <a:gd name="T72" fmla="*/ 20917 w 91"/>
                <a:gd name="T73" fmla="*/ 69750 h 48"/>
                <a:gd name="T74" fmla="*/ 22818 w 91"/>
                <a:gd name="T75" fmla="*/ 75406 h 48"/>
                <a:gd name="T76" fmla="*/ 28523 w 91"/>
                <a:gd name="T77" fmla="*/ 77291 h 48"/>
                <a:gd name="T78" fmla="*/ 36129 w 91"/>
                <a:gd name="T79" fmla="*/ 79176 h 48"/>
                <a:gd name="T80" fmla="*/ 36129 w 91"/>
                <a:gd name="T81" fmla="*/ 73521 h 48"/>
                <a:gd name="T82" fmla="*/ 45636 w 91"/>
                <a:gd name="T83" fmla="*/ 71636 h 48"/>
                <a:gd name="T84" fmla="*/ 55144 w 91"/>
                <a:gd name="T85" fmla="*/ 69750 h 48"/>
                <a:gd name="T86" fmla="*/ 62750 w 91"/>
                <a:gd name="T87" fmla="*/ 67865 h 48"/>
                <a:gd name="T88" fmla="*/ 62750 w 91"/>
                <a:gd name="T89" fmla="*/ 73521 h 48"/>
                <a:gd name="T90" fmla="*/ 68454 w 91"/>
                <a:gd name="T91" fmla="*/ 81061 h 48"/>
                <a:gd name="T92" fmla="*/ 79863 w 91"/>
                <a:gd name="T93" fmla="*/ 82946 h 48"/>
                <a:gd name="T94" fmla="*/ 95075 w 91"/>
                <a:gd name="T95" fmla="*/ 84832 h 48"/>
                <a:gd name="T96" fmla="*/ 96977 w 91"/>
                <a:gd name="T97" fmla="*/ 86717 h 48"/>
                <a:gd name="T98" fmla="*/ 114090 w 91"/>
                <a:gd name="T99" fmla="*/ 90487 h 48"/>
                <a:gd name="T100" fmla="*/ 123598 w 91"/>
                <a:gd name="T101" fmla="*/ 82946 h 48"/>
                <a:gd name="T102" fmla="*/ 136908 w 91"/>
                <a:gd name="T103" fmla="*/ 82946 h 48"/>
                <a:gd name="T104" fmla="*/ 146416 w 91"/>
                <a:gd name="T105" fmla="*/ 81061 h 48"/>
                <a:gd name="T106" fmla="*/ 154022 w 91"/>
                <a:gd name="T107" fmla="*/ 73521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 name="Freeform 83"/>
            <p:cNvSpPr>
              <a:spLocks noChangeAspect="1"/>
            </p:cNvSpPr>
            <p:nvPr/>
          </p:nvSpPr>
          <p:spPr bwMode="auto">
            <a:xfrm>
              <a:off x="4597627" y="1641587"/>
              <a:ext cx="156967" cy="68353"/>
            </a:xfrm>
            <a:custGeom>
              <a:avLst/>
              <a:gdLst>
                <a:gd name="T0" fmla="*/ 155575 w 82"/>
                <a:gd name="T1" fmla="*/ 53542 h 44"/>
                <a:gd name="T2" fmla="*/ 147986 w 82"/>
                <a:gd name="T3" fmla="*/ 47805 h 44"/>
                <a:gd name="T4" fmla="*/ 144191 w 82"/>
                <a:gd name="T5" fmla="*/ 40156 h 44"/>
                <a:gd name="T6" fmla="*/ 136602 w 82"/>
                <a:gd name="T7" fmla="*/ 36332 h 44"/>
                <a:gd name="T8" fmla="*/ 132808 w 82"/>
                <a:gd name="T9" fmla="*/ 36332 h 44"/>
                <a:gd name="T10" fmla="*/ 125219 w 82"/>
                <a:gd name="T11" fmla="*/ 32507 h 44"/>
                <a:gd name="T12" fmla="*/ 127116 w 82"/>
                <a:gd name="T13" fmla="*/ 28683 h 44"/>
                <a:gd name="T14" fmla="*/ 121424 w 82"/>
                <a:gd name="T15" fmla="*/ 28683 h 44"/>
                <a:gd name="T16" fmla="*/ 113835 w 82"/>
                <a:gd name="T17" fmla="*/ 24859 h 44"/>
                <a:gd name="T18" fmla="*/ 108144 w 82"/>
                <a:gd name="T19" fmla="*/ 22946 h 44"/>
                <a:gd name="T20" fmla="*/ 111938 w 82"/>
                <a:gd name="T21" fmla="*/ 28683 h 44"/>
                <a:gd name="T22" fmla="*/ 104349 w 82"/>
                <a:gd name="T23" fmla="*/ 34420 h 44"/>
                <a:gd name="T24" fmla="*/ 98657 w 82"/>
                <a:gd name="T25" fmla="*/ 28683 h 44"/>
                <a:gd name="T26" fmla="*/ 96760 w 82"/>
                <a:gd name="T27" fmla="*/ 15298 h 44"/>
                <a:gd name="T28" fmla="*/ 89171 w 82"/>
                <a:gd name="T29" fmla="*/ 15298 h 44"/>
                <a:gd name="T30" fmla="*/ 81582 w 82"/>
                <a:gd name="T31" fmla="*/ 9561 h 44"/>
                <a:gd name="T32" fmla="*/ 72096 w 82"/>
                <a:gd name="T33" fmla="*/ 11473 h 44"/>
                <a:gd name="T34" fmla="*/ 72096 w 82"/>
                <a:gd name="T35" fmla="*/ 5737 h 44"/>
                <a:gd name="T36" fmla="*/ 64507 w 82"/>
                <a:gd name="T37" fmla="*/ 1912 h 44"/>
                <a:gd name="T38" fmla="*/ 60712 w 82"/>
                <a:gd name="T39" fmla="*/ 9561 h 44"/>
                <a:gd name="T40" fmla="*/ 53123 w 82"/>
                <a:gd name="T41" fmla="*/ 1912 h 44"/>
                <a:gd name="T42" fmla="*/ 51226 w 82"/>
                <a:gd name="T43" fmla="*/ 7649 h 44"/>
                <a:gd name="T44" fmla="*/ 39842 w 82"/>
                <a:gd name="T45" fmla="*/ 13385 h 44"/>
                <a:gd name="T46" fmla="*/ 26562 w 82"/>
                <a:gd name="T47" fmla="*/ 19122 h 44"/>
                <a:gd name="T48" fmla="*/ 13281 w 82"/>
                <a:gd name="T49" fmla="*/ 22946 h 44"/>
                <a:gd name="T50" fmla="*/ 5692 w 82"/>
                <a:gd name="T51" fmla="*/ 24859 h 44"/>
                <a:gd name="T52" fmla="*/ 0 w 82"/>
                <a:gd name="T53" fmla="*/ 26771 h 44"/>
                <a:gd name="T54" fmla="*/ 9486 w 82"/>
                <a:gd name="T55" fmla="*/ 36332 h 44"/>
                <a:gd name="T56" fmla="*/ 9486 w 82"/>
                <a:gd name="T57" fmla="*/ 43981 h 44"/>
                <a:gd name="T58" fmla="*/ 17075 w 82"/>
                <a:gd name="T59" fmla="*/ 57366 h 44"/>
                <a:gd name="T60" fmla="*/ 28459 w 82"/>
                <a:gd name="T61" fmla="*/ 65015 h 44"/>
                <a:gd name="T62" fmla="*/ 41740 w 82"/>
                <a:gd name="T63" fmla="*/ 78400 h 44"/>
                <a:gd name="T64" fmla="*/ 53123 w 82"/>
                <a:gd name="T65" fmla="*/ 84137 h 44"/>
                <a:gd name="T66" fmla="*/ 66404 w 82"/>
                <a:gd name="T67" fmla="*/ 78400 h 44"/>
                <a:gd name="T68" fmla="*/ 66404 w 82"/>
                <a:gd name="T69" fmla="*/ 68839 h 44"/>
                <a:gd name="T70" fmla="*/ 70198 w 82"/>
                <a:gd name="T71" fmla="*/ 70752 h 44"/>
                <a:gd name="T72" fmla="*/ 81582 w 82"/>
                <a:gd name="T73" fmla="*/ 72664 h 44"/>
                <a:gd name="T74" fmla="*/ 94863 w 82"/>
                <a:gd name="T75" fmla="*/ 78400 h 44"/>
                <a:gd name="T76" fmla="*/ 102452 w 82"/>
                <a:gd name="T77" fmla="*/ 78400 h 44"/>
                <a:gd name="T78" fmla="*/ 111938 w 82"/>
                <a:gd name="T79" fmla="*/ 80313 h 44"/>
                <a:gd name="T80" fmla="*/ 117630 w 82"/>
                <a:gd name="T81" fmla="*/ 74576 h 44"/>
                <a:gd name="T82" fmla="*/ 127116 w 82"/>
                <a:gd name="T83" fmla="*/ 74576 h 44"/>
                <a:gd name="T84" fmla="*/ 138500 w 82"/>
                <a:gd name="T85" fmla="*/ 66927 h 44"/>
                <a:gd name="T86" fmla="*/ 140397 w 82"/>
                <a:gd name="T87" fmla="*/ 59278 h 44"/>
                <a:gd name="T88" fmla="*/ 147986 w 82"/>
                <a:gd name="T89" fmla="*/ 55454 h 44"/>
                <a:gd name="T90" fmla="*/ 155575 w 82"/>
                <a:gd name="T91" fmla="*/ 53542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 name="Freeform 84"/>
            <p:cNvSpPr>
              <a:spLocks noChangeAspect="1"/>
            </p:cNvSpPr>
            <p:nvPr/>
          </p:nvSpPr>
          <p:spPr bwMode="auto">
            <a:xfrm>
              <a:off x="4631263" y="1756368"/>
              <a:ext cx="72077" cy="41270"/>
            </a:xfrm>
            <a:custGeom>
              <a:avLst/>
              <a:gdLst>
                <a:gd name="T0" fmla="*/ 71437 w 37"/>
                <a:gd name="T1" fmla="*/ 13170 h 27"/>
                <a:gd name="T2" fmla="*/ 67576 w 37"/>
                <a:gd name="T3" fmla="*/ 7526 h 27"/>
                <a:gd name="T4" fmla="*/ 65645 w 37"/>
                <a:gd name="T5" fmla="*/ 0 h 27"/>
                <a:gd name="T6" fmla="*/ 57922 w 37"/>
                <a:gd name="T7" fmla="*/ 7526 h 27"/>
                <a:gd name="T8" fmla="*/ 48268 w 37"/>
                <a:gd name="T9" fmla="*/ 9407 h 27"/>
                <a:gd name="T10" fmla="*/ 34753 w 37"/>
                <a:gd name="T11" fmla="*/ 9407 h 27"/>
                <a:gd name="T12" fmla="*/ 25099 w 37"/>
                <a:gd name="T13" fmla="*/ 16933 h 27"/>
                <a:gd name="T14" fmla="*/ 7723 w 37"/>
                <a:gd name="T15" fmla="*/ 13170 h 27"/>
                <a:gd name="T16" fmla="*/ 1931 w 37"/>
                <a:gd name="T17" fmla="*/ 16933 h 27"/>
                <a:gd name="T18" fmla="*/ 3861 w 37"/>
                <a:gd name="T19" fmla="*/ 24459 h 27"/>
                <a:gd name="T20" fmla="*/ 3861 w 37"/>
                <a:gd name="T21" fmla="*/ 31985 h 27"/>
                <a:gd name="T22" fmla="*/ 7723 w 37"/>
                <a:gd name="T23" fmla="*/ 39511 h 27"/>
                <a:gd name="T24" fmla="*/ 11584 w 37"/>
                <a:gd name="T25" fmla="*/ 43274 h 27"/>
                <a:gd name="T26" fmla="*/ 5792 w 37"/>
                <a:gd name="T27" fmla="*/ 48919 h 27"/>
                <a:gd name="T28" fmla="*/ 11584 w 37"/>
                <a:gd name="T29" fmla="*/ 48919 h 27"/>
                <a:gd name="T30" fmla="*/ 15446 w 37"/>
                <a:gd name="T31" fmla="*/ 45156 h 27"/>
                <a:gd name="T32" fmla="*/ 21238 w 37"/>
                <a:gd name="T33" fmla="*/ 47037 h 27"/>
                <a:gd name="T34" fmla="*/ 27030 w 37"/>
                <a:gd name="T35" fmla="*/ 43274 h 27"/>
                <a:gd name="T36" fmla="*/ 30892 w 37"/>
                <a:gd name="T37" fmla="*/ 47037 h 27"/>
                <a:gd name="T38" fmla="*/ 36684 w 37"/>
                <a:gd name="T39" fmla="*/ 47037 h 27"/>
                <a:gd name="T40" fmla="*/ 44407 w 37"/>
                <a:gd name="T41" fmla="*/ 48919 h 27"/>
                <a:gd name="T42" fmla="*/ 44407 w 37"/>
                <a:gd name="T43" fmla="*/ 35748 h 27"/>
                <a:gd name="T44" fmla="*/ 52130 w 37"/>
                <a:gd name="T45" fmla="*/ 35748 h 27"/>
                <a:gd name="T46" fmla="*/ 52130 w 37"/>
                <a:gd name="T47" fmla="*/ 22578 h 27"/>
                <a:gd name="T48" fmla="*/ 65645 w 37"/>
                <a:gd name="T49" fmla="*/ 16933 h 27"/>
                <a:gd name="T50" fmla="*/ 65645 w 37"/>
                <a:gd name="T51" fmla="*/ 11289 h 27"/>
                <a:gd name="T52" fmla="*/ 71437 w 37"/>
                <a:gd name="T53" fmla="*/ 13170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 name="Freeform 85"/>
            <p:cNvSpPr>
              <a:spLocks noChangeAspect="1" noEditPoints="1"/>
            </p:cNvSpPr>
            <p:nvPr/>
          </p:nvSpPr>
          <p:spPr bwMode="auto">
            <a:xfrm>
              <a:off x="4696933" y="1709939"/>
              <a:ext cx="152162" cy="77381"/>
            </a:xfrm>
            <a:custGeom>
              <a:avLst/>
              <a:gdLst>
                <a:gd name="T0" fmla="*/ 0 w 79"/>
                <a:gd name="T1" fmla="*/ 57150 h 50"/>
                <a:gd name="T2" fmla="*/ 1909 w 79"/>
                <a:gd name="T3" fmla="*/ 64770 h 50"/>
                <a:gd name="T4" fmla="*/ 5727 w 79"/>
                <a:gd name="T5" fmla="*/ 70485 h 50"/>
                <a:gd name="T6" fmla="*/ 5727 w 79"/>
                <a:gd name="T7" fmla="*/ 70485 h 50"/>
                <a:gd name="T8" fmla="*/ 9545 w 79"/>
                <a:gd name="T9" fmla="*/ 76200 h 50"/>
                <a:gd name="T10" fmla="*/ 15272 w 79"/>
                <a:gd name="T11" fmla="*/ 76200 h 50"/>
                <a:gd name="T12" fmla="*/ 17181 w 79"/>
                <a:gd name="T13" fmla="*/ 81915 h 50"/>
                <a:gd name="T14" fmla="*/ 19090 w 79"/>
                <a:gd name="T15" fmla="*/ 81915 h 50"/>
                <a:gd name="T16" fmla="*/ 24817 w 79"/>
                <a:gd name="T17" fmla="*/ 89535 h 50"/>
                <a:gd name="T18" fmla="*/ 38181 w 79"/>
                <a:gd name="T19" fmla="*/ 93345 h 50"/>
                <a:gd name="T20" fmla="*/ 51544 w 79"/>
                <a:gd name="T21" fmla="*/ 95250 h 50"/>
                <a:gd name="T22" fmla="*/ 57271 w 79"/>
                <a:gd name="T23" fmla="*/ 91440 h 50"/>
                <a:gd name="T24" fmla="*/ 61089 w 79"/>
                <a:gd name="T25" fmla="*/ 91440 h 50"/>
                <a:gd name="T26" fmla="*/ 66816 w 79"/>
                <a:gd name="T27" fmla="*/ 85725 h 50"/>
                <a:gd name="T28" fmla="*/ 76361 w 79"/>
                <a:gd name="T29" fmla="*/ 83820 h 50"/>
                <a:gd name="T30" fmla="*/ 82088 w 79"/>
                <a:gd name="T31" fmla="*/ 80010 h 50"/>
                <a:gd name="T32" fmla="*/ 93542 w 79"/>
                <a:gd name="T33" fmla="*/ 81915 h 50"/>
                <a:gd name="T34" fmla="*/ 106905 w 79"/>
                <a:gd name="T35" fmla="*/ 78105 h 50"/>
                <a:gd name="T36" fmla="*/ 116451 w 79"/>
                <a:gd name="T37" fmla="*/ 74295 h 50"/>
                <a:gd name="T38" fmla="*/ 116451 w 79"/>
                <a:gd name="T39" fmla="*/ 66675 h 50"/>
                <a:gd name="T40" fmla="*/ 122178 w 79"/>
                <a:gd name="T41" fmla="*/ 64770 h 50"/>
                <a:gd name="T42" fmla="*/ 124087 w 79"/>
                <a:gd name="T43" fmla="*/ 51435 h 50"/>
                <a:gd name="T44" fmla="*/ 131723 w 79"/>
                <a:gd name="T45" fmla="*/ 38100 h 50"/>
                <a:gd name="T46" fmla="*/ 139359 w 79"/>
                <a:gd name="T47" fmla="*/ 28575 h 50"/>
                <a:gd name="T48" fmla="*/ 146995 w 79"/>
                <a:gd name="T49" fmla="*/ 26670 h 50"/>
                <a:gd name="T50" fmla="*/ 150813 w 79"/>
                <a:gd name="T51" fmla="*/ 22860 h 50"/>
                <a:gd name="T52" fmla="*/ 150813 w 79"/>
                <a:gd name="T53" fmla="*/ 17145 h 50"/>
                <a:gd name="T54" fmla="*/ 143177 w 79"/>
                <a:gd name="T55" fmla="*/ 17145 h 50"/>
                <a:gd name="T56" fmla="*/ 143177 w 79"/>
                <a:gd name="T57" fmla="*/ 13335 h 50"/>
                <a:gd name="T58" fmla="*/ 139359 w 79"/>
                <a:gd name="T59" fmla="*/ 9525 h 50"/>
                <a:gd name="T60" fmla="*/ 133632 w 79"/>
                <a:gd name="T61" fmla="*/ 5715 h 50"/>
                <a:gd name="T62" fmla="*/ 124087 w 79"/>
                <a:gd name="T63" fmla="*/ 9525 h 50"/>
                <a:gd name="T64" fmla="*/ 116451 w 79"/>
                <a:gd name="T65" fmla="*/ 0 h 50"/>
                <a:gd name="T66" fmla="*/ 108814 w 79"/>
                <a:gd name="T67" fmla="*/ 1905 h 50"/>
                <a:gd name="T68" fmla="*/ 97360 w 79"/>
                <a:gd name="T69" fmla="*/ 1905 h 50"/>
                <a:gd name="T70" fmla="*/ 91633 w 79"/>
                <a:gd name="T71" fmla="*/ 9525 h 50"/>
                <a:gd name="T72" fmla="*/ 83997 w 79"/>
                <a:gd name="T73" fmla="*/ 15240 h 50"/>
                <a:gd name="T74" fmla="*/ 74452 w 79"/>
                <a:gd name="T75" fmla="*/ 11430 h 50"/>
                <a:gd name="T76" fmla="*/ 72543 w 79"/>
                <a:gd name="T77" fmla="*/ 19050 h 50"/>
                <a:gd name="T78" fmla="*/ 61089 w 79"/>
                <a:gd name="T79" fmla="*/ 19050 h 50"/>
                <a:gd name="T80" fmla="*/ 55362 w 79"/>
                <a:gd name="T81" fmla="*/ 19050 h 50"/>
                <a:gd name="T82" fmla="*/ 57271 w 79"/>
                <a:gd name="T83" fmla="*/ 24765 h 50"/>
                <a:gd name="T84" fmla="*/ 53453 w 79"/>
                <a:gd name="T85" fmla="*/ 28575 h 50"/>
                <a:gd name="T86" fmla="*/ 28635 w 79"/>
                <a:gd name="T87" fmla="*/ 26670 h 50"/>
                <a:gd name="T88" fmla="*/ 19090 w 79"/>
                <a:gd name="T89" fmla="*/ 19050 h 50"/>
                <a:gd name="T90" fmla="*/ 17181 w 79"/>
                <a:gd name="T91" fmla="*/ 28575 h 50"/>
                <a:gd name="T92" fmla="*/ 13363 w 79"/>
                <a:gd name="T93" fmla="*/ 30480 h 50"/>
                <a:gd name="T94" fmla="*/ 9545 w 79"/>
                <a:gd name="T95" fmla="*/ 36195 h 50"/>
                <a:gd name="T96" fmla="*/ 1909 w 79"/>
                <a:gd name="T97" fmla="*/ 41910 h 50"/>
                <a:gd name="T98" fmla="*/ 5727 w 79"/>
                <a:gd name="T99" fmla="*/ 53340 h 50"/>
                <a:gd name="T100" fmla="*/ 1909 w 79"/>
                <a:gd name="T101" fmla="*/ 53340 h 50"/>
                <a:gd name="T102" fmla="*/ 0 w 79"/>
                <a:gd name="T103" fmla="*/ 57150 h 50"/>
                <a:gd name="T104" fmla="*/ 1909 w 79"/>
                <a:gd name="T105" fmla="*/ 64770 h 50"/>
                <a:gd name="T106" fmla="*/ 5727 w 79"/>
                <a:gd name="T107" fmla="*/ 70485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 name="Freeform 86"/>
            <p:cNvSpPr>
              <a:spLocks noChangeAspect="1"/>
            </p:cNvSpPr>
            <p:nvPr/>
          </p:nvSpPr>
          <p:spPr bwMode="auto">
            <a:xfrm>
              <a:off x="4708146" y="1681566"/>
              <a:ext cx="132941" cy="51587"/>
            </a:xfrm>
            <a:custGeom>
              <a:avLst/>
              <a:gdLst>
                <a:gd name="T0" fmla="*/ 122214 w 69"/>
                <a:gd name="T1" fmla="*/ 40409 h 33"/>
                <a:gd name="T2" fmla="*/ 122214 w 69"/>
                <a:gd name="T3" fmla="*/ 34636 h 33"/>
                <a:gd name="T4" fmla="*/ 126033 w 69"/>
                <a:gd name="T5" fmla="*/ 28864 h 33"/>
                <a:gd name="T6" fmla="*/ 127943 w 69"/>
                <a:gd name="T7" fmla="*/ 21167 h 33"/>
                <a:gd name="T8" fmla="*/ 131762 w 69"/>
                <a:gd name="T9" fmla="*/ 17318 h 33"/>
                <a:gd name="T10" fmla="*/ 120304 w 69"/>
                <a:gd name="T11" fmla="*/ 15394 h 33"/>
                <a:gd name="T12" fmla="*/ 112666 w 69"/>
                <a:gd name="T13" fmla="*/ 7697 h 33"/>
                <a:gd name="T14" fmla="*/ 101208 w 69"/>
                <a:gd name="T15" fmla="*/ 5773 h 33"/>
                <a:gd name="T16" fmla="*/ 93570 w 69"/>
                <a:gd name="T17" fmla="*/ 11545 h 33"/>
                <a:gd name="T18" fmla="*/ 89751 w 69"/>
                <a:gd name="T19" fmla="*/ 7697 h 33"/>
                <a:gd name="T20" fmla="*/ 78293 w 69"/>
                <a:gd name="T21" fmla="*/ 7697 h 33"/>
                <a:gd name="T22" fmla="*/ 72565 w 69"/>
                <a:gd name="T23" fmla="*/ 13470 h 33"/>
                <a:gd name="T24" fmla="*/ 66836 w 69"/>
                <a:gd name="T25" fmla="*/ 15394 h 33"/>
                <a:gd name="T26" fmla="*/ 66836 w 69"/>
                <a:gd name="T27" fmla="*/ 9621 h 33"/>
                <a:gd name="T28" fmla="*/ 59197 w 69"/>
                <a:gd name="T29" fmla="*/ 0 h 33"/>
                <a:gd name="T30" fmla="*/ 51559 w 69"/>
                <a:gd name="T31" fmla="*/ 7697 h 33"/>
                <a:gd name="T32" fmla="*/ 45830 w 69"/>
                <a:gd name="T33" fmla="*/ 3848 h 33"/>
                <a:gd name="T34" fmla="*/ 38192 w 69"/>
                <a:gd name="T35" fmla="*/ 5773 h 33"/>
                <a:gd name="T36" fmla="*/ 30554 w 69"/>
                <a:gd name="T37" fmla="*/ 9621 h 33"/>
                <a:gd name="T38" fmla="*/ 28644 w 69"/>
                <a:gd name="T39" fmla="*/ 17318 h 33"/>
                <a:gd name="T40" fmla="*/ 17186 w 69"/>
                <a:gd name="T41" fmla="*/ 25015 h 33"/>
                <a:gd name="T42" fmla="*/ 7638 w 69"/>
                <a:gd name="T43" fmla="*/ 25015 h 33"/>
                <a:gd name="T44" fmla="*/ 1910 w 69"/>
                <a:gd name="T45" fmla="*/ 30788 h 33"/>
                <a:gd name="T46" fmla="*/ 1910 w 69"/>
                <a:gd name="T47" fmla="*/ 38485 h 33"/>
                <a:gd name="T48" fmla="*/ 1910 w 69"/>
                <a:gd name="T49" fmla="*/ 46182 h 33"/>
                <a:gd name="T50" fmla="*/ 7638 w 69"/>
                <a:gd name="T51" fmla="*/ 53879 h 33"/>
                <a:gd name="T52" fmla="*/ 17186 w 69"/>
                <a:gd name="T53" fmla="*/ 61576 h 33"/>
                <a:gd name="T54" fmla="*/ 42011 w 69"/>
                <a:gd name="T55" fmla="*/ 63500 h 33"/>
                <a:gd name="T56" fmla="*/ 45830 w 69"/>
                <a:gd name="T57" fmla="*/ 59652 h 33"/>
                <a:gd name="T58" fmla="*/ 43921 w 69"/>
                <a:gd name="T59" fmla="*/ 53879 h 33"/>
                <a:gd name="T60" fmla="*/ 49649 w 69"/>
                <a:gd name="T61" fmla="*/ 53879 h 33"/>
                <a:gd name="T62" fmla="*/ 61107 w 69"/>
                <a:gd name="T63" fmla="*/ 53879 h 33"/>
                <a:gd name="T64" fmla="*/ 63017 w 69"/>
                <a:gd name="T65" fmla="*/ 46182 h 33"/>
                <a:gd name="T66" fmla="*/ 72565 w 69"/>
                <a:gd name="T67" fmla="*/ 50030 h 33"/>
                <a:gd name="T68" fmla="*/ 80203 w 69"/>
                <a:gd name="T69" fmla="*/ 44258 h 33"/>
                <a:gd name="T70" fmla="*/ 85932 w 69"/>
                <a:gd name="T71" fmla="*/ 36561 h 33"/>
                <a:gd name="T72" fmla="*/ 97389 w 69"/>
                <a:gd name="T73" fmla="*/ 36561 h 33"/>
                <a:gd name="T74" fmla="*/ 105028 w 69"/>
                <a:gd name="T75" fmla="*/ 34636 h 33"/>
                <a:gd name="T76" fmla="*/ 112666 w 69"/>
                <a:gd name="T77" fmla="*/ 44258 h 33"/>
                <a:gd name="T78" fmla="*/ 122214 w 69"/>
                <a:gd name="T79" fmla="*/ 40409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33"/>
                <a:gd name="T122" fmla="*/ 69 w 69"/>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33">
                  <a:moveTo>
                    <a:pt x="64" y="21"/>
                  </a:moveTo>
                  <a:cubicBezTo>
                    <a:pt x="64" y="20"/>
                    <a:pt x="64" y="19"/>
                    <a:pt x="64" y="18"/>
                  </a:cubicBezTo>
                  <a:cubicBezTo>
                    <a:pt x="64" y="17"/>
                    <a:pt x="65" y="16"/>
                    <a:pt x="66" y="15"/>
                  </a:cubicBezTo>
                  <a:cubicBezTo>
                    <a:pt x="66" y="14"/>
                    <a:pt x="66" y="12"/>
                    <a:pt x="67" y="11"/>
                  </a:cubicBezTo>
                  <a:cubicBezTo>
                    <a:pt x="67" y="11"/>
                    <a:pt x="68" y="10"/>
                    <a:pt x="69" y="9"/>
                  </a:cubicBezTo>
                  <a:cubicBezTo>
                    <a:pt x="67" y="9"/>
                    <a:pt x="65" y="9"/>
                    <a:pt x="63" y="8"/>
                  </a:cubicBezTo>
                  <a:cubicBezTo>
                    <a:pt x="62" y="7"/>
                    <a:pt x="61" y="5"/>
                    <a:pt x="59" y="4"/>
                  </a:cubicBezTo>
                  <a:cubicBezTo>
                    <a:pt x="57" y="3"/>
                    <a:pt x="55" y="3"/>
                    <a:pt x="53" y="3"/>
                  </a:cubicBezTo>
                  <a:cubicBezTo>
                    <a:pt x="51" y="3"/>
                    <a:pt x="51" y="5"/>
                    <a:pt x="49" y="6"/>
                  </a:cubicBezTo>
                  <a:cubicBezTo>
                    <a:pt x="49" y="6"/>
                    <a:pt x="48" y="5"/>
                    <a:pt x="47" y="4"/>
                  </a:cubicBezTo>
                  <a:cubicBezTo>
                    <a:pt x="45" y="4"/>
                    <a:pt x="43" y="3"/>
                    <a:pt x="41" y="4"/>
                  </a:cubicBezTo>
                  <a:cubicBezTo>
                    <a:pt x="40" y="4"/>
                    <a:pt x="40" y="6"/>
                    <a:pt x="38" y="7"/>
                  </a:cubicBezTo>
                  <a:cubicBezTo>
                    <a:pt x="37" y="8"/>
                    <a:pt x="36" y="8"/>
                    <a:pt x="35" y="8"/>
                  </a:cubicBezTo>
                  <a:cubicBezTo>
                    <a:pt x="34" y="7"/>
                    <a:pt x="36" y="6"/>
                    <a:pt x="35" y="5"/>
                  </a:cubicBezTo>
                  <a:cubicBezTo>
                    <a:pt x="34" y="3"/>
                    <a:pt x="33" y="1"/>
                    <a:pt x="31" y="0"/>
                  </a:cubicBezTo>
                  <a:cubicBezTo>
                    <a:pt x="29" y="0"/>
                    <a:pt x="29" y="4"/>
                    <a:pt x="27" y="4"/>
                  </a:cubicBezTo>
                  <a:cubicBezTo>
                    <a:pt x="26" y="4"/>
                    <a:pt x="25" y="3"/>
                    <a:pt x="24" y="2"/>
                  </a:cubicBezTo>
                  <a:cubicBezTo>
                    <a:pt x="23" y="2"/>
                    <a:pt x="21" y="3"/>
                    <a:pt x="20" y="3"/>
                  </a:cubicBezTo>
                  <a:cubicBezTo>
                    <a:pt x="19" y="3"/>
                    <a:pt x="17" y="4"/>
                    <a:pt x="16" y="5"/>
                  </a:cubicBezTo>
                  <a:cubicBezTo>
                    <a:pt x="15" y="6"/>
                    <a:pt x="15" y="8"/>
                    <a:pt x="15" y="9"/>
                  </a:cubicBezTo>
                  <a:cubicBezTo>
                    <a:pt x="13" y="10"/>
                    <a:pt x="11" y="12"/>
                    <a:pt x="9" y="13"/>
                  </a:cubicBezTo>
                  <a:cubicBezTo>
                    <a:pt x="7" y="14"/>
                    <a:pt x="6" y="12"/>
                    <a:pt x="4" y="13"/>
                  </a:cubicBezTo>
                  <a:cubicBezTo>
                    <a:pt x="3" y="13"/>
                    <a:pt x="2" y="15"/>
                    <a:pt x="1" y="16"/>
                  </a:cubicBezTo>
                  <a:cubicBezTo>
                    <a:pt x="1" y="17"/>
                    <a:pt x="1" y="19"/>
                    <a:pt x="1" y="20"/>
                  </a:cubicBezTo>
                  <a:cubicBezTo>
                    <a:pt x="1" y="21"/>
                    <a:pt x="0" y="23"/>
                    <a:pt x="1" y="24"/>
                  </a:cubicBezTo>
                  <a:cubicBezTo>
                    <a:pt x="1" y="25"/>
                    <a:pt x="3" y="26"/>
                    <a:pt x="4" y="28"/>
                  </a:cubicBezTo>
                  <a:cubicBezTo>
                    <a:pt x="6" y="29"/>
                    <a:pt x="7" y="31"/>
                    <a:pt x="9" y="32"/>
                  </a:cubicBezTo>
                  <a:cubicBezTo>
                    <a:pt x="13" y="33"/>
                    <a:pt x="18" y="33"/>
                    <a:pt x="22" y="33"/>
                  </a:cubicBezTo>
                  <a:cubicBezTo>
                    <a:pt x="23" y="33"/>
                    <a:pt x="24" y="32"/>
                    <a:pt x="24" y="31"/>
                  </a:cubicBezTo>
                  <a:cubicBezTo>
                    <a:pt x="25" y="30"/>
                    <a:pt x="23" y="29"/>
                    <a:pt x="23" y="28"/>
                  </a:cubicBezTo>
                  <a:cubicBezTo>
                    <a:pt x="23" y="27"/>
                    <a:pt x="25" y="28"/>
                    <a:pt x="26" y="28"/>
                  </a:cubicBezTo>
                  <a:cubicBezTo>
                    <a:pt x="28" y="27"/>
                    <a:pt x="30" y="28"/>
                    <a:pt x="32" y="28"/>
                  </a:cubicBezTo>
                  <a:cubicBezTo>
                    <a:pt x="33" y="27"/>
                    <a:pt x="32" y="24"/>
                    <a:pt x="33" y="24"/>
                  </a:cubicBezTo>
                  <a:cubicBezTo>
                    <a:pt x="35" y="24"/>
                    <a:pt x="36" y="26"/>
                    <a:pt x="38" y="26"/>
                  </a:cubicBezTo>
                  <a:cubicBezTo>
                    <a:pt x="39" y="25"/>
                    <a:pt x="41" y="24"/>
                    <a:pt x="42" y="23"/>
                  </a:cubicBezTo>
                  <a:cubicBezTo>
                    <a:pt x="43" y="22"/>
                    <a:pt x="43" y="19"/>
                    <a:pt x="45" y="19"/>
                  </a:cubicBezTo>
                  <a:cubicBezTo>
                    <a:pt x="47" y="18"/>
                    <a:pt x="49" y="19"/>
                    <a:pt x="51" y="19"/>
                  </a:cubicBezTo>
                  <a:cubicBezTo>
                    <a:pt x="53" y="19"/>
                    <a:pt x="54" y="18"/>
                    <a:pt x="55" y="18"/>
                  </a:cubicBezTo>
                  <a:cubicBezTo>
                    <a:pt x="57" y="19"/>
                    <a:pt x="57" y="22"/>
                    <a:pt x="59" y="23"/>
                  </a:cubicBezTo>
                  <a:cubicBezTo>
                    <a:pt x="61" y="23"/>
                    <a:pt x="63" y="22"/>
                    <a:pt x="64" y="2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 name="Freeform 87"/>
            <p:cNvSpPr>
              <a:spLocks noChangeAspect="1"/>
            </p:cNvSpPr>
            <p:nvPr/>
          </p:nvSpPr>
          <p:spPr bwMode="auto">
            <a:xfrm>
              <a:off x="4634467" y="1765396"/>
              <a:ext cx="136145" cy="94146"/>
            </a:xfrm>
            <a:custGeom>
              <a:avLst/>
              <a:gdLst>
                <a:gd name="T0" fmla="*/ 129235 w 71"/>
                <a:gd name="T1" fmla="*/ 47495 h 61"/>
                <a:gd name="T2" fmla="*/ 129235 w 71"/>
                <a:gd name="T3" fmla="*/ 41795 h 61"/>
                <a:gd name="T4" fmla="*/ 127335 w 71"/>
                <a:gd name="T5" fmla="*/ 30397 h 61"/>
                <a:gd name="T6" fmla="*/ 119733 w 71"/>
                <a:gd name="T7" fmla="*/ 22797 h 61"/>
                <a:gd name="T8" fmla="*/ 100728 w 71"/>
                <a:gd name="T9" fmla="*/ 24697 h 61"/>
                <a:gd name="T10" fmla="*/ 81722 w 71"/>
                <a:gd name="T11" fmla="*/ 13299 h 61"/>
                <a:gd name="T12" fmla="*/ 77921 w 71"/>
                <a:gd name="T13" fmla="*/ 7599 h 61"/>
                <a:gd name="T14" fmla="*/ 68419 w 71"/>
                <a:gd name="T15" fmla="*/ 1900 h 61"/>
                <a:gd name="T16" fmla="*/ 62717 w 71"/>
                <a:gd name="T17" fmla="*/ 5699 h 61"/>
                <a:gd name="T18" fmla="*/ 49414 w 71"/>
                <a:gd name="T19" fmla="*/ 24697 h 61"/>
                <a:gd name="T20" fmla="*/ 41811 w 71"/>
                <a:gd name="T21" fmla="*/ 37996 h 61"/>
                <a:gd name="T22" fmla="*/ 28508 w 71"/>
                <a:gd name="T23" fmla="*/ 36096 h 61"/>
                <a:gd name="T24" fmla="*/ 19005 w 71"/>
                <a:gd name="T25" fmla="*/ 36096 h 61"/>
                <a:gd name="T26" fmla="*/ 9503 w 71"/>
                <a:gd name="T27" fmla="*/ 37996 h 61"/>
                <a:gd name="T28" fmla="*/ 0 w 71"/>
                <a:gd name="T29" fmla="*/ 36096 h 61"/>
                <a:gd name="T30" fmla="*/ 11403 w 71"/>
                <a:gd name="T31" fmla="*/ 58893 h 61"/>
                <a:gd name="T32" fmla="*/ 19005 w 71"/>
                <a:gd name="T33" fmla="*/ 39896 h 61"/>
                <a:gd name="T34" fmla="*/ 32309 w 71"/>
                <a:gd name="T35" fmla="*/ 49394 h 61"/>
                <a:gd name="T36" fmla="*/ 38010 w 71"/>
                <a:gd name="T37" fmla="*/ 66493 h 61"/>
                <a:gd name="T38" fmla="*/ 43712 w 71"/>
                <a:gd name="T39" fmla="*/ 81691 h 61"/>
                <a:gd name="T40" fmla="*/ 57016 w 71"/>
                <a:gd name="T41" fmla="*/ 93090 h 61"/>
                <a:gd name="T42" fmla="*/ 72220 w 71"/>
                <a:gd name="T43" fmla="*/ 100689 h 61"/>
                <a:gd name="T44" fmla="*/ 98827 w 71"/>
                <a:gd name="T45" fmla="*/ 115887 h 61"/>
                <a:gd name="T46" fmla="*/ 83623 w 71"/>
                <a:gd name="T47" fmla="*/ 96889 h 61"/>
                <a:gd name="T48" fmla="*/ 66518 w 71"/>
                <a:gd name="T49" fmla="*/ 77891 h 61"/>
                <a:gd name="T50" fmla="*/ 57016 w 71"/>
                <a:gd name="T51" fmla="*/ 58893 h 61"/>
                <a:gd name="T52" fmla="*/ 53215 w 71"/>
                <a:gd name="T53" fmla="*/ 47495 h 61"/>
                <a:gd name="T54" fmla="*/ 66518 w 71"/>
                <a:gd name="T55" fmla="*/ 51294 h 61"/>
                <a:gd name="T56" fmla="*/ 74120 w 71"/>
                <a:gd name="T57" fmla="*/ 43695 h 61"/>
                <a:gd name="T58" fmla="*/ 87424 w 71"/>
                <a:gd name="T59" fmla="*/ 45595 h 61"/>
                <a:gd name="T60" fmla="*/ 100728 w 71"/>
                <a:gd name="T61" fmla="*/ 51294 h 61"/>
                <a:gd name="T62" fmla="*/ 117832 w 71"/>
                <a:gd name="T63" fmla="*/ 49394 h 61"/>
                <a:gd name="T64" fmla="*/ 125434 w 71"/>
                <a:gd name="T65" fmla="*/ 56994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 name="Freeform 88"/>
            <p:cNvSpPr>
              <a:spLocks noChangeAspect="1"/>
            </p:cNvSpPr>
            <p:nvPr/>
          </p:nvSpPr>
          <p:spPr bwMode="auto">
            <a:xfrm>
              <a:off x="4685722" y="1800217"/>
              <a:ext cx="94501" cy="72222"/>
            </a:xfrm>
            <a:custGeom>
              <a:avLst/>
              <a:gdLst>
                <a:gd name="T0" fmla="*/ 47787 w 49"/>
                <a:gd name="T1" fmla="*/ 73439 h 46"/>
                <a:gd name="T2" fmla="*/ 42052 w 49"/>
                <a:gd name="T3" fmla="*/ 65709 h 46"/>
                <a:gd name="T4" fmla="*/ 32495 w 49"/>
                <a:gd name="T5" fmla="*/ 54113 h 46"/>
                <a:gd name="T6" fmla="*/ 22938 w 49"/>
                <a:gd name="T7" fmla="*/ 42517 h 46"/>
                <a:gd name="T8" fmla="*/ 15292 w 49"/>
                <a:gd name="T9" fmla="*/ 34787 h 46"/>
                <a:gd name="T10" fmla="*/ 11469 w 49"/>
                <a:gd name="T11" fmla="*/ 25124 h 46"/>
                <a:gd name="T12" fmla="*/ 5734 w 49"/>
                <a:gd name="T13" fmla="*/ 15461 h 46"/>
                <a:gd name="T14" fmla="*/ 1911 w 49"/>
                <a:gd name="T15" fmla="*/ 15461 h 46"/>
                <a:gd name="T16" fmla="*/ 1911 w 49"/>
                <a:gd name="T17" fmla="*/ 3865 h 46"/>
                <a:gd name="T18" fmla="*/ 5734 w 49"/>
                <a:gd name="T19" fmla="*/ 1933 h 46"/>
                <a:gd name="T20" fmla="*/ 15292 w 49"/>
                <a:gd name="T21" fmla="*/ 7730 h 46"/>
                <a:gd name="T22" fmla="*/ 19115 w 49"/>
                <a:gd name="T23" fmla="*/ 3865 h 46"/>
                <a:gd name="T24" fmla="*/ 22938 w 49"/>
                <a:gd name="T25" fmla="*/ 0 h 46"/>
                <a:gd name="T26" fmla="*/ 26761 w 49"/>
                <a:gd name="T27" fmla="*/ 3865 h 46"/>
                <a:gd name="T28" fmla="*/ 36318 w 49"/>
                <a:gd name="T29" fmla="*/ 1933 h 46"/>
                <a:gd name="T30" fmla="*/ 49698 w 49"/>
                <a:gd name="T31" fmla="*/ 3865 h 46"/>
                <a:gd name="T32" fmla="*/ 49698 w 49"/>
                <a:gd name="T33" fmla="*/ 7730 h 46"/>
                <a:gd name="T34" fmla="*/ 53521 w 49"/>
                <a:gd name="T35" fmla="*/ 5798 h 46"/>
                <a:gd name="T36" fmla="*/ 66901 w 49"/>
                <a:gd name="T37" fmla="*/ 5798 h 46"/>
                <a:gd name="T38" fmla="*/ 72636 w 49"/>
                <a:gd name="T39" fmla="*/ 7730 h 46"/>
                <a:gd name="T40" fmla="*/ 74547 w 49"/>
                <a:gd name="T41" fmla="*/ 13528 h 46"/>
                <a:gd name="T42" fmla="*/ 80282 w 49"/>
                <a:gd name="T43" fmla="*/ 11596 h 46"/>
                <a:gd name="T44" fmla="*/ 86016 w 49"/>
                <a:gd name="T45" fmla="*/ 11596 h 46"/>
                <a:gd name="T46" fmla="*/ 80282 w 49"/>
                <a:gd name="T47" fmla="*/ 28989 h 46"/>
                <a:gd name="T48" fmla="*/ 91751 w 49"/>
                <a:gd name="T49" fmla="*/ 40585 h 46"/>
                <a:gd name="T50" fmla="*/ 84105 w 49"/>
                <a:gd name="T51" fmla="*/ 40585 h 46"/>
                <a:gd name="T52" fmla="*/ 91751 w 49"/>
                <a:gd name="T53" fmla="*/ 54113 h 46"/>
                <a:gd name="T54" fmla="*/ 84105 w 49"/>
                <a:gd name="T55" fmla="*/ 54113 h 46"/>
                <a:gd name="T56" fmla="*/ 78370 w 49"/>
                <a:gd name="T57" fmla="*/ 56046 h 46"/>
                <a:gd name="T58" fmla="*/ 78370 w 49"/>
                <a:gd name="T59" fmla="*/ 63776 h 46"/>
                <a:gd name="T60" fmla="*/ 70724 w 49"/>
                <a:gd name="T61" fmla="*/ 71507 h 46"/>
                <a:gd name="T62" fmla="*/ 64990 w 49"/>
                <a:gd name="T63" fmla="*/ 77304 h 46"/>
                <a:gd name="T64" fmla="*/ 66901 w 49"/>
                <a:gd name="T65" fmla="*/ 88900 h 46"/>
                <a:gd name="T66" fmla="*/ 53521 w 49"/>
                <a:gd name="T67" fmla="*/ 77304 h 46"/>
                <a:gd name="T68" fmla="*/ 47787 w 49"/>
                <a:gd name="T69" fmla="*/ 73439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 name="Freeform 89"/>
            <p:cNvSpPr>
              <a:spLocks noChangeAspect="1"/>
            </p:cNvSpPr>
            <p:nvPr/>
          </p:nvSpPr>
          <p:spPr bwMode="auto">
            <a:xfrm>
              <a:off x="4751391" y="1774423"/>
              <a:ext cx="105713" cy="114782"/>
            </a:xfrm>
            <a:custGeom>
              <a:avLst/>
              <a:gdLst>
                <a:gd name="T0" fmla="*/ 40005 w 55"/>
                <a:gd name="T1" fmla="*/ 1909 h 74"/>
                <a:gd name="T2" fmla="*/ 45720 w 55"/>
                <a:gd name="T3" fmla="*/ 11456 h 74"/>
                <a:gd name="T4" fmla="*/ 51435 w 55"/>
                <a:gd name="T5" fmla="*/ 19093 h 74"/>
                <a:gd name="T6" fmla="*/ 55245 w 55"/>
                <a:gd name="T7" fmla="*/ 28639 h 74"/>
                <a:gd name="T8" fmla="*/ 68580 w 55"/>
                <a:gd name="T9" fmla="*/ 36277 h 74"/>
                <a:gd name="T10" fmla="*/ 68580 w 55"/>
                <a:gd name="T11" fmla="*/ 47732 h 74"/>
                <a:gd name="T12" fmla="*/ 80010 w 55"/>
                <a:gd name="T13" fmla="*/ 53460 h 74"/>
                <a:gd name="T14" fmla="*/ 87630 w 55"/>
                <a:gd name="T15" fmla="*/ 57279 h 74"/>
                <a:gd name="T16" fmla="*/ 89535 w 55"/>
                <a:gd name="T17" fmla="*/ 51551 h 74"/>
                <a:gd name="T18" fmla="*/ 95250 w 55"/>
                <a:gd name="T19" fmla="*/ 55370 h 74"/>
                <a:gd name="T20" fmla="*/ 91440 w 55"/>
                <a:gd name="T21" fmla="*/ 59188 h 74"/>
                <a:gd name="T22" fmla="*/ 93345 w 55"/>
                <a:gd name="T23" fmla="*/ 63007 h 74"/>
                <a:gd name="T24" fmla="*/ 87630 w 55"/>
                <a:gd name="T25" fmla="*/ 72553 h 74"/>
                <a:gd name="T26" fmla="*/ 87630 w 55"/>
                <a:gd name="T27" fmla="*/ 87828 h 74"/>
                <a:gd name="T28" fmla="*/ 97155 w 55"/>
                <a:gd name="T29" fmla="*/ 97374 h 74"/>
                <a:gd name="T30" fmla="*/ 102870 w 55"/>
                <a:gd name="T31" fmla="*/ 103102 h 74"/>
                <a:gd name="T32" fmla="*/ 91440 w 55"/>
                <a:gd name="T33" fmla="*/ 108830 h 74"/>
                <a:gd name="T34" fmla="*/ 91440 w 55"/>
                <a:gd name="T35" fmla="*/ 124104 h 74"/>
                <a:gd name="T36" fmla="*/ 85725 w 55"/>
                <a:gd name="T37" fmla="*/ 127923 h 74"/>
                <a:gd name="T38" fmla="*/ 72390 w 55"/>
                <a:gd name="T39" fmla="*/ 126014 h 74"/>
                <a:gd name="T40" fmla="*/ 66675 w 55"/>
                <a:gd name="T41" fmla="*/ 131742 h 74"/>
                <a:gd name="T42" fmla="*/ 60960 w 55"/>
                <a:gd name="T43" fmla="*/ 129832 h 74"/>
                <a:gd name="T44" fmla="*/ 55245 w 55"/>
                <a:gd name="T45" fmla="*/ 135560 h 74"/>
                <a:gd name="T46" fmla="*/ 55245 w 55"/>
                <a:gd name="T47" fmla="*/ 141288 h 74"/>
                <a:gd name="T48" fmla="*/ 51435 w 55"/>
                <a:gd name="T49" fmla="*/ 141288 h 74"/>
                <a:gd name="T50" fmla="*/ 51435 w 55"/>
                <a:gd name="T51" fmla="*/ 129832 h 74"/>
                <a:gd name="T52" fmla="*/ 43815 w 55"/>
                <a:gd name="T53" fmla="*/ 122195 h 74"/>
                <a:gd name="T54" fmla="*/ 34290 w 55"/>
                <a:gd name="T55" fmla="*/ 118376 h 74"/>
                <a:gd name="T56" fmla="*/ 28575 w 55"/>
                <a:gd name="T57" fmla="*/ 118376 h 74"/>
                <a:gd name="T58" fmla="*/ 24765 w 55"/>
                <a:gd name="T59" fmla="*/ 126014 h 74"/>
                <a:gd name="T60" fmla="*/ 17145 w 55"/>
                <a:gd name="T61" fmla="*/ 127923 h 74"/>
                <a:gd name="T62" fmla="*/ 24765 w 55"/>
                <a:gd name="T63" fmla="*/ 133651 h 74"/>
                <a:gd name="T64" fmla="*/ 24765 w 55"/>
                <a:gd name="T65" fmla="*/ 141288 h 74"/>
                <a:gd name="T66" fmla="*/ 13335 w 55"/>
                <a:gd name="T67" fmla="*/ 129832 h 74"/>
                <a:gd name="T68" fmla="*/ 5715 w 55"/>
                <a:gd name="T69" fmla="*/ 126014 h 74"/>
                <a:gd name="T70" fmla="*/ 9525 w 55"/>
                <a:gd name="T71" fmla="*/ 122195 h 74"/>
                <a:gd name="T72" fmla="*/ 7620 w 55"/>
                <a:gd name="T73" fmla="*/ 120286 h 74"/>
                <a:gd name="T74" fmla="*/ 1905 w 55"/>
                <a:gd name="T75" fmla="*/ 120286 h 74"/>
                <a:gd name="T76" fmla="*/ 0 w 55"/>
                <a:gd name="T77" fmla="*/ 108830 h 74"/>
                <a:gd name="T78" fmla="*/ 5715 w 55"/>
                <a:gd name="T79" fmla="*/ 103102 h 74"/>
                <a:gd name="T80" fmla="*/ 13335 w 55"/>
                <a:gd name="T81" fmla="*/ 95465 h 74"/>
                <a:gd name="T82" fmla="*/ 13335 w 55"/>
                <a:gd name="T83" fmla="*/ 87828 h 74"/>
                <a:gd name="T84" fmla="*/ 19050 w 55"/>
                <a:gd name="T85" fmla="*/ 85918 h 74"/>
                <a:gd name="T86" fmla="*/ 26670 w 55"/>
                <a:gd name="T87" fmla="*/ 85918 h 74"/>
                <a:gd name="T88" fmla="*/ 19050 w 55"/>
                <a:gd name="T89" fmla="*/ 72553 h 74"/>
                <a:gd name="T90" fmla="*/ 26670 w 55"/>
                <a:gd name="T91" fmla="*/ 72553 h 74"/>
                <a:gd name="T92" fmla="*/ 15240 w 55"/>
                <a:gd name="T93" fmla="*/ 61098 h 74"/>
                <a:gd name="T94" fmla="*/ 20955 w 55"/>
                <a:gd name="T95" fmla="*/ 43914 h 74"/>
                <a:gd name="T96" fmla="*/ 15240 w 55"/>
                <a:gd name="T97" fmla="*/ 43914 h 74"/>
                <a:gd name="T98" fmla="*/ 13335 w 55"/>
                <a:gd name="T99" fmla="*/ 36277 h 74"/>
                <a:gd name="T100" fmla="*/ 19050 w 55"/>
                <a:gd name="T101" fmla="*/ 32458 h 74"/>
                <a:gd name="T102" fmla="*/ 13335 w 55"/>
                <a:gd name="T103" fmla="*/ 30549 h 74"/>
                <a:gd name="T104" fmla="*/ 11430 w 55"/>
                <a:gd name="T105" fmla="*/ 24821 h 74"/>
                <a:gd name="T106" fmla="*/ 11430 w 55"/>
                <a:gd name="T107" fmla="*/ 19093 h 74"/>
                <a:gd name="T108" fmla="*/ 7620 w 55"/>
                <a:gd name="T109" fmla="*/ 11456 h 74"/>
                <a:gd name="T110" fmla="*/ 13335 w 55"/>
                <a:gd name="T111" fmla="*/ 5728 h 74"/>
                <a:gd name="T112" fmla="*/ 22860 w 55"/>
                <a:gd name="T113" fmla="*/ 3819 h 74"/>
                <a:gd name="T114" fmla="*/ 28575 w 55"/>
                <a:gd name="T115" fmla="*/ 0 h 74"/>
                <a:gd name="T116" fmla="*/ 40005 w 55"/>
                <a:gd name="T117" fmla="*/ 1909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 name="Freeform 90"/>
            <p:cNvSpPr>
              <a:spLocks noChangeAspect="1"/>
            </p:cNvSpPr>
            <p:nvPr/>
          </p:nvSpPr>
          <p:spPr bwMode="auto">
            <a:xfrm>
              <a:off x="4801045" y="1875018"/>
              <a:ext cx="57662" cy="39980"/>
            </a:xfrm>
            <a:custGeom>
              <a:avLst/>
              <a:gdLst>
                <a:gd name="T0" fmla="*/ 55245 w 30"/>
                <a:gd name="T1" fmla="*/ 30285 h 26"/>
                <a:gd name="T2" fmla="*/ 49530 w 30"/>
                <a:gd name="T3" fmla="*/ 32178 h 26"/>
                <a:gd name="T4" fmla="*/ 34290 w 30"/>
                <a:gd name="T5" fmla="*/ 37856 h 26"/>
                <a:gd name="T6" fmla="*/ 26670 w 30"/>
                <a:gd name="T7" fmla="*/ 47320 h 26"/>
                <a:gd name="T8" fmla="*/ 13335 w 30"/>
                <a:gd name="T9" fmla="*/ 49213 h 26"/>
                <a:gd name="T10" fmla="*/ 7620 w 30"/>
                <a:gd name="T11" fmla="*/ 45427 h 26"/>
                <a:gd name="T12" fmla="*/ 1905 w 30"/>
                <a:gd name="T13" fmla="*/ 37856 h 26"/>
                <a:gd name="T14" fmla="*/ 1905 w 30"/>
                <a:gd name="T15" fmla="*/ 26499 h 26"/>
                <a:gd name="T16" fmla="*/ 1905 w 30"/>
                <a:gd name="T17" fmla="*/ 17035 h 26"/>
                <a:gd name="T18" fmla="*/ 5715 w 30"/>
                <a:gd name="T19" fmla="*/ 17035 h 26"/>
                <a:gd name="T20" fmla="*/ 5715 w 30"/>
                <a:gd name="T21" fmla="*/ 11357 h 26"/>
                <a:gd name="T22" fmla="*/ 11430 w 30"/>
                <a:gd name="T23" fmla="*/ 5678 h 26"/>
                <a:gd name="T24" fmla="*/ 17145 w 30"/>
                <a:gd name="T25" fmla="*/ 7571 h 26"/>
                <a:gd name="T26" fmla="*/ 22860 w 30"/>
                <a:gd name="T27" fmla="*/ 1893 h 26"/>
                <a:gd name="T28" fmla="*/ 36195 w 30"/>
                <a:gd name="T29" fmla="*/ 3786 h 26"/>
                <a:gd name="T30" fmla="*/ 41910 w 30"/>
                <a:gd name="T31" fmla="*/ 0 h 26"/>
                <a:gd name="T32" fmla="*/ 43815 w 30"/>
                <a:gd name="T33" fmla="*/ 7571 h 26"/>
                <a:gd name="T34" fmla="*/ 53340 w 30"/>
                <a:gd name="T35" fmla="*/ 11357 h 26"/>
                <a:gd name="T36" fmla="*/ 55245 w 30"/>
                <a:gd name="T37" fmla="*/ 20821 h 26"/>
                <a:gd name="T38" fmla="*/ 55245 w 30"/>
                <a:gd name="T39" fmla="*/ 30285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 name="Freeform 91"/>
            <p:cNvSpPr>
              <a:spLocks noChangeAspect="1"/>
            </p:cNvSpPr>
            <p:nvPr/>
          </p:nvSpPr>
          <p:spPr bwMode="auto">
            <a:xfrm>
              <a:off x="4773816" y="1868570"/>
              <a:ext cx="43247" cy="77381"/>
            </a:xfrm>
            <a:custGeom>
              <a:avLst/>
              <a:gdLst>
                <a:gd name="T0" fmla="*/ 21432 w 22"/>
                <a:gd name="T1" fmla="*/ 95250 h 50"/>
                <a:gd name="T2" fmla="*/ 13638 w 22"/>
                <a:gd name="T3" fmla="*/ 81915 h 50"/>
                <a:gd name="T4" fmla="*/ 1948 w 22"/>
                <a:gd name="T5" fmla="*/ 72390 h 50"/>
                <a:gd name="T6" fmla="*/ 3897 w 22"/>
                <a:gd name="T7" fmla="*/ 68580 h 50"/>
                <a:gd name="T8" fmla="*/ 0 w 22"/>
                <a:gd name="T9" fmla="*/ 62865 h 50"/>
                <a:gd name="T10" fmla="*/ 1948 w 22"/>
                <a:gd name="T11" fmla="*/ 60960 h 50"/>
                <a:gd name="T12" fmla="*/ 1948 w 22"/>
                <a:gd name="T13" fmla="*/ 51435 h 50"/>
                <a:gd name="T14" fmla="*/ 3897 w 22"/>
                <a:gd name="T15" fmla="*/ 38100 h 50"/>
                <a:gd name="T16" fmla="*/ 1948 w 22"/>
                <a:gd name="T17" fmla="*/ 26670 h 50"/>
                <a:gd name="T18" fmla="*/ 1948 w 22"/>
                <a:gd name="T19" fmla="*/ 19050 h 50"/>
                <a:gd name="T20" fmla="*/ 1948 w 22"/>
                <a:gd name="T21" fmla="*/ 9525 h 50"/>
                <a:gd name="T22" fmla="*/ 5845 w 22"/>
                <a:gd name="T23" fmla="*/ 1905 h 50"/>
                <a:gd name="T24" fmla="*/ 11690 w 22"/>
                <a:gd name="T25" fmla="*/ 1905 h 50"/>
                <a:gd name="T26" fmla="*/ 21432 w 22"/>
                <a:gd name="T27" fmla="*/ 5715 h 50"/>
                <a:gd name="T28" fmla="*/ 29225 w 22"/>
                <a:gd name="T29" fmla="*/ 13335 h 50"/>
                <a:gd name="T30" fmla="*/ 29225 w 22"/>
                <a:gd name="T31" fmla="*/ 24765 h 50"/>
                <a:gd name="T32" fmla="*/ 29225 w 22"/>
                <a:gd name="T33" fmla="*/ 34290 h 50"/>
                <a:gd name="T34" fmla="*/ 29225 w 22"/>
                <a:gd name="T35" fmla="*/ 45720 h 50"/>
                <a:gd name="T36" fmla="*/ 35070 w 22"/>
                <a:gd name="T37" fmla="*/ 53340 h 50"/>
                <a:gd name="T38" fmla="*/ 40915 w 22"/>
                <a:gd name="T39" fmla="*/ 57150 h 50"/>
                <a:gd name="T40" fmla="*/ 42863 w 22"/>
                <a:gd name="T41" fmla="*/ 64770 h 50"/>
                <a:gd name="T42" fmla="*/ 37018 w 22"/>
                <a:gd name="T43" fmla="*/ 68580 h 50"/>
                <a:gd name="T44" fmla="*/ 35070 w 22"/>
                <a:gd name="T45" fmla="*/ 80010 h 50"/>
                <a:gd name="T46" fmla="*/ 27276 w 22"/>
                <a:gd name="T47" fmla="*/ 81915 h 50"/>
                <a:gd name="T48" fmla="*/ 27276 w 22"/>
                <a:gd name="T49" fmla="*/ 89535 h 50"/>
                <a:gd name="T50" fmla="*/ 21432 w 22"/>
                <a:gd name="T51" fmla="*/ 9525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 name="Freeform 92"/>
            <p:cNvSpPr>
              <a:spLocks noChangeAspect="1"/>
            </p:cNvSpPr>
            <p:nvPr/>
          </p:nvSpPr>
          <p:spPr bwMode="auto">
            <a:xfrm>
              <a:off x="4794638" y="1893073"/>
              <a:ext cx="147358" cy="134127"/>
            </a:xfrm>
            <a:custGeom>
              <a:avLst/>
              <a:gdLst>
                <a:gd name="T0" fmla="*/ 138363 w 76"/>
                <a:gd name="T1" fmla="*/ 23037 h 86"/>
                <a:gd name="T2" fmla="*/ 146050 w 76"/>
                <a:gd name="T3" fmla="*/ 9599 h 86"/>
                <a:gd name="T4" fmla="*/ 138363 w 76"/>
                <a:gd name="T5" fmla="*/ 0 h 86"/>
                <a:gd name="T6" fmla="*/ 121068 w 76"/>
                <a:gd name="T7" fmla="*/ 11519 h 86"/>
                <a:gd name="T8" fmla="*/ 101851 w 76"/>
                <a:gd name="T9" fmla="*/ 7679 h 86"/>
                <a:gd name="T10" fmla="*/ 88399 w 76"/>
                <a:gd name="T11" fmla="*/ 3840 h 86"/>
                <a:gd name="T12" fmla="*/ 69182 w 76"/>
                <a:gd name="T13" fmla="*/ 7679 h 86"/>
                <a:gd name="T14" fmla="*/ 55730 w 76"/>
                <a:gd name="T15" fmla="*/ 9599 h 86"/>
                <a:gd name="T16" fmla="*/ 32669 w 76"/>
                <a:gd name="T17" fmla="*/ 24957 h 86"/>
                <a:gd name="T18" fmla="*/ 21139 w 76"/>
                <a:gd name="T19" fmla="*/ 34556 h 86"/>
                <a:gd name="T20" fmla="*/ 13452 w 76"/>
                <a:gd name="T21" fmla="*/ 49914 h 86"/>
                <a:gd name="T22" fmla="*/ 5765 w 76"/>
                <a:gd name="T23" fmla="*/ 59513 h 86"/>
                <a:gd name="T24" fmla="*/ 5765 w 76"/>
                <a:gd name="T25" fmla="*/ 74871 h 86"/>
                <a:gd name="T26" fmla="*/ 23061 w 76"/>
                <a:gd name="T27" fmla="*/ 84470 h 86"/>
                <a:gd name="T28" fmla="*/ 19217 w 76"/>
                <a:gd name="T29" fmla="*/ 94069 h 86"/>
                <a:gd name="T30" fmla="*/ 24982 w 76"/>
                <a:gd name="T31" fmla="*/ 105587 h 86"/>
                <a:gd name="T32" fmla="*/ 34591 w 76"/>
                <a:gd name="T33" fmla="*/ 105587 h 86"/>
                <a:gd name="T34" fmla="*/ 53808 w 76"/>
                <a:gd name="T35" fmla="*/ 103667 h 86"/>
                <a:gd name="T36" fmla="*/ 74947 w 76"/>
                <a:gd name="T37" fmla="*/ 111347 h 86"/>
                <a:gd name="T38" fmla="*/ 63416 w 76"/>
                <a:gd name="T39" fmla="*/ 115186 h 86"/>
                <a:gd name="T40" fmla="*/ 38434 w 76"/>
                <a:gd name="T41" fmla="*/ 111347 h 86"/>
                <a:gd name="T42" fmla="*/ 24982 w 76"/>
                <a:gd name="T43" fmla="*/ 119026 h 86"/>
                <a:gd name="T44" fmla="*/ 38434 w 76"/>
                <a:gd name="T45" fmla="*/ 138223 h 86"/>
                <a:gd name="T46" fmla="*/ 44199 w 76"/>
                <a:gd name="T47" fmla="*/ 155501 h 86"/>
                <a:gd name="T48" fmla="*/ 55730 w 76"/>
                <a:gd name="T49" fmla="*/ 155501 h 86"/>
                <a:gd name="T50" fmla="*/ 59573 w 76"/>
                <a:gd name="T51" fmla="*/ 165100 h 86"/>
                <a:gd name="T52" fmla="*/ 65338 w 76"/>
                <a:gd name="T53" fmla="*/ 153581 h 86"/>
                <a:gd name="T54" fmla="*/ 74947 w 76"/>
                <a:gd name="T55" fmla="*/ 163180 h 86"/>
                <a:gd name="T56" fmla="*/ 71103 w 76"/>
                <a:gd name="T57" fmla="*/ 149742 h 86"/>
                <a:gd name="T58" fmla="*/ 71103 w 76"/>
                <a:gd name="T59" fmla="*/ 132464 h 86"/>
                <a:gd name="T60" fmla="*/ 80712 w 76"/>
                <a:gd name="T61" fmla="*/ 132464 h 86"/>
                <a:gd name="T62" fmla="*/ 73025 w 76"/>
                <a:gd name="T63" fmla="*/ 119026 h 86"/>
                <a:gd name="T64" fmla="*/ 88399 w 76"/>
                <a:gd name="T65" fmla="*/ 119026 h 86"/>
                <a:gd name="T66" fmla="*/ 94164 w 76"/>
                <a:gd name="T67" fmla="*/ 120945 h 86"/>
                <a:gd name="T68" fmla="*/ 80712 w 76"/>
                <a:gd name="T69" fmla="*/ 103667 h 86"/>
                <a:gd name="T70" fmla="*/ 57651 w 76"/>
                <a:gd name="T71" fmla="*/ 88309 h 86"/>
                <a:gd name="T72" fmla="*/ 63416 w 76"/>
                <a:gd name="T73" fmla="*/ 74871 h 86"/>
                <a:gd name="T74" fmla="*/ 73025 w 76"/>
                <a:gd name="T75" fmla="*/ 78710 h 86"/>
                <a:gd name="T76" fmla="*/ 65338 w 76"/>
                <a:gd name="T77" fmla="*/ 63352 h 86"/>
                <a:gd name="T78" fmla="*/ 55730 w 76"/>
                <a:gd name="T79" fmla="*/ 40315 h 86"/>
                <a:gd name="T80" fmla="*/ 71103 w 76"/>
                <a:gd name="T81" fmla="*/ 44155 h 86"/>
                <a:gd name="T82" fmla="*/ 82634 w 76"/>
                <a:gd name="T83" fmla="*/ 53753 h 86"/>
                <a:gd name="T84" fmla="*/ 80712 w 76"/>
                <a:gd name="T85" fmla="*/ 46074 h 86"/>
                <a:gd name="T86" fmla="*/ 90320 w 76"/>
                <a:gd name="T87" fmla="*/ 51834 h 86"/>
                <a:gd name="T88" fmla="*/ 88399 w 76"/>
                <a:gd name="T89" fmla="*/ 42235 h 86"/>
                <a:gd name="T90" fmla="*/ 98007 w 76"/>
                <a:gd name="T91" fmla="*/ 44155 h 86"/>
                <a:gd name="T92" fmla="*/ 82634 w 76"/>
                <a:gd name="T93" fmla="*/ 28797 h 86"/>
                <a:gd name="T94" fmla="*/ 90320 w 76"/>
                <a:gd name="T95" fmla="*/ 30716 h 86"/>
                <a:gd name="T96" fmla="*/ 107616 w 76"/>
                <a:gd name="T97" fmla="*/ 26877 h 86"/>
                <a:gd name="T98" fmla="*/ 126833 w 76"/>
                <a:gd name="T99" fmla="*/ 24957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 name="Freeform 93"/>
            <p:cNvSpPr>
              <a:spLocks noChangeAspect="1"/>
            </p:cNvSpPr>
            <p:nvPr/>
          </p:nvSpPr>
          <p:spPr bwMode="auto">
            <a:xfrm>
              <a:off x="4929182" y="1881466"/>
              <a:ext cx="67272" cy="41270"/>
            </a:xfrm>
            <a:custGeom>
              <a:avLst/>
              <a:gdLst>
                <a:gd name="T0" fmla="*/ 41910 w 35"/>
                <a:gd name="T1" fmla="*/ 3763 h 27"/>
                <a:gd name="T2" fmla="*/ 47625 w 35"/>
                <a:gd name="T3" fmla="*/ 3763 h 27"/>
                <a:gd name="T4" fmla="*/ 47625 w 35"/>
                <a:gd name="T5" fmla="*/ 9407 h 27"/>
                <a:gd name="T6" fmla="*/ 51435 w 35"/>
                <a:gd name="T7" fmla="*/ 22578 h 27"/>
                <a:gd name="T8" fmla="*/ 64770 w 35"/>
                <a:gd name="T9" fmla="*/ 26341 h 27"/>
                <a:gd name="T10" fmla="*/ 60960 w 35"/>
                <a:gd name="T11" fmla="*/ 33867 h 27"/>
                <a:gd name="T12" fmla="*/ 53340 w 35"/>
                <a:gd name="T13" fmla="*/ 31985 h 27"/>
                <a:gd name="T14" fmla="*/ 45720 w 35"/>
                <a:gd name="T15" fmla="*/ 33867 h 27"/>
                <a:gd name="T16" fmla="*/ 36195 w 35"/>
                <a:gd name="T17" fmla="*/ 33867 h 27"/>
                <a:gd name="T18" fmla="*/ 28575 w 35"/>
                <a:gd name="T19" fmla="*/ 43274 h 27"/>
                <a:gd name="T20" fmla="*/ 19050 w 35"/>
                <a:gd name="T21" fmla="*/ 50800 h 27"/>
                <a:gd name="T22" fmla="*/ 19050 w 35"/>
                <a:gd name="T23" fmla="*/ 45156 h 27"/>
                <a:gd name="T24" fmla="*/ 1905 w 35"/>
                <a:gd name="T25" fmla="*/ 47037 h 27"/>
                <a:gd name="T26" fmla="*/ 1905 w 35"/>
                <a:gd name="T27" fmla="*/ 43274 h 27"/>
                <a:gd name="T28" fmla="*/ 3810 w 35"/>
                <a:gd name="T29" fmla="*/ 37630 h 27"/>
                <a:gd name="T30" fmla="*/ 3810 w 35"/>
                <a:gd name="T31" fmla="*/ 28222 h 27"/>
                <a:gd name="T32" fmla="*/ 11430 w 35"/>
                <a:gd name="T33" fmla="*/ 24459 h 27"/>
                <a:gd name="T34" fmla="*/ 11430 w 35"/>
                <a:gd name="T35" fmla="*/ 18815 h 27"/>
                <a:gd name="T36" fmla="*/ 3810 w 35"/>
                <a:gd name="T37" fmla="*/ 15052 h 27"/>
                <a:gd name="T38" fmla="*/ 3810 w 35"/>
                <a:gd name="T39" fmla="*/ 7526 h 27"/>
                <a:gd name="T40" fmla="*/ 11430 w 35"/>
                <a:gd name="T41" fmla="*/ 5644 h 27"/>
                <a:gd name="T42" fmla="*/ 20955 w 35"/>
                <a:gd name="T43" fmla="*/ 7526 h 27"/>
                <a:gd name="T44" fmla="*/ 26670 w 35"/>
                <a:gd name="T45" fmla="*/ 1881 h 27"/>
                <a:gd name="T46" fmla="*/ 34290 w 35"/>
                <a:gd name="T47" fmla="*/ 1881 h 27"/>
                <a:gd name="T48" fmla="*/ 40005 w 35"/>
                <a:gd name="T49" fmla="*/ 5644 h 27"/>
                <a:gd name="T50" fmla="*/ 41910 w 35"/>
                <a:gd name="T51" fmla="*/ 3763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6" name="Freeform 94"/>
            <p:cNvSpPr>
              <a:spLocks noChangeAspect="1"/>
            </p:cNvSpPr>
            <p:nvPr/>
          </p:nvSpPr>
          <p:spPr bwMode="auto">
            <a:xfrm>
              <a:off x="4837884" y="1826011"/>
              <a:ext cx="148960" cy="78671"/>
            </a:xfrm>
            <a:custGeom>
              <a:avLst/>
              <a:gdLst>
                <a:gd name="T0" fmla="*/ 132496 w 78"/>
                <a:gd name="T1" fmla="*/ 72154 h 51"/>
                <a:gd name="T2" fmla="*/ 128710 w 78"/>
                <a:gd name="T3" fmla="*/ 62660 h 51"/>
                <a:gd name="T4" fmla="*/ 121139 w 78"/>
                <a:gd name="T5" fmla="*/ 56964 h 51"/>
                <a:gd name="T6" fmla="*/ 130603 w 78"/>
                <a:gd name="T7" fmla="*/ 49368 h 51"/>
                <a:gd name="T8" fmla="*/ 130603 w 78"/>
                <a:gd name="T9" fmla="*/ 37976 h 51"/>
                <a:gd name="T10" fmla="*/ 136281 w 78"/>
                <a:gd name="T11" fmla="*/ 26583 h 51"/>
                <a:gd name="T12" fmla="*/ 141960 w 78"/>
                <a:gd name="T13" fmla="*/ 26583 h 51"/>
                <a:gd name="T14" fmla="*/ 145745 w 78"/>
                <a:gd name="T15" fmla="*/ 26583 h 51"/>
                <a:gd name="T16" fmla="*/ 147638 w 78"/>
                <a:gd name="T17" fmla="*/ 15190 h 51"/>
                <a:gd name="T18" fmla="*/ 141960 w 78"/>
                <a:gd name="T19" fmla="*/ 15190 h 51"/>
                <a:gd name="T20" fmla="*/ 136281 w 78"/>
                <a:gd name="T21" fmla="*/ 11393 h 51"/>
                <a:gd name="T22" fmla="*/ 124924 w 78"/>
                <a:gd name="T23" fmla="*/ 9494 h 51"/>
                <a:gd name="T24" fmla="*/ 115460 w 78"/>
                <a:gd name="T25" fmla="*/ 5696 h 51"/>
                <a:gd name="T26" fmla="*/ 105997 w 78"/>
                <a:gd name="T27" fmla="*/ 5696 h 51"/>
                <a:gd name="T28" fmla="*/ 94640 w 78"/>
                <a:gd name="T29" fmla="*/ 7595 h 51"/>
                <a:gd name="T30" fmla="*/ 87069 w 78"/>
                <a:gd name="T31" fmla="*/ 13291 h 51"/>
                <a:gd name="T32" fmla="*/ 64355 w 78"/>
                <a:gd name="T33" fmla="*/ 17089 h 51"/>
                <a:gd name="T34" fmla="*/ 49213 w 78"/>
                <a:gd name="T35" fmla="*/ 15190 h 51"/>
                <a:gd name="T36" fmla="*/ 24606 w 78"/>
                <a:gd name="T37" fmla="*/ 13291 h 51"/>
                <a:gd name="T38" fmla="*/ 11357 w 78"/>
                <a:gd name="T39" fmla="*/ 15190 h 51"/>
                <a:gd name="T40" fmla="*/ 15142 w 78"/>
                <a:gd name="T41" fmla="*/ 7595 h 51"/>
                <a:gd name="T42" fmla="*/ 7571 w 78"/>
                <a:gd name="T43" fmla="*/ 0 h 51"/>
                <a:gd name="T44" fmla="*/ 1893 w 78"/>
                <a:gd name="T45" fmla="*/ 9494 h 51"/>
                <a:gd name="T46" fmla="*/ 1893 w 78"/>
                <a:gd name="T47" fmla="*/ 24684 h 51"/>
                <a:gd name="T48" fmla="*/ 11357 w 78"/>
                <a:gd name="T49" fmla="*/ 34178 h 51"/>
                <a:gd name="T50" fmla="*/ 17035 w 78"/>
                <a:gd name="T51" fmla="*/ 39874 h 51"/>
                <a:gd name="T52" fmla="*/ 5678 w 78"/>
                <a:gd name="T53" fmla="*/ 45571 h 51"/>
                <a:gd name="T54" fmla="*/ 5678 w 78"/>
                <a:gd name="T55" fmla="*/ 60761 h 51"/>
                <a:gd name="T56" fmla="*/ 7571 w 78"/>
                <a:gd name="T57" fmla="*/ 68356 h 51"/>
                <a:gd name="T58" fmla="*/ 17035 w 78"/>
                <a:gd name="T59" fmla="*/ 72154 h 51"/>
                <a:gd name="T60" fmla="*/ 18928 w 78"/>
                <a:gd name="T61" fmla="*/ 81648 h 51"/>
                <a:gd name="T62" fmla="*/ 18928 w 78"/>
                <a:gd name="T63" fmla="*/ 91142 h 51"/>
                <a:gd name="T64" fmla="*/ 26499 w 78"/>
                <a:gd name="T65" fmla="*/ 91142 h 51"/>
                <a:gd name="T66" fmla="*/ 39749 w 78"/>
                <a:gd name="T67" fmla="*/ 91142 h 51"/>
                <a:gd name="T68" fmla="*/ 45427 w 78"/>
                <a:gd name="T69" fmla="*/ 87344 h 51"/>
                <a:gd name="T70" fmla="*/ 54891 w 78"/>
                <a:gd name="T71" fmla="*/ 87344 h 51"/>
                <a:gd name="T72" fmla="*/ 58677 w 78"/>
                <a:gd name="T73" fmla="*/ 91142 h 51"/>
                <a:gd name="T74" fmla="*/ 68141 w 78"/>
                <a:gd name="T75" fmla="*/ 93040 h 51"/>
                <a:gd name="T76" fmla="*/ 77605 w 78"/>
                <a:gd name="T77" fmla="*/ 94939 h 51"/>
                <a:gd name="T78" fmla="*/ 92747 w 78"/>
                <a:gd name="T79" fmla="*/ 89243 h 51"/>
                <a:gd name="T80" fmla="*/ 94640 w 78"/>
                <a:gd name="T81" fmla="*/ 83547 h 51"/>
                <a:gd name="T82" fmla="*/ 94640 w 78"/>
                <a:gd name="T83" fmla="*/ 75951 h 51"/>
                <a:gd name="T84" fmla="*/ 102211 w 78"/>
                <a:gd name="T85" fmla="*/ 74053 h 51"/>
                <a:gd name="T86" fmla="*/ 111675 w 78"/>
                <a:gd name="T87" fmla="*/ 75951 h 51"/>
                <a:gd name="T88" fmla="*/ 117353 w 78"/>
                <a:gd name="T89" fmla="*/ 70255 h 51"/>
                <a:gd name="T90" fmla="*/ 124924 w 78"/>
                <a:gd name="T91" fmla="*/ 70255 h 51"/>
                <a:gd name="T92" fmla="*/ 130603 w 78"/>
                <a:gd name="T93" fmla="*/ 74053 h 51"/>
                <a:gd name="T94" fmla="*/ 132496 w 78"/>
                <a:gd name="T95" fmla="*/ 72154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7" name="Freeform 95"/>
            <p:cNvSpPr>
              <a:spLocks noChangeAspect="1"/>
            </p:cNvSpPr>
            <p:nvPr/>
          </p:nvSpPr>
          <p:spPr bwMode="auto">
            <a:xfrm>
              <a:off x="4791434" y="1721547"/>
              <a:ext cx="222638" cy="117361"/>
            </a:xfrm>
            <a:custGeom>
              <a:avLst/>
              <a:gdLst>
                <a:gd name="T0" fmla="*/ 216857 w 116"/>
                <a:gd name="T1" fmla="*/ 100743 h 76"/>
                <a:gd name="T2" fmla="*/ 205444 w 116"/>
                <a:gd name="T3" fmla="*/ 93140 h 76"/>
                <a:gd name="T4" fmla="*/ 197835 w 116"/>
                <a:gd name="T5" fmla="*/ 98842 h 76"/>
                <a:gd name="T6" fmla="*/ 188324 w 116"/>
                <a:gd name="T7" fmla="*/ 100743 h 76"/>
                <a:gd name="T8" fmla="*/ 180715 w 116"/>
                <a:gd name="T9" fmla="*/ 96942 h 76"/>
                <a:gd name="T10" fmla="*/ 176910 w 116"/>
                <a:gd name="T11" fmla="*/ 74132 h 76"/>
                <a:gd name="T12" fmla="*/ 184519 w 116"/>
                <a:gd name="T13" fmla="*/ 57024 h 76"/>
                <a:gd name="T14" fmla="*/ 173106 w 116"/>
                <a:gd name="T15" fmla="*/ 39917 h 76"/>
                <a:gd name="T16" fmla="*/ 157887 w 116"/>
                <a:gd name="T17" fmla="*/ 22810 h 76"/>
                <a:gd name="T18" fmla="*/ 150278 w 116"/>
                <a:gd name="T19" fmla="*/ 3802 h 76"/>
                <a:gd name="T20" fmla="*/ 140767 w 116"/>
                <a:gd name="T21" fmla="*/ 0 h 76"/>
                <a:gd name="T22" fmla="*/ 133158 w 116"/>
                <a:gd name="T23" fmla="*/ 1901 h 76"/>
                <a:gd name="T24" fmla="*/ 125549 w 116"/>
                <a:gd name="T25" fmla="*/ 3802 h 76"/>
                <a:gd name="T26" fmla="*/ 110331 w 116"/>
                <a:gd name="T27" fmla="*/ 5702 h 76"/>
                <a:gd name="T28" fmla="*/ 102722 w 116"/>
                <a:gd name="T29" fmla="*/ 15207 h 76"/>
                <a:gd name="T30" fmla="*/ 95113 w 116"/>
                <a:gd name="T31" fmla="*/ 7603 h 76"/>
                <a:gd name="T32" fmla="*/ 87504 w 116"/>
                <a:gd name="T33" fmla="*/ 7603 h 76"/>
                <a:gd name="T34" fmla="*/ 72286 w 116"/>
                <a:gd name="T35" fmla="*/ 5702 h 76"/>
                <a:gd name="T36" fmla="*/ 62775 w 116"/>
                <a:gd name="T37" fmla="*/ 0 h 76"/>
                <a:gd name="T38" fmla="*/ 57068 w 116"/>
                <a:gd name="T39" fmla="*/ 7603 h 76"/>
                <a:gd name="T40" fmla="*/ 53263 w 116"/>
                <a:gd name="T41" fmla="*/ 11405 h 76"/>
                <a:gd name="T42" fmla="*/ 45654 w 116"/>
                <a:gd name="T43" fmla="*/ 13306 h 76"/>
                <a:gd name="T44" fmla="*/ 38045 w 116"/>
                <a:gd name="T45" fmla="*/ 22810 h 76"/>
                <a:gd name="T46" fmla="*/ 30436 w 116"/>
                <a:gd name="T47" fmla="*/ 36116 h 76"/>
                <a:gd name="T48" fmla="*/ 28534 w 116"/>
                <a:gd name="T49" fmla="*/ 49421 h 76"/>
                <a:gd name="T50" fmla="*/ 22827 w 116"/>
                <a:gd name="T51" fmla="*/ 51322 h 76"/>
                <a:gd name="T52" fmla="*/ 22827 w 116"/>
                <a:gd name="T53" fmla="*/ 58925 h 76"/>
                <a:gd name="T54" fmla="*/ 13316 w 116"/>
                <a:gd name="T55" fmla="*/ 62727 h 76"/>
                <a:gd name="T56" fmla="*/ 0 w 116"/>
                <a:gd name="T57" fmla="*/ 66529 h 76"/>
                <a:gd name="T58" fmla="*/ 5707 w 116"/>
                <a:gd name="T59" fmla="*/ 76033 h 76"/>
                <a:gd name="T60" fmla="*/ 11414 w 116"/>
                <a:gd name="T61" fmla="*/ 83636 h 76"/>
                <a:gd name="T62" fmla="*/ 15218 w 116"/>
                <a:gd name="T63" fmla="*/ 93140 h 76"/>
                <a:gd name="T64" fmla="*/ 28534 w 116"/>
                <a:gd name="T65" fmla="*/ 100743 h 76"/>
                <a:gd name="T66" fmla="*/ 28534 w 116"/>
                <a:gd name="T67" fmla="*/ 112148 h 76"/>
                <a:gd name="T68" fmla="*/ 39947 w 116"/>
                <a:gd name="T69" fmla="*/ 117851 h 76"/>
                <a:gd name="T70" fmla="*/ 47556 w 116"/>
                <a:gd name="T71" fmla="*/ 121652 h 76"/>
                <a:gd name="T72" fmla="*/ 49459 w 116"/>
                <a:gd name="T73" fmla="*/ 115950 h 76"/>
                <a:gd name="T74" fmla="*/ 55166 w 116"/>
                <a:gd name="T75" fmla="*/ 119751 h 76"/>
                <a:gd name="T76" fmla="*/ 51361 w 116"/>
                <a:gd name="T77" fmla="*/ 123553 h 76"/>
                <a:gd name="T78" fmla="*/ 53263 w 116"/>
                <a:gd name="T79" fmla="*/ 127355 h 76"/>
                <a:gd name="T80" fmla="*/ 60872 w 116"/>
                <a:gd name="T81" fmla="*/ 134958 h 76"/>
                <a:gd name="T82" fmla="*/ 57068 w 116"/>
                <a:gd name="T83" fmla="*/ 142561 h 76"/>
                <a:gd name="T84" fmla="*/ 70384 w 116"/>
                <a:gd name="T85" fmla="*/ 140660 h 76"/>
                <a:gd name="T86" fmla="*/ 95113 w 116"/>
                <a:gd name="T87" fmla="*/ 142561 h 76"/>
                <a:gd name="T88" fmla="*/ 110331 w 116"/>
                <a:gd name="T89" fmla="*/ 144462 h 76"/>
                <a:gd name="T90" fmla="*/ 133158 w 116"/>
                <a:gd name="T91" fmla="*/ 140660 h 76"/>
                <a:gd name="T92" fmla="*/ 140767 w 116"/>
                <a:gd name="T93" fmla="*/ 134958 h 76"/>
                <a:gd name="T94" fmla="*/ 152181 w 116"/>
                <a:gd name="T95" fmla="*/ 133057 h 76"/>
                <a:gd name="T96" fmla="*/ 161692 w 116"/>
                <a:gd name="T97" fmla="*/ 133057 h 76"/>
                <a:gd name="T98" fmla="*/ 171203 w 116"/>
                <a:gd name="T99" fmla="*/ 136859 h 76"/>
                <a:gd name="T100" fmla="*/ 182617 w 116"/>
                <a:gd name="T101" fmla="*/ 138760 h 76"/>
                <a:gd name="T102" fmla="*/ 188324 w 116"/>
                <a:gd name="T103" fmla="*/ 142561 h 76"/>
                <a:gd name="T104" fmla="*/ 194030 w 116"/>
                <a:gd name="T105" fmla="*/ 142561 h 76"/>
                <a:gd name="T106" fmla="*/ 194030 w 116"/>
                <a:gd name="T107" fmla="*/ 129255 h 76"/>
                <a:gd name="T108" fmla="*/ 197835 w 116"/>
                <a:gd name="T109" fmla="*/ 121652 h 76"/>
                <a:gd name="T110" fmla="*/ 192128 w 116"/>
                <a:gd name="T111" fmla="*/ 114049 h 76"/>
                <a:gd name="T112" fmla="*/ 199737 w 116"/>
                <a:gd name="T113" fmla="*/ 104545 h 76"/>
                <a:gd name="T114" fmla="*/ 205444 w 116"/>
                <a:gd name="T115" fmla="*/ 106446 h 76"/>
                <a:gd name="T116" fmla="*/ 203542 w 116"/>
                <a:gd name="T117" fmla="*/ 117851 h 76"/>
                <a:gd name="T118" fmla="*/ 216857 w 116"/>
                <a:gd name="T119" fmla="*/ 114049 h 76"/>
                <a:gd name="T120" fmla="*/ 216857 w 116"/>
                <a:gd name="T121" fmla="*/ 10074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8" name="Freeform 96"/>
            <p:cNvSpPr>
              <a:spLocks noChangeAspect="1"/>
            </p:cNvSpPr>
            <p:nvPr/>
          </p:nvSpPr>
          <p:spPr bwMode="auto">
            <a:xfrm>
              <a:off x="4933987" y="1711230"/>
              <a:ext cx="81688" cy="88988"/>
            </a:xfrm>
            <a:custGeom>
              <a:avLst/>
              <a:gdLst>
                <a:gd name="T0" fmla="*/ 39540 w 43"/>
                <a:gd name="T1" fmla="*/ 109537 h 58"/>
                <a:gd name="T2" fmla="*/ 48954 w 43"/>
                <a:gd name="T3" fmla="*/ 98206 h 58"/>
                <a:gd name="T4" fmla="*/ 56486 w 43"/>
                <a:gd name="T5" fmla="*/ 83097 h 58"/>
                <a:gd name="T6" fmla="*/ 58369 w 43"/>
                <a:gd name="T7" fmla="*/ 69877 h 58"/>
                <a:gd name="T8" fmla="*/ 67783 w 43"/>
                <a:gd name="T9" fmla="*/ 71766 h 58"/>
                <a:gd name="T10" fmla="*/ 79080 w 43"/>
                <a:gd name="T11" fmla="*/ 71766 h 58"/>
                <a:gd name="T12" fmla="*/ 79080 w 43"/>
                <a:gd name="T13" fmla="*/ 58546 h 58"/>
                <a:gd name="T14" fmla="*/ 69666 w 43"/>
                <a:gd name="T15" fmla="*/ 54769 h 58"/>
                <a:gd name="T16" fmla="*/ 67783 w 43"/>
                <a:gd name="T17" fmla="*/ 41549 h 58"/>
                <a:gd name="T18" fmla="*/ 60252 w 43"/>
                <a:gd name="T19" fmla="*/ 32106 h 58"/>
                <a:gd name="T20" fmla="*/ 58369 w 43"/>
                <a:gd name="T21" fmla="*/ 18886 h 58"/>
                <a:gd name="T22" fmla="*/ 45189 w 43"/>
                <a:gd name="T23" fmla="*/ 15109 h 58"/>
                <a:gd name="T24" fmla="*/ 39540 w 43"/>
                <a:gd name="T25" fmla="*/ 15109 h 58"/>
                <a:gd name="T26" fmla="*/ 20711 w 43"/>
                <a:gd name="T27" fmla="*/ 1889 h 58"/>
                <a:gd name="T28" fmla="*/ 9414 w 43"/>
                <a:gd name="T29" fmla="*/ 3777 h 58"/>
                <a:gd name="T30" fmla="*/ 1883 w 43"/>
                <a:gd name="T31" fmla="*/ 3777 h 58"/>
                <a:gd name="T32" fmla="*/ 0 w 43"/>
                <a:gd name="T33" fmla="*/ 13220 h 58"/>
                <a:gd name="T34" fmla="*/ 9414 w 43"/>
                <a:gd name="T35" fmla="*/ 16997 h 58"/>
                <a:gd name="T36" fmla="*/ 16946 w 43"/>
                <a:gd name="T37" fmla="*/ 35883 h 58"/>
                <a:gd name="T38" fmla="*/ 32009 w 43"/>
                <a:gd name="T39" fmla="*/ 52880 h 58"/>
                <a:gd name="T40" fmla="*/ 43306 w 43"/>
                <a:gd name="T41" fmla="*/ 69877 h 58"/>
                <a:gd name="T42" fmla="*/ 35774 w 43"/>
                <a:gd name="T43" fmla="*/ 86874 h 58"/>
                <a:gd name="T44" fmla="*/ 39540 w 43"/>
                <a:gd name="T45" fmla="*/ 109537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9" name="Freeform 97"/>
            <p:cNvSpPr>
              <a:spLocks noChangeAspect="1"/>
            </p:cNvSpPr>
            <p:nvPr/>
          </p:nvSpPr>
          <p:spPr bwMode="auto">
            <a:xfrm>
              <a:off x="4831476" y="1605475"/>
              <a:ext cx="411640" cy="216666"/>
            </a:xfrm>
            <a:custGeom>
              <a:avLst/>
              <a:gdLst>
                <a:gd name="T0" fmla="*/ 354606 w 214"/>
                <a:gd name="T1" fmla="*/ 179070 h 140"/>
                <a:gd name="T2" fmla="*/ 312664 w 214"/>
                <a:gd name="T3" fmla="*/ 194310 h 140"/>
                <a:gd name="T4" fmla="*/ 293599 w 214"/>
                <a:gd name="T5" fmla="*/ 205740 h 140"/>
                <a:gd name="T6" fmla="*/ 268815 w 214"/>
                <a:gd name="T7" fmla="*/ 203835 h 140"/>
                <a:gd name="T8" fmla="*/ 299318 w 214"/>
                <a:gd name="T9" fmla="*/ 230505 h 140"/>
                <a:gd name="T10" fmla="*/ 327916 w 214"/>
                <a:gd name="T11" fmla="*/ 234315 h 140"/>
                <a:gd name="T12" fmla="*/ 318383 w 214"/>
                <a:gd name="T13" fmla="*/ 249555 h 140"/>
                <a:gd name="T14" fmla="*/ 291692 w 214"/>
                <a:gd name="T15" fmla="*/ 255270 h 140"/>
                <a:gd name="T16" fmla="*/ 263095 w 214"/>
                <a:gd name="T17" fmla="*/ 241935 h 140"/>
                <a:gd name="T18" fmla="*/ 266908 w 214"/>
                <a:gd name="T19" fmla="*/ 213360 h 140"/>
                <a:gd name="T20" fmla="*/ 232591 w 214"/>
                <a:gd name="T21" fmla="*/ 207645 h 140"/>
                <a:gd name="T22" fmla="*/ 219246 w 214"/>
                <a:gd name="T23" fmla="*/ 198120 h 140"/>
                <a:gd name="T24" fmla="*/ 230685 w 214"/>
                <a:gd name="T25" fmla="*/ 198120 h 140"/>
                <a:gd name="T26" fmla="*/ 205900 w 214"/>
                <a:gd name="T27" fmla="*/ 188595 h 140"/>
                <a:gd name="T28" fmla="*/ 184929 w 214"/>
                <a:gd name="T29" fmla="*/ 201930 h 140"/>
                <a:gd name="T30" fmla="*/ 186836 w 214"/>
                <a:gd name="T31" fmla="*/ 213360 h 140"/>
                <a:gd name="T32" fmla="*/ 173490 w 214"/>
                <a:gd name="T33" fmla="*/ 222885 h 140"/>
                <a:gd name="T34" fmla="*/ 165864 w 214"/>
                <a:gd name="T35" fmla="*/ 236220 h 140"/>
                <a:gd name="T36" fmla="*/ 141080 w 214"/>
                <a:gd name="T37" fmla="*/ 240030 h 140"/>
                <a:gd name="T38" fmla="*/ 160145 w 214"/>
                <a:gd name="T39" fmla="*/ 200025 h 140"/>
                <a:gd name="T40" fmla="*/ 181116 w 214"/>
                <a:gd name="T41" fmla="*/ 188595 h 140"/>
                <a:gd name="T42" fmla="*/ 162051 w 214"/>
                <a:gd name="T43" fmla="*/ 161925 h 140"/>
                <a:gd name="T44" fmla="*/ 141080 w 214"/>
                <a:gd name="T45" fmla="*/ 144780 h 140"/>
                <a:gd name="T46" fmla="*/ 102950 w 214"/>
                <a:gd name="T47" fmla="*/ 133350 h 140"/>
                <a:gd name="T48" fmla="*/ 85792 w 214"/>
                <a:gd name="T49" fmla="*/ 146685 h 140"/>
                <a:gd name="T50" fmla="*/ 55288 w 214"/>
                <a:gd name="T51" fmla="*/ 150495 h 140"/>
                <a:gd name="T52" fmla="*/ 22878 w 214"/>
                <a:gd name="T53" fmla="*/ 142875 h 140"/>
                <a:gd name="T54" fmla="*/ 9532 w 214"/>
                <a:gd name="T55" fmla="*/ 144780 h 140"/>
                <a:gd name="T56" fmla="*/ 0 w 214"/>
                <a:gd name="T57" fmla="*/ 133350 h 140"/>
                <a:gd name="T58" fmla="*/ 5719 w 214"/>
                <a:gd name="T59" fmla="*/ 114300 h 140"/>
                <a:gd name="T60" fmla="*/ 15252 w 214"/>
                <a:gd name="T61" fmla="*/ 108585 h 140"/>
                <a:gd name="T62" fmla="*/ 9532 w 214"/>
                <a:gd name="T63" fmla="*/ 93345 h 140"/>
                <a:gd name="T64" fmla="*/ 38130 w 214"/>
                <a:gd name="T65" fmla="*/ 70485 h 140"/>
                <a:gd name="T66" fmla="*/ 40036 w 214"/>
                <a:gd name="T67" fmla="*/ 55245 h 140"/>
                <a:gd name="T68" fmla="*/ 41943 w 214"/>
                <a:gd name="T69" fmla="*/ 32385 h 140"/>
                <a:gd name="T70" fmla="*/ 78166 w 214"/>
                <a:gd name="T71" fmla="*/ 20955 h 140"/>
                <a:gd name="T72" fmla="*/ 116296 w 214"/>
                <a:gd name="T73" fmla="*/ 32385 h 140"/>
                <a:gd name="T74" fmla="*/ 142986 w 214"/>
                <a:gd name="T75" fmla="*/ 34290 h 140"/>
                <a:gd name="T76" fmla="*/ 171584 w 214"/>
                <a:gd name="T77" fmla="*/ 34290 h 140"/>
                <a:gd name="T78" fmla="*/ 192555 w 214"/>
                <a:gd name="T79" fmla="*/ 15240 h 140"/>
                <a:gd name="T80" fmla="*/ 224965 w 214"/>
                <a:gd name="T81" fmla="*/ 5715 h 140"/>
                <a:gd name="T82" fmla="*/ 265002 w 214"/>
                <a:gd name="T83" fmla="*/ 15240 h 140"/>
                <a:gd name="T84" fmla="*/ 266908 w 214"/>
                <a:gd name="T85" fmla="*/ 40005 h 140"/>
                <a:gd name="T86" fmla="*/ 318383 w 214"/>
                <a:gd name="T87" fmla="*/ 70485 h 140"/>
                <a:gd name="T88" fmla="*/ 350793 w 214"/>
                <a:gd name="T89" fmla="*/ 76200 h 140"/>
                <a:gd name="T90" fmla="*/ 387017 w 214"/>
                <a:gd name="T91" fmla="*/ 89535 h 140"/>
                <a:gd name="T92" fmla="*/ 406082 w 214"/>
                <a:gd name="T93" fmla="*/ 110490 h 140"/>
                <a:gd name="T94" fmla="*/ 396549 w 214"/>
                <a:gd name="T95" fmla="*/ 123825 h 140"/>
                <a:gd name="T96" fmla="*/ 404175 w 214"/>
                <a:gd name="T97" fmla="*/ 146685 h 140"/>
                <a:gd name="T98" fmla="*/ 367952 w 214"/>
                <a:gd name="T99" fmla="*/ 167640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0" name="Freeform 98"/>
            <p:cNvSpPr>
              <a:spLocks noChangeAspect="1"/>
            </p:cNvSpPr>
            <p:nvPr/>
          </p:nvSpPr>
          <p:spPr bwMode="auto">
            <a:xfrm>
              <a:off x="5385669" y="1521646"/>
              <a:ext cx="938603" cy="397221"/>
            </a:xfrm>
            <a:custGeom>
              <a:avLst/>
              <a:gdLst>
                <a:gd name="T0" fmla="*/ 918837 w 488"/>
                <a:gd name="T1" fmla="*/ 242565 h 256"/>
                <a:gd name="T2" fmla="*/ 895962 w 488"/>
                <a:gd name="T3" fmla="*/ 290314 h 256"/>
                <a:gd name="T4" fmla="*/ 838773 w 488"/>
                <a:gd name="T5" fmla="*/ 338063 h 256"/>
                <a:gd name="T6" fmla="*/ 808272 w 488"/>
                <a:gd name="T7" fmla="*/ 351433 h 256"/>
                <a:gd name="T8" fmla="*/ 793021 w 488"/>
                <a:gd name="T9" fmla="*/ 368622 h 256"/>
                <a:gd name="T10" fmla="*/ 800647 w 488"/>
                <a:gd name="T11" fmla="*/ 439291 h 256"/>
                <a:gd name="T12" fmla="*/ 773958 w 488"/>
                <a:gd name="T13" fmla="*/ 425921 h 256"/>
                <a:gd name="T14" fmla="*/ 705332 w 488"/>
                <a:gd name="T15" fmla="*/ 420191 h 256"/>
                <a:gd name="T16" fmla="*/ 650049 w 488"/>
                <a:gd name="T17" fmla="*/ 412551 h 256"/>
                <a:gd name="T18" fmla="*/ 606204 w 488"/>
                <a:gd name="T19" fmla="*/ 427831 h 256"/>
                <a:gd name="T20" fmla="*/ 568078 w 488"/>
                <a:gd name="T21" fmla="*/ 448841 h 256"/>
                <a:gd name="T22" fmla="*/ 524233 w 488"/>
                <a:gd name="T23" fmla="*/ 473670 h 256"/>
                <a:gd name="T24" fmla="*/ 480388 w 488"/>
                <a:gd name="T25" fmla="*/ 462210 h 256"/>
                <a:gd name="T26" fmla="*/ 468950 w 488"/>
                <a:gd name="T27" fmla="*/ 425921 h 256"/>
                <a:gd name="T28" fmla="*/ 430824 w 488"/>
                <a:gd name="T29" fmla="*/ 403002 h 256"/>
                <a:gd name="T30" fmla="*/ 291664 w 488"/>
                <a:gd name="T31" fmla="*/ 330423 h 256"/>
                <a:gd name="T32" fmla="*/ 234475 w 488"/>
                <a:gd name="T33" fmla="*/ 471760 h 256"/>
                <a:gd name="T34" fmla="*/ 192536 w 488"/>
                <a:gd name="T35" fmla="*/ 437381 h 256"/>
                <a:gd name="T36" fmla="*/ 156317 w 488"/>
                <a:gd name="T37" fmla="*/ 441201 h 256"/>
                <a:gd name="T38" fmla="*/ 137254 w 488"/>
                <a:gd name="T39" fmla="*/ 412551 h 256"/>
                <a:gd name="T40" fmla="*/ 101034 w 488"/>
                <a:gd name="T41" fmla="*/ 370532 h 256"/>
                <a:gd name="T42" fmla="*/ 116284 w 488"/>
                <a:gd name="T43" fmla="*/ 355253 h 256"/>
                <a:gd name="T44" fmla="*/ 156317 w 488"/>
                <a:gd name="T45" fmla="*/ 330423 h 256"/>
                <a:gd name="T46" fmla="*/ 141066 w 488"/>
                <a:gd name="T47" fmla="*/ 294134 h 256"/>
                <a:gd name="T48" fmla="*/ 66721 w 488"/>
                <a:gd name="T49" fmla="*/ 309414 h 256"/>
                <a:gd name="T50" fmla="*/ 61002 w 488"/>
                <a:gd name="T51" fmla="*/ 292224 h 256"/>
                <a:gd name="T52" fmla="*/ 17157 w 488"/>
                <a:gd name="T53" fmla="*/ 259755 h 256"/>
                <a:gd name="T54" fmla="*/ 13344 w 488"/>
                <a:gd name="T55" fmla="*/ 215826 h 256"/>
                <a:gd name="T56" fmla="*/ 17157 w 488"/>
                <a:gd name="T57" fmla="*/ 168077 h 256"/>
                <a:gd name="T58" fmla="*/ 49564 w 488"/>
                <a:gd name="T59" fmla="*/ 181446 h 256"/>
                <a:gd name="T60" fmla="*/ 61002 w 488"/>
                <a:gd name="T61" fmla="*/ 147067 h 256"/>
                <a:gd name="T62" fmla="*/ 101034 w 488"/>
                <a:gd name="T63" fmla="*/ 135607 h 256"/>
                <a:gd name="T64" fmla="*/ 146785 w 488"/>
                <a:gd name="T65" fmla="*/ 133697 h 256"/>
                <a:gd name="T66" fmla="*/ 183005 w 488"/>
                <a:gd name="T67" fmla="*/ 166167 h 256"/>
                <a:gd name="T68" fmla="*/ 234475 w 488"/>
                <a:gd name="T69" fmla="*/ 148977 h 256"/>
                <a:gd name="T70" fmla="*/ 268789 w 488"/>
                <a:gd name="T71" fmla="*/ 160437 h 256"/>
                <a:gd name="T72" fmla="*/ 331696 w 488"/>
                <a:gd name="T73" fmla="*/ 150887 h 256"/>
                <a:gd name="T74" fmla="*/ 316446 w 488"/>
                <a:gd name="T75" fmla="*/ 108868 h 256"/>
                <a:gd name="T76" fmla="*/ 329790 w 488"/>
                <a:gd name="T77" fmla="*/ 80218 h 256"/>
                <a:gd name="T78" fmla="*/ 312633 w 488"/>
                <a:gd name="T79" fmla="*/ 55389 h 256"/>
                <a:gd name="T80" fmla="*/ 407948 w 488"/>
                <a:gd name="T81" fmla="*/ 42019 h 256"/>
                <a:gd name="T82" fmla="*/ 472763 w 488"/>
                <a:gd name="T83" fmla="*/ 5730 h 256"/>
                <a:gd name="T84" fmla="*/ 535671 w 488"/>
                <a:gd name="T85" fmla="*/ 26739 h 256"/>
                <a:gd name="T86" fmla="*/ 556640 w 488"/>
                <a:gd name="T87" fmla="*/ 42019 h 256"/>
                <a:gd name="T88" fmla="*/ 577609 w 488"/>
                <a:gd name="T89" fmla="*/ 53479 h 256"/>
                <a:gd name="T90" fmla="*/ 598579 w 488"/>
                <a:gd name="T91" fmla="*/ 66849 h 256"/>
                <a:gd name="T92" fmla="*/ 667205 w 488"/>
                <a:gd name="T93" fmla="*/ 40109 h 256"/>
                <a:gd name="T94" fmla="*/ 758708 w 488"/>
                <a:gd name="T95" fmla="*/ 160437 h 256"/>
                <a:gd name="T96" fmla="*/ 783490 w 488"/>
                <a:gd name="T97" fmla="*/ 154707 h 256"/>
                <a:gd name="T98" fmla="*/ 817803 w 488"/>
                <a:gd name="T99" fmla="*/ 164257 h 256"/>
                <a:gd name="T100" fmla="*/ 874992 w 488"/>
                <a:gd name="T101" fmla="*/ 183356 h 256"/>
                <a:gd name="T102" fmla="*/ 913118 w 488"/>
                <a:gd name="T103" fmla="*/ 192906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1" name="Freeform 99"/>
            <p:cNvSpPr>
              <a:spLocks noChangeAspect="1"/>
            </p:cNvSpPr>
            <p:nvPr/>
          </p:nvSpPr>
          <p:spPr bwMode="auto">
            <a:xfrm>
              <a:off x="4932386" y="1880176"/>
              <a:ext cx="445276" cy="161210"/>
            </a:xfrm>
            <a:custGeom>
              <a:avLst/>
              <a:gdLst>
                <a:gd name="T0" fmla="*/ 245392 w 232"/>
                <a:gd name="T1" fmla="*/ 196530 h 104"/>
                <a:gd name="T2" fmla="*/ 254903 w 232"/>
                <a:gd name="T3" fmla="*/ 173633 h 104"/>
                <a:gd name="T4" fmla="*/ 292949 w 232"/>
                <a:gd name="T5" fmla="*/ 171725 h 104"/>
                <a:gd name="T6" fmla="*/ 336701 w 232"/>
                <a:gd name="T7" fmla="*/ 167909 h 104"/>
                <a:gd name="T8" fmla="*/ 380453 w 232"/>
                <a:gd name="T9" fmla="*/ 154553 h 104"/>
                <a:gd name="T10" fmla="*/ 395671 w 232"/>
                <a:gd name="T11" fmla="*/ 150737 h 104"/>
                <a:gd name="T12" fmla="*/ 418498 w 232"/>
                <a:gd name="T13" fmla="*/ 160277 h 104"/>
                <a:gd name="T14" fmla="*/ 429911 w 232"/>
                <a:gd name="T15" fmla="*/ 164093 h 104"/>
                <a:gd name="T16" fmla="*/ 439423 w 232"/>
                <a:gd name="T17" fmla="*/ 148829 h 104"/>
                <a:gd name="T18" fmla="*/ 428009 w 232"/>
                <a:gd name="T19" fmla="*/ 127840 h 104"/>
                <a:gd name="T20" fmla="*/ 420400 w 232"/>
                <a:gd name="T21" fmla="*/ 91587 h 104"/>
                <a:gd name="T22" fmla="*/ 428009 w 232"/>
                <a:gd name="T23" fmla="*/ 70598 h 104"/>
                <a:gd name="T24" fmla="*/ 407084 w 232"/>
                <a:gd name="T25" fmla="*/ 61058 h 104"/>
                <a:gd name="T26" fmla="*/ 403280 w 232"/>
                <a:gd name="T27" fmla="*/ 34345 h 104"/>
                <a:gd name="T28" fmla="*/ 380453 w 232"/>
                <a:gd name="T29" fmla="*/ 22897 h 104"/>
                <a:gd name="T30" fmla="*/ 357625 w 232"/>
                <a:gd name="T31" fmla="*/ 26713 h 104"/>
                <a:gd name="T32" fmla="*/ 342407 w 232"/>
                <a:gd name="T33" fmla="*/ 34345 h 104"/>
                <a:gd name="T34" fmla="*/ 310069 w 232"/>
                <a:gd name="T35" fmla="*/ 38161 h 104"/>
                <a:gd name="T36" fmla="*/ 291046 w 232"/>
                <a:gd name="T37" fmla="*/ 41977 h 104"/>
                <a:gd name="T38" fmla="*/ 264415 w 232"/>
                <a:gd name="T39" fmla="*/ 34345 h 104"/>
                <a:gd name="T40" fmla="*/ 245392 w 232"/>
                <a:gd name="T41" fmla="*/ 28621 h 104"/>
                <a:gd name="T42" fmla="*/ 232076 w 232"/>
                <a:gd name="T43" fmla="*/ 30529 h 104"/>
                <a:gd name="T44" fmla="*/ 218760 w 232"/>
                <a:gd name="T45" fmla="*/ 19081 h 104"/>
                <a:gd name="T46" fmla="*/ 209249 w 232"/>
                <a:gd name="T47" fmla="*/ 3816 h 104"/>
                <a:gd name="T48" fmla="*/ 195933 w 232"/>
                <a:gd name="T49" fmla="*/ 7632 h 104"/>
                <a:gd name="T50" fmla="*/ 165497 w 232"/>
                <a:gd name="T51" fmla="*/ 5724 h 104"/>
                <a:gd name="T52" fmla="*/ 125549 w 232"/>
                <a:gd name="T53" fmla="*/ 28621 h 104"/>
                <a:gd name="T54" fmla="*/ 100820 w 232"/>
                <a:gd name="T55" fmla="*/ 34345 h 104"/>
                <a:gd name="T56" fmla="*/ 81797 w 232"/>
                <a:gd name="T57" fmla="*/ 28621 h 104"/>
                <a:gd name="T58" fmla="*/ 64677 w 232"/>
                <a:gd name="T59" fmla="*/ 36253 h 104"/>
                <a:gd name="T60" fmla="*/ 91309 w 232"/>
                <a:gd name="T61" fmla="*/ 43885 h 104"/>
                <a:gd name="T62" fmla="*/ 74188 w 232"/>
                <a:gd name="T63" fmla="*/ 47701 h 104"/>
                <a:gd name="T64" fmla="*/ 72286 w 232"/>
                <a:gd name="T65" fmla="*/ 53426 h 104"/>
                <a:gd name="T66" fmla="*/ 83700 w 232"/>
                <a:gd name="T67" fmla="*/ 57242 h 104"/>
                <a:gd name="T68" fmla="*/ 68481 w 232"/>
                <a:gd name="T69" fmla="*/ 62966 h 104"/>
                <a:gd name="T70" fmla="*/ 60872 w 232"/>
                <a:gd name="T71" fmla="*/ 57242 h 104"/>
                <a:gd name="T72" fmla="*/ 51361 w 232"/>
                <a:gd name="T73" fmla="*/ 64874 h 104"/>
                <a:gd name="T74" fmla="*/ 45654 w 232"/>
                <a:gd name="T75" fmla="*/ 61058 h 104"/>
                <a:gd name="T76" fmla="*/ 39948 w 232"/>
                <a:gd name="T77" fmla="*/ 59150 h 104"/>
                <a:gd name="T78" fmla="*/ 17120 w 232"/>
                <a:gd name="T79" fmla="*/ 61058 h 104"/>
                <a:gd name="T80" fmla="*/ 3805 w 232"/>
                <a:gd name="T81" fmla="*/ 83955 h 104"/>
                <a:gd name="T82" fmla="*/ 17120 w 232"/>
                <a:gd name="T83" fmla="*/ 91587 h 104"/>
                <a:gd name="T84" fmla="*/ 19023 w 232"/>
                <a:gd name="T85" fmla="*/ 103035 h 104"/>
                <a:gd name="T86" fmla="*/ 19023 w 232"/>
                <a:gd name="T87" fmla="*/ 110667 h 104"/>
                <a:gd name="T88" fmla="*/ 17120 w 232"/>
                <a:gd name="T89" fmla="*/ 120208 h 104"/>
                <a:gd name="T90" fmla="*/ 11414 w 232"/>
                <a:gd name="T91" fmla="*/ 125932 h 104"/>
                <a:gd name="T92" fmla="*/ 32338 w 232"/>
                <a:gd name="T93" fmla="*/ 133564 h 104"/>
                <a:gd name="T94" fmla="*/ 39948 w 232"/>
                <a:gd name="T95" fmla="*/ 156461 h 104"/>
                <a:gd name="T96" fmla="*/ 53263 w 232"/>
                <a:gd name="T97" fmla="*/ 166001 h 104"/>
                <a:gd name="T98" fmla="*/ 51361 w 232"/>
                <a:gd name="T99" fmla="*/ 173633 h 104"/>
                <a:gd name="T100" fmla="*/ 58970 w 232"/>
                <a:gd name="T101" fmla="*/ 173633 h 104"/>
                <a:gd name="T102" fmla="*/ 76091 w 232"/>
                <a:gd name="T103" fmla="*/ 175541 h 104"/>
                <a:gd name="T104" fmla="*/ 108429 w 232"/>
                <a:gd name="T105" fmla="*/ 185082 h 104"/>
                <a:gd name="T106" fmla="*/ 116038 w 232"/>
                <a:gd name="T107" fmla="*/ 167909 h 104"/>
                <a:gd name="T108" fmla="*/ 154083 w 232"/>
                <a:gd name="T109" fmla="*/ 188898 h 104"/>
                <a:gd name="T110" fmla="*/ 192129 w 232"/>
                <a:gd name="T111" fmla="*/ 185082 h 104"/>
                <a:gd name="T112" fmla="*/ 222565 w 232"/>
                <a:gd name="T113" fmla="*/ 179357 h 104"/>
                <a:gd name="T114" fmla="*/ 239685 w 232"/>
                <a:gd name="T115" fmla="*/ 167909 h 104"/>
                <a:gd name="T116" fmla="*/ 235881 w 232"/>
                <a:gd name="T117" fmla="*/ 186990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2" name="Freeform 100"/>
            <p:cNvSpPr>
              <a:spLocks noChangeAspect="1"/>
            </p:cNvSpPr>
            <p:nvPr/>
          </p:nvSpPr>
          <p:spPr bwMode="auto">
            <a:xfrm>
              <a:off x="4913164" y="2141982"/>
              <a:ext cx="275494" cy="242460"/>
            </a:xfrm>
            <a:custGeom>
              <a:avLst/>
              <a:gdLst>
                <a:gd name="T0" fmla="*/ 265465 w 144"/>
                <a:gd name="T1" fmla="*/ 254728 h 157"/>
                <a:gd name="T2" fmla="*/ 261673 w 144"/>
                <a:gd name="T3" fmla="*/ 233817 h 157"/>
                <a:gd name="T4" fmla="*/ 271154 w 144"/>
                <a:gd name="T5" fmla="*/ 233817 h 157"/>
                <a:gd name="T6" fmla="*/ 255984 w 144"/>
                <a:gd name="T7" fmla="*/ 214808 h 157"/>
                <a:gd name="T8" fmla="*/ 238919 w 144"/>
                <a:gd name="T9" fmla="*/ 188195 h 157"/>
                <a:gd name="T10" fmla="*/ 223749 w 144"/>
                <a:gd name="T11" fmla="*/ 157779 h 157"/>
                <a:gd name="T12" fmla="*/ 216165 w 144"/>
                <a:gd name="T13" fmla="*/ 133067 h 157"/>
                <a:gd name="T14" fmla="*/ 208580 w 144"/>
                <a:gd name="T15" fmla="*/ 114057 h 157"/>
                <a:gd name="T16" fmla="*/ 189618 w 144"/>
                <a:gd name="T17" fmla="*/ 93147 h 157"/>
                <a:gd name="T18" fmla="*/ 180137 w 144"/>
                <a:gd name="T19" fmla="*/ 68434 h 157"/>
                <a:gd name="T20" fmla="*/ 182033 w 144"/>
                <a:gd name="T21" fmla="*/ 49425 h 157"/>
                <a:gd name="T22" fmla="*/ 174449 w 144"/>
                <a:gd name="T23" fmla="*/ 36118 h 157"/>
                <a:gd name="T24" fmla="*/ 176345 w 144"/>
                <a:gd name="T25" fmla="*/ 19010 h 157"/>
                <a:gd name="T26" fmla="*/ 164968 w 144"/>
                <a:gd name="T27" fmla="*/ 15208 h 157"/>
                <a:gd name="T28" fmla="*/ 151694 w 144"/>
                <a:gd name="T29" fmla="*/ 9505 h 157"/>
                <a:gd name="T30" fmla="*/ 144110 w 144"/>
                <a:gd name="T31" fmla="*/ 11406 h 157"/>
                <a:gd name="T32" fmla="*/ 132733 w 144"/>
                <a:gd name="T33" fmla="*/ 11406 h 157"/>
                <a:gd name="T34" fmla="*/ 123252 w 144"/>
                <a:gd name="T35" fmla="*/ 19010 h 157"/>
                <a:gd name="T36" fmla="*/ 106186 w 144"/>
                <a:gd name="T37" fmla="*/ 28514 h 157"/>
                <a:gd name="T38" fmla="*/ 89120 w 144"/>
                <a:gd name="T39" fmla="*/ 19010 h 157"/>
                <a:gd name="T40" fmla="*/ 73951 w 144"/>
                <a:gd name="T41" fmla="*/ 15208 h 157"/>
                <a:gd name="T42" fmla="*/ 58782 w 144"/>
                <a:gd name="T43" fmla="*/ 9505 h 157"/>
                <a:gd name="T44" fmla="*/ 37924 w 144"/>
                <a:gd name="T45" fmla="*/ 3802 h 157"/>
                <a:gd name="T46" fmla="*/ 20858 w 144"/>
                <a:gd name="T47" fmla="*/ 3802 h 157"/>
                <a:gd name="T48" fmla="*/ 11377 w 144"/>
                <a:gd name="T49" fmla="*/ 0 h 157"/>
                <a:gd name="T50" fmla="*/ 5689 w 144"/>
                <a:gd name="T51" fmla="*/ 9505 h 157"/>
                <a:gd name="T52" fmla="*/ 5689 w 144"/>
                <a:gd name="T53" fmla="*/ 30415 h 157"/>
                <a:gd name="T54" fmla="*/ 0 w 144"/>
                <a:gd name="T55" fmla="*/ 45623 h 157"/>
                <a:gd name="T56" fmla="*/ 7585 w 144"/>
                <a:gd name="T57" fmla="*/ 76038 h 157"/>
                <a:gd name="T58" fmla="*/ 13273 w 144"/>
                <a:gd name="T59" fmla="*/ 285143 h 157"/>
                <a:gd name="T60" fmla="*/ 210476 w 144"/>
                <a:gd name="T61" fmla="*/ 285143 h 157"/>
                <a:gd name="T62" fmla="*/ 218061 w 144"/>
                <a:gd name="T63" fmla="*/ 296549 h 157"/>
                <a:gd name="T64" fmla="*/ 229438 w 144"/>
                <a:gd name="T65" fmla="*/ 290846 h 157"/>
                <a:gd name="T66" fmla="*/ 231334 w 144"/>
                <a:gd name="T67" fmla="*/ 279440 h 157"/>
                <a:gd name="T68" fmla="*/ 240815 w 144"/>
                <a:gd name="T69" fmla="*/ 275639 h 157"/>
                <a:gd name="T70" fmla="*/ 244607 w 144"/>
                <a:gd name="T71" fmla="*/ 266134 h 157"/>
                <a:gd name="T72" fmla="*/ 255984 w 144"/>
                <a:gd name="T73" fmla="*/ 266134 h 157"/>
                <a:gd name="T74" fmla="*/ 265465 w 144"/>
                <a:gd name="T75" fmla="*/ 254728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3" name="Freeform 101"/>
            <p:cNvSpPr>
              <a:spLocks noChangeAspect="1"/>
            </p:cNvSpPr>
            <p:nvPr/>
          </p:nvSpPr>
          <p:spPr bwMode="auto">
            <a:xfrm>
              <a:off x="5137404" y="2105871"/>
              <a:ext cx="35238" cy="90278"/>
            </a:xfrm>
            <a:custGeom>
              <a:avLst/>
              <a:gdLst>
                <a:gd name="T0" fmla="*/ 0 w 18"/>
                <a:gd name="T1" fmla="*/ 63226 h 58"/>
                <a:gd name="T2" fmla="*/ 21343 w 18"/>
                <a:gd name="T3" fmla="*/ 111125 h 58"/>
                <a:gd name="T4" fmla="*/ 21343 w 18"/>
                <a:gd name="T5" fmla="*/ 95797 h 58"/>
                <a:gd name="T6" fmla="*/ 25224 w 18"/>
                <a:gd name="T7" fmla="*/ 72806 h 58"/>
                <a:gd name="T8" fmla="*/ 27164 w 18"/>
                <a:gd name="T9" fmla="*/ 61310 h 58"/>
                <a:gd name="T10" fmla="*/ 21343 w 18"/>
                <a:gd name="T11" fmla="*/ 61310 h 58"/>
                <a:gd name="T12" fmla="*/ 19403 w 18"/>
                <a:gd name="T13" fmla="*/ 55563 h 58"/>
                <a:gd name="T14" fmla="*/ 21343 w 18"/>
                <a:gd name="T15" fmla="*/ 44067 h 58"/>
                <a:gd name="T16" fmla="*/ 19403 w 18"/>
                <a:gd name="T17" fmla="*/ 34487 h 58"/>
                <a:gd name="T18" fmla="*/ 23283 w 18"/>
                <a:gd name="T19" fmla="*/ 26823 h 58"/>
                <a:gd name="T20" fmla="*/ 31044 w 18"/>
                <a:gd name="T21" fmla="*/ 22991 h 58"/>
                <a:gd name="T22" fmla="*/ 32985 w 18"/>
                <a:gd name="T23" fmla="*/ 13412 h 58"/>
                <a:gd name="T24" fmla="*/ 34925 w 18"/>
                <a:gd name="T25" fmla="*/ 0 h 58"/>
                <a:gd name="T26" fmla="*/ 29104 w 18"/>
                <a:gd name="T27" fmla="*/ 1916 h 58"/>
                <a:gd name="T28" fmla="*/ 23283 w 18"/>
                <a:gd name="T29" fmla="*/ 3832 h 58"/>
                <a:gd name="T30" fmla="*/ 19403 w 18"/>
                <a:gd name="T31" fmla="*/ 15328 h 58"/>
                <a:gd name="T32" fmla="*/ 15522 w 18"/>
                <a:gd name="T33" fmla="*/ 28739 h 58"/>
                <a:gd name="T34" fmla="*/ 11642 w 18"/>
                <a:gd name="T35" fmla="*/ 45983 h 58"/>
                <a:gd name="T36" fmla="*/ 7761 w 18"/>
                <a:gd name="T37" fmla="*/ 55563 h 58"/>
                <a:gd name="T38" fmla="*/ 0 w 18"/>
                <a:gd name="T39" fmla="*/ 63226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4" name="Freeform 102"/>
            <p:cNvSpPr>
              <a:spLocks noChangeAspect="1"/>
            </p:cNvSpPr>
            <p:nvPr/>
          </p:nvSpPr>
          <p:spPr bwMode="auto">
            <a:xfrm>
              <a:off x="5156625" y="2123926"/>
              <a:ext cx="11212" cy="33532"/>
            </a:xfrm>
            <a:custGeom>
              <a:avLst/>
              <a:gdLst>
                <a:gd name="T0" fmla="*/ 7408 w 6"/>
                <a:gd name="T1" fmla="*/ 39310 h 21"/>
                <a:gd name="T2" fmla="*/ 9260 w 6"/>
                <a:gd name="T3" fmla="*/ 15724 h 21"/>
                <a:gd name="T4" fmla="*/ 11112 w 6"/>
                <a:gd name="T5" fmla="*/ 0 h 21"/>
                <a:gd name="T6" fmla="*/ 3704 w 6"/>
                <a:gd name="T7" fmla="*/ 3931 h 21"/>
                <a:gd name="T8" fmla="*/ 0 w 6"/>
                <a:gd name="T9" fmla="*/ 11793 h 21"/>
                <a:gd name="T10" fmla="*/ 1852 w 6"/>
                <a:gd name="T11" fmla="*/ 21620 h 21"/>
                <a:gd name="T12" fmla="*/ 0 w 6"/>
                <a:gd name="T13" fmla="*/ 33413 h 21"/>
                <a:gd name="T14" fmla="*/ 1852 w 6"/>
                <a:gd name="T15" fmla="*/ 39310 h 21"/>
                <a:gd name="T16" fmla="*/ 7408 w 6"/>
                <a:gd name="T17" fmla="*/ 3931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5" name="Freeform 103"/>
            <p:cNvSpPr>
              <a:spLocks noChangeAspect="1"/>
            </p:cNvSpPr>
            <p:nvPr/>
          </p:nvSpPr>
          <p:spPr bwMode="auto">
            <a:xfrm>
              <a:off x="5167836" y="2005276"/>
              <a:ext cx="153765" cy="128968"/>
            </a:xfrm>
            <a:custGeom>
              <a:avLst/>
              <a:gdLst>
                <a:gd name="T0" fmla="*/ 3810 w 80"/>
                <a:gd name="T1" fmla="*/ 124322 h 83"/>
                <a:gd name="T2" fmla="*/ 7620 w 80"/>
                <a:gd name="T3" fmla="*/ 124322 h 83"/>
                <a:gd name="T4" fmla="*/ 11430 w 80"/>
                <a:gd name="T5" fmla="*/ 110934 h 83"/>
                <a:gd name="T6" fmla="*/ 20955 w 80"/>
                <a:gd name="T7" fmla="*/ 110934 h 83"/>
                <a:gd name="T8" fmla="*/ 26670 w 80"/>
                <a:gd name="T9" fmla="*/ 99458 h 83"/>
                <a:gd name="T10" fmla="*/ 19050 w 80"/>
                <a:gd name="T11" fmla="*/ 86069 h 83"/>
                <a:gd name="T12" fmla="*/ 9525 w 80"/>
                <a:gd name="T13" fmla="*/ 84157 h 83"/>
                <a:gd name="T14" fmla="*/ 7620 w 80"/>
                <a:gd name="T15" fmla="*/ 66943 h 83"/>
                <a:gd name="T16" fmla="*/ 9525 w 80"/>
                <a:gd name="T17" fmla="*/ 57380 h 83"/>
                <a:gd name="T18" fmla="*/ 3810 w 80"/>
                <a:gd name="T19" fmla="*/ 53554 h 83"/>
                <a:gd name="T20" fmla="*/ 3810 w 80"/>
                <a:gd name="T21" fmla="*/ 43991 h 83"/>
                <a:gd name="T22" fmla="*/ 11430 w 80"/>
                <a:gd name="T23" fmla="*/ 42078 h 83"/>
                <a:gd name="T24" fmla="*/ 20955 w 80"/>
                <a:gd name="T25" fmla="*/ 30602 h 83"/>
                <a:gd name="T26" fmla="*/ 20955 w 80"/>
                <a:gd name="T27" fmla="*/ 19127 h 83"/>
                <a:gd name="T28" fmla="*/ 40005 w 80"/>
                <a:gd name="T29" fmla="*/ 24864 h 83"/>
                <a:gd name="T30" fmla="*/ 59055 w 80"/>
                <a:gd name="T31" fmla="*/ 17214 h 83"/>
                <a:gd name="T32" fmla="*/ 78105 w 80"/>
                <a:gd name="T33" fmla="*/ 24864 h 83"/>
                <a:gd name="T34" fmla="*/ 102870 w 80"/>
                <a:gd name="T35" fmla="*/ 13389 h 83"/>
                <a:gd name="T36" fmla="*/ 131445 w 80"/>
                <a:gd name="T37" fmla="*/ 3825 h 83"/>
                <a:gd name="T38" fmla="*/ 146685 w 80"/>
                <a:gd name="T39" fmla="*/ 0 h 83"/>
                <a:gd name="T40" fmla="*/ 152400 w 80"/>
                <a:gd name="T41" fmla="*/ 3825 h 83"/>
                <a:gd name="T42" fmla="*/ 144780 w 80"/>
                <a:gd name="T43" fmla="*/ 17214 h 83"/>
                <a:gd name="T44" fmla="*/ 131445 w 80"/>
                <a:gd name="T45" fmla="*/ 24864 h 83"/>
                <a:gd name="T46" fmla="*/ 125730 w 80"/>
                <a:gd name="T47" fmla="*/ 34428 h 83"/>
                <a:gd name="T48" fmla="*/ 129540 w 80"/>
                <a:gd name="T49" fmla="*/ 51642 h 83"/>
                <a:gd name="T50" fmla="*/ 127635 w 80"/>
                <a:gd name="T51" fmla="*/ 63117 h 83"/>
                <a:gd name="T52" fmla="*/ 123825 w 80"/>
                <a:gd name="T53" fmla="*/ 82244 h 83"/>
                <a:gd name="T54" fmla="*/ 108585 w 80"/>
                <a:gd name="T55" fmla="*/ 91807 h 83"/>
                <a:gd name="T56" fmla="*/ 104775 w 80"/>
                <a:gd name="T57" fmla="*/ 99458 h 83"/>
                <a:gd name="T58" fmla="*/ 80010 w 80"/>
                <a:gd name="T59" fmla="*/ 118584 h 83"/>
                <a:gd name="T60" fmla="*/ 30480 w 80"/>
                <a:gd name="T61" fmla="*/ 153012 h 83"/>
                <a:gd name="T62" fmla="*/ 24765 w 80"/>
                <a:gd name="T63" fmla="*/ 158750 h 83"/>
                <a:gd name="T64" fmla="*/ 24765 w 80"/>
                <a:gd name="T65" fmla="*/ 153012 h 83"/>
                <a:gd name="T66" fmla="*/ 0 w 80"/>
                <a:gd name="T67" fmla="*/ 147274 h 83"/>
                <a:gd name="T68" fmla="*/ 1905 w 80"/>
                <a:gd name="T69" fmla="*/ 137711 h 83"/>
                <a:gd name="T70" fmla="*/ 3810 w 80"/>
                <a:gd name="T71" fmla="*/ 124322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6" name="Freeform 104"/>
            <p:cNvSpPr>
              <a:spLocks noChangeAspect="1"/>
            </p:cNvSpPr>
            <p:nvPr/>
          </p:nvSpPr>
          <p:spPr bwMode="auto">
            <a:xfrm>
              <a:off x="5159829" y="2073629"/>
              <a:ext cx="35238" cy="34822"/>
            </a:xfrm>
            <a:custGeom>
              <a:avLst/>
              <a:gdLst>
                <a:gd name="T0" fmla="*/ 0 w 18"/>
                <a:gd name="T1" fmla="*/ 42863 h 23"/>
                <a:gd name="T2" fmla="*/ 1940 w 18"/>
                <a:gd name="T3" fmla="*/ 27954 h 23"/>
                <a:gd name="T4" fmla="*/ 11642 w 18"/>
                <a:gd name="T5" fmla="*/ 13045 h 23"/>
                <a:gd name="T6" fmla="*/ 17463 w 18"/>
                <a:gd name="T7" fmla="*/ 0 h 23"/>
                <a:gd name="T8" fmla="*/ 27164 w 18"/>
                <a:gd name="T9" fmla="*/ 1864 h 23"/>
                <a:gd name="T10" fmla="*/ 34925 w 18"/>
                <a:gd name="T11" fmla="*/ 14909 h 23"/>
                <a:gd name="T12" fmla="*/ 29104 w 18"/>
                <a:gd name="T13" fmla="*/ 26091 h 23"/>
                <a:gd name="T14" fmla="*/ 19403 w 18"/>
                <a:gd name="T15" fmla="*/ 26091 h 23"/>
                <a:gd name="T16" fmla="*/ 15522 w 18"/>
                <a:gd name="T17" fmla="*/ 39136 h 23"/>
                <a:gd name="T18" fmla="*/ 11642 w 18"/>
                <a:gd name="T19" fmla="*/ 39136 h 23"/>
                <a:gd name="T20" fmla="*/ 5821 w 18"/>
                <a:gd name="T21" fmla="*/ 40999 h 23"/>
                <a:gd name="T22" fmla="*/ 0 w 18"/>
                <a:gd name="T23" fmla="*/ 4286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7" name="Freeform 105"/>
            <p:cNvSpPr>
              <a:spLocks noChangeAspect="1"/>
            </p:cNvSpPr>
            <p:nvPr/>
          </p:nvSpPr>
          <p:spPr bwMode="auto">
            <a:xfrm>
              <a:off x="5150217" y="2129085"/>
              <a:ext cx="514149" cy="374007"/>
            </a:xfrm>
            <a:custGeom>
              <a:avLst/>
              <a:gdLst>
                <a:gd name="T0" fmla="*/ 395073 w 267"/>
                <a:gd name="T1" fmla="*/ 230188 h 242"/>
                <a:gd name="T2" fmla="*/ 385530 w 267"/>
                <a:gd name="T3" fmla="*/ 209261 h 242"/>
                <a:gd name="T4" fmla="*/ 368353 w 267"/>
                <a:gd name="T5" fmla="*/ 186433 h 242"/>
                <a:gd name="T6" fmla="*/ 370262 w 267"/>
                <a:gd name="T7" fmla="*/ 163604 h 242"/>
                <a:gd name="T8" fmla="*/ 349267 w 267"/>
                <a:gd name="T9" fmla="*/ 144581 h 242"/>
                <a:gd name="T10" fmla="*/ 339725 w 267"/>
                <a:gd name="T11" fmla="*/ 133166 h 242"/>
                <a:gd name="T12" fmla="*/ 309188 w 267"/>
                <a:gd name="T13" fmla="*/ 114143 h 242"/>
                <a:gd name="T14" fmla="*/ 278651 w 267"/>
                <a:gd name="T15" fmla="*/ 93216 h 242"/>
                <a:gd name="T16" fmla="*/ 179405 w 267"/>
                <a:gd name="T17" fmla="*/ 38048 h 242"/>
                <a:gd name="T18" fmla="*/ 141234 w 267"/>
                <a:gd name="T19" fmla="*/ 11414 h 242"/>
                <a:gd name="T20" fmla="*/ 99245 w 267"/>
                <a:gd name="T21" fmla="*/ 9512 h 242"/>
                <a:gd name="T22" fmla="*/ 55348 w 267"/>
                <a:gd name="T23" fmla="*/ 24731 h 242"/>
                <a:gd name="T24" fmla="*/ 68708 w 267"/>
                <a:gd name="T25" fmla="*/ 58974 h 242"/>
                <a:gd name="T26" fmla="*/ 43897 w 267"/>
                <a:gd name="T27" fmla="*/ 74193 h 242"/>
                <a:gd name="T28" fmla="*/ 7634 w 267"/>
                <a:gd name="T29" fmla="*/ 89412 h 242"/>
                <a:gd name="T30" fmla="*/ 1909 w 267"/>
                <a:gd name="T31" fmla="*/ 125557 h 242"/>
                <a:gd name="T32" fmla="*/ 20994 w 267"/>
                <a:gd name="T33" fmla="*/ 125557 h 242"/>
                <a:gd name="T34" fmla="*/ 49623 w 267"/>
                <a:gd name="T35" fmla="*/ 180726 h 242"/>
                <a:gd name="T36" fmla="*/ 70617 w 267"/>
                <a:gd name="T37" fmla="*/ 209261 h 242"/>
                <a:gd name="T38" fmla="*/ 82068 w 267"/>
                <a:gd name="T39" fmla="*/ 235895 h 242"/>
                <a:gd name="T40" fmla="*/ 104971 w 267"/>
                <a:gd name="T41" fmla="*/ 262528 h 242"/>
                <a:gd name="T42" fmla="*/ 112605 w 267"/>
                <a:gd name="T43" fmla="*/ 302478 h 242"/>
                <a:gd name="T44" fmla="*/ 127874 w 267"/>
                <a:gd name="T45" fmla="*/ 344330 h 242"/>
                <a:gd name="T46" fmla="*/ 152685 w 267"/>
                <a:gd name="T47" fmla="*/ 367159 h 242"/>
                <a:gd name="T48" fmla="*/ 169862 w 267"/>
                <a:gd name="T49" fmla="*/ 395694 h 242"/>
                <a:gd name="T50" fmla="*/ 190857 w 267"/>
                <a:gd name="T51" fmla="*/ 437546 h 242"/>
                <a:gd name="T52" fmla="*/ 200399 w 267"/>
                <a:gd name="T53" fmla="*/ 445156 h 242"/>
                <a:gd name="T54" fmla="*/ 215668 w 267"/>
                <a:gd name="T55" fmla="*/ 450863 h 242"/>
                <a:gd name="T56" fmla="*/ 221394 w 267"/>
                <a:gd name="T57" fmla="*/ 429937 h 242"/>
                <a:gd name="T58" fmla="*/ 295828 w 267"/>
                <a:gd name="T59" fmla="*/ 429937 h 242"/>
                <a:gd name="T60" fmla="*/ 322548 w 267"/>
                <a:gd name="T61" fmla="*/ 437546 h 242"/>
                <a:gd name="T62" fmla="*/ 423701 w 267"/>
                <a:gd name="T63" fmla="*/ 384280 h 242"/>
                <a:gd name="T64" fmla="*/ 509587 w 267"/>
                <a:gd name="T65" fmla="*/ 300575 h 242"/>
                <a:gd name="T66" fmla="*/ 490501 w 267"/>
                <a:gd name="T67" fmla="*/ 285356 h 242"/>
                <a:gd name="T68" fmla="*/ 408433 w 267"/>
                <a:gd name="T69" fmla="*/ 247309 h 242"/>
                <a:gd name="T70" fmla="*/ 410342 w 267"/>
                <a:gd name="T71" fmla="*/ 235895 h 242"/>
                <a:gd name="T72" fmla="*/ 408433 w 267"/>
                <a:gd name="T73" fmla="*/ 230188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8" name="Freeform 106"/>
            <p:cNvSpPr>
              <a:spLocks noChangeAspect="1"/>
            </p:cNvSpPr>
            <p:nvPr/>
          </p:nvSpPr>
          <p:spPr bwMode="auto">
            <a:xfrm>
              <a:off x="5158226" y="2100712"/>
              <a:ext cx="104112" cy="104464"/>
            </a:xfrm>
            <a:custGeom>
              <a:avLst/>
              <a:gdLst>
                <a:gd name="T0" fmla="*/ 0 w 54"/>
                <a:gd name="T1" fmla="*/ 124749 h 67"/>
                <a:gd name="T2" fmla="*/ 0 w 54"/>
                <a:gd name="T3" fmla="*/ 120910 h 67"/>
                <a:gd name="T4" fmla="*/ 0 w 54"/>
                <a:gd name="T5" fmla="*/ 117072 h 67"/>
                <a:gd name="T6" fmla="*/ 0 w 54"/>
                <a:gd name="T7" fmla="*/ 101718 h 67"/>
                <a:gd name="T8" fmla="*/ 3822 w 54"/>
                <a:gd name="T9" fmla="*/ 78688 h 67"/>
                <a:gd name="T10" fmla="*/ 5733 w 54"/>
                <a:gd name="T11" fmla="*/ 67172 h 67"/>
                <a:gd name="T12" fmla="*/ 7644 w 54"/>
                <a:gd name="T13" fmla="*/ 44142 h 67"/>
                <a:gd name="T14" fmla="*/ 9554 w 54"/>
                <a:gd name="T15" fmla="*/ 28788 h 67"/>
                <a:gd name="T16" fmla="*/ 34396 w 54"/>
                <a:gd name="T17" fmla="*/ 34546 h 67"/>
                <a:gd name="T18" fmla="*/ 34396 w 54"/>
                <a:gd name="T19" fmla="*/ 40303 h 67"/>
                <a:gd name="T20" fmla="*/ 40129 w 54"/>
                <a:gd name="T21" fmla="*/ 34546 h 67"/>
                <a:gd name="T22" fmla="*/ 89812 w 54"/>
                <a:gd name="T23" fmla="*/ 0 h 67"/>
                <a:gd name="T24" fmla="*/ 91723 w 54"/>
                <a:gd name="T25" fmla="*/ 7677 h 67"/>
                <a:gd name="T26" fmla="*/ 95544 w 54"/>
                <a:gd name="T27" fmla="*/ 21111 h 67"/>
                <a:gd name="T28" fmla="*/ 91723 w 54"/>
                <a:gd name="T29" fmla="*/ 26869 h 67"/>
                <a:gd name="T30" fmla="*/ 103188 w 54"/>
                <a:gd name="T31" fmla="*/ 34546 h 67"/>
                <a:gd name="T32" fmla="*/ 91723 w 54"/>
                <a:gd name="T33" fmla="*/ 44142 h 67"/>
                <a:gd name="T34" fmla="*/ 47772 w 54"/>
                <a:gd name="T35" fmla="*/ 55657 h 67"/>
                <a:gd name="T36" fmla="*/ 47772 w 54"/>
                <a:gd name="T37" fmla="*/ 59495 h 67"/>
                <a:gd name="T38" fmla="*/ 68792 w 54"/>
                <a:gd name="T39" fmla="*/ 90203 h 67"/>
                <a:gd name="T40" fmla="*/ 61148 w 54"/>
                <a:gd name="T41" fmla="*/ 94041 h 67"/>
                <a:gd name="T42" fmla="*/ 57327 w 54"/>
                <a:gd name="T43" fmla="*/ 103637 h 67"/>
                <a:gd name="T44" fmla="*/ 36307 w 54"/>
                <a:gd name="T45" fmla="*/ 109395 h 67"/>
                <a:gd name="T46" fmla="*/ 26752 w 54"/>
                <a:gd name="T47" fmla="*/ 128587 h 67"/>
                <a:gd name="T48" fmla="*/ 0 w 54"/>
                <a:gd name="T49" fmla="*/ 12474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9" name="Freeform 107"/>
            <p:cNvSpPr>
              <a:spLocks noChangeAspect="1"/>
            </p:cNvSpPr>
            <p:nvPr/>
          </p:nvSpPr>
          <p:spPr bwMode="auto">
            <a:xfrm>
              <a:off x="5090954" y="2154879"/>
              <a:ext cx="67272" cy="82540"/>
            </a:xfrm>
            <a:custGeom>
              <a:avLst/>
              <a:gdLst>
                <a:gd name="T0" fmla="*/ 66675 w 35"/>
                <a:gd name="T1" fmla="*/ 49842 h 53"/>
                <a:gd name="T2" fmla="*/ 59055 w 35"/>
                <a:gd name="T3" fmla="*/ 59426 h 53"/>
                <a:gd name="T4" fmla="*/ 59055 w 35"/>
                <a:gd name="T5" fmla="*/ 74762 h 53"/>
                <a:gd name="T6" fmla="*/ 53340 w 35"/>
                <a:gd name="T7" fmla="*/ 82430 h 53"/>
                <a:gd name="T8" fmla="*/ 55245 w 35"/>
                <a:gd name="T9" fmla="*/ 97766 h 53"/>
                <a:gd name="T10" fmla="*/ 53340 w 35"/>
                <a:gd name="T11" fmla="*/ 101600 h 53"/>
                <a:gd name="T12" fmla="*/ 36195 w 35"/>
                <a:gd name="T13" fmla="*/ 90098 h 53"/>
                <a:gd name="T14" fmla="*/ 32385 w 35"/>
                <a:gd name="T15" fmla="*/ 78596 h 53"/>
                <a:gd name="T16" fmla="*/ 13335 w 35"/>
                <a:gd name="T17" fmla="*/ 55592 h 53"/>
                <a:gd name="T18" fmla="*/ 13335 w 35"/>
                <a:gd name="T19" fmla="*/ 47925 h 53"/>
                <a:gd name="T20" fmla="*/ 7620 w 35"/>
                <a:gd name="T21" fmla="*/ 34506 h 53"/>
                <a:gd name="T22" fmla="*/ 1905 w 35"/>
                <a:gd name="T23" fmla="*/ 19170 h 53"/>
                <a:gd name="T24" fmla="*/ 3810 w 35"/>
                <a:gd name="T25" fmla="*/ 3834 h 53"/>
                <a:gd name="T26" fmla="*/ 17145 w 35"/>
                <a:gd name="T27" fmla="*/ 0 h 53"/>
                <a:gd name="T28" fmla="*/ 32385 w 35"/>
                <a:gd name="T29" fmla="*/ 3834 h 53"/>
                <a:gd name="T30" fmla="*/ 45720 w 35"/>
                <a:gd name="T31" fmla="*/ 1917 h 53"/>
                <a:gd name="T32" fmla="*/ 66675 w 35"/>
                <a:gd name="T33" fmla="*/ 49842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0" name="Freeform 108"/>
            <p:cNvSpPr>
              <a:spLocks noChangeAspect="1"/>
            </p:cNvSpPr>
            <p:nvPr/>
          </p:nvSpPr>
          <p:spPr bwMode="auto">
            <a:xfrm>
              <a:off x="5577875" y="2305771"/>
              <a:ext cx="189002" cy="189583"/>
            </a:xfrm>
            <a:custGeom>
              <a:avLst/>
              <a:gdLst>
                <a:gd name="T0" fmla="*/ 32495 w 98"/>
                <a:gd name="T1" fmla="*/ 233363 h 123"/>
                <a:gd name="T2" fmla="*/ 49698 w 98"/>
                <a:gd name="T3" fmla="*/ 225774 h 123"/>
                <a:gd name="T4" fmla="*/ 63079 w 98"/>
                <a:gd name="T5" fmla="*/ 221979 h 123"/>
                <a:gd name="T6" fmla="*/ 74548 w 98"/>
                <a:gd name="T7" fmla="*/ 225774 h 123"/>
                <a:gd name="T8" fmla="*/ 86017 w 98"/>
                <a:gd name="T9" fmla="*/ 214390 h 123"/>
                <a:gd name="T10" fmla="*/ 80282 w 98"/>
                <a:gd name="T11" fmla="*/ 206801 h 123"/>
                <a:gd name="T12" fmla="*/ 103220 w 98"/>
                <a:gd name="T13" fmla="*/ 197315 h 123"/>
                <a:gd name="T14" fmla="*/ 112777 w 98"/>
                <a:gd name="T15" fmla="*/ 195418 h 123"/>
                <a:gd name="T16" fmla="*/ 118512 w 98"/>
                <a:gd name="T17" fmla="*/ 178342 h 123"/>
                <a:gd name="T18" fmla="*/ 139538 w 98"/>
                <a:gd name="T19" fmla="*/ 168856 h 123"/>
                <a:gd name="T20" fmla="*/ 139538 w 98"/>
                <a:gd name="T21" fmla="*/ 163164 h 123"/>
                <a:gd name="T22" fmla="*/ 133804 w 98"/>
                <a:gd name="T23" fmla="*/ 149884 h 123"/>
                <a:gd name="T24" fmla="*/ 147184 w 98"/>
                <a:gd name="T25" fmla="*/ 130911 h 123"/>
                <a:gd name="T26" fmla="*/ 149095 w 98"/>
                <a:gd name="T27" fmla="*/ 121425 h 123"/>
                <a:gd name="T28" fmla="*/ 151007 w 98"/>
                <a:gd name="T29" fmla="*/ 129014 h 123"/>
                <a:gd name="T30" fmla="*/ 156741 w 98"/>
                <a:gd name="T31" fmla="*/ 129014 h 123"/>
                <a:gd name="T32" fmla="*/ 162476 w 98"/>
                <a:gd name="T33" fmla="*/ 111938 h 123"/>
                <a:gd name="T34" fmla="*/ 185414 w 98"/>
                <a:gd name="T35" fmla="*/ 73993 h 123"/>
                <a:gd name="T36" fmla="*/ 183502 w 98"/>
                <a:gd name="T37" fmla="*/ 64507 h 123"/>
                <a:gd name="T38" fmla="*/ 166299 w 98"/>
                <a:gd name="T39" fmla="*/ 55021 h 123"/>
                <a:gd name="T40" fmla="*/ 154830 w 98"/>
                <a:gd name="T41" fmla="*/ 32253 h 123"/>
                <a:gd name="T42" fmla="*/ 143361 w 98"/>
                <a:gd name="T43" fmla="*/ 36048 h 123"/>
                <a:gd name="T44" fmla="*/ 118512 w 98"/>
                <a:gd name="T45" fmla="*/ 28459 h 123"/>
                <a:gd name="T46" fmla="*/ 101308 w 98"/>
                <a:gd name="T47" fmla="*/ 3795 h 123"/>
                <a:gd name="T48" fmla="*/ 93663 w 98"/>
                <a:gd name="T49" fmla="*/ 5692 h 123"/>
                <a:gd name="T50" fmla="*/ 89840 w 98"/>
                <a:gd name="T51" fmla="*/ 1897 h 123"/>
                <a:gd name="T52" fmla="*/ 82194 w 98"/>
                <a:gd name="T53" fmla="*/ 11384 h 123"/>
                <a:gd name="T54" fmla="*/ 86017 w 98"/>
                <a:gd name="T55" fmla="*/ 22767 h 123"/>
                <a:gd name="T56" fmla="*/ 76459 w 98"/>
                <a:gd name="T57" fmla="*/ 28459 h 123"/>
                <a:gd name="T58" fmla="*/ 76459 w 98"/>
                <a:gd name="T59" fmla="*/ 37945 h 123"/>
                <a:gd name="T60" fmla="*/ 70725 w 98"/>
                <a:gd name="T61" fmla="*/ 45534 h 123"/>
                <a:gd name="T62" fmla="*/ 74548 w 98"/>
                <a:gd name="T63" fmla="*/ 60712 h 123"/>
                <a:gd name="T64" fmla="*/ 86017 w 98"/>
                <a:gd name="T65" fmla="*/ 83479 h 123"/>
                <a:gd name="T66" fmla="*/ 74548 w 98"/>
                <a:gd name="T67" fmla="*/ 140397 h 123"/>
                <a:gd name="T68" fmla="*/ 0 w 98"/>
                <a:gd name="T69" fmla="*/ 166959 h 123"/>
                <a:gd name="T70" fmla="*/ 32495 w 98"/>
                <a:gd name="T71" fmla="*/ 233363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1" name="Freeform 109"/>
            <p:cNvSpPr>
              <a:spLocks noChangeAspect="1"/>
            </p:cNvSpPr>
            <p:nvPr/>
          </p:nvSpPr>
          <p:spPr bwMode="auto">
            <a:xfrm>
              <a:off x="5561858" y="2276108"/>
              <a:ext cx="120129" cy="85119"/>
            </a:xfrm>
            <a:custGeom>
              <a:avLst/>
              <a:gdLst>
                <a:gd name="T0" fmla="*/ 107541 w 62"/>
                <a:gd name="T1" fmla="*/ 0 h 55"/>
                <a:gd name="T2" fmla="*/ 99859 w 62"/>
                <a:gd name="T3" fmla="*/ 13335 h 55"/>
                <a:gd name="T4" fmla="*/ 82576 w 62"/>
                <a:gd name="T5" fmla="*/ 34290 h 55"/>
                <a:gd name="T6" fmla="*/ 69133 w 62"/>
                <a:gd name="T7" fmla="*/ 51435 h 55"/>
                <a:gd name="T8" fmla="*/ 48009 w 62"/>
                <a:gd name="T9" fmla="*/ 59055 h 55"/>
                <a:gd name="T10" fmla="*/ 24965 w 62"/>
                <a:gd name="T11" fmla="*/ 57150 h 55"/>
                <a:gd name="T12" fmla="*/ 19204 w 62"/>
                <a:gd name="T13" fmla="*/ 64770 h 55"/>
                <a:gd name="T14" fmla="*/ 9602 w 62"/>
                <a:gd name="T15" fmla="*/ 64770 h 55"/>
                <a:gd name="T16" fmla="*/ 5761 w 62"/>
                <a:gd name="T17" fmla="*/ 59055 h 55"/>
                <a:gd name="T18" fmla="*/ 0 w 62"/>
                <a:gd name="T19" fmla="*/ 66675 h 55"/>
                <a:gd name="T20" fmla="*/ 7681 w 62"/>
                <a:gd name="T21" fmla="*/ 89535 h 55"/>
                <a:gd name="T22" fmla="*/ 82576 w 62"/>
                <a:gd name="T23" fmla="*/ 104775 h 55"/>
                <a:gd name="T24" fmla="*/ 90257 w 62"/>
                <a:gd name="T25" fmla="*/ 97155 h 55"/>
                <a:gd name="T26" fmla="*/ 86417 w 62"/>
                <a:gd name="T27" fmla="*/ 81915 h 55"/>
                <a:gd name="T28" fmla="*/ 92178 w 62"/>
                <a:gd name="T29" fmla="*/ 74295 h 55"/>
                <a:gd name="T30" fmla="*/ 92178 w 62"/>
                <a:gd name="T31" fmla="*/ 64770 h 55"/>
                <a:gd name="T32" fmla="*/ 101780 w 62"/>
                <a:gd name="T33" fmla="*/ 59055 h 55"/>
                <a:gd name="T34" fmla="*/ 97939 w 62"/>
                <a:gd name="T35" fmla="*/ 47625 h 55"/>
                <a:gd name="T36" fmla="*/ 105620 w 62"/>
                <a:gd name="T37" fmla="*/ 38100 h 55"/>
                <a:gd name="T38" fmla="*/ 109461 w 62"/>
                <a:gd name="T39" fmla="*/ 41910 h 55"/>
                <a:gd name="T40" fmla="*/ 117143 w 62"/>
                <a:gd name="T41" fmla="*/ 40005 h 55"/>
                <a:gd name="T42" fmla="*/ 117143 w 62"/>
                <a:gd name="T43" fmla="*/ 28575 h 55"/>
                <a:gd name="T44" fmla="*/ 117143 w 62"/>
                <a:gd name="T45" fmla="*/ 19050 h 55"/>
                <a:gd name="T46" fmla="*/ 113302 w 62"/>
                <a:gd name="T47" fmla="*/ 19050 h 55"/>
                <a:gd name="T48" fmla="*/ 109461 w 62"/>
                <a:gd name="T49" fmla="*/ 20955 h 55"/>
                <a:gd name="T50" fmla="*/ 109461 w 62"/>
                <a:gd name="T51" fmla="*/ 9525 h 55"/>
                <a:gd name="T52" fmla="*/ 107541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2" name="Freeform 110"/>
            <p:cNvSpPr>
              <a:spLocks noChangeAspect="1"/>
            </p:cNvSpPr>
            <p:nvPr/>
          </p:nvSpPr>
          <p:spPr bwMode="auto">
            <a:xfrm>
              <a:off x="5432119" y="2181961"/>
              <a:ext cx="51255" cy="39980"/>
            </a:xfrm>
            <a:custGeom>
              <a:avLst/>
              <a:gdLst>
                <a:gd name="T0" fmla="*/ 50800 w 27"/>
                <a:gd name="T1" fmla="*/ 49213 h 26"/>
                <a:gd name="T2" fmla="*/ 43274 w 27"/>
                <a:gd name="T3" fmla="*/ 35963 h 26"/>
                <a:gd name="T4" fmla="*/ 37630 w 27"/>
                <a:gd name="T5" fmla="*/ 30285 h 26"/>
                <a:gd name="T6" fmla="*/ 26341 w 27"/>
                <a:gd name="T7" fmla="*/ 26499 h 26"/>
                <a:gd name="T8" fmla="*/ 35748 w 27"/>
                <a:gd name="T9" fmla="*/ 18928 h 26"/>
                <a:gd name="T10" fmla="*/ 39511 w 27"/>
                <a:gd name="T11" fmla="*/ 15142 h 26"/>
                <a:gd name="T12" fmla="*/ 35748 w 27"/>
                <a:gd name="T13" fmla="*/ 5678 h 26"/>
                <a:gd name="T14" fmla="*/ 33867 w 27"/>
                <a:gd name="T15" fmla="*/ 1893 h 26"/>
                <a:gd name="T16" fmla="*/ 16933 w 27"/>
                <a:gd name="T17" fmla="*/ 3786 h 26"/>
                <a:gd name="T18" fmla="*/ 9407 w 27"/>
                <a:gd name="T19" fmla="*/ 15142 h 26"/>
                <a:gd name="T20" fmla="*/ 0 w 27"/>
                <a:gd name="T21" fmla="*/ 28392 h 26"/>
                <a:gd name="T22" fmla="*/ 22578 w 27"/>
                <a:gd name="T23" fmla="*/ 34071 h 26"/>
                <a:gd name="T24" fmla="*/ 30104 w 27"/>
                <a:gd name="T25" fmla="*/ 49213 h 26"/>
                <a:gd name="T26" fmla="*/ 50800 w 27"/>
                <a:gd name="T27" fmla="*/ 492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3" name="Freeform 111"/>
            <p:cNvSpPr>
              <a:spLocks noChangeAspect="1"/>
            </p:cNvSpPr>
            <p:nvPr/>
          </p:nvSpPr>
          <p:spPr bwMode="auto">
            <a:xfrm>
              <a:off x="5249525" y="2002697"/>
              <a:ext cx="235452" cy="202479"/>
            </a:xfrm>
            <a:custGeom>
              <a:avLst/>
              <a:gdLst>
                <a:gd name="T0" fmla="*/ 233362 w 123"/>
                <a:gd name="T1" fmla="*/ 226406 h 131"/>
                <a:gd name="T2" fmla="*/ 220081 w 123"/>
                <a:gd name="T3" fmla="*/ 222601 h 131"/>
                <a:gd name="T4" fmla="*/ 214389 w 123"/>
                <a:gd name="T5" fmla="*/ 222601 h 131"/>
                <a:gd name="T6" fmla="*/ 197314 w 123"/>
                <a:gd name="T7" fmla="*/ 224504 h 131"/>
                <a:gd name="T8" fmla="*/ 189725 w 123"/>
                <a:gd name="T9" fmla="*/ 235919 h 131"/>
                <a:gd name="T10" fmla="*/ 180239 w 123"/>
                <a:gd name="T11" fmla="*/ 249237 h 131"/>
                <a:gd name="T12" fmla="*/ 138499 w 123"/>
                <a:gd name="T13" fmla="*/ 247334 h 131"/>
                <a:gd name="T14" fmla="*/ 81582 w 123"/>
                <a:gd name="T15" fmla="*/ 194062 h 131"/>
                <a:gd name="T16" fmla="*/ 62609 w 123"/>
                <a:gd name="T17" fmla="*/ 182647 h 131"/>
                <a:gd name="T18" fmla="*/ 43637 w 123"/>
                <a:gd name="T19" fmla="*/ 167426 h 131"/>
                <a:gd name="T20" fmla="*/ 13281 w 123"/>
                <a:gd name="T21" fmla="*/ 156011 h 131"/>
                <a:gd name="T22" fmla="*/ 1897 w 123"/>
                <a:gd name="T23" fmla="*/ 148401 h 131"/>
                <a:gd name="T24" fmla="*/ 5692 w 123"/>
                <a:gd name="T25" fmla="*/ 142693 h 131"/>
                <a:gd name="T26" fmla="*/ 1897 w 123"/>
                <a:gd name="T27" fmla="*/ 129375 h 131"/>
                <a:gd name="T28" fmla="*/ 0 w 123"/>
                <a:gd name="T29" fmla="*/ 121765 h 131"/>
                <a:gd name="T30" fmla="*/ 24664 w 123"/>
                <a:gd name="T31" fmla="*/ 102739 h 131"/>
                <a:gd name="T32" fmla="*/ 28459 w 123"/>
                <a:gd name="T33" fmla="*/ 95129 h 131"/>
                <a:gd name="T34" fmla="*/ 43637 w 123"/>
                <a:gd name="T35" fmla="*/ 85616 h 131"/>
                <a:gd name="T36" fmla="*/ 47431 w 123"/>
                <a:gd name="T37" fmla="*/ 66590 h 131"/>
                <a:gd name="T38" fmla="*/ 49329 w 123"/>
                <a:gd name="T39" fmla="*/ 55175 h 131"/>
                <a:gd name="T40" fmla="*/ 45534 w 123"/>
                <a:gd name="T41" fmla="*/ 38051 h 131"/>
                <a:gd name="T42" fmla="*/ 51226 w 123"/>
                <a:gd name="T43" fmla="*/ 28539 h 131"/>
                <a:gd name="T44" fmla="*/ 64507 w 123"/>
                <a:gd name="T45" fmla="*/ 20928 h 131"/>
                <a:gd name="T46" fmla="*/ 72096 w 123"/>
                <a:gd name="T47" fmla="*/ 7610 h 131"/>
                <a:gd name="T48" fmla="*/ 81582 w 123"/>
                <a:gd name="T49" fmla="*/ 0 h 131"/>
                <a:gd name="T50" fmla="*/ 94863 w 123"/>
                <a:gd name="T51" fmla="*/ 5708 h 131"/>
                <a:gd name="T52" fmla="*/ 104349 w 123"/>
                <a:gd name="T53" fmla="*/ 9513 h 131"/>
                <a:gd name="T54" fmla="*/ 111938 w 123"/>
                <a:gd name="T55" fmla="*/ 3805 h 131"/>
                <a:gd name="T56" fmla="*/ 115732 w 123"/>
                <a:gd name="T57" fmla="*/ 13318 h 131"/>
                <a:gd name="T58" fmla="*/ 125219 w 123"/>
                <a:gd name="T59" fmla="*/ 9513 h 131"/>
                <a:gd name="T60" fmla="*/ 130910 w 123"/>
                <a:gd name="T61" fmla="*/ 20928 h 131"/>
                <a:gd name="T62" fmla="*/ 136602 w 123"/>
                <a:gd name="T63" fmla="*/ 28539 h 131"/>
                <a:gd name="T64" fmla="*/ 147986 w 123"/>
                <a:gd name="T65" fmla="*/ 43759 h 131"/>
                <a:gd name="T66" fmla="*/ 151780 w 123"/>
                <a:gd name="T67" fmla="*/ 43759 h 131"/>
                <a:gd name="T68" fmla="*/ 157472 w 123"/>
                <a:gd name="T69" fmla="*/ 47564 h 131"/>
                <a:gd name="T70" fmla="*/ 163164 w 123"/>
                <a:gd name="T71" fmla="*/ 47564 h 131"/>
                <a:gd name="T72" fmla="*/ 161266 w 123"/>
                <a:gd name="T73" fmla="*/ 57077 h 131"/>
                <a:gd name="T74" fmla="*/ 163164 w 123"/>
                <a:gd name="T75" fmla="*/ 72298 h 131"/>
                <a:gd name="T76" fmla="*/ 155575 w 123"/>
                <a:gd name="T77" fmla="*/ 74200 h 131"/>
                <a:gd name="T78" fmla="*/ 151780 w 123"/>
                <a:gd name="T79" fmla="*/ 91323 h 131"/>
                <a:gd name="T80" fmla="*/ 151780 w 123"/>
                <a:gd name="T81" fmla="*/ 106544 h 131"/>
                <a:gd name="T82" fmla="*/ 168855 w 123"/>
                <a:gd name="T83" fmla="*/ 129375 h 131"/>
                <a:gd name="T84" fmla="*/ 168855 w 123"/>
                <a:gd name="T85" fmla="*/ 135083 h 131"/>
                <a:gd name="T86" fmla="*/ 199211 w 123"/>
                <a:gd name="T87" fmla="*/ 157914 h 131"/>
                <a:gd name="T88" fmla="*/ 210595 w 123"/>
                <a:gd name="T89" fmla="*/ 178842 h 131"/>
                <a:gd name="T90" fmla="*/ 210595 w 123"/>
                <a:gd name="T91" fmla="*/ 194062 h 131"/>
                <a:gd name="T92" fmla="*/ 216287 w 123"/>
                <a:gd name="T93" fmla="*/ 199770 h 131"/>
                <a:gd name="T94" fmla="*/ 216287 w 123"/>
                <a:gd name="T95" fmla="*/ 211186 h 131"/>
                <a:gd name="T96" fmla="*/ 233362 w 123"/>
                <a:gd name="T97" fmla="*/ 226406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4" name="Freeform 112"/>
            <p:cNvSpPr>
              <a:spLocks noChangeAspect="1"/>
            </p:cNvSpPr>
            <p:nvPr/>
          </p:nvSpPr>
          <p:spPr bwMode="auto">
            <a:xfrm>
              <a:off x="5355237" y="1942082"/>
              <a:ext cx="482115" cy="359821"/>
            </a:xfrm>
            <a:custGeom>
              <a:avLst/>
              <a:gdLst>
                <a:gd name="T0" fmla="*/ 20941 w 251"/>
                <a:gd name="T1" fmla="*/ 72235 h 233"/>
                <a:gd name="T2" fmla="*/ 9519 w 251"/>
                <a:gd name="T3" fmla="*/ 51325 h 233"/>
                <a:gd name="T4" fmla="*/ 1904 w 251"/>
                <a:gd name="T5" fmla="*/ 15207 h 233"/>
                <a:gd name="T6" fmla="*/ 22845 w 251"/>
                <a:gd name="T7" fmla="*/ 9505 h 233"/>
                <a:gd name="T8" fmla="*/ 38075 w 251"/>
                <a:gd name="T9" fmla="*/ 19009 h 233"/>
                <a:gd name="T10" fmla="*/ 53305 w 251"/>
                <a:gd name="T11" fmla="*/ 32316 h 233"/>
                <a:gd name="T12" fmla="*/ 60919 w 251"/>
                <a:gd name="T13" fmla="*/ 28514 h 233"/>
                <a:gd name="T14" fmla="*/ 70438 w 251"/>
                <a:gd name="T15" fmla="*/ 20910 h 233"/>
                <a:gd name="T16" fmla="*/ 100898 w 251"/>
                <a:gd name="T17" fmla="*/ 11405 h 233"/>
                <a:gd name="T18" fmla="*/ 102802 w 251"/>
                <a:gd name="T19" fmla="*/ 28514 h 233"/>
                <a:gd name="T20" fmla="*/ 108513 w 251"/>
                <a:gd name="T21" fmla="*/ 41820 h 233"/>
                <a:gd name="T22" fmla="*/ 118031 w 251"/>
                <a:gd name="T23" fmla="*/ 64631 h 233"/>
                <a:gd name="T24" fmla="*/ 152299 w 251"/>
                <a:gd name="T25" fmla="*/ 81739 h 233"/>
                <a:gd name="T26" fmla="*/ 201796 w 251"/>
                <a:gd name="T27" fmla="*/ 98848 h 233"/>
                <a:gd name="T28" fmla="*/ 241774 w 251"/>
                <a:gd name="T29" fmla="*/ 93145 h 233"/>
                <a:gd name="T30" fmla="*/ 237967 w 251"/>
                <a:gd name="T31" fmla="*/ 77937 h 233"/>
                <a:gd name="T32" fmla="*/ 262715 w 251"/>
                <a:gd name="T33" fmla="*/ 60829 h 233"/>
                <a:gd name="T34" fmla="*/ 295079 w 251"/>
                <a:gd name="T35" fmla="*/ 49424 h 233"/>
                <a:gd name="T36" fmla="*/ 312212 w 251"/>
                <a:gd name="T37" fmla="*/ 58928 h 233"/>
                <a:gd name="T38" fmla="*/ 348383 w 251"/>
                <a:gd name="T39" fmla="*/ 70334 h 233"/>
                <a:gd name="T40" fmla="*/ 359806 w 251"/>
                <a:gd name="T41" fmla="*/ 83640 h 233"/>
                <a:gd name="T42" fmla="*/ 382650 w 251"/>
                <a:gd name="T43" fmla="*/ 95046 h 233"/>
                <a:gd name="T44" fmla="*/ 409303 w 251"/>
                <a:gd name="T45" fmla="*/ 110253 h 233"/>
                <a:gd name="T46" fmla="*/ 415014 w 251"/>
                <a:gd name="T47" fmla="*/ 133064 h 233"/>
                <a:gd name="T48" fmla="*/ 401688 w 251"/>
                <a:gd name="T49" fmla="*/ 159677 h 233"/>
                <a:gd name="T50" fmla="*/ 399784 w 251"/>
                <a:gd name="T51" fmla="*/ 165380 h 233"/>
                <a:gd name="T52" fmla="*/ 403591 w 251"/>
                <a:gd name="T53" fmla="*/ 193893 h 233"/>
                <a:gd name="T54" fmla="*/ 403591 w 251"/>
                <a:gd name="T55" fmla="*/ 212902 h 233"/>
                <a:gd name="T56" fmla="*/ 413110 w 251"/>
                <a:gd name="T57" fmla="*/ 252822 h 233"/>
                <a:gd name="T58" fmla="*/ 432147 w 251"/>
                <a:gd name="T59" fmla="*/ 268029 h 233"/>
                <a:gd name="T60" fmla="*/ 415014 w 251"/>
                <a:gd name="T61" fmla="*/ 298444 h 233"/>
                <a:gd name="T62" fmla="*/ 434051 w 251"/>
                <a:gd name="T63" fmla="*/ 330759 h 233"/>
                <a:gd name="T64" fmla="*/ 453088 w 251"/>
                <a:gd name="T65" fmla="*/ 342165 h 233"/>
                <a:gd name="T66" fmla="*/ 464511 w 251"/>
                <a:gd name="T67" fmla="*/ 376381 h 233"/>
                <a:gd name="T68" fmla="*/ 474030 w 251"/>
                <a:gd name="T69" fmla="*/ 391588 h 233"/>
                <a:gd name="T70" fmla="*/ 460703 w 251"/>
                <a:gd name="T71" fmla="*/ 399192 h 233"/>
                <a:gd name="T72" fmla="*/ 443570 w 251"/>
                <a:gd name="T73" fmla="*/ 422003 h 233"/>
                <a:gd name="T74" fmla="*/ 439762 w 251"/>
                <a:gd name="T75" fmla="*/ 442913 h 233"/>
                <a:gd name="T76" fmla="*/ 409303 w 251"/>
                <a:gd name="T77" fmla="*/ 435309 h 233"/>
                <a:gd name="T78" fmla="*/ 371228 w 251"/>
                <a:gd name="T79" fmla="*/ 429607 h 233"/>
                <a:gd name="T80" fmla="*/ 336961 w 251"/>
                <a:gd name="T81" fmla="*/ 412498 h 233"/>
                <a:gd name="T82" fmla="*/ 314116 w 251"/>
                <a:gd name="T83" fmla="*/ 380183 h 233"/>
                <a:gd name="T84" fmla="*/ 281753 w 251"/>
                <a:gd name="T85" fmla="*/ 397291 h 233"/>
                <a:gd name="T86" fmla="*/ 251293 w 251"/>
                <a:gd name="T87" fmla="*/ 391588 h 233"/>
                <a:gd name="T88" fmla="*/ 236063 w 251"/>
                <a:gd name="T89" fmla="*/ 380183 h 233"/>
                <a:gd name="T90" fmla="*/ 226544 w 251"/>
                <a:gd name="T91" fmla="*/ 368777 h 233"/>
                <a:gd name="T92" fmla="*/ 203699 w 251"/>
                <a:gd name="T93" fmla="*/ 363075 h 233"/>
                <a:gd name="T94" fmla="*/ 184662 w 251"/>
                <a:gd name="T95" fmla="*/ 325056 h 233"/>
                <a:gd name="T96" fmla="*/ 177047 w 251"/>
                <a:gd name="T97" fmla="*/ 315552 h 233"/>
                <a:gd name="T98" fmla="*/ 148491 w 251"/>
                <a:gd name="T99" fmla="*/ 296543 h 233"/>
                <a:gd name="T100" fmla="*/ 138973 w 251"/>
                <a:gd name="T101" fmla="*/ 294642 h 233"/>
                <a:gd name="T102" fmla="*/ 135165 w 251"/>
                <a:gd name="T103" fmla="*/ 298444 h 233"/>
                <a:gd name="T104" fmla="*/ 112320 w 251"/>
                <a:gd name="T105" fmla="*/ 285137 h 233"/>
                <a:gd name="T106" fmla="*/ 106609 w 251"/>
                <a:gd name="T107" fmla="*/ 268029 h 233"/>
                <a:gd name="T108" fmla="*/ 95187 w 251"/>
                <a:gd name="T109" fmla="*/ 231912 h 233"/>
                <a:gd name="T110" fmla="*/ 64727 w 251"/>
                <a:gd name="T111" fmla="*/ 203398 h 233"/>
                <a:gd name="T112" fmla="*/ 47593 w 251"/>
                <a:gd name="T113" fmla="*/ 165380 h 233"/>
                <a:gd name="T114" fmla="*/ 59016 w 251"/>
                <a:gd name="T115" fmla="*/ 146370 h 233"/>
                <a:gd name="T116" fmla="*/ 59016 w 251"/>
                <a:gd name="T117" fmla="*/ 121659 h 233"/>
                <a:gd name="T118" fmla="*/ 47593 w 251"/>
                <a:gd name="T119" fmla="*/ 117857 h 233"/>
                <a:gd name="T120" fmla="*/ 32363 w 251"/>
                <a:gd name="T121" fmla="*/ 102649 h 233"/>
                <a:gd name="T122" fmla="*/ 20941 w 251"/>
                <a:gd name="T123" fmla="*/ 83640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5" name="Freeform 113"/>
            <p:cNvSpPr>
              <a:spLocks noChangeAspect="1"/>
            </p:cNvSpPr>
            <p:nvPr/>
          </p:nvSpPr>
          <p:spPr bwMode="auto">
            <a:xfrm>
              <a:off x="5254329" y="1845355"/>
              <a:ext cx="160172" cy="65774"/>
            </a:xfrm>
            <a:custGeom>
              <a:avLst/>
              <a:gdLst>
                <a:gd name="T0" fmla="*/ 0 w 83"/>
                <a:gd name="T1" fmla="*/ 1928 h 42"/>
                <a:gd name="T2" fmla="*/ 15301 w 83"/>
                <a:gd name="T3" fmla="*/ 11566 h 42"/>
                <a:gd name="T4" fmla="*/ 22952 w 83"/>
                <a:gd name="T5" fmla="*/ 21204 h 42"/>
                <a:gd name="T6" fmla="*/ 36340 w 83"/>
                <a:gd name="T7" fmla="*/ 26987 h 42"/>
                <a:gd name="T8" fmla="*/ 36340 w 83"/>
                <a:gd name="T9" fmla="*/ 38553 h 42"/>
                <a:gd name="T10" fmla="*/ 43991 w 83"/>
                <a:gd name="T11" fmla="*/ 53975 h 42"/>
                <a:gd name="T12" fmla="*/ 38253 w 83"/>
                <a:gd name="T13" fmla="*/ 69396 h 42"/>
                <a:gd name="T14" fmla="*/ 47816 w 83"/>
                <a:gd name="T15" fmla="*/ 69396 h 42"/>
                <a:gd name="T16" fmla="*/ 61205 w 83"/>
                <a:gd name="T17" fmla="*/ 65541 h 42"/>
                <a:gd name="T18" fmla="*/ 74593 w 83"/>
                <a:gd name="T19" fmla="*/ 71324 h 42"/>
                <a:gd name="T20" fmla="*/ 84157 w 83"/>
                <a:gd name="T21" fmla="*/ 77107 h 42"/>
                <a:gd name="T22" fmla="*/ 93720 w 83"/>
                <a:gd name="T23" fmla="*/ 73251 h 42"/>
                <a:gd name="T24" fmla="*/ 101370 w 83"/>
                <a:gd name="T25" fmla="*/ 73251 h 42"/>
                <a:gd name="T26" fmla="*/ 110934 w 83"/>
                <a:gd name="T27" fmla="*/ 73251 h 42"/>
                <a:gd name="T28" fmla="*/ 118584 w 83"/>
                <a:gd name="T29" fmla="*/ 73251 h 42"/>
                <a:gd name="T30" fmla="*/ 124322 w 83"/>
                <a:gd name="T31" fmla="*/ 65541 h 42"/>
                <a:gd name="T32" fmla="*/ 133886 w 83"/>
                <a:gd name="T33" fmla="*/ 71324 h 42"/>
                <a:gd name="T34" fmla="*/ 143449 w 83"/>
                <a:gd name="T35" fmla="*/ 75179 h 42"/>
                <a:gd name="T36" fmla="*/ 156837 w 83"/>
                <a:gd name="T37" fmla="*/ 79034 h 42"/>
                <a:gd name="T38" fmla="*/ 156837 w 83"/>
                <a:gd name="T39" fmla="*/ 71324 h 42"/>
                <a:gd name="T40" fmla="*/ 149187 w 83"/>
                <a:gd name="T41" fmla="*/ 67468 h 42"/>
                <a:gd name="T42" fmla="*/ 143449 w 83"/>
                <a:gd name="T43" fmla="*/ 57830 h 42"/>
                <a:gd name="T44" fmla="*/ 151099 w 83"/>
                <a:gd name="T45" fmla="*/ 52047 h 42"/>
                <a:gd name="T46" fmla="*/ 130060 w 83"/>
                <a:gd name="T47" fmla="*/ 40481 h 42"/>
                <a:gd name="T48" fmla="*/ 130060 w 83"/>
                <a:gd name="T49" fmla="*/ 32770 h 42"/>
                <a:gd name="T50" fmla="*/ 116672 w 83"/>
                <a:gd name="T51" fmla="*/ 25060 h 42"/>
                <a:gd name="T52" fmla="*/ 110934 w 83"/>
                <a:gd name="T53" fmla="*/ 25060 h 42"/>
                <a:gd name="T54" fmla="*/ 103283 w 83"/>
                <a:gd name="T55" fmla="*/ 26987 h 42"/>
                <a:gd name="T56" fmla="*/ 91807 w 83"/>
                <a:gd name="T57" fmla="*/ 30843 h 42"/>
                <a:gd name="T58" fmla="*/ 86069 w 83"/>
                <a:gd name="T59" fmla="*/ 25060 h 42"/>
                <a:gd name="T60" fmla="*/ 70768 w 83"/>
                <a:gd name="T61" fmla="*/ 17349 h 42"/>
                <a:gd name="T62" fmla="*/ 55467 w 83"/>
                <a:gd name="T63" fmla="*/ 7711 h 42"/>
                <a:gd name="T64" fmla="*/ 36340 w 83"/>
                <a:gd name="T65" fmla="*/ 9638 h 42"/>
                <a:gd name="T66" fmla="*/ 21039 w 83"/>
                <a:gd name="T67" fmla="*/ 1928 h 42"/>
                <a:gd name="T68" fmla="*/ 0 w 83"/>
                <a:gd name="T69" fmla="*/ 1928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6" name="Freeform 114"/>
            <p:cNvSpPr>
              <a:spLocks noChangeAspect="1"/>
            </p:cNvSpPr>
            <p:nvPr/>
          </p:nvSpPr>
          <p:spPr bwMode="auto">
            <a:xfrm>
              <a:off x="5374458" y="1944661"/>
              <a:ext cx="33636" cy="23214"/>
            </a:xfrm>
            <a:custGeom>
              <a:avLst/>
              <a:gdLst>
                <a:gd name="T0" fmla="*/ 33337 w 18"/>
                <a:gd name="T1" fmla="*/ 28575 h 15"/>
                <a:gd name="T2" fmla="*/ 25929 w 18"/>
                <a:gd name="T3" fmla="*/ 11430 h 15"/>
                <a:gd name="T4" fmla="*/ 22225 w 18"/>
                <a:gd name="T5" fmla="*/ 1905 h 15"/>
                <a:gd name="T6" fmla="*/ 12964 w 18"/>
                <a:gd name="T7" fmla="*/ 5715 h 15"/>
                <a:gd name="T8" fmla="*/ 11112 w 18"/>
                <a:gd name="T9" fmla="*/ 0 h 15"/>
                <a:gd name="T10" fmla="*/ 0 w 18"/>
                <a:gd name="T11" fmla="*/ 0 h 15"/>
                <a:gd name="T12" fmla="*/ 3704 w 18"/>
                <a:gd name="T13" fmla="*/ 5715 h 15"/>
                <a:gd name="T14" fmla="*/ 12964 w 18"/>
                <a:gd name="T15" fmla="*/ 15240 h 15"/>
                <a:gd name="T16" fmla="*/ 18521 w 18"/>
                <a:gd name="T17" fmla="*/ 15240 h 15"/>
                <a:gd name="T18" fmla="*/ 18521 w 18"/>
                <a:gd name="T19" fmla="*/ 24765 h 15"/>
                <a:gd name="T20" fmla="*/ 33337 w 18"/>
                <a:gd name="T21" fmla="*/ 28575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7" name="Freeform 115"/>
            <p:cNvSpPr>
              <a:spLocks noChangeAspect="1"/>
            </p:cNvSpPr>
            <p:nvPr/>
          </p:nvSpPr>
          <p:spPr bwMode="auto">
            <a:xfrm>
              <a:off x="5339220" y="1904681"/>
              <a:ext cx="78484" cy="63194"/>
            </a:xfrm>
            <a:custGeom>
              <a:avLst/>
              <a:gdLst>
                <a:gd name="T0" fmla="*/ 75890 w 41"/>
                <a:gd name="T1" fmla="*/ 73993 h 41"/>
                <a:gd name="T2" fmla="*/ 75890 w 41"/>
                <a:gd name="T3" fmla="*/ 62609 h 41"/>
                <a:gd name="T4" fmla="*/ 70198 w 41"/>
                <a:gd name="T5" fmla="*/ 56917 h 41"/>
                <a:gd name="T6" fmla="*/ 62609 w 41"/>
                <a:gd name="T7" fmla="*/ 49328 h 41"/>
                <a:gd name="T8" fmla="*/ 51226 w 41"/>
                <a:gd name="T9" fmla="*/ 41739 h 41"/>
                <a:gd name="T10" fmla="*/ 56917 w 41"/>
                <a:gd name="T11" fmla="*/ 37945 h 41"/>
                <a:gd name="T12" fmla="*/ 56917 w 41"/>
                <a:gd name="T13" fmla="*/ 32253 h 41"/>
                <a:gd name="T14" fmla="*/ 45534 w 41"/>
                <a:gd name="T15" fmla="*/ 26561 h 41"/>
                <a:gd name="T16" fmla="*/ 47431 w 41"/>
                <a:gd name="T17" fmla="*/ 17075 h 41"/>
                <a:gd name="T18" fmla="*/ 45534 w 41"/>
                <a:gd name="T19" fmla="*/ 9486 h 41"/>
                <a:gd name="T20" fmla="*/ 36048 w 41"/>
                <a:gd name="T21" fmla="*/ 7589 h 41"/>
                <a:gd name="T22" fmla="*/ 34150 w 41"/>
                <a:gd name="T23" fmla="*/ 0 h 41"/>
                <a:gd name="T24" fmla="*/ 26561 w 41"/>
                <a:gd name="T25" fmla="*/ 0 h 41"/>
                <a:gd name="T26" fmla="*/ 17075 w 41"/>
                <a:gd name="T27" fmla="*/ 0 h 41"/>
                <a:gd name="T28" fmla="*/ 9486 w 41"/>
                <a:gd name="T29" fmla="*/ 0 h 41"/>
                <a:gd name="T30" fmla="*/ 0 w 41"/>
                <a:gd name="T31" fmla="*/ 3794 h 41"/>
                <a:gd name="T32" fmla="*/ 3794 w 41"/>
                <a:gd name="T33" fmla="*/ 17075 h 41"/>
                <a:gd name="T34" fmla="*/ 3794 w 41"/>
                <a:gd name="T35" fmla="*/ 30356 h 41"/>
                <a:gd name="T36" fmla="*/ 9486 w 41"/>
                <a:gd name="T37" fmla="*/ 37945 h 41"/>
                <a:gd name="T38" fmla="*/ 24664 w 41"/>
                <a:gd name="T39" fmla="*/ 39842 h 41"/>
                <a:gd name="T40" fmla="*/ 34150 w 41"/>
                <a:gd name="T41" fmla="*/ 49328 h 41"/>
                <a:gd name="T42" fmla="*/ 45534 w 41"/>
                <a:gd name="T43" fmla="*/ 49328 h 41"/>
                <a:gd name="T44" fmla="*/ 47431 w 41"/>
                <a:gd name="T45" fmla="*/ 55020 h 41"/>
                <a:gd name="T46" fmla="*/ 56917 w 41"/>
                <a:gd name="T47" fmla="*/ 51226 h 41"/>
                <a:gd name="T48" fmla="*/ 60712 w 41"/>
                <a:gd name="T49" fmla="*/ 60712 h 41"/>
                <a:gd name="T50" fmla="*/ 68301 w 41"/>
                <a:gd name="T51" fmla="*/ 77787 h 41"/>
                <a:gd name="T52" fmla="*/ 72095 w 41"/>
                <a:gd name="T53" fmla="*/ 75890 h 41"/>
                <a:gd name="T54" fmla="*/ 75890 w 41"/>
                <a:gd name="T55" fmla="*/ 73993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16"/>
            <p:cNvSpPr>
              <a:spLocks noChangeAspect="1"/>
            </p:cNvSpPr>
            <p:nvPr/>
          </p:nvSpPr>
          <p:spPr bwMode="auto">
            <a:xfrm>
              <a:off x="5374458" y="1887915"/>
              <a:ext cx="128136" cy="88989"/>
            </a:xfrm>
            <a:custGeom>
              <a:avLst/>
              <a:gdLst>
                <a:gd name="T0" fmla="*/ 92881 w 67"/>
                <a:gd name="T1" fmla="*/ 107649 h 58"/>
                <a:gd name="T2" fmla="*/ 89090 w 67"/>
                <a:gd name="T3" fmla="*/ 107649 h 58"/>
                <a:gd name="T4" fmla="*/ 75821 w 67"/>
                <a:gd name="T5" fmla="*/ 100095 h 58"/>
                <a:gd name="T6" fmla="*/ 83403 w 67"/>
                <a:gd name="T7" fmla="*/ 94429 h 58"/>
                <a:gd name="T8" fmla="*/ 75821 w 67"/>
                <a:gd name="T9" fmla="*/ 83098 h 58"/>
                <a:gd name="T10" fmla="*/ 81507 w 67"/>
                <a:gd name="T11" fmla="*/ 77432 h 58"/>
                <a:gd name="T12" fmla="*/ 73925 w 67"/>
                <a:gd name="T13" fmla="*/ 67989 h 58"/>
                <a:gd name="T14" fmla="*/ 51179 w 67"/>
                <a:gd name="T15" fmla="*/ 86875 h 58"/>
                <a:gd name="T16" fmla="*/ 51179 w 67"/>
                <a:gd name="T17" fmla="*/ 96318 h 58"/>
                <a:gd name="T18" fmla="*/ 41701 w 67"/>
                <a:gd name="T19" fmla="*/ 94429 h 58"/>
                <a:gd name="T20" fmla="*/ 41701 w 67"/>
                <a:gd name="T21" fmla="*/ 83098 h 58"/>
                <a:gd name="T22" fmla="*/ 36015 w 67"/>
                <a:gd name="T23" fmla="*/ 77432 h 58"/>
                <a:gd name="T24" fmla="*/ 28433 w 67"/>
                <a:gd name="T25" fmla="*/ 69878 h 58"/>
                <a:gd name="T26" fmla="*/ 17060 w 67"/>
                <a:gd name="T27" fmla="*/ 62323 h 58"/>
                <a:gd name="T28" fmla="*/ 22746 w 67"/>
                <a:gd name="T29" fmla="*/ 58546 h 58"/>
                <a:gd name="T30" fmla="*/ 22746 w 67"/>
                <a:gd name="T31" fmla="*/ 52880 h 58"/>
                <a:gd name="T32" fmla="*/ 11373 w 67"/>
                <a:gd name="T33" fmla="*/ 47215 h 58"/>
                <a:gd name="T34" fmla="*/ 13269 w 67"/>
                <a:gd name="T35" fmla="*/ 37772 h 58"/>
                <a:gd name="T36" fmla="*/ 11373 w 67"/>
                <a:gd name="T37" fmla="*/ 30217 h 58"/>
                <a:gd name="T38" fmla="*/ 1896 w 67"/>
                <a:gd name="T39" fmla="*/ 28329 h 58"/>
                <a:gd name="T40" fmla="*/ 0 w 67"/>
                <a:gd name="T41" fmla="*/ 20774 h 58"/>
                <a:gd name="T42" fmla="*/ 5687 w 67"/>
                <a:gd name="T43" fmla="*/ 13220 h 58"/>
                <a:gd name="T44" fmla="*/ 15164 w 67"/>
                <a:gd name="T45" fmla="*/ 18886 h 58"/>
                <a:gd name="T46" fmla="*/ 24642 w 67"/>
                <a:gd name="T47" fmla="*/ 22663 h 58"/>
                <a:gd name="T48" fmla="*/ 37910 w 67"/>
                <a:gd name="T49" fmla="*/ 26440 h 58"/>
                <a:gd name="T50" fmla="*/ 37910 w 67"/>
                <a:gd name="T51" fmla="*/ 18886 h 58"/>
                <a:gd name="T52" fmla="*/ 30328 w 67"/>
                <a:gd name="T53" fmla="*/ 15109 h 58"/>
                <a:gd name="T54" fmla="*/ 24642 w 67"/>
                <a:gd name="T55" fmla="*/ 5666 h 58"/>
                <a:gd name="T56" fmla="*/ 32224 w 67"/>
                <a:gd name="T57" fmla="*/ 0 h 58"/>
                <a:gd name="T58" fmla="*/ 45493 w 67"/>
                <a:gd name="T59" fmla="*/ 7554 h 58"/>
                <a:gd name="T60" fmla="*/ 51179 w 67"/>
                <a:gd name="T61" fmla="*/ 18886 h 58"/>
                <a:gd name="T62" fmla="*/ 66343 w 67"/>
                <a:gd name="T63" fmla="*/ 22663 h 58"/>
                <a:gd name="T64" fmla="*/ 68239 w 67"/>
                <a:gd name="T65" fmla="*/ 13220 h 58"/>
                <a:gd name="T66" fmla="*/ 75821 w 67"/>
                <a:gd name="T67" fmla="*/ 11332 h 58"/>
                <a:gd name="T68" fmla="*/ 79612 w 67"/>
                <a:gd name="T69" fmla="*/ 3777 h 58"/>
                <a:gd name="T70" fmla="*/ 92881 w 67"/>
                <a:gd name="T71" fmla="*/ 18886 h 58"/>
                <a:gd name="T72" fmla="*/ 98567 w 67"/>
                <a:gd name="T73" fmla="*/ 33995 h 58"/>
                <a:gd name="T74" fmla="*/ 109940 w 67"/>
                <a:gd name="T75" fmla="*/ 41549 h 58"/>
                <a:gd name="T76" fmla="*/ 119418 w 67"/>
                <a:gd name="T77" fmla="*/ 41549 h 58"/>
                <a:gd name="T78" fmla="*/ 127000 w 67"/>
                <a:gd name="T79" fmla="*/ 45326 h 58"/>
                <a:gd name="T80" fmla="*/ 125104 w 67"/>
                <a:gd name="T81" fmla="*/ 47215 h 58"/>
                <a:gd name="T82" fmla="*/ 111836 w 67"/>
                <a:gd name="T83" fmla="*/ 47215 h 58"/>
                <a:gd name="T84" fmla="*/ 104254 w 67"/>
                <a:gd name="T85" fmla="*/ 60435 h 58"/>
                <a:gd name="T86" fmla="*/ 104254 w 67"/>
                <a:gd name="T87" fmla="*/ 73655 h 58"/>
                <a:gd name="T88" fmla="*/ 108045 w 67"/>
                <a:gd name="T89" fmla="*/ 81209 h 58"/>
                <a:gd name="T90" fmla="*/ 104254 w 67"/>
                <a:gd name="T91" fmla="*/ 88764 h 58"/>
                <a:gd name="T92" fmla="*/ 94776 w 67"/>
                <a:gd name="T93" fmla="*/ 86875 h 58"/>
                <a:gd name="T94" fmla="*/ 92881 w 67"/>
                <a:gd name="T95" fmla="*/ 94429 h 58"/>
                <a:gd name="T96" fmla="*/ 92881 w 67"/>
                <a:gd name="T97" fmla="*/ 107649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9" name="Freeform 117"/>
            <p:cNvSpPr>
              <a:spLocks noChangeAspect="1"/>
            </p:cNvSpPr>
            <p:nvPr/>
          </p:nvSpPr>
          <p:spPr bwMode="auto">
            <a:xfrm>
              <a:off x="5549044" y="1867279"/>
              <a:ext cx="344368" cy="189583"/>
            </a:xfrm>
            <a:custGeom>
              <a:avLst/>
              <a:gdLst>
                <a:gd name="T0" fmla="*/ 333686 w 179"/>
                <a:gd name="T1" fmla="*/ 170240 h 122"/>
                <a:gd name="T2" fmla="*/ 314618 w 179"/>
                <a:gd name="T3" fmla="*/ 170240 h 122"/>
                <a:gd name="T4" fmla="*/ 301271 w 179"/>
                <a:gd name="T5" fmla="*/ 172153 h 122"/>
                <a:gd name="T6" fmla="*/ 291737 w 179"/>
                <a:gd name="T7" fmla="*/ 197020 h 122"/>
                <a:gd name="T8" fmla="*/ 265042 w 179"/>
                <a:gd name="T9" fmla="*/ 216148 h 122"/>
                <a:gd name="T10" fmla="*/ 255508 w 179"/>
                <a:gd name="T11" fmla="*/ 233363 h 122"/>
                <a:gd name="T12" fmla="*/ 242161 w 179"/>
                <a:gd name="T13" fmla="*/ 231450 h 122"/>
                <a:gd name="T14" fmla="*/ 223093 w 179"/>
                <a:gd name="T15" fmla="*/ 225712 h 122"/>
                <a:gd name="T16" fmla="*/ 217373 w 179"/>
                <a:gd name="T17" fmla="*/ 202758 h 122"/>
                <a:gd name="T18" fmla="*/ 190678 w 179"/>
                <a:gd name="T19" fmla="*/ 187456 h 122"/>
                <a:gd name="T20" fmla="*/ 167796 w 179"/>
                <a:gd name="T21" fmla="*/ 175979 h 122"/>
                <a:gd name="T22" fmla="*/ 156356 w 179"/>
                <a:gd name="T23" fmla="*/ 162589 h 122"/>
                <a:gd name="T24" fmla="*/ 120127 w 179"/>
                <a:gd name="T25" fmla="*/ 151112 h 122"/>
                <a:gd name="T26" fmla="*/ 102966 w 179"/>
                <a:gd name="T27" fmla="*/ 141548 h 122"/>
                <a:gd name="T28" fmla="*/ 70551 w 179"/>
                <a:gd name="T29" fmla="*/ 153025 h 122"/>
                <a:gd name="T30" fmla="*/ 45763 w 179"/>
                <a:gd name="T31" fmla="*/ 170240 h 122"/>
                <a:gd name="T32" fmla="*/ 38136 w 179"/>
                <a:gd name="T33" fmla="*/ 135810 h 122"/>
                <a:gd name="T34" fmla="*/ 30508 w 179"/>
                <a:gd name="T35" fmla="*/ 105205 h 122"/>
                <a:gd name="T36" fmla="*/ 20975 w 179"/>
                <a:gd name="T37" fmla="*/ 112856 h 122"/>
                <a:gd name="T38" fmla="*/ 20975 w 179"/>
                <a:gd name="T39" fmla="*/ 95641 h 122"/>
                <a:gd name="T40" fmla="*/ 32415 w 179"/>
                <a:gd name="T41" fmla="*/ 99466 h 122"/>
                <a:gd name="T42" fmla="*/ 26695 w 179"/>
                <a:gd name="T43" fmla="*/ 87989 h 122"/>
                <a:gd name="T44" fmla="*/ 9534 w 179"/>
                <a:gd name="T45" fmla="*/ 87989 h 122"/>
                <a:gd name="T46" fmla="*/ 7627 w 179"/>
                <a:gd name="T47" fmla="*/ 61210 h 122"/>
                <a:gd name="T48" fmla="*/ 15254 w 179"/>
                <a:gd name="T49" fmla="*/ 63123 h 122"/>
                <a:gd name="T50" fmla="*/ 32415 w 179"/>
                <a:gd name="T51" fmla="*/ 59297 h 122"/>
                <a:gd name="T52" fmla="*/ 45763 w 179"/>
                <a:gd name="T53" fmla="*/ 65036 h 122"/>
                <a:gd name="T54" fmla="*/ 51483 w 179"/>
                <a:gd name="T55" fmla="*/ 59297 h 122"/>
                <a:gd name="T56" fmla="*/ 53390 w 179"/>
                <a:gd name="T57" fmla="*/ 47820 h 122"/>
                <a:gd name="T58" fmla="*/ 30508 w 179"/>
                <a:gd name="T59" fmla="*/ 17215 h 122"/>
                <a:gd name="T60" fmla="*/ 7627 w 179"/>
                <a:gd name="T61" fmla="*/ 28692 h 122"/>
                <a:gd name="T62" fmla="*/ 5720 w 179"/>
                <a:gd name="T63" fmla="*/ 49733 h 122"/>
                <a:gd name="T64" fmla="*/ 0 w 179"/>
                <a:gd name="T65" fmla="*/ 30605 h 122"/>
                <a:gd name="T66" fmla="*/ 17161 w 179"/>
                <a:gd name="T67" fmla="*/ 11477 h 122"/>
                <a:gd name="T68" fmla="*/ 47669 w 179"/>
                <a:gd name="T69" fmla="*/ 17215 h 122"/>
                <a:gd name="T70" fmla="*/ 64830 w 179"/>
                <a:gd name="T71" fmla="*/ 45907 h 122"/>
                <a:gd name="T72" fmla="*/ 80085 w 179"/>
                <a:gd name="T73" fmla="*/ 43995 h 122"/>
                <a:gd name="T74" fmla="*/ 104873 w 179"/>
                <a:gd name="T75" fmla="*/ 49733 h 122"/>
                <a:gd name="T76" fmla="*/ 104873 w 179"/>
                <a:gd name="T77" fmla="*/ 32518 h 122"/>
                <a:gd name="T78" fmla="*/ 116313 w 179"/>
                <a:gd name="T79" fmla="*/ 17215 h 122"/>
                <a:gd name="T80" fmla="*/ 133474 w 179"/>
                <a:gd name="T81" fmla="*/ 15302 h 122"/>
                <a:gd name="T82" fmla="*/ 141101 w 179"/>
                <a:gd name="T83" fmla="*/ 1913 h 122"/>
                <a:gd name="T84" fmla="*/ 152542 w 179"/>
                <a:gd name="T85" fmla="*/ 15302 h 122"/>
                <a:gd name="T86" fmla="*/ 167796 w 179"/>
                <a:gd name="T87" fmla="*/ 30605 h 122"/>
                <a:gd name="T88" fmla="*/ 175423 w 179"/>
                <a:gd name="T89" fmla="*/ 47820 h 122"/>
                <a:gd name="T90" fmla="*/ 205932 w 179"/>
                <a:gd name="T91" fmla="*/ 47820 h 122"/>
                <a:gd name="T92" fmla="*/ 225000 w 179"/>
                <a:gd name="T93" fmla="*/ 55472 h 122"/>
                <a:gd name="T94" fmla="*/ 232627 w 179"/>
                <a:gd name="T95" fmla="*/ 72687 h 122"/>
                <a:gd name="T96" fmla="*/ 238347 w 179"/>
                <a:gd name="T97" fmla="*/ 84164 h 122"/>
                <a:gd name="T98" fmla="*/ 263135 w 179"/>
                <a:gd name="T99" fmla="*/ 109030 h 122"/>
                <a:gd name="T100" fmla="*/ 314618 w 179"/>
                <a:gd name="T101" fmla="*/ 143461 h 122"/>
                <a:gd name="T102" fmla="*/ 337499 w 179"/>
                <a:gd name="T103" fmla="*/ 153025 h 122"/>
                <a:gd name="T104" fmla="*/ 339406 w 179"/>
                <a:gd name="T105" fmla="*/ 164502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0" name="Freeform 118"/>
            <p:cNvSpPr>
              <a:spLocks noChangeAspect="1"/>
            </p:cNvSpPr>
            <p:nvPr/>
          </p:nvSpPr>
          <p:spPr bwMode="auto">
            <a:xfrm>
              <a:off x="5621121" y="1789899"/>
              <a:ext cx="416445" cy="216666"/>
            </a:xfrm>
            <a:custGeom>
              <a:avLst/>
              <a:gdLst>
                <a:gd name="T0" fmla="*/ 278988 w 216"/>
                <a:gd name="T1" fmla="*/ 262890 h 140"/>
                <a:gd name="T2" fmla="*/ 294275 w 216"/>
                <a:gd name="T3" fmla="*/ 262890 h 140"/>
                <a:gd name="T4" fmla="*/ 307652 w 216"/>
                <a:gd name="T5" fmla="*/ 238125 h 140"/>
                <a:gd name="T6" fmla="*/ 298097 w 216"/>
                <a:gd name="T7" fmla="*/ 222885 h 140"/>
                <a:gd name="T8" fmla="*/ 286632 w 216"/>
                <a:gd name="T9" fmla="*/ 211455 h 140"/>
                <a:gd name="T10" fmla="*/ 286632 w 216"/>
                <a:gd name="T11" fmla="*/ 198120 h 140"/>
                <a:gd name="T12" fmla="*/ 309563 w 216"/>
                <a:gd name="T13" fmla="*/ 186690 h 140"/>
                <a:gd name="T14" fmla="*/ 305741 w 216"/>
                <a:gd name="T15" fmla="*/ 179070 h 140"/>
                <a:gd name="T16" fmla="*/ 324850 w 216"/>
                <a:gd name="T17" fmla="*/ 163830 h 140"/>
                <a:gd name="T18" fmla="*/ 343958 w 216"/>
                <a:gd name="T19" fmla="*/ 156210 h 140"/>
                <a:gd name="T20" fmla="*/ 353513 w 216"/>
                <a:gd name="T21" fmla="*/ 171450 h 140"/>
                <a:gd name="T22" fmla="*/ 363067 w 216"/>
                <a:gd name="T23" fmla="*/ 179070 h 140"/>
                <a:gd name="T24" fmla="*/ 374532 w 216"/>
                <a:gd name="T25" fmla="*/ 179070 h 140"/>
                <a:gd name="T26" fmla="*/ 393641 w 216"/>
                <a:gd name="T27" fmla="*/ 167640 h 140"/>
                <a:gd name="T28" fmla="*/ 410839 w 216"/>
                <a:gd name="T29" fmla="*/ 154305 h 140"/>
                <a:gd name="T30" fmla="*/ 384087 w 216"/>
                <a:gd name="T31" fmla="*/ 148590 h 140"/>
                <a:gd name="T32" fmla="*/ 368800 w 216"/>
                <a:gd name="T33" fmla="*/ 150495 h 140"/>
                <a:gd name="T34" fmla="*/ 353513 w 216"/>
                <a:gd name="T35" fmla="*/ 139065 h 140"/>
                <a:gd name="T36" fmla="*/ 342047 w 216"/>
                <a:gd name="T37" fmla="*/ 131445 h 140"/>
                <a:gd name="T38" fmla="*/ 351602 w 216"/>
                <a:gd name="T39" fmla="*/ 108585 h 140"/>
                <a:gd name="T40" fmla="*/ 334404 w 216"/>
                <a:gd name="T41" fmla="*/ 118110 h 140"/>
                <a:gd name="T42" fmla="*/ 303830 w 216"/>
                <a:gd name="T43" fmla="*/ 156210 h 140"/>
                <a:gd name="T44" fmla="*/ 290454 w 216"/>
                <a:gd name="T45" fmla="*/ 142875 h 140"/>
                <a:gd name="T46" fmla="*/ 257969 w 216"/>
                <a:gd name="T47" fmla="*/ 146685 h 140"/>
                <a:gd name="T48" fmla="*/ 246504 w 216"/>
                <a:gd name="T49" fmla="*/ 131445 h 140"/>
                <a:gd name="T50" fmla="*/ 233127 w 216"/>
                <a:gd name="T51" fmla="*/ 114300 h 140"/>
                <a:gd name="T52" fmla="*/ 235038 w 216"/>
                <a:gd name="T53" fmla="*/ 95250 h 140"/>
                <a:gd name="T54" fmla="*/ 215929 w 216"/>
                <a:gd name="T55" fmla="*/ 76200 h 140"/>
                <a:gd name="T56" fmla="*/ 196821 w 216"/>
                <a:gd name="T57" fmla="*/ 72390 h 140"/>
                <a:gd name="T58" fmla="*/ 133762 w 216"/>
                <a:gd name="T59" fmla="*/ 74295 h 140"/>
                <a:gd name="T60" fmla="*/ 57326 w 216"/>
                <a:gd name="T61" fmla="*/ 0 h 140"/>
                <a:gd name="T62" fmla="*/ 0 w 216"/>
                <a:gd name="T63" fmla="*/ 17145 h 140"/>
                <a:gd name="T64" fmla="*/ 15287 w 216"/>
                <a:gd name="T65" fmla="*/ 140970 h 140"/>
                <a:gd name="T66" fmla="*/ 36307 w 216"/>
                <a:gd name="T67" fmla="*/ 142875 h 140"/>
                <a:gd name="T68" fmla="*/ 34396 w 216"/>
                <a:gd name="T69" fmla="*/ 114300 h 140"/>
                <a:gd name="T70" fmla="*/ 49683 w 216"/>
                <a:gd name="T71" fmla="*/ 102870 h 140"/>
                <a:gd name="T72" fmla="*/ 57326 w 216"/>
                <a:gd name="T73" fmla="*/ 99060 h 140"/>
                <a:gd name="T74" fmla="*/ 70703 w 216"/>
                <a:gd name="T75" fmla="*/ 102870 h 140"/>
                <a:gd name="T76" fmla="*/ 99366 w 216"/>
                <a:gd name="T77" fmla="*/ 118110 h 140"/>
                <a:gd name="T78" fmla="*/ 108920 w 216"/>
                <a:gd name="T79" fmla="*/ 135255 h 140"/>
                <a:gd name="T80" fmla="*/ 110831 w 216"/>
                <a:gd name="T81" fmla="*/ 144780 h 140"/>
                <a:gd name="T82" fmla="*/ 139494 w 216"/>
                <a:gd name="T83" fmla="*/ 137160 h 140"/>
                <a:gd name="T84" fmla="*/ 154781 w 216"/>
                <a:gd name="T85" fmla="*/ 154305 h 140"/>
                <a:gd name="T86" fmla="*/ 166247 w 216"/>
                <a:gd name="T87" fmla="*/ 167640 h 140"/>
                <a:gd name="T88" fmla="*/ 171979 w 216"/>
                <a:gd name="T89" fmla="*/ 186690 h 140"/>
                <a:gd name="T90" fmla="*/ 212108 w 216"/>
                <a:gd name="T91" fmla="*/ 217170 h 140"/>
                <a:gd name="T92" fmla="*/ 250325 w 216"/>
                <a:gd name="T93" fmla="*/ 238125 h 140"/>
                <a:gd name="T94" fmla="*/ 267523 w 216"/>
                <a:gd name="T95" fmla="*/ 249555 h 140"/>
                <a:gd name="T96" fmla="*/ 269434 w 216"/>
                <a:gd name="T97" fmla="*/ 264795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1" name="Freeform 119"/>
            <p:cNvSpPr>
              <a:spLocks noChangeAspect="1"/>
            </p:cNvSpPr>
            <p:nvPr/>
          </p:nvSpPr>
          <p:spPr bwMode="auto">
            <a:xfrm>
              <a:off x="5754063" y="1975613"/>
              <a:ext cx="333156" cy="217956"/>
            </a:xfrm>
            <a:custGeom>
              <a:avLst/>
              <a:gdLst>
                <a:gd name="T0" fmla="*/ 36265 w 173"/>
                <a:gd name="T1" fmla="*/ 260677 h 141"/>
                <a:gd name="T2" fmla="*/ 93525 w 173"/>
                <a:gd name="T3" fmla="*/ 264482 h 141"/>
                <a:gd name="T4" fmla="*/ 104977 w 173"/>
                <a:gd name="T5" fmla="*/ 264482 h 141"/>
                <a:gd name="T6" fmla="*/ 146968 w 173"/>
                <a:gd name="T7" fmla="*/ 256871 h 141"/>
                <a:gd name="T8" fmla="*/ 145059 w 173"/>
                <a:gd name="T9" fmla="*/ 237844 h 141"/>
                <a:gd name="T10" fmla="*/ 166054 w 173"/>
                <a:gd name="T11" fmla="*/ 216914 h 141"/>
                <a:gd name="T12" fmla="*/ 175598 w 173"/>
                <a:gd name="T13" fmla="*/ 216914 h 141"/>
                <a:gd name="T14" fmla="*/ 183232 w 173"/>
                <a:gd name="T15" fmla="*/ 211205 h 141"/>
                <a:gd name="T16" fmla="*/ 198502 w 173"/>
                <a:gd name="T17" fmla="*/ 203594 h 141"/>
                <a:gd name="T18" fmla="*/ 213771 w 173"/>
                <a:gd name="T19" fmla="*/ 199789 h 141"/>
                <a:gd name="T20" fmla="*/ 211862 w 173"/>
                <a:gd name="T21" fmla="*/ 182664 h 141"/>
                <a:gd name="T22" fmla="*/ 230949 w 173"/>
                <a:gd name="T23" fmla="*/ 165539 h 141"/>
                <a:gd name="T24" fmla="*/ 223314 w 173"/>
                <a:gd name="T25" fmla="*/ 140804 h 141"/>
                <a:gd name="T26" fmla="*/ 236675 w 173"/>
                <a:gd name="T27" fmla="*/ 140804 h 141"/>
                <a:gd name="T28" fmla="*/ 253853 w 173"/>
                <a:gd name="T29" fmla="*/ 125582 h 141"/>
                <a:gd name="T30" fmla="*/ 261488 w 173"/>
                <a:gd name="T31" fmla="*/ 108457 h 141"/>
                <a:gd name="T32" fmla="*/ 248127 w 173"/>
                <a:gd name="T33" fmla="*/ 79916 h 141"/>
                <a:gd name="T34" fmla="*/ 263397 w 173"/>
                <a:gd name="T35" fmla="*/ 68499 h 141"/>
                <a:gd name="T36" fmla="*/ 307296 w 173"/>
                <a:gd name="T37" fmla="*/ 49472 h 141"/>
                <a:gd name="T38" fmla="*/ 328291 w 173"/>
                <a:gd name="T39" fmla="*/ 45666 h 141"/>
                <a:gd name="T40" fmla="*/ 330200 w 173"/>
                <a:gd name="T41" fmla="*/ 34250 h 141"/>
                <a:gd name="T42" fmla="*/ 307296 w 173"/>
                <a:gd name="T43" fmla="*/ 41861 h 141"/>
                <a:gd name="T44" fmla="*/ 286301 w 173"/>
                <a:gd name="T45" fmla="*/ 41861 h 141"/>
                <a:gd name="T46" fmla="*/ 267214 w 173"/>
                <a:gd name="T47" fmla="*/ 47569 h 141"/>
                <a:gd name="T48" fmla="*/ 255762 w 173"/>
                <a:gd name="T49" fmla="*/ 49472 h 141"/>
                <a:gd name="T50" fmla="*/ 251945 w 173"/>
                <a:gd name="T51" fmla="*/ 19028 h 141"/>
                <a:gd name="T52" fmla="*/ 242401 w 173"/>
                <a:gd name="T53" fmla="*/ 7611 h 141"/>
                <a:gd name="T54" fmla="*/ 213771 w 173"/>
                <a:gd name="T55" fmla="*/ 19028 h 141"/>
                <a:gd name="T56" fmla="*/ 208045 w 173"/>
                <a:gd name="T57" fmla="*/ 26639 h 141"/>
                <a:gd name="T58" fmla="*/ 202319 w 173"/>
                <a:gd name="T59" fmla="*/ 43763 h 141"/>
                <a:gd name="T60" fmla="*/ 179415 w 173"/>
                <a:gd name="T61" fmla="*/ 47569 h 141"/>
                <a:gd name="T62" fmla="*/ 162237 w 173"/>
                <a:gd name="T63" fmla="*/ 34250 h 141"/>
                <a:gd name="T64" fmla="*/ 146968 w 173"/>
                <a:gd name="T65" fmla="*/ 34250 h 141"/>
                <a:gd name="T66" fmla="*/ 129790 w 173"/>
                <a:gd name="T67" fmla="*/ 36152 h 141"/>
                <a:gd name="T68" fmla="*/ 110703 w 173"/>
                <a:gd name="T69" fmla="*/ 36152 h 141"/>
                <a:gd name="T70" fmla="*/ 97342 w 173"/>
                <a:gd name="T71" fmla="*/ 38055 h 141"/>
                <a:gd name="T72" fmla="*/ 87799 w 173"/>
                <a:gd name="T73" fmla="*/ 62791 h 141"/>
                <a:gd name="T74" fmla="*/ 61077 w 173"/>
                <a:gd name="T75" fmla="*/ 81818 h 141"/>
                <a:gd name="T76" fmla="*/ 51534 w 173"/>
                <a:gd name="T77" fmla="*/ 98943 h 141"/>
                <a:gd name="T78" fmla="*/ 38173 w 173"/>
                <a:gd name="T79" fmla="*/ 97040 h 141"/>
                <a:gd name="T80" fmla="*/ 19087 w 173"/>
                <a:gd name="T81" fmla="*/ 91332 h 141"/>
                <a:gd name="T82" fmla="*/ 5726 w 173"/>
                <a:gd name="T83" fmla="*/ 117971 h 141"/>
                <a:gd name="T84" fmla="*/ 3817 w 173"/>
                <a:gd name="T85" fmla="*/ 123679 h 141"/>
                <a:gd name="T86" fmla="*/ 7635 w 173"/>
                <a:gd name="T87" fmla="*/ 152220 h 141"/>
                <a:gd name="T88" fmla="*/ 7635 w 173"/>
                <a:gd name="T89" fmla="*/ 171248 h 141"/>
                <a:gd name="T90" fmla="*/ 17178 w 173"/>
                <a:gd name="T91" fmla="*/ 211205 h 141"/>
                <a:gd name="T92" fmla="*/ 36265 w 173"/>
                <a:gd name="T93" fmla="*/ 226427 h 141"/>
                <a:gd name="T94" fmla="*/ 19087 w 173"/>
                <a:gd name="T95" fmla="*/ 256871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2" name="Freeform 120"/>
            <p:cNvSpPr>
              <a:spLocks noChangeAspect="1"/>
            </p:cNvSpPr>
            <p:nvPr/>
          </p:nvSpPr>
          <p:spPr bwMode="auto">
            <a:xfrm>
              <a:off x="5773283" y="2013015"/>
              <a:ext cx="387614" cy="319841"/>
            </a:xfrm>
            <a:custGeom>
              <a:avLst/>
              <a:gdLst>
                <a:gd name="T0" fmla="*/ 376530 w 201"/>
                <a:gd name="T1" fmla="*/ 62764 h 207"/>
                <a:gd name="T2" fmla="*/ 355505 w 201"/>
                <a:gd name="T3" fmla="*/ 79881 h 207"/>
                <a:gd name="T4" fmla="*/ 317279 w 201"/>
                <a:gd name="T5" fmla="*/ 72273 h 207"/>
                <a:gd name="T6" fmla="*/ 309634 w 201"/>
                <a:gd name="T7" fmla="*/ 93195 h 207"/>
                <a:gd name="T8" fmla="*/ 321102 w 201"/>
                <a:gd name="T9" fmla="*/ 127429 h 207"/>
                <a:gd name="T10" fmla="*/ 336392 w 201"/>
                <a:gd name="T11" fmla="*/ 131233 h 207"/>
                <a:gd name="T12" fmla="*/ 330658 w 201"/>
                <a:gd name="T13" fmla="*/ 150253 h 207"/>
                <a:gd name="T14" fmla="*/ 326835 w 201"/>
                <a:gd name="T15" fmla="*/ 167370 h 207"/>
                <a:gd name="T16" fmla="*/ 326835 w 201"/>
                <a:gd name="T17" fmla="*/ 180684 h 207"/>
                <a:gd name="T18" fmla="*/ 313456 w 201"/>
                <a:gd name="T19" fmla="*/ 197801 h 207"/>
                <a:gd name="T20" fmla="*/ 298166 w 201"/>
                <a:gd name="T21" fmla="*/ 213016 h 207"/>
                <a:gd name="T22" fmla="*/ 282875 w 201"/>
                <a:gd name="T23" fmla="*/ 245349 h 207"/>
                <a:gd name="T24" fmla="*/ 267585 w 201"/>
                <a:gd name="T25" fmla="*/ 258663 h 207"/>
                <a:gd name="T26" fmla="*/ 256117 w 201"/>
                <a:gd name="T27" fmla="*/ 271976 h 207"/>
                <a:gd name="T28" fmla="*/ 237003 w 201"/>
                <a:gd name="T29" fmla="*/ 271976 h 207"/>
                <a:gd name="T30" fmla="*/ 210245 w 201"/>
                <a:gd name="T31" fmla="*/ 300505 h 207"/>
                <a:gd name="T32" fmla="*/ 223624 w 201"/>
                <a:gd name="T33" fmla="*/ 310015 h 207"/>
                <a:gd name="T34" fmla="*/ 229358 w 201"/>
                <a:gd name="T35" fmla="*/ 327132 h 207"/>
                <a:gd name="T36" fmla="*/ 246560 w 201"/>
                <a:gd name="T37" fmla="*/ 340446 h 207"/>
                <a:gd name="T38" fmla="*/ 258028 w 201"/>
                <a:gd name="T39" fmla="*/ 368975 h 207"/>
                <a:gd name="T40" fmla="*/ 256117 w 201"/>
                <a:gd name="T41" fmla="*/ 378485 h 207"/>
                <a:gd name="T42" fmla="*/ 248471 w 201"/>
                <a:gd name="T43" fmla="*/ 374681 h 207"/>
                <a:gd name="T44" fmla="*/ 221713 w 201"/>
                <a:gd name="T45" fmla="*/ 380386 h 207"/>
                <a:gd name="T46" fmla="*/ 200688 w 201"/>
                <a:gd name="T47" fmla="*/ 384190 h 207"/>
                <a:gd name="T48" fmla="*/ 185398 w 201"/>
                <a:gd name="T49" fmla="*/ 393700 h 207"/>
                <a:gd name="T50" fmla="*/ 162462 w 201"/>
                <a:gd name="T51" fmla="*/ 365171 h 207"/>
                <a:gd name="T52" fmla="*/ 145260 w 201"/>
                <a:gd name="T53" fmla="*/ 348054 h 207"/>
                <a:gd name="T54" fmla="*/ 107034 w 201"/>
                <a:gd name="T55" fmla="*/ 346152 h 207"/>
                <a:gd name="T56" fmla="*/ 74541 w 201"/>
                <a:gd name="T57" fmla="*/ 349956 h 207"/>
                <a:gd name="T58" fmla="*/ 49694 w 201"/>
                <a:gd name="T59" fmla="*/ 349956 h 207"/>
                <a:gd name="T60" fmla="*/ 30581 w 201"/>
                <a:gd name="T61" fmla="*/ 348054 h 207"/>
                <a:gd name="T62" fmla="*/ 32492 w 201"/>
                <a:gd name="T63" fmla="*/ 319525 h 207"/>
                <a:gd name="T64" fmla="*/ 59251 w 201"/>
                <a:gd name="T65" fmla="*/ 310015 h 207"/>
                <a:gd name="T66" fmla="*/ 61162 w 201"/>
                <a:gd name="T67" fmla="*/ 292898 h 207"/>
                <a:gd name="T68" fmla="*/ 45872 w 201"/>
                <a:gd name="T69" fmla="*/ 260565 h 207"/>
                <a:gd name="T70" fmla="*/ 24847 w 201"/>
                <a:gd name="T71" fmla="*/ 251055 h 207"/>
                <a:gd name="T72" fmla="*/ 15291 w 201"/>
                <a:gd name="T73" fmla="*/ 228232 h 207"/>
                <a:gd name="T74" fmla="*/ 17202 w 201"/>
                <a:gd name="T75" fmla="*/ 214918 h 207"/>
                <a:gd name="T76" fmla="*/ 74541 w 201"/>
                <a:gd name="T77" fmla="*/ 218722 h 207"/>
                <a:gd name="T78" fmla="*/ 86009 w 201"/>
                <a:gd name="T79" fmla="*/ 218722 h 207"/>
                <a:gd name="T80" fmla="*/ 128058 w 201"/>
                <a:gd name="T81" fmla="*/ 211114 h 207"/>
                <a:gd name="T82" fmla="*/ 126147 w 201"/>
                <a:gd name="T83" fmla="*/ 192095 h 207"/>
                <a:gd name="T84" fmla="*/ 147172 w 201"/>
                <a:gd name="T85" fmla="*/ 171174 h 207"/>
                <a:gd name="T86" fmla="*/ 156728 w 201"/>
                <a:gd name="T87" fmla="*/ 171174 h 207"/>
                <a:gd name="T88" fmla="*/ 164373 w 201"/>
                <a:gd name="T89" fmla="*/ 165468 h 207"/>
                <a:gd name="T90" fmla="*/ 179664 w 201"/>
                <a:gd name="T91" fmla="*/ 157860 h 207"/>
                <a:gd name="T92" fmla="*/ 194954 w 201"/>
                <a:gd name="T93" fmla="*/ 154057 h 207"/>
                <a:gd name="T94" fmla="*/ 193043 w 201"/>
                <a:gd name="T95" fmla="*/ 136939 h 207"/>
                <a:gd name="T96" fmla="*/ 212156 w 201"/>
                <a:gd name="T97" fmla="*/ 119822 h 207"/>
                <a:gd name="T98" fmla="*/ 204511 w 201"/>
                <a:gd name="T99" fmla="*/ 95097 h 207"/>
                <a:gd name="T100" fmla="*/ 217890 w 201"/>
                <a:gd name="T101" fmla="*/ 95097 h 207"/>
                <a:gd name="T102" fmla="*/ 235092 w 201"/>
                <a:gd name="T103" fmla="*/ 79881 h 207"/>
                <a:gd name="T104" fmla="*/ 242737 w 201"/>
                <a:gd name="T105" fmla="*/ 62764 h 207"/>
                <a:gd name="T106" fmla="*/ 229358 w 201"/>
                <a:gd name="T107" fmla="*/ 34235 h 207"/>
                <a:gd name="T108" fmla="*/ 244649 w 201"/>
                <a:gd name="T109" fmla="*/ 22823 h 207"/>
                <a:gd name="T110" fmla="*/ 288609 w 201"/>
                <a:gd name="T111" fmla="*/ 3804 h 207"/>
                <a:gd name="T112" fmla="*/ 309634 w 201"/>
                <a:gd name="T113" fmla="*/ 0 h 207"/>
                <a:gd name="T114" fmla="*/ 326835 w 201"/>
                <a:gd name="T115" fmla="*/ 1902 h 207"/>
                <a:gd name="T116" fmla="*/ 344037 w 201"/>
                <a:gd name="T117" fmla="*/ 32333 h 207"/>
                <a:gd name="T118" fmla="*/ 365062 w 201"/>
                <a:gd name="T119" fmla="*/ 39941 h 207"/>
                <a:gd name="T120" fmla="*/ 384175 w 201"/>
                <a:gd name="T121" fmla="*/ 5135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3" name="Freeform 121"/>
            <p:cNvSpPr>
              <a:spLocks noChangeAspect="1"/>
            </p:cNvSpPr>
            <p:nvPr/>
          </p:nvSpPr>
          <p:spPr bwMode="auto">
            <a:xfrm>
              <a:off x="6055185" y="1582261"/>
              <a:ext cx="1369463" cy="835712"/>
            </a:xfrm>
            <a:custGeom>
              <a:avLst/>
              <a:gdLst>
                <a:gd name="T0" fmla="*/ 78050 w 713"/>
                <a:gd name="T1" fmla="*/ 403860 h 540"/>
                <a:gd name="T2" fmla="*/ 1904 w 713"/>
                <a:gd name="T3" fmla="*/ 438150 h 540"/>
                <a:gd name="T4" fmla="*/ 32362 w 713"/>
                <a:gd name="T5" fmla="*/ 518160 h 540"/>
                <a:gd name="T6" fmla="*/ 85665 w 713"/>
                <a:gd name="T7" fmla="*/ 569595 h 540"/>
                <a:gd name="T8" fmla="*/ 138968 w 713"/>
                <a:gd name="T9" fmla="*/ 636270 h 540"/>
                <a:gd name="T10" fmla="*/ 140871 w 713"/>
                <a:gd name="T11" fmla="*/ 693420 h 540"/>
                <a:gd name="T12" fmla="*/ 209403 w 713"/>
                <a:gd name="T13" fmla="*/ 735330 h 540"/>
                <a:gd name="T14" fmla="*/ 279839 w 713"/>
                <a:gd name="T15" fmla="*/ 779145 h 540"/>
                <a:gd name="T16" fmla="*/ 348371 w 713"/>
                <a:gd name="T17" fmla="*/ 807720 h 540"/>
                <a:gd name="T18" fmla="*/ 399770 w 713"/>
                <a:gd name="T19" fmla="*/ 809625 h 540"/>
                <a:gd name="T20" fmla="*/ 454976 w 713"/>
                <a:gd name="T21" fmla="*/ 807720 h 540"/>
                <a:gd name="T22" fmla="*/ 523508 w 713"/>
                <a:gd name="T23" fmla="*/ 763905 h 540"/>
                <a:gd name="T24" fmla="*/ 576810 w 713"/>
                <a:gd name="T25" fmla="*/ 792480 h 540"/>
                <a:gd name="T26" fmla="*/ 628209 w 713"/>
                <a:gd name="T27" fmla="*/ 853440 h 540"/>
                <a:gd name="T28" fmla="*/ 622498 w 713"/>
                <a:gd name="T29" fmla="*/ 914400 h 540"/>
                <a:gd name="T30" fmla="*/ 668186 w 713"/>
                <a:gd name="T31" fmla="*/ 973455 h 540"/>
                <a:gd name="T32" fmla="*/ 715778 w 713"/>
                <a:gd name="T33" fmla="*/ 992505 h 540"/>
                <a:gd name="T34" fmla="*/ 732911 w 713"/>
                <a:gd name="T35" fmla="*/ 956310 h 540"/>
                <a:gd name="T36" fmla="*/ 774792 w 713"/>
                <a:gd name="T37" fmla="*/ 956310 h 540"/>
                <a:gd name="T38" fmla="*/ 829998 w 713"/>
                <a:gd name="T39" fmla="*/ 954405 h 540"/>
                <a:gd name="T40" fmla="*/ 904241 w 713"/>
                <a:gd name="T41" fmla="*/ 986790 h 540"/>
                <a:gd name="T42" fmla="*/ 925181 w 713"/>
                <a:gd name="T43" fmla="*/ 996315 h 540"/>
                <a:gd name="T44" fmla="*/ 986098 w 713"/>
                <a:gd name="T45" fmla="*/ 973455 h 540"/>
                <a:gd name="T46" fmla="*/ 1033690 w 713"/>
                <a:gd name="T47" fmla="*/ 960120 h 540"/>
                <a:gd name="T48" fmla="*/ 1126970 w 713"/>
                <a:gd name="T49" fmla="*/ 859155 h 540"/>
                <a:gd name="T50" fmla="*/ 1163139 w 713"/>
                <a:gd name="T51" fmla="*/ 779145 h 540"/>
                <a:gd name="T52" fmla="*/ 1125066 w 713"/>
                <a:gd name="T53" fmla="*/ 729615 h 540"/>
                <a:gd name="T54" fmla="*/ 1121259 w 713"/>
                <a:gd name="T55" fmla="*/ 676275 h 540"/>
                <a:gd name="T56" fmla="*/ 1126970 w 713"/>
                <a:gd name="T57" fmla="*/ 653415 h 540"/>
                <a:gd name="T58" fmla="*/ 1100318 w 713"/>
                <a:gd name="T59" fmla="*/ 563880 h 540"/>
                <a:gd name="T60" fmla="*/ 1136488 w 713"/>
                <a:gd name="T61" fmla="*/ 529590 h 540"/>
                <a:gd name="T62" fmla="*/ 1104126 w 713"/>
                <a:gd name="T63" fmla="*/ 502920 h 540"/>
                <a:gd name="T64" fmla="*/ 1022268 w 713"/>
                <a:gd name="T65" fmla="*/ 483870 h 540"/>
                <a:gd name="T66" fmla="*/ 1119355 w 713"/>
                <a:gd name="T67" fmla="*/ 422910 h 540"/>
                <a:gd name="T68" fmla="*/ 1138392 w 713"/>
                <a:gd name="T69" fmla="*/ 447675 h 540"/>
                <a:gd name="T70" fmla="*/ 1224057 w 713"/>
                <a:gd name="T71" fmla="*/ 386715 h 540"/>
                <a:gd name="T72" fmla="*/ 1281166 w 713"/>
                <a:gd name="T73" fmla="*/ 340995 h 540"/>
                <a:gd name="T74" fmla="*/ 1294492 w 713"/>
                <a:gd name="T75" fmla="*/ 285750 h 540"/>
                <a:gd name="T76" fmla="*/ 1349698 w 713"/>
                <a:gd name="T77" fmla="*/ 230505 h 540"/>
                <a:gd name="T78" fmla="*/ 1256419 w 713"/>
                <a:gd name="T79" fmla="*/ 175260 h 540"/>
                <a:gd name="T80" fmla="*/ 1172658 w 713"/>
                <a:gd name="T81" fmla="*/ 112395 h 540"/>
                <a:gd name="T82" fmla="*/ 1126970 w 713"/>
                <a:gd name="T83" fmla="*/ 36195 h 540"/>
                <a:gd name="T84" fmla="*/ 999424 w 713"/>
                <a:gd name="T85" fmla="*/ 11430 h 540"/>
                <a:gd name="T86" fmla="*/ 988002 w 713"/>
                <a:gd name="T87" fmla="*/ 112395 h 540"/>
                <a:gd name="T88" fmla="*/ 930892 w 713"/>
                <a:gd name="T89" fmla="*/ 190500 h 540"/>
                <a:gd name="T90" fmla="*/ 1020364 w 713"/>
                <a:gd name="T91" fmla="*/ 230505 h 540"/>
                <a:gd name="T92" fmla="*/ 949929 w 713"/>
                <a:gd name="T93" fmla="*/ 257175 h 540"/>
                <a:gd name="T94" fmla="*/ 856649 w 713"/>
                <a:gd name="T95" fmla="*/ 308610 h 540"/>
                <a:gd name="T96" fmla="*/ 702452 w 713"/>
                <a:gd name="T97" fmla="*/ 382905 h 540"/>
                <a:gd name="T98" fmla="*/ 513990 w 713"/>
                <a:gd name="T99" fmla="*/ 354330 h 540"/>
                <a:gd name="T100" fmla="*/ 420710 w 713"/>
                <a:gd name="T101" fmla="*/ 280035 h 540"/>
                <a:gd name="T102" fmla="*/ 355985 w 713"/>
                <a:gd name="T103" fmla="*/ 213360 h 540"/>
                <a:gd name="T104" fmla="*/ 283646 w 713"/>
                <a:gd name="T105" fmla="*/ 156210 h 540"/>
                <a:gd name="T106" fmla="*/ 236054 w 713"/>
                <a:gd name="T107" fmla="*/ 188595 h 540"/>
                <a:gd name="T108" fmla="*/ 173233 w 713"/>
                <a:gd name="T109" fmla="*/ 276225 h 540"/>
                <a:gd name="T110" fmla="*/ 144679 w 713"/>
                <a:gd name="T111" fmla="*/ 337185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4" name="Freeform 122"/>
            <p:cNvSpPr>
              <a:spLocks noChangeAspect="1"/>
            </p:cNvSpPr>
            <p:nvPr/>
          </p:nvSpPr>
          <p:spPr bwMode="auto">
            <a:xfrm>
              <a:off x="6337086" y="1613213"/>
              <a:ext cx="756008" cy="286309"/>
            </a:xfrm>
            <a:custGeom>
              <a:avLst/>
              <a:gdLst>
                <a:gd name="T0" fmla="*/ 646343 w 393"/>
                <a:gd name="T1" fmla="*/ 78105 h 185"/>
                <a:gd name="T2" fmla="*/ 619650 w 393"/>
                <a:gd name="T3" fmla="*/ 76200 h 185"/>
                <a:gd name="T4" fmla="*/ 591051 w 393"/>
                <a:gd name="T5" fmla="*/ 72390 h 185"/>
                <a:gd name="T6" fmla="*/ 566265 w 393"/>
                <a:gd name="T7" fmla="*/ 87630 h 185"/>
                <a:gd name="T8" fmla="*/ 531946 w 393"/>
                <a:gd name="T9" fmla="*/ 95250 h 185"/>
                <a:gd name="T10" fmla="*/ 510973 w 393"/>
                <a:gd name="T11" fmla="*/ 100965 h 185"/>
                <a:gd name="T12" fmla="*/ 457588 w 393"/>
                <a:gd name="T13" fmla="*/ 87630 h 185"/>
                <a:gd name="T14" fmla="*/ 438522 w 393"/>
                <a:gd name="T15" fmla="*/ 72390 h 185"/>
                <a:gd name="T16" fmla="*/ 388950 w 393"/>
                <a:gd name="T17" fmla="*/ 66675 h 185"/>
                <a:gd name="T18" fmla="*/ 358444 w 393"/>
                <a:gd name="T19" fmla="*/ 70485 h 185"/>
                <a:gd name="T20" fmla="*/ 347004 w 393"/>
                <a:gd name="T21" fmla="*/ 64770 h 185"/>
                <a:gd name="T22" fmla="*/ 320311 w 393"/>
                <a:gd name="T23" fmla="*/ 55245 h 185"/>
                <a:gd name="T24" fmla="*/ 305059 w 393"/>
                <a:gd name="T25" fmla="*/ 22860 h 185"/>
                <a:gd name="T26" fmla="*/ 274553 w 393"/>
                <a:gd name="T27" fmla="*/ 11430 h 185"/>
                <a:gd name="T28" fmla="*/ 230700 w 393"/>
                <a:gd name="T29" fmla="*/ 1905 h 185"/>
                <a:gd name="T30" fmla="*/ 221167 w 393"/>
                <a:gd name="T31" fmla="*/ 22860 h 185"/>
                <a:gd name="T32" fmla="*/ 223074 w 393"/>
                <a:gd name="T33" fmla="*/ 53340 h 185"/>
                <a:gd name="T34" fmla="*/ 224981 w 393"/>
                <a:gd name="T35" fmla="*/ 76200 h 185"/>
                <a:gd name="T36" fmla="*/ 204008 w 393"/>
                <a:gd name="T37" fmla="*/ 78105 h 185"/>
                <a:gd name="T38" fmla="*/ 167782 w 393"/>
                <a:gd name="T39" fmla="*/ 80010 h 185"/>
                <a:gd name="T40" fmla="*/ 141090 w 393"/>
                <a:gd name="T41" fmla="*/ 62865 h 185"/>
                <a:gd name="T42" fmla="*/ 114397 w 393"/>
                <a:gd name="T43" fmla="*/ 53340 h 185"/>
                <a:gd name="T44" fmla="*/ 101051 w 393"/>
                <a:gd name="T45" fmla="*/ 51435 h 185"/>
                <a:gd name="T46" fmla="*/ 89611 w 393"/>
                <a:gd name="T47" fmla="*/ 53340 h 185"/>
                <a:gd name="T48" fmla="*/ 74358 w 393"/>
                <a:gd name="T49" fmla="*/ 60960 h 185"/>
                <a:gd name="T50" fmla="*/ 45759 w 393"/>
                <a:gd name="T51" fmla="*/ 76200 h 185"/>
                <a:gd name="T52" fmla="*/ 15253 w 393"/>
                <a:gd name="T53" fmla="*/ 93345 h 185"/>
                <a:gd name="T54" fmla="*/ 0 w 393"/>
                <a:gd name="T55" fmla="*/ 114300 h 185"/>
                <a:gd name="T56" fmla="*/ 11440 w 393"/>
                <a:gd name="T57" fmla="*/ 129540 h 185"/>
                <a:gd name="T58" fmla="*/ 34319 w 393"/>
                <a:gd name="T59" fmla="*/ 146685 h 185"/>
                <a:gd name="T60" fmla="*/ 47665 w 393"/>
                <a:gd name="T61" fmla="*/ 148590 h 185"/>
                <a:gd name="T62" fmla="*/ 72451 w 393"/>
                <a:gd name="T63" fmla="*/ 158115 h 185"/>
                <a:gd name="T64" fmla="*/ 87704 w 393"/>
                <a:gd name="T65" fmla="*/ 179070 h 185"/>
                <a:gd name="T66" fmla="*/ 85798 w 393"/>
                <a:gd name="T67" fmla="*/ 200025 h 185"/>
                <a:gd name="T68" fmla="*/ 87704 w 393"/>
                <a:gd name="T69" fmla="*/ 236220 h 185"/>
                <a:gd name="T70" fmla="*/ 116304 w 393"/>
                <a:gd name="T71" fmla="*/ 245745 h 185"/>
                <a:gd name="T72" fmla="*/ 163969 w 393"/>
                <a:gd name="T73" fmla="*/ 253365 h 185"/>
                <a:gd name="T74" fmla="*/ 200195 w 393"/>
                <a:gd name="T75" fmla="*/ 266700 h 185"/>
                <a:gd name="T76" fmla="*/ 211634 w 393"/>
                <a:gd name="T77" fmla="*/ 278130 h 185"/>
                <a:gd name="T78" fmla="*/ 228794 w 393"/>
                <a:gd name="T79" fmla="*/ 308610 h 185"/>
                <a:gd name="T80" fmla="*/ 253580 w 393"/>
                <a:gd name="T81" fmla="*/ 318135 h 185"/>
                <a:gd name="T82" fmla="*/ 299339 w 393"/>
                <a:gd name="T83" fmla="*/ 320040 h 185"/>
                <a:gd name="T84" fmla="*/ 358444 w 393"/>
                <a:gd name="T85" fmla="*/ 320040 h 185"/>
                <a:gd name="T86" fmla="*/ 406109 w 393"/>
                <a:gd name="T87" fmla="*/ 342900 h 185"/>
                <a:gd name="T88" fmla="*/ 440428 w 393"/>
                <a:gd name="T89" fmla="*/ 350520 h 185"/>
                <a:gd name="T90" fmla="*/ 512880 w 393"/>
                <a:gd name="T91" fmla="*/ 323850 h 185"/>
                <a:gd name="T92" fmla="*/ 556732 w 393"/>
                <a:gd name="T93" fmla="*/ 314325 h 185"/>
                <a:gd name="T94" fmla="*/ 585331 w 393"/>
                <a:gd name="T95" fmla="*/ 274320 h 185"/>
                <a:gd name="T96" fmla="*/ 571985 w 393"/>
                <a:gd name="T97" fmla="*/ 257175 h 185"/>
                <a:gd name="T98" fmla="*/ 592958 w 393"/>
                <a:gd name="T99" fmla="*/ 241935 h 185"/>
                <a:gd name="T100" fmla="*/ 629183 w 393"/>
                <a:gd name="T101" fmla="*/ 245745 h 185"/>
                <a:gd name="T102" fmla="*/ 657782 w 393"/>
                <a:gd name="T103" fmla="*/ 230505 h 185"/>
                <a:gd name="T104" fmla="*/ 671129 w 393"/>
                <a:gd name="T105" fmla="*/ 211455 h 185"/>
                <a:gd name="T106" fmla="*/ 694008 w 393"/>
                <a:gd name="T107" fmla="*/ 203835 h 185"/>
                <a:gd name="T108" fmla="*/ 703541 w 393"/>
                <a:gd name="T109" fmla="*/ 196215 h 185"/>
                <a:gd name="T110" fmla="*/ 726421 w 393"/>
                <a:gd name="T111" fmla="*/ 186690 h 185"/>
                <a:gd name="T112" fmla="*/ 749300 w 393"/>
                <a:gd name="T113" fmla="*/ 182880 h 185"/>
                <a:gd name="T114" fmla="*/ 714981 w 393"/>
                <a:gd name="T115" fmla="*/ 144780 h 185"/>
                <a:gd name="T116" fmla="*/ 692102 w 393"/>
                <a:gd name="T117" fmla="*/ 144780 h 185"/>
                <a:gd name="T118" fmla="*/ 671129 w 393"/>
                <a:gd name="T119" fmla="*/ 144780 h 185"/>
                <a:gd name="T120" fmla="*/ 642530 w 393"/>
                <a:gd name="T121" fmla="*/ 148590 h 185"/>
                <a:gd name="T122" fmla="*/ 644436 w 393"/>
                <a:gd name="T123" fmla="*/ 137160 h 185"/>
                <a:gd name="T124" fmla="*/ 644436 w 393"/>
                <a:gd name="T125" fmla="*/ 106680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5" name="Freeform 123"/>
            <p:cNvSpPr>
              <a:spLocks noChangeAspect="1"/>
            </p:cNvSpPr>
            <p:nvPr/>
          </p:nvSpPr>
          <p:spPr bwMode="auto">
            <a:xfrm>
              <a:off x="5944667" y="1853094"/>
              <a:ext cx="251468" cy="104464"/>
            </a:xfrm>
            <a:custGeom>
              <a:avLst/>
              <a:gdLst>
                <a:gd name="T0" fmla="*/ 110349 w 131"/>
                <a:gd name="T1" fmla="*/ 122829 h 67"/>
                <a:gd name="T2" fmla="*/ 110349 w 131"/>
                <a:gd name="T3" fmla="*/ 105556 h 67"/>
                <a:gd name="T4" fmla="*/ 121765 w 131"/>
                <a:gd name="T5" fmla="*/ 99799 h 67"/>
                <a:gd name="T6" fmla="*/ 133180 w 131"/>
                <a:gd name="T7" fmla="*/ 92122 h 67"/>
                <a:gd name="T8" fmla="*/ 142693 w 131"/>
                <a:gd name="T9" fmla="*/ 94041 h 67"/>
                <a:gd name="T10" fmla="*/ 150303 w 131"/>
                <a:gd name="T11" fmla="*/ 86364 h 67"/>
                <a:gd name="T12" fmla="*/ 152206 w 131"/>
                <a:gd name="T13" fmla="*/ 95960 h 67"/>
                <a:gd name="T14" fmla="*/ 169329 w 131"/>
                <a:gd name="T15" fmla="*/ 92122 h 67"/>
                <a:gd name="T16" fmla="*/ 176939 w 131"/>
                <a:gd name="T17" fmla="*/ 72930 h 67"/>
                <a:gd name="T18" fmla="*/ 186452 w 131"/>
                <a:gd name="T19" fmla="*/ 71011 h 67"/>
                <a:gd name="T20" fmla="*/ 207380 w 131"/>
                <a:gd name="T21" fmla="*/ 71011 h 67"/>
                <a:gd name="T22" fmla="*/ 213088 w 131"/>
                <a:gd name="T23" fmla="*/ 59495 h 67"/>
                <a:gd name="T24" fmla="*/ 228309 w 131"/>
                <a:gd name="T25" fmla="*/ 46061 h 67"/>
                <a:gd name="T26" fmla="*/ 235919 w 131"/>
                <a:gd name="T27" fmla="*/ 49899 h 67"/>
                <a:gd name="T28" fmla="*/ 241627 w 131"/>
                <a:gd name="T29" fmla="*/ 40303 h 67"/>
                <a:gd name="T30" fmla="*/ 249237 w 131"/>
                <a:gd name="T31" fmla="*/ 34546 h 67"/>
                <a:gd name="T32" fmla="*/ 245432 w 131"/>
                <a:gd name="T33" fmla="*/ 30707 h 67"/>
                <a:gd name="T34" fmla="*/ 239724 w 131"/>
                <a:gd name="T35" fmla="*/ 28788 h 67"/>
                <a:gd name="T36" fmla="*/ 226406 w 131"/>
                <a:gd name="T37" fmla="*/ 24950 h 67"/>
                <a:gd name="T38" fmla="*/ 224504 w 131"/>
                <a:gd name="T39" fmla="*/ 17273 h 67"/>
                <a:gd name="T40" fmla="*/ 218796 w 131"/>
                <a:gd name="T41" fmla="*/ 17273 h 67"/>
                <a:gd name="T42" fmla="*/ 207380 w 131"/>
                <a:gd name="T43" fmla="*/ 13434 h 67"/>
                <a:gd name="T44" fmla="*/ 188355 w 131"/>
                <a:gd name="T45" fmla="*/ 13434 h 67"/>
                <a:gd name="T46" fmla="*/ 167426 w 131"/>
                <a:gd name="T47" fmla="*/ 11515 h 67"/>
                <a:gd name="T48" fmla="*/ 150303 w 131"/>
                <a:gd name="T49" fmla="*/ 11515 h 67"/>
                <a:gd name="T50" fmla="*/ 148401 w 131"/>
                <a:gd name="T51" fmla="*/ 15354 h 67"/>
                <a:gd name="T52" fmla="*/ 127472 w 131"/>
                <a:gd name="T53" fmla="*/ 11515 h 67"/>
                <a:gd name="T54" fmla="*/ 108447 w 131"/>
                <a:gd name="T55" fmla="*/ 1919 h 67"/>
                <a:gd name="T56" fmla="*/ 95129 w 131"/>
                <a:gd name="T57" fmla="*/ 3838 h 67"/>
                <a:gd name="T58" fmla="*/ 87518 w 131"/>
                <a:gd name="T59" fmla="*/ 9596 h 67"/>
                <a:gd name="T60" fmla="*/ 87518 w 131"/>
                <a:gd name="T61" fmla="*/ 24950 h 67"/>
                <a:gd name="T62" fmla="*/ 78005 w 131"/>
                <a:gd name="T63" fmla="*/ 26869 h 67"/>
                <a:gd name="T64" fmla="*/ 51369 w 131"/>
                <a:gd name="T65" fmla="*/ 19192 h 67"/>
                <a:gd name="T66" fmla="*/ 41857 w 131"/>
                <a:gd name="T67" fmla="*/ 21111 h 67"/>
                <a:gd name="T68" fmla="*/ 30441 w 131"/>
                <a:gd name="T69" fmla="*/ 30707 h 67"/>
                <a:gd name="T70" fmla="*/ 41857 w 131"/>
                <a:gd name="T71" fmla="*/ 34546 h 67"/>
                <a:gd name="T72" fmla="*/ 20928 w 131"/>
                <a:gd name="T73" fmla="*/ 53738 h 67"/>
                <a:gd name="T74" fmla="*/ 20928 w 131"/>
                <a:gd name="T75" fmla="*/ 61415 h 67"/>
                <a:gd name="T76" fmla="*/ 32344 w 131"/>
                <a:gd name="T77" fmla="*/ 61415 h 67"/>
                <a:gd name="T78" fmla="*/ 32344 w 131"/>
                <a:gd name="T79" fmla="*/ 72930 h 67"/>
                <a:gd name="T80" fmla="*/ 47564 w 131"/>
                <a:gd name="T81" fmla="*/ 72930 h 67"/>
                <a:gd name="T82" fmla="*/ 51369 w 131"/>
                <a:gd name="T83" fmla="*/ 57576 h 67"/>
                <a:gd name="T84" fmla="*/ 62785 w 131"/>
                <a:gd name="T85" fmla="*/ 71011 h 67"/>
                <a:gd name="T86" fmla="*/ 76103 w 131"/>
                <a:gd name="T87" fmla="*/ 72930 h 67"/>
                <a:gd name="T88" fmla="*/ 89421 w 131"/>
                <a:gd name="T89" fmla="*/ 76768 h 67"/>
                <a:gd name="T90" fmla="*/ 83713 w 131"/>
                <a:gd name="T91" fmla="*/ 90203 h 67"/>
                <a:gd name="T92" fmla="*/ 72298 w 131"/>
                <a:gd name="T93" fmla="*/ 90203 h 67"/>
                <a:gd name="T94" fmla="*/ 60882 w 131"/>
                <a:gd name="T95" fmla="*/ 101718 h 67"/>
                <a:gd name="T96" fmla="*/ 53272 w 131"/>
                <a:gd name="T97" fmla="*/ 101718 h 67"/>
                <a:gd name="T98" fmla="*/ 47564 w 131"/>
                <a:gd name="T99" fmla="*/ 97880 h 67"/>
                <a:gd name="T100" fmla="*/ 41857 w 131"/>
                <a:gd name="T101" fmla="*/ 101718 h 67"/>
                <a:gd name="T102" fmla="*/ 36149 w 131"/>
                <a:gd name="T103" fmla="*/ 101718 h 67"/>
                <a:gd name="T104" fmla="*/ 15221 w 131"/>
                <a:gd name="T105" fmla="*/ 105556 h 67"/>
                <a:gd name="T106" fmla="*/ 1903 w 131"/>
                <a:gd name="T107" fmla="*/ 109395 h 67"/>
                <a:gd name="T108" fmla="*/ 7610 w 131"/>
                <a:gd name="T109" fmla="*/ 120910 h 67"/>
                <a:gd name="T110" fmla="*/ 30441 w 131"/>
                <a:gd name="T111" fmla="*/ 118991 h 67"/>
                <a:gd name="T112" fmla="*/ 41857 w 131"/>
                <a:gd name="T113" fmla="*/ 124749 h 67"/>
                <a:gd name="T114" fmla="*/ 58980 w 131"/>
                <a:gd name="T115" fmla="*/ 117072 h 67"/>
                <a:gd name="T116" fmla="*/ 64687 w 131"/>
                <a:gd name="T117" fmla="*/ 126668 h 67"/>
                <a:gd name="T118" fmla="*/ 79908 w 131"/>
                <a:gd name="T119" fmla="*/ 126668 h 67"/>
                <a:gd name="T120" fmla="*/ 110349 w 131"/>
                <a:gd name="T121" fmla="*/ 122829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6" name="Freeform 124"/>
            <p:cNvSpPr>
              <a:spLocks noChangeAspect="1"/>
            </p:cNvSpPr>
            <p:nvPr/>
          </p:nvSpPr>
          <p:spPr bwMode="auto">
            <a:xfrm>
              <a:off x="5906226" y="1916287"/>
              <a:ext cx="190604" cy="105754"/>
            </a:xfrm>
            <a:custGeom>
              <a:avLst/>
              <a:gdLst>
                <a:gd name="T0" fmla="*/ 179371 w 99"/>
                <a:gd name="T1" fmla="*/ 107203 h 68"/>
                <a:gd name="T2" fmla="*/ 188912 w 99"/>
                <a:gd name="T3" fmla="*/ 101460 h 68"/>
                <a:gd name="T4" fmla="*/ 179371 w 99"/>
                <a:gd name="T5" fmla="*/ 76574 h 68"/>
                <a:gd name="T6" fmla="*/ 167922 w 99"/>
                <a:gd name="T7" fmla="*/ 63173 h 68"/>
                <a:gd name="T8" fmla="*/ 150748 w 99"/>
                <a:gd name="T9" fmla="*/ 70831 h 68"/>
                <a:gd name="T10" fmla="*/ 150748 w 99"/>
                <a:gd name="T11" fmla="*/ 61259 h 68"/>
                <a:gd name="T12" fmla="*/ 152656 w 99"/>
                <a:gd name="T13" fmla="*/ 55516 h 68"/>
                <a:gd name="T14" fmla="*/ 148840 w 99"/>
                <a:gd name="T15" fmla="*/ 44030 h 68"/>
                <a:gd name="T16" fmla="*/ 118309 w 99"/>
                <a:gd name="T17" fmla="*/ 47858 h 68"/>
                <a:gd name="T18" fmla="*/ 103043 w 99"/>
                <a:gd name="T19" fmla="*/ 47858 h 68"/>
                <a:gd name="T20" fmla="*/ 97318 w 99"/>
                <a:gd name="T21" fmla="*/ 38287 h 68"/>
                <a:gd name="T22" fmla="*/ 80144 w 99"/>
                <a:gd name="T23" fmla="*/ 45944 h 68"/>
                <a:gd name="T24" fmla="*/ 68695 w 99"/>
                <a:gd name="T25" fmla="*/ 40201 h 68"/>
                <a:gd name="T26" fmla="*/ 45797 w 99"/>
                <a:gd name="T27" fmla="*/ 42115 h 68"/>
                <a:gd name="T28" fmla="*/ 40072 w 99"/>
                <a:gd name="T29" fmla="*/ 30629 h 68"/>
                <a:gd name="T30" fmla="*/ 53430 w 99"/>
                <a:gd name="T31" fmla="*/ 26801 h 68"/>
                <a:gd name="T32" fmla="*/ 74420 w 99"/>
                <a:gd name="T33" fmla="*/ 22972 h 68"/>
                <a:gd name="T34" fmla="*/ 70603 w 99"/>
                <a:gd name="T35" fmla="*/ 15315 h 68"/>
                <a:gd name="T36" fmla="*/ 74420 w 99"/>
                <a:gd name="T37" fmla="*/ 7657 h 68"/>
                <a:gd name="T38" fmla="*/ 61062 w 99"/>
                <a:gd name="T39" fmla="*/ 0 h 68"/>
                <a:gd name="T40" fmla="*/ 53430 w 99"/>
                <a:gd name="T41" fmla="*/ 9572 h 68"/>
                <a:gd name="T42" fmla="*/ 41980 w 99"/>
                <a:gd name="T43" fmla="*/ 7657 h 68"/>
                <a:gd name="T44" fmla="*/ 38164 w 99"/>
                <a:gd name="T45" fmla="*/ 19143 h 68"/>
                <a:gd name="T46" fmla="*/ 22898 w 99"/>
                <a:gd name="T47" fmla="*/ 22972 h 68"/>
                <a:gd name="T48" fmla="*/ 26715 w 99"/>
                <a:gd name="T49" fmla="*/ 24886 h 68"/>
                <a:gd name="T50" fmla="*/ 26715 w 99"/>
                <a:gd name="T51" fmla="*/ 30629 h 68"/>
                <a:gd name="T52" fmla="*/ 20990 w 99"/>
                <a:gd name="T53" fmla="*/ 40201 h 68"/>
                <a:gd name="T54" fmla="*/ 3816 w 99"/>
                <a:gd name="T55" fmla="*/ 42115 h 68"/>
                <a:gd name="T56" fmla="*/ 0 w 99"/>
                <a:gd name="T57" fmla="*/ 51687 h 68"/>
                <a:gd name="T58" fmla="*/ 3816 w 99"/>
                <a:gd name="T59" fmla="*/ 55516 h 68"/>
                <a:gd name="T60" fmla="*/ 15266 w 99"/>
                <a:gd name="T61" fmla="*/ 57430 h 68"/>
                <a:gd name="T62" fmla="*/ 15266 w 99"/>
                <a:gd name="T63" fmla="*/ 67002 h 68"/>
                <a:gd name="T64" fmla="*/ 22898 w 99"/>
                <a:gd name="T65" fmla="*/ 74659 h 68"/>
                <a:gd name="T66" fmla="*/ 24807 w 99"/>
                <a:gd name="T67" fmla="*/ 82317 h 68"/>
                <a:gd name="T68" fmla="*/ 11449 w 99"/>
                <a:gd name="T69" fmla="*/ 99546 h 68"/>
                <a:gd name="T70" fmla="*/ 11449 w 99"/>
                <a:gd name="T71" fmla="*/ 107203 h 68"/>
                <a:gd name="T72" fmla="*/ 17174 w 99"/>
                <a:gd name="T73" fmla="*/ 116775 h 68"/>
                <a:gd name="T74" fmla="*/ 28623 w 99"/>
                <a:gd name="T75" fmla="*/ 120603 h 68"/>
                <a:gd name="T76" fmla="*/ 43889 w 99"/>
                <a:gd name="T77" fmla="*/ 109117 h 68"/>
                <a:gd name="T78" fmla="*/ 51521 w 99"/>
                <a:gd name="T79" fmla="*/ 116775 h 68"/>
                <a:gd name="T80" fmla="*/ 51521 w 99"/>
                <a:gd name="T81" fmla="*/ 109117 h 68"/>
                <a:gd name="T82" fmla="*/ 57246 w 99"/>
                <a:gd name="T83" fmla="*/ 99546 h 68"/>
                <a:gd name="T84" fmla="*/ 70603 w 99"/>
                <a:gd name="T85" fmla="*/ 97631 h 68"/>
                <a:gd name="T86" fmla="*/ 62971 w 99"/>
                <a:gd name="T87" fmla="*/ 91888 h 68"/>
                <a:gd name="T88" fmla="*/ 78236 w 99"/>
                <a:gd name="T89" fmla="*/ 74659 h 68"/>
                <a:gd name="T90" fmla="*/ 91594 w 99"/>
                <a:gd name="T91" fmla="*/ 80402 h 68"/>
                <a:gd name="T92" fmla="*/ 91594 w 99"/>
                <a:gd name="T93" fmla="*/ 91888 h 68"/>
                <a:gd name="T94" fmla="*/ 101135 w 99"/>
                <a:gd name="T95" fmla="*/ 91888 h 68"/>
                <a:gd name="T96" fmla="*/ 101135 w 99"/>
                <a:gd name="T97" fmla="*/ 109117 h 68"/>
                <a:gd name="T98" fmla="*/ 104951 w 99"/>
                <a:gd name="T99" fmla="*/ 122518 h 68"/>
                <a:gd name="T100" fmla="*/ 110676 w 99"/>
                <a:gd name="T101" fmla="*/ 130175 h 68"/>
                <a:gd name="T102" fmla="*/ 116400 w 99"/>
                <a:gd name="T103" fmla="*/ 120603 h 68"/>
                <a:gd name="T104" fmla="*/ 124033 w 99"/>
                <a:gd name="T105" fmla="*/ 118689 h 68"/>
                <a:gd name="T106" fmla="*/ 135482 w 99"/>
                <a:gd name="T107" fmla="*/ 114860 h 68"/>
                <a:gd name="T108" fmla="*/ 148840 w 99"/>
                <a:gd name="T109" fmla="*/ 109117 h 68"/>
                <a:gd name="T110" fmla="*/ 156473 w 99"/>
                <a:gd name="T111" fmla="*/ 114860 h 68"/>
                <a:gd name="T112" fmla="*/ 173646 w 99"/>
                <a:gd name="T113" fmla="*/ 107203 h 68"/>
                <a:gd name="T114" fmla="*/ 179371 w 99"/>
                <a:gd name="T115" fmla="*/ 107203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7" name="Freeform 125"/>
            <p:cNvSpPr>
              <a:spLocks noChangeAspect="1"/>
            </p:cNvSpPr>
            <p:nvPr/>
          </p:nvSpPr>
          <p:spPr bwMode="auto">
            <a:xfrm>
              <a:off x="5960685" y="2051704"/>
              <a:ext cx="693540" cy="637101"/>
            </a:xfrm>
            <a:custGeom>
              <a:avLst/>
              <a:gdLst>
                <a:gd name="T0" fmla="*/ 479838 w 361"/>
                <a:gd name="T1" fmla="*/ 392113 h 412"/>
                <a:gd name="T2" fmla="*/ 441756 w 361"/>
                <a:gd name="T3" fmla="*/ 460637 h 412"/>
                <a:gd name="T4" fmla="*/ 371303 w 361"/>
                <a:gd name="T5" fmla="*/ 519644 h 412"/>
                <a:gd name="T6" fmla="*/ 302755 w 361"/>
                <a:gd name="T7" fmla="*/ 571038 h 412"/>
                <a:gd name="T8" fmla="*/ 297043 w 361"/>
                <a:gd name="T9" fmla="*/ 719507 h 412"/>
                <a:gd name="T10" fmla="*/ 251344 w 361"/>
                <a:gd name="T11" fmla="*/ 778515 h 412"/>
                <a:gd name="T12" fmla="*/ 217070 w 361"/>
                <a:gd name="T13" fmla="*/ 734735 h 412"/>
                <a:gd name="T14" fmla="*/ 167562 w 361"/>
                <a:gd name="T15" fmla="*/ 609107 h 412"/>
                <a:gd name="T16" fmla="*/ 135192 w 361"/>
                <a:gd name="T17" fmla="*/ 527258 h 412"/>
                <a:gd name="T18" fmla="*/ 121864 w 361"/>
                <a:gd name="T19" fmla="*/ 472058 h 412"/>
                <a:gd name="T20" fmla="*/ 118055 w 361"/>
                <a:gd name="T21" fmla="*/ 407340 h 412"/>
                <a:gd name="T22" fmla="*/ 100918 w 361"/>
                <a:gd name="T23" fmla="*/ 395919 h 412"/>
                <a:gd name="T24" fmla="*/ 22849 w 361"/>
                <a:gd name="T25" fmla="*/ 395919 h 412"/>
                <a:gd name="T26" fmla="*/ 57124 w 361"/>
                <a:gd name="T27" fmla="*/ 361657 h 412"/>
                <a:gd name="T28" fmla="*/ 9521 w 361"/>
                <a:gd name="T29" fmla="*/ 348333 h 412"/>
                <a:gd name="T30" fmla="*/ 36178 w 361"/>
                <a:gd name="T31" fmla="*/ 333105 h 412"/>
                <a:gd name="T32" fmla="*/ 66644 w 361"/>
                <a:gd name="T33" fmla="*/ 323588 h 412"/>
                <a:gd name="T34" fmla="*/ 43795 w 361"/>
                <a:gd name="T35" fmla="*/ 279808 h 412"/>
                <a:gd name="T36" fmla="*/ 45699 w 361"/>
                <a:gd name="T37" fmla="*/ 224608 h 412"/>
                <a:gd name="T38" fmla="*/ 81877 w 361"/>
                <a:gd name="T39" fmla="*/ 211284 h 412"/>
                <a:gd name="T40" fmla="*/ 127576 w 361"/>
                <a:gd name="T41" fmla="*/ 157987 h 412"/>
                <a:gd name="T42" fmla="*/ 140905 w 361"/>
                <a:gd name="T43" fmla="*/ 119918 h 412"/>
                <a:gd name="T44" fmla="*/ 135192 w 361"/>
                <a:gd name="T45" fmla="*/ 85656 h 412"/>
                <a:gd name="T46" fmla="*/ 131384 w 361"/>
                <a:gd name="T47" fmla="*/ 24745 h 412"/>
                <a:gd name="T48" fmla="*/ 198028 w 361"/>
                <a:gd name="T49" fmla="*/ 3807 h 412"/>
                <a:gd name="T50" fmla="*/ 224686 w 361"/>
                <a:gd name="T51" fmla="*/ 41876 h 412"/>
                <a:gd name="T52" fmla="*/ 234207 w 361"/>
                <a:gd name="T53" fmla="*/ 93269 h 412"/>
                <a:gd name="T54" fmla="*/ 239919 w 361"/>
                <a:gd name="T55" fmla="*/ 127532 h 412"/>
                <a:gd name="T56" fmla="*/ 295138 w 361"/>
                <a:gd name="T57" fmla="*/ 159891 h 412"/>
                <a:gd name="T58" fmla="*/ 281810 w 361"/>
                <a:gd name="T59" fmla="*/ 203670 h 412"/>
                <a:gd name="T60" fmla="*/ 371303 w 361"/>
                <a:gd name="T61" fmla="*/ 239836 h 412"/>
                <a:gd name="T62" fmla="*/ 413194 w 361"/>
                <a:gd name="T63" fmla="*/ 266484 h 412"/>
                <a:gd name="T64" fmla="*/ 464605 w 361"/>
                <a:gd name="T65" fmla="*/ 251257 h 412"/>
                <a:gd name="T66" fmla="*/ 483646 w 361"/>
                <a:gd name="T67" fmla="*/ 234125 h 412"/>
                <a:gd name="T68" fmla="*/ 527441 w 361"/>
                <a:gd name="T69" fmla="*/ 260774 h 412"/>
                <a:gd name="T70" fmla="*/ 548386 w 361"/>
                <a:gd name="T71" fmla="*/ 230318 h 412"/>
                <a:gd name="T72" fmla="*/ 586469 w 361"/>
                <a:gd name="T73" fmla="*/ 201767 h 412"/>
                <a:gd name="T74" fmla="*/ 635976 w 361"/>
                <a:gd name="T75" fmla="*/ 190346 h 412"/>
                <a:gd name="T76" fmla="*/ 664538 w 361"/>
                <a:gd name="T77" fmla="*/ 211284 h 412"/>
                <a:gd name="T78" fmla="*/ 675962 w 361"/>
                <a:gd name="T79" fmla="*/ 232222 h 412"/>
                <a:gd name="T80" fmla="*/ 656921 w 361"/>
                <a:gd name="T81" fmla="*/ 249353 h 412"/>
                <a:gd name="T82" fmla="*/ 641688 w 361"/>
                <a:gd name="T83" fmla="*/ 283615 h 412"/>
                <a:gd name="T84" fmla="*/ 620743 w 361"/>
                <a:gd name="T85" fmla="*/ 342623 h 412"/>
                <a:gd name="T86" fmla="*/ 605510 w 361"/>
                <a:gd name="T87" fmla="*/ 369271 h 412"/>
                <a:gd name="T88" fmla="*/ 586469 w 361"/>
                <a:gd name="T89" fmla="*/ 399726 h 412"/>
                <a:gd name="T90" fmla="*/ 565523 w 361"/>
                <a:gd name="T91" fmla="*/ 365464 h 412"/>
                <a:gd name="T92" fmla="*/ 550290 w 361"/>
                <a:gd name="T93" fmla="*/ 336912 h 412"/>
                <a:gd name="T94" fmla="*/ 561715 w 361"/>
                <a:gd name="T95" fmla="*/ 304553 h 412"/>
                <a:gd name="T96" fmla="*/ 502688 w 361"/>
                <a:gd name="T97" fmla="*/ 283615 h 412"/>
                <a:gd name="T98" fmla="*/ 479838 w 361"/>
                <a:gd name="T99" fmla="*/ 272195 h 412"/>
                <a:gd name="T100" fmla="*/ 483646 w 361"/>
                <a:gd name="T101" fmla="*/ 314071 h 412"/>
                <a:gd name="T102" fmla="*/ 487455 w 361"/>
                <a:gd name="T103" fmla="*/ 344526 h 412"/>
                <a:gd name="T104" fmla="*/ 498879 w 361"/>
                <a:gd name="T105" fmla="*/ 374981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8" name="Freeform 126"/>
            <p:cNvSpPr>
              <a:spLocks noChangeAspect="1"/>
            </p:cNvSpPr>
            <p:nvPr/>
          </p:nvSpPr>
          <p:spPr bwMode="auto">
            <a:xfrm>
              <a:off x="6450809" y="2227101"/>
              <a:ext cx="81687" cy="38690"/>
            </a:xfrm>
            <a:custGeom>
              <a:avLst/>
              <a:gdLst>
                <a:gd name="T0" fmla="*/ 62134 w 43"/>
                <a:gd name="T1" fmla="*/ 15240 h 25"/>
                <a:gd name="T2" fmla="*/ 60251 w 43"/>
                <a:gd name="T3" fmla="*/ 22860 h 25"/>
                <a:gd name="T4" fmla="*/ 73431 w 43"/>
                <a:gd name="T5" fmla="*/ 24765 h 25"/>
                <a:gd name="T6" fmla="*/ 77196 w 43"/>
                <a:gd name="T7" fmla="*/ 40005 h 25"/>
                <a:gd name="T8" fmla="*/ 62134 w 43"/>
                <a:gd name="T9" fmla="*/ 41910 h 25"/>
                <a:gd name="T10" fmla="*/ 41422 w 43"/>
                <a:gd name="T11" fmla="*/ 45720 h 25"/>
                <a:gd name="T12" fmla="*/ 33891 w 43"/>
                <a:gd name="T13" fmla="*/ 41910 h 25"/>
                <a:gd name="T14" fmla="*/ 26360 w 43"/>
                <a:gd name="T15" fmla="*/ 47625 h 25"/>
                <a:gd name="T16" fmla="*/ 5649 w 43"/>
                <a:gd name="T17" fmla="*/ 41910 h 25"/>
                <a:gd name="T18" fmla="*/ 0 w 43"/>
                <a:gd name="T19" fmla="*/ 32385 h 25"/>
                <a:gd name="T20" fmla="*/ 7531 w 43"/>
                <a:gd name="T21" fmla="*/ 17145 h 25"/>
                <a:gd name="T22" fmla="*/ 9414 w 43"/>
                <a:gd name="T23" fmla="*/ 7620 h 25"/>
                <a:gd name="T24" fmla="*/ 16946 w 43"/>
                <a:gd name="T25" fmla="*/ 1905 h 25"/>
                <a:gd name="T26" fmla="*/ 24477 w 43"/>
                <a:gd name="T27" fmla="*/ 3810 h 25"/>
                <a:gd name="T28" fmla="*/ 32008 w 43"/>
                <a:gd name="T29" fmla="*/ 1905 h 25"/>
                <a:gd name="T30" fmla="*/ 39540 w 43"/>
                <a:gd name="T31" fmla="*/ 7620 h 25"/>
                <a:gd name="T32" fmla="*/ 52719 w 43"/>
                <a:gd name="T33" fmla="*/ 9525 h 25"/>
                <a:gd name="T34" fmla="*/ 60251 w 43"/>
                <a:gd name="T35" fmla="*/ 7620 h 25"/>
                <a:gd name="T36" fmla="*/ 62134 w 43"/>
                <a:gd name="T37" fmla="*/ 1524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9" name="Freeform 127"/>
            <p:cNvSpPr>
              <a:spLocks noChangeAspect="1"/>
            </p:cNvSpPr>
            <p:nvPr/>
          </p:nvSpPr>
          <p:spPr bwMode="auto">
            <a:xfrm>
              <a:off x="6237780" y="2178093"/>
              <a:ext cx="197011" cy="98015"/>
            </a:xfrm>
            <a:custGeom>
              <a:avLst/>
              <a:gdLst>
                <a:gd name="T0" fmla="*/ 191471 w 103"/>
                <a:gd name="T1" fmla="*/ 74688 h 63"/>
                <a:gd name="T2" fmla="*/ 191471 w 103"/>
                <a:gd name="T3" fmla="*/ 84264 h 63"/>
                <a:gd name="T4" fmla="*/ 189576 w 103"/>
                <a:gd name="T5" fmla="*/ 95754 h 63"/>
                <a:gd name="T6" fmla="*/ 195263 w 103"/>
                <a:gd name="T7" fmla="*/ 112990 h 63"/>
                <a:gd name="T8" fmla="*/ 187680 w 103"/>
                <a:gd name="T9" fmla="*/ 118735 h 63"/>
                <a:gd name="T10" fmla="*/ 164931 w 103"/>
                <a:gd name="T11" fmla="*/ 116820 h 63"/>
                <a:gd name="T12" fmla="*/ 149765 w 103"/>
                <a:gd name="T13" fmla="*/ 111075 h 63"/>
                <a:gd name="T14" fmla="*/ 138390 w 103"/>
                <a:gd name="T15" fmla="*/ 111075 h 63"/>
                <a:gd name="T16" fmla="*/ 132703 w 103"/>
                <a:gd name="T17" fmla="*/ 105329 h 63"/>
                <a:gd name="T18" fmla="*/ 127016 w 103"/>
                <a:gd name="T19" fmla="*/ 107244 h 63"/>
                <a:gd name="T20" fmla="*/ 113745 w 103"/>
                <a:gd name="T21" fmla="*/ 97669 h 63"/>
                <a:gd name="T22" fmla="*/ 113745 w 103"/>
                <a:gd name="T23" fmla="*/ 90009 h 63"/>
                <a:gd name="T24" fmla="*/ 96684 w 103"/>
                <a:gd name="T25" fmla="*/ 84264 h 63"/>
                <a:gd name="T26" fmla="*/ 64456 w 103"/>
                <a:gd name="T27" fmla="*/ 82348 h 63"/>
                <a:gd name="T28" fmla="*/ 58768 w 103"/>
                <a:gd name="T29" fmla="*/ 78518 h 63"/>
                <a:gd name="T30" fmla="*/ 34124 w 103"/>
                <a:gd name="T31" fmla="*/ 67028 h 63"/>
                <a:gd name="T32" fmla="*/ 17062 w 103"/>
                <a:gd name="T33" fmla="*/ 47877 h 63"/>
                <a:gd name="T34" fmla="*/ 7583 w 103"/>
                <a:gd name="T35" fmla="*/ 47877 h 63"/>
                <a:gd name="T36" fmla="*/ 0 w 103"/>
                <a:gd name="T37" fmla="*/ 42132 h 63"/>
                <a:gd name="T38" fmla="*/ 1896 w 103"/>
                <a:gd name="T39" fmla="*/ 28726 h 63"/>
                <a:gd name="T40" fmla="*/ 1896 w 103"/>
                <a:gd name="T41" fmla="*/ 21066 h 63"/>
                <a:gd name="T42" fmla="*/ 9479 w 103"/>
                <a:gd name="T43" fmla="*/ 15321 h 63"/>
                <a:gd name="T44" fmla="*/ 20853 w 103"/>
                <a:gd name="T45" fmla="*/ 3830 h 63"/>
                <a:gd name="T46" fmla="*/ 28436 w 103"/>
                <a:gd name="T47" fmla="*/ 9575 h 63"/>
                <a:gd name="T48" fmla="*/ 28436 w 103"/>
                <a:gd name="T49" fmla="*/ 1915 h 63"/>
                <a:gd name="T50" fmla="*/ 36019 w 103"/>
                <a:gd name="T51" fmla="*/ 1915 h 63"/>
                <a:gd name="T52" fmla="*/ 51185 w 103"/>
                <a:gd name="T53" fmla="*/ 7660 h 63"/>
                <a:gd name="T54" fmla="*/ 70143 w 103"/>
                <a:gd name="T55" fmla="*/ 21066 h 63"/>
                <a:gd name="T56" fmla="*/ 81518 w 103"/>
                <a:gd name="T57" fmla="*/ 34471 h 63"/>
                <a:gd name="T58" fmla="*/ 87205 w 103"/>
                <a:gd name="T59" fmla="*/ 26811 h 63"/>
                <a:gd name="T60" fmla="*/ 94788 w 103"/>
                <a:gd name="T61" fmla="*/ 26811 h 63"/>
                <a:gd name="T62" fmla="*/ 94788 w 103"/>
                <a:gd name="T63" fmla="*/ 38302 h 63"/>
                <a:gd name="T64" fmla="*/ 98579 w 103"/>
                <a:gd name="T65" fmla="*/ 45962 h 63"/>
                <a:gd name="T66" fmla="*/ 119433 w 103"/>
                <a:gd name="T67" fmla="*/ 47877 h 63"/>
                <a:gd name="T68" fmla="*/ 119433 w 103"/>
                <a:gd name="T69" fmla="*/ 57452 h 63"/>
                <a:gd name="T70" fmla="*/ 130807 w 103"/>
                <a:gd name="T71" fmla="*/ 59367 h 63"/>
                <a:gd name="T72" fmla="*/ 138390 w 103"/>
                <a:gd name="T73" fmla="*/ 68943 h 63"/>
                <a:gd name="T74" fmla="*/ 145973 w 103"/>
                <a:gd name="T75" fmla="*/ 67028 h 63"/>
                <a:gd name="T76" fmla="*/ 151661 w 103"/>
                <a:gd name="T77" fmla="*/ 72773 h 63"/>
                <a:gd name="T78" fmla="*/ 159244 w 103"/>
                <a:gd name="T79" fmla="*/ 67028 h 63"/>
                <a:gd name="T80" fmla="*/ 166827 w 103"/>
                <a:gd name="T81" fmla="*/ 74688 h 63"/>
                <a:gd name="T82" fmla="*/ 174410 w 103"/>
                <a:gd name="T83" fmla="*/ 78518 h 63"/>
                <a:gd name="T84" fmla="*/ 185784 w 103"/>
                <a:gd name="T85" fmla="*/ 72773 h 63"/>
                <a:gd name="T86" fmla="*/ 191471 w 103"/>
                <a:gd name="T87" fmla="*/ 74688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0" name="Freeform 128"/>
            <p:cNvSpPr>
              <a:spLocks noChangeAspect="1"/>
            </p:cNvSpPr>
            <p:nvPr/>
          </p:nvSpPr>
          <p:spPr bwMode="auto">
            <a:xfrm>
              <a:off x="6439596" y="2265791"/>
              <a:ext cx="120129" cy="132837"/>
            </a:xfrm>
            <a:custGeom>
              <a:avLst/>
              <a:gdLst>
                <a:gd name="T0" fmla="*/ 39688 w 63"/>
                <a:gd name="T1" fmla="*/ 138795 h 86"/>
                <a:gd name="T2" fmla="*/ 45357 w 63"/>
                <a:gd name="T3" fmla="*/ 125486 h 86"/>
                <a:gd name="T4" fmla="*/ 52917 w 63"/>
                <a:gd name="T5" fmla="*/ 134992 h 86"/>
                <a:gd name="T6" fmla="*/ 64256 w 63"/>
                <a:gd name="T7" fmla="*/ 117881 h 86"/>
                <a:gd name="T8" fmla="*/ 56697 w 63"/>
                <a:gd name="T9" fmla="*/ 93164 h 86"/>
                <a:gd name="T10" fmla="*/ 69926 w 63"/>
                <a:gd name="T11" fmla="*/ 108374 h 86"/>
                <a:gd name="T12" fmla="*/ 86935 w 63"/>
                <a:gd name="T13" fmla="*/ 112177 h 86"/>
                <a:gd name="T14" fmla="*/ 94494 w 63"/>
                <a:gd name="T15" fmla="*/ 133091 h 86"/>
                <a:gd name="T16" fmla="*/ 98274 w 63"/>
                <a:gd name="T17" fmla="*/ 146400 h 86"/>
                <a:gd name="T18" fmla="*/ 103944 w 63"/>
                <a:gd name="T19" fmla="*/ 163512 h 86"/>
                <a:gd name="T20" fmla="*/ 115283 w 63"/>
                <a:gd name="T21" fmla="*/ 159709 h 86"/>
                <a:gd name="T22" fmla="*/ 111503 w 63"/>
                <a:gd name="T23" fmla="*/ 114078 h 86"/>
                <a:gd name="T24" fmla="*/ 102054 w 63"/>
                <a:gd name="T25" fmla="*/ 85559 h 86"/>
                <a:gd name="T26" fmla="*/ 90715 w 63"/>
                <a:gd name="T27" fmla="*/ 102670 h 86"/>
                <a:gd name="T28" fmla="*/ 79375 w 63"/>
                <a:gd name="T29" fmla="*/ 96966 h 86"/>
                <a:gd name="T30" fmla="*/ 69926 w 63"/>
                <a:gd name="T31" fmla="*/ 95065 h 86"/>
                <a:gd name="T32" fmla="*/ 88825 w 63"/>
                <a:gd name="T33" fmla="*/ 66546 h 86"/>
                <a:gd name="T34" fmla="*/ 102054 w 63"/>
                <a:gd name="T35" fmla="*/ 55138 h 86"/>
                <a:gd name="T36" fmla="*/ 86935 w 63"/>
                <a:gd name="T37" fmla="*/ 41829 h 86"/>
                <a:gd name="T38" fmla="*/ 41578 w 63"/>
                <a:gd name="T39" fmla="*/ 38026 h 86"/>
                <a:gd name="T40" fmla="*/ 37798 w 63"/>
                <a:gd name="T41" fmla="*/ 15210 h 86"/>
                <a:gd name="T42" fmla="*/ 18899 w 63"/>
                <a:gd name="T43" fmla="*/ 9507 h 86"/>
                <a:gd name="T44" fmla="*/ 1890 w 63"/>
                <a:gd name="T45" fmla="*/ 0 h 86"/>
                <a:gd name="T46" fmla="*/ 5670 w 63"/>
                <a:gd name="T47" fmla="*/ 9507 h 86"/>
                <a:gd name="T48" fmla="*/ 5670 w 63"/>
                <a:gd name="T49" fmla="*/ 30421 h 86"/>
                <a:gd name="T50" fmla="*/ 9449 w 63"/>
                <a:gd name="T51" fmla="*/ 45631 h 86"/>
                <a:gd name="T52" fmla="*/ 5670 w 63"/>
                <a:gd name="T53" fmla="*/ 53236 h 86"/>
                <a:gd name="T54" fmla="*/ 13229 w 63"/>
                <a:gd name="T55" fmla="*/ 64644 h 86"/>
                <a:gd name="T56" fmla="*/ 13229 w 63"/>
                <a:gd name="T57" fmla="*/ 81756 h 86"/>
                <a:gd name="T58" fmla="*/ 18899 w 63"/>
                <a:gd name="T59" fmla="*/ 98868 h 86"/>
                <a:gd name="T60" fmla="*/ 24569 w 63"/>
                <a:gd name="T61" fmla="*/ 104572 h 86"/>
                <a:gd name="T62" fmla="*/ 26458 w 63"/>
                <a:gd name="T63" fmla="*/ 119782 h 86"/>
                <a:gd name="T64" fmla="*/ 32128 w 63"/>
                <a:gd name="T65" fmla="*/ 138795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1" name="Freeform 129"/>
            <p:cNvSpPr>
              <a:spLocks noChangeAspect="1"/>
            </p:cNvSpPr>
            <p:nvPr/>
          </p:nvSpPr>
          <p:spPr bwMode="auto">
            <a:xfrm>
              <a:off x="6542105" y="2223231"/>
              <a:ext cx="217833" cy="424305"/>
            </a:xfrm>
            <a:custGeom>
              <a:avLst/>
              <a:gdLst>
                <a:gd name="T0" fmla="*/ 192973 w 113"/>
                <a:gd name="T1" fmla="*/ 196335 h 274"/>
                <a:gd name="T2" fmla="*/ 164313 w 113"/>
                <a:gd name="T3" fmla="*/ 184898 h 274"/>
                <a:gd name="T4" fmla="*/ 170045 w 113"/>
                <a:gd name="T5" fmla="*/ 158211 h 274"/>
                <a:gd name="T6" fmla="*/ 158581 w 113"/>
                <a:gd name="T7" fmla="*/ 123900 h 274"/>
                <a:gd name="T8" fmla="*/ 122280 w 113"/>
                <a:gd name="T9" fmla="*/ 129619 h 274"/>
                <a:gd name="T10" fmla="*/ 129922 w 113"/>
                <a:gd name="T11" fmla="*/ 91496 h 274"/>
                <a:gd name="T12" fmla="*/ 145207 w 113"/>
                <a:gd name="T13" fmla="*/ 64809 h 274"/>
                <a:gd name="T14" fmla="*/ 129922 w 113"/>
                <a:gd name="T15" fmla="*/ 26686 h 274"/>
                <a:gd name="T16" fmla="*/ 110816 w 113"/>
                <a:gd name="T17" fmla="*/ 9531 h 274"/>
                <a:gd name="T18" fmla="*/ 99352 w 113"/>
                <a:gd name="T19" fmla="*/ 28592 h 274"/>
                <a:gd name="T20" fmla="*/ 91710 w 113"/>
                <a:gd name="T21" fmla="*/ 34311 h 274"/>
                <a:gd name="T22" fmla="*/ 61140 w 113"/>
                <a:gd name="T23" fmla="*/ 53372 h 274"/>
                <a:gd name="T24" fmla="*/ 64961 w 113"/>
                <a:gd name="T25" fmla="*/ 72434 h 274"/>
                <a:gd name="T26" fmla="*/ 49676 w 113"/>
                <a:gd name="T27" fmla="*/ 89590 h 274"/>
                <a:gd name="T28" fmla="*/ 38212 w 113"/>
                <a:gd name="T29" fmla="*/ 133431 h 274"/>
                <a:gd name="T30" fmla="*/ 28659 w 113"/>
                <a:gd name="T31" fmla="*/ 141056 h 274"/>
                <a:gd name="T32" fmla="*/ 22927 w 113"/>
                <a:gd name="T33" fmla="*/ 177273 h 274"/>
                <a:gd name="T34" fmla="*/ 9553 w 113"/>
                <a:gd name="T35" fmla="*/ 188710 h 274"/>
                <a:gd name="T36" fmla="*/ 1911 w 113"/>
                <a:gd name="T37" fmla="*/ 215396 h 274"/>
                <a:gd name="T38" fmla="*/ 17196 w 113"/>
                <a:gd name="T39" fmla="*/ 234458 h 274"/>
                <a:gd name="T40" fmla="*/ 43944 w 113"/>
                <a:gd name="T41" fmla="*/ 247801 h 274"/>
                <a:gd name="T42" fmla="*/ 57319 w 113"/>
                <a:gd name="T43" fmla="*/ 276393 h 274"/>
                <a:gd name="T44" fmla="*/ 63050 w 113"/>
                <a:gd name="T45" fmla="*/ 335484 h 274"/>
                <a:gd name="T46" fmla="*/ 70693 w 113"/>
                <a:gd name="T47" fmla="*/ 341203 h 274"/>
                <a:gd name="T48" fmla="*/ 82157 w 113"/>
                <a:gd name="T49" fmla="*/ 350734 h 274"/>
                <a:gd name="T50" fmla="*/ 91710 w 113"/>
                <a:gd name="T51" fmla="*/ 356452 h 274"/>
                <a:gd name="T52" fmla="*/ 108905 w 113"/>
                <a:gd name="T53" fmla="*/ 341203 h 274"/>
                <a:gd name="T54" fmla="*/ 118458 w 113"/>
                <a:gd name="T55" fmla="*/ 331672 h 274"/>
                <a:gd name="T56" fmla="*/ 133743 w 113"/>
                <a:gd name="T57" fmla="*/ 335484 h 274"/>
                <a:gd name="T58" fmla="*/ 145207 w 113"/>
                <a:gd name="T59" fmla="*/ 369795 h 274"/>
                <a:gd name="T60" fmla="*/ 156671 w 113"/>
                <a:gd name="T61" fmla="*/ 421261 h 274"/>
                <a:gd name="T62" fmla="*/ 175777 w 113"/>
                <a:gd name="T63" fmla="*/ 451760 h 274"/>
                <a:gd name="T64" fmla="*/ 179598 w 113"/>
                <a:gd name="T65" fmla="*/ 478446 h 274"/>
                <a:gd name="T66" fmla="*/ 168135 w 113"/>
                <a:gd name="T67" fmla="*/ 505133 h 274"/>
                <a:gd name="T68" fmla="*/ 177688 w 113"/>
                <a:gd name="T69" fmla="*/ 499414 h 274"/>
                <a:gd name="T70" fmla="*/ 192973 w 113"/>
                <a:gd name="T71" fmla="*/ 459385 h 274"/>
                <a:gd name="T72" fmla="*/ 187241 w 113"/>
                <a:gd name="T73" fmla="*/ 421261 h 274"/>
                <a:gd name="T74" fmla="*/ 154760 w 113"/>
                <a:gd name="T75" fmla="*/ 377420 h 274"/>
                <a:gd name="T76" fmla="*/ 170045 w 113"/>
                <a:gd name="T77" fmla="*/ 350734 h 274"/>
                <a:gd name="T78" fmla="*/ 162403 w 113"/>
                <a:gd name="T79" fmla="*/ 331672 h 274"/>
                <a:gd name="T80" fmla="*/ 147118 w 113"/>
                <a:gd name="T81" fmla="*/ 301173 h 274"/>
                <a:gd name="T82" fmla="*/ 135654 w 113"/>
                <a:gd name="T83" fmla="*/ 280206 h 274"/>
                <a:gd name="T84" fmla="*/ 156671 w 113"/>
                <a:gd name="T85" fmla="*/ 255426 h 274"/>
                <a:gd name="T86" fmla="*/ 179598 w 113"/>
                <a:gd name="T87" fmla="*/ 242082 h 274"/>
                <a:gd name="T88" fmla="*/ 192973 w 113"/>
                <a:gd name="T89" fmla="*/ 232552 h 274"/>
                <a:gd name="T90" fmla="*/ 200615 w 113"/>
                <a:gd name="T91" fmla="*/ 211584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2" name="Freeform 130"/>
            <p:cNvSpPr>
              <a:spLocks noChangeAspect="1"/>
            </p:cNvSpPr>
            <p:nvPr/>
          </p:nvSpPr>
          <p:spPr bwMode="auto">
            <a:xfrm>
              <a:off x="6998593" y="2712020"/>
              <a:ext cx="233850" cy="135417"/>
            </a:xfrm>
            <a:custGeom>
              <a:avLst/>
              <a:gdLst>
                <a:gd name="T0" fmla="*/ 195679 w 122"/>
                <a:gd name="T1" fmla="*/ 82386 h 87"/>
                <a:gd name="T2" fmla="*/ 212777 w 122"/>
                <a:gd name="T3" fmla="*/ 76638 h 87"/>
                <a:gd name="T4" fmla="*/ 205178 w 122"/>
                <a:gd name="T5" fmla="*/ 70890 h 87"/>
                <a:gd name="T6" fmla="*/ 197579 w 122"/>
                <a:gd name="T7" fmla="*/ 63226 h 87"/>
                <a:gd name="T8" fmla="*/ 197579 w 122"/>
                <a:gd name="T9" fmla="*/ 57478 h 87"/>
                <a:gd name="T10" fmla="*/ 210877 w 122"/>
                <a:gd name="T11" fmla="*/ 59394 h 87"/>
                <a:gd name="T12" fmla="*/ 227975 w 122"/>
                <a:gd name="T13" fmla="*/ 53646 h 87"/>
                <a:gd name="T14" fmla="*/ 229875 w 122"/>
                <a:gd name="T15" fmla="*/ 44067 h 87"/>
                <a:gd name="T16" fmla="*/ 222276 w 122"/>
                <a:gd name="T17" fmla="*/ 42151 h 87"/>
                <a:gd name="T18" fmla="*/ 208977 w 122"/>
                <a:gd name="T19" fmla="*/ 38319 h 87"/>
                <a:gd name="T20" fmla="*/ 199478 w 122"/>
                <a:gd name="T21" fmla="*/ 44067 h 87"/>
                <a:gd name="T22" fmla="*/ 188080 w 122"/>
                <a:gd name="T23" fmla="*/ 40235 h 87"/>
                <a:gd name="T24" fmla="*/ 186180 w 122"/>
                <a:gd name="T25" fmla="*/ 24907 h 87"/>
                <a:gd name="T26" fmla="*/ 189980 w 122"/>
                <a:gd name="T27" fmla="*/ 19159 h 87"/>
                <a:gd name="T28" fmla="*/ 182380 w 122"/>
                <a:gd name="T29" fmla="*/ 17243 h 87"/>
                <a:gd name="T30" fmla="*/ 172881 w 122"/>
                <a:gd name="T31" fmla="*/ 5748 h 87"/>
                <a:gd name="T32" fmla="*/ 167182 w 122"/>
                <a:gd name="T33" fmla="*/ 11496 h 87"/>
                <a:gd name="T34" fmla="*/ 159583 w 122"/>
                <a:gd name="T35" fmla="*/ 1916 h 87"/>
                <a:gd name="T36" fmla="*/ 151984 w 122"/>
                <a:gd name="T37" fmla="*/ 22991 h 87"/>
                <a:gd name="T38" fmla="*/ 144384 w 122"/>
                <a:gd name="T39" fmla="*/ 44067 h 87"/>
                <a:gd name="T40" fmla="*/ 134885 w 122"/>
                <a:gd name="T41" fmla="*/ 44067 h 87"/>
                <a:gd name="T42" fmla="*/ 132986 w 122"/>
                <a:gd name="T43" fmla="*/ 49815 h 87"/>
                <a:gd name="T44" fmla="*/ 138685 w 122"/>
                <a:gd name="T45" fmla="*/ 51730 h 87"/>
                <a:gd name="T46" fmla="*/ 138685 w 122"/>
                <a:gd name="T47" fmla="*/ 57478 h 87"/>
                <a:gd name="T48" fmla="*/ 123487 w 122"/>
                <a:gd name="T49" fmla="*/ 59394 h 87"/>
                <a:gd name="T50" fmla="*/ 102589 w 122"/>
                <a:gd name="T51" fmla="*/ 67058 h 87"/>
                <a:gd name="T52" fmla="*/ 102589 w 122"/>
                <a:gd name="T53" fmla="*/ 80470 h 87"/>
                <a:gd name="T54" fmla="*/ 70292 w 122"/>
                <a:gd name="T55" fmla="*/ 107293 h 87"/>
                <a:gd name="T56" fmla="*/ 47495 w 122"/>
                <a:gd name="T57" fmla="*/ 113041 h 87"/>
                <a:gd name="T58" fmla="*/ 43695 w 122"/>
                <a:gd name="T59" fmla="*/ 126452 h 87"/>
                <a:gd name="T60" fmla="*/ 36096 w 122"/>
                <a:gd name="T61" fmla="*/ 124536 h 87"/>
                <a:gd name="T62" fmla="*/ 39896 w 122"/>
                <a:gd name="T63" fmla="*/ 134116 h 87"/>
                <a:gd name="T64" fmla="*/ 30397 w 122"/>
                <a:gd name="T65" fmla="*/ 149444 h 87"/>
                <a:gd name="T66" fmla="*/ 17098 w 122"/>
                <a:gd name="T67" fmla="*/ 141780 h 87"/>
                <a:gd name="T68" fmla="*/ 15198 w 122"/>
                <a:gd name="T69" fmla="*/ 143696 h 87"/>
                <a:gd name="T70" fmla="*/ 7599 w 122"/>
                <a:gd name="T71" fmla="*/ 143696 h 87"/>
                <a:gd name="T72" fmla="*/ 0 w 122"/>
                <a:gd name="T73" fmla="*/ 134116 h 87"/>
                <a:gd name="T74" fmla="*/ 3800 w 122"/>
                <a:gd name="T75" fmla="*/ 149444 h 87"/>
                <a:gd name="T76" fmla="*/ 20898 w 122"/>
                <a:gd name="T77" fmla="*/ 160939 h 87"/>
                <a:gd name="T78" fmla="*/ 24697 w 122"/>
                <a:gd name="T79" fmla="*/ 166687 h 87"/>
                <a:gd name="T80" fmla="*/ 36096 w 122"/>
                <a:gd name="T81" fmla="*/ 160939 h 87"/>
                <a:gd name="T82" fmla="*/ 53194 w 122"/>
                <a:gd name="T83" fmla="*/ 164771 h 87"/>
                <a:gd name="T84" fmla="*/ 62693 w 122"/>
                <a:gd name="T85" fmla="*/ 159023 h 87"/>
                <a:gd name="T86" fmla="*/ 62693 w 122"/>
                <a:gd name="T87" fmla="*/ 151359 h 87"/>
                <a:gd name="T88" fmla="*/ 79791 w 122"/>
                <a:gd name="T89" fmla="*/ 149444 h 87"/>
                <a:gd name="T90" fmla="*/ 77892 w 122"/>
                <a:gd name="T91" fmla="*/ 153275 h 87"/>
                <a:gd name="T92" fmla="*/ 85491 w 122"/>
                <a:gd name="T93" fmla="*/ 151359 h 87"/>
                <a:gd name="T94" fmla="*/ 94990 w 122"/>
                <a:gd name="T95" fmla="*/ 159023 h 87"/>
                <a:gd name="T96" fmla="*/ 102589 w 122"/>
                <a:gd name="T97" fmla="*/ 151359 h 87"/>
                <a:gd name="T98" fmla="*/ 117787 w 122"/>
                <a:gd name="T99" fmla="*/ 151359 h 87"/>
                <a:gd name="T100" fmla="*/ 117787 w 122"/>
                <a:gd name="T101" fmla="*/ 141780 h 87"/>
                <a:gd name="T102" fmla="*/ 131086 w 122"/>
                <a:gd name="T103" fmla="*/ 118788 h 87"/>
                <a:gd name="T104" fmla="*/ 142485 w 122"/>
                <a:gd name="T105" fmla="*/ 101545 h 87"/>
                <a:gd name="T106" fmla="*/ 142485 w 122"/>
                <a:gd name="T107" fmla="*/ 80470 h 87"/>
                <a:gd name="T108" fmla="*/ 159583 w 122"/>
                <a:gd name="T109" fmla="*/ 74722 h 87"/>
                <a:gd name="T110" fmla="*/ 169082 w 122"/>
                <a:gd name="T111" fmla="*/ 80470 h 87"/>
                <a:gd name="T112" fmla="*/ 182380 w 122"/>
                <a:gd name="T113" fmla="*/ 76638 h 87"/>
                <a:gd name="T114" fmla="*/ 195679 w 122"/>
                <a:gd name="T115" fmla="*/ 82386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3" name="Freeform 131"/>
            <p:cNvSpPr>
              <a:spLocks noChangeAspect="1"/>
            </p:cNvSpPr>
            <p:nvPr/>
          </p:nvSpPr>
          <p:spPr bwMode="auto">
            <a:xfrm>
              <a:off x="6761540" y="2719758"/>
              <a:ext cx="105713" cy="113492"/>
            </a:xfrm>
            <a:custGeom>
              <a:avLst/>
              <a:gdLst>
                <a:gd name="T0" fmla="*/ 41910 w 55"/>
                <a:gd name="T1" fmla="*/ 13396 h 73"/>
                <a:gd name="T2" fmla="*/ 51435 w 55"/>
                <a:gd name="T3" fmla="*/ 22964 h 73"/>
                <a:gd name="T4" fmla="*/ 59055 w 55"/>
                <a:gd name="T5" fmla="*/ 32533 h 73"/>
                <a:gd name="T6" fmla="*/ 64770 w 55"/>
                <a:gd name="T7" fmla="*/ 32533 h 73"/>
                <a:gd name="T8" fmla="*/ 80010 w 55"/>
                <a:gd name="T9" fmla="*/ 55497 h 73"/>
                <a:gd name="T10" fmla="*/ 78105 w 55"/>
                <a:gd name="T11" fmla="*/ 76548 h 73"/>
                <a:gd name="T12" fmla="*/ 80010 w 55"/>
                <a:gd name="T13" fmla="*/ 89944 h 73"/>
                <a:gd name="T14" fmla="*/ 80010 w 55"/>
                <a:gd name="T15" fmla="*/ 105253 h 73"/>
                <a:gd name="T16" fmla="*/ 91440 w 55"/>
                <a:gd name="T17" fmla="*/ 112908 h 73"/>
                <a:gd name="T18" fmla="*/ 93345 w 55"/>
                <a:gd name="T19" fmla="*/ 120563 h 73"/>
                <a:gd name="T20" fmla="*/ 104775 w 55"/>
                <a:gd name="T21" fmla="*/ 137786 h 73"/>
                <a:gd name="T22" fmla="*/ 99060 w 55"/>
                <a:gd name="T23" fmla="*/ 137786 h 73"/>
                <a:gd name="T24" fmla="*/ 95250 w 55"/>
                <a:gd name="T25" fmla="*/ 132045 h 73"/>
                <a:gd name="T26" fmla="*/ 81915 w 55"/>
                <a:gd name="T27" fmla="*/ 135873 h 73"/>
                <a:gd name="T28" fmla="*/ 62865 w 55"/>
                <a:gd name="T29" fmla="*/ 128218 h 73"/>
                <a:gd name="T30" fmla="*/ 36195 w 55"/>
                <a:gd name="T31" fmla="*/ 114822 h 73"/>
                <a:gd name="T32" fmla="*/ 26670 w 55"/>
                <a:gd name="T33" fmla="*/ 107167 h 73"/>
                <a:gd name="T34" fmla="*/ 30480 w 55"/>
                <a:gd name="T35" fmla="*/ 93771 h 73"/>
                <a:gd name="T36" fmla="*/ 15240 w 55"/>
                <a:gd name="T37" fmla="*/ 78462 h 73"/>
                <a:gd name="T38" fmla="*/ 17145 w 55"/>
                <a:gd name="T39" fmla="*/ 72721 h 73"/>
                <a:gd name="T40" fmla="*/ 11430 w 55"/>
                <a:gd name="T41" fmla="*/ 66979 h 73"/>
                <a:gd name="T42" fmla="*/ 13335 w 55"/>
                <a:gd name="T43" fmla="*/ 49756 h 73"/>
                <a:gd name="T44" fmla="*/ 5715 w 55"/>
                <a:gd name="T45" fmla="*/ 44015 h 73"/>
                <a:gd name="T46" fmla="*/ 5715 w 55"/>
                <a:gd name="T47" fmla="*/ 21051 h 73"/>
                <a:gd name="T48" fmla="*/ 0 w 55"/>
                <a:gd name="T49" fmla="*/ 7655 h 73"/>
                <a:gd name="T50" fmla="*/ 3810 w 55"/>
                <a:gd name="T51" fmla="*/ 0 h 73"/>
                <a:gd name="T52" fmla="*/ 7620 w 55"/>
                <a:gd name="T53" fmla="*/ 7655 h 73"/>
                <a:gd name="T54" fmla="*/ 15240 w 55"/>
                <a:gd name="T55" fmla="*/ 7655 h 73"/>
                <a:gd name="T56" fmla="*/ 22860 w 55"/>
                <a:gd name="T57" fmla="*/ 13396 h 73"/>
                <a:gd name="T58" fmla="*/ 19050 w 55"/>
                <a:gd name="T59" fmla="*/ 26792 h 73"/>
                <a:gd name="T60" fmla="*/ 22860 w 55"/>
                <a:gd name="T61" fmla="*/ 32533 h 73"/>
                <a:gd name="T62" fmla="*/ 34290 w 55"/>
                <a:gd name="T63" fmla="*/ 24878 h 73"/>
                <a:gd name="T64" fmla="*/ 40005 w 55"/>
                <a:gd name="T65" fmla="*/ 22964 h 73"/>
                <a:gd name="T66" fmla="*/ 41910 w 55"/>
                <a:gd name="T67" fmla="*/ 13396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4" name="Freeform 132"/>
            <p:cNvSpPr>
              <a:spLocks noChangeAspect="1"/>
            </p:cNvSpPr>
            <p:nvPr/>
          </p:nvSpPr>
          <p:spPr bwMode="auto">
            <a:xfrm>
              <a:off x="6676649" y="2412814"/>
              <a:ext cx="206621" cy="334027"/>
            </a:xfrm>
            <a:custGeom>
              <a:avLst/>
              <a:gdLst>
                <a:gd name="T0" fmla="*/ 107179 w 107"/>
                <a:gd name="T1" fmla="*/ 374995 h 216"/>
                <a:gd name="T2" fmla="*/ 80384 w 107"/>
                <a:gd name="T3" fmla="*/ 348346 h 216"/>
                <a:gd name="T4" fmla="*/ 68901 w 107"/>
                <a:gd name="T5" fmla="*/ 308372 h 216"/>
                <a:gd name="T6" fmla="*/ 55503 w 107"/>
                <a:gd name="T7" fmla="*/ 285529 h 216"/>
                <a:gd name="T8" fmla="*/ 72728 w 107"/>
                <a:gd name="T9" fmla="*/ 228423 h 216"/>
                <a:gd name="T10" fmla="*/ 74642 w 107"/>
                <a:gd name="T11" fmla="*/ 186546 h 216"/>
                <a:gd name="T12" fmla="*/ 95695 w 107"/>
                <a:gd name="T13" fmla="*/ 186546 h 216"/>
                <a:gd name="T14" fmla="*/ 91868 w 107"/>
                <a:gd name="T15" fmla="*/ 215099 h 216"/>
                <a:gd name="T16" fmla="*/ 107179 w 107"/>
                <a:gd name="T17" fmla="*/ 217002 h 216"/>
                <a:gd name="T18" fmla="*/ 124404 w 107"/>
                <a:gd name="T19" fmla="*/ 228423 h 216"/>
                <a:gd name="T20" fmla="*/ 139715 w 107"/>
                <a:gd name="T21" fmla="*/ 230327 h 216"/>
                <a:gd name="T22" fmla="*/ 132060 w 107"/>
                <a:gd name="T23" fmla="*/ 205581 h 216"/>
                <a:gd name="T24" fmla="*/ 133973 w 107"/>
                <a:gd name="T25" fmla="*/ 186546 h 216"/>
                <a:gd name="T26" fmla="*/ 160768 w 107"/>
                <a:gd name="T27" fmla="*/ 167510 h 216"/>
                <a:gd name="T28" fmla="*/ 193305 w 107"/>
                <a:gd name="T29" fmla="*/ 171318 h 216"/>
                <a:gd name="T30" fmla="*/ 199046 w 107"/>
                <a:gd name="T31" fmla="*/ 140861 h 216"/>
                <a:gd name="T32" fmla="*/ 199046 w 107"/>
                <a:gd name="T33" fmla="*/ 121826 h 216"/>
                <a:gd name="T34" fmla="*/ 177993 w 107"/>
                <a:gd name="T35" fmla="*/ 93273 h 216"/>
                <a:gd name="T36" fmla="*/ 162682 w 107"/>
                <a:gd name="T37" fmla="*/ 68527 h 216"/>
                <a:gd name="T38" fmla="*/ 149285 w 107"/>
                <a:gd name="T39" fmla="*/ 55202 h 216"/>
                <a:gd name="T40" fmla="*/ 128232 w 107"/>
                <a:gd name="T41" fmla="*/ 68527 h 216"/>
                <a:gd name="T42" fmla="*/ 120576 w 107"/>
                <a:gd name="T43" fmla="*/ 68527 h 216"/>
                <a:gd name="T44" fmla="*/ 99523 w 107"/>
                <a:gd name="T45" fmla="*/ 70431 h 216"/>
                <a:gd name="T46" fmla="*/ 86126 w 107"/>
                <a:gd name="T47" fmla="*/ 57106 h 216"/>
                <a:gd name="T48" fmla="*/ 88040 w 107"/>
                <a:gd name="T49" fmla="*/ 34264 h 216"/>
                <a:gd name="T50" fmla="*/ 66987 w 107"/>
                <a:gd name="T51" fmla="*/ 19035 h 216"/>
                <a:gd name="T52" fmla="*/ 65073 w 107"/>
                <a:gd name="T53" fmla="*/ 0 h 216"/>
                <a:gd name="T54" fmla="*/ 45934 w 107"/>
                <a:gd name="T55" fmla="*/ 1904 h 216"/>
                <a:gd name="T56" fmla="*/ 34450 w 107"/>
                <a:gd name="T57" fmla="*/ 17132 h 216"/>
                <a:gd name="T58" fmla="*/ 7656 w 107"/>
                <a:gd name="T59" fmla="*/ 47588 h 216"/>
                <a:gd name="T60" fmla="*/ 7656 w 107"/>
                <a:gd name="T61" fmla="*/ 55202 h 216"/>
                <a:gd name="T62" fmla="*/ 22967 w 107"/>
                <a:gd name="T63" fmla="*/ 95176 h 216"/>
                <a:gd name="T64" fmla="*/ 34450 w 107"/>
                <a:gd name="T65" fmla="*/ 112308 h 216"/>
                <a:gd name="T66" fmla="*/ 30623 w 107"/>
                <a:gd name="T67" fmla="*/ 140861 h 216"/>
                <a:gd name="T68" fmla="*/ 47848 w 107"/>
                <a:gd name="T69" fmla="*/ 177028 h 216"/>
                <a:gd name="T70" fmla="*/ 47848 w 107"/>
                <a:gd name="T71" fmla="*/ 199870 h 216"/>
                <a:gd name="T72" fmla="*/ 55503 w 107"/>
                <a:gd name="T73" fmla="*/ 253169 h 216"/>
                <a:gd name="T74" fmla="*/ 38278 w 107"/>
                <a:gd name="T75" fmla="*/ 287433 h 216"/>
                <a:gd name="T76" fmla="*/ 30623 w 107"/>
                <a:gd name="T77" fmla="*/ 329310 h 216"/>
                <a:gd name="T78" fmla="*/ 40192 w 107"/>
                <a:gd name="T79" fmla="*/ 331214 h 216"/>
                <a:gd name="T80" fmla="*/ 55503 w 107"/>
                <a:gd name="T81" fmla="*/ 357863 h 216"/>
                <a:gd name="T82" fmla="*/ 72728 w 107"/>
                <a:gd name="T83" fmla="*/ 365477 h 216"/>
                <a:gd name="T84" fmla="*/ 78470 w 107"/>
                <a:gd name="T85" fmla="*/ 382609 h 216"/>
                <a:gd name="T86" fmla="*/ 91868 w 107"/>
                <a:gd name="T87" fmla="*/ 386416 h 216"/>
                <a:gd name="T88" fmla="*/ 103351 w 107"/>
                <a:gd name="T89" fmla="*/ 405451 h 216"/>
                <a:gd name="T90" fmla="*/ 124404 w 107"/>
                <a:gd name="T91" fmla="*/ 401644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5" name="Freeform 133"/>
            <p:cNvSpPr>
              <a:spLocks noChangeAspect="1"/>
            </p:cNvSpPr>
            <p:nvPr/>
          </p:nvSpPr>
          <p:spPr bwMode="auto">
            <a:xfrm>
              <a:off x="6737514" y="2362517"/>
              <a:ext cx="193807" cy="198610"/>
            </a:xfrm>
            <a:custGeom>
              <a:avLst/>
              <a:gdLst>
                <a:gd name="T0" fmla="*/ 180677 w 101"/>
                <a:gd name="T1" fmla="*/ 229195 h 128"/>
                <a:gd name="T2" fmla="*/ 167364 w 101"/>
                <a:gd name="T3" fmla="*/ 227285 h 128"/>
                <a:gd name="T4" fmla="*/ 157855 w 101"/>
                <a:gd name="T5" fmla="*/ 242565 h 128"/>
                <a:gd name="T6" fmla="*/ 142640 w 101"/>
                <a:gd name="T7" fmla="*/ 236835 h 128"/>
                <a:gd name="T8" fmla="*/ 133130 w 101"/>
                <a:gd name="T9" fmla="*/ 233015 h 128"/>
                <a:gd name="T10" fmla="*/ 140738 w 101"/>
                <a:gd name="T11" fmla="*/ 225375 h 128"/>
                <a:gd name="T12" fmla="*/ 144541 w 101"/>
                <a:gd name="T13" fmla="*/ 194816 h 128"/>
                <a:gd name="T14" fmla="*/ 138836 w 101"/>
                <a:gd name="T15" fmla="*/ 183356 h 128"/>
                <a:gd name="T16" fmla="*/ 121719 w 101"/>
                <a:gd name="T17" fmla="*/ 171896 h 128"/>
                <a:gd name="T18" fmla="*/ 119817 w 101"/>
                <a:gd name="T19" fmla="*/ 145157 h 128"/>
                <a:gd name="T20" fmla="*/ 102701 w 101"/>
                <a:gd name="T21" fmla="*/ 129877 h 128"/>
                <a:gd name="T22" fmla="*/ 95093 w 101"/>
                <a:gd name="T23" fmla="*/ 120328 h 128"/>
                <a:gd name="T24" fmla="*/ 79878 w 101"/>
                <a:gd name="T25" fmla="*/ 116508 h 128"/>
                <a:gd name="T26" fmla="*/ 68467 w 101"/>
                <a:gd name="T27" fmla="*/ 129877 h 128"/>
                <a:gd name="T28" fmla="*/ 58958 w 101"/>
                <a:gd name="T29" fmla="*/ 137517 h 128"/>
                <a:gd name="T30" fmla="*/ 49448 w 101"/>
                <a:gd name="T31" fmla="*/ 122238 h 128"/>
                <a:gd name="T32" fmla="*/ 39939 w 101"/>
                <a:gd name="T33" fmla="*/ 131787 h 128"/>
                <a:gd name="T34" fmla="*/ 24724 w 101"/>
                <a:gd name="T35" fmla="*/ 139427 h 128"/>
                <a:gd name="T36" fmla="*/ 24724 w 101"/>
                <a:gd name="T37" fmla="*/ 108868 h 128"/>
                <a:gd name="T38" fmla="*/ 28528 w 101"/>
                <a:gd name="T39" fmla="*/ 95498 h 128"/>
                <a:gd name="T40" fmla="*/ 20920 w 101"/>
                <a:gd name="T41" fmla="*/ 82128 h 128"/>
                <a:gd name="T42" fmla="*/ 11411 w 101"/>
                <a:gd name="T43" fmla="*/ 74488 h 128"/>
                <a:gd name="T44" fmla="*/ 5706 w 101"/>
                <a:gd name="T45" fmla="*/ 61119 h 128"/>
                <a:gd name="T46" fmla="*/ 1902 w 101"/>
                <a:gd name="T47" fmla="*/ 49659 h 128"/>
                <a:gd name="T48" fmla="*/ 7607 w 101"/>
                <a:gd name="T49" fmla="*/ 40109 h 128"/>
                <a:gd name="T50" fmla="*/ 20920 w 101"/>
                <a:gd name="T51" fmla="*/ 24829 h 128"/>
                <a:gd name="T52" fmla="*/ 28528 w 101"/>
                <a:gd name="T53" fmla="*/ 34379 h 128"/>
                <a:gd name="T54" fmla="*/ 39939 w 101"/>
                <a:gd name="T55" fmla="*/ 32469 h 128"/>
                <a:gd name="T56" fmla="*/ 32332 w 101"/>
                <a:gd name="T57" fmla="*/ 13370 h 128"/>
                <a:gd name="T58" fmla="*/ 34234 w 101"/>
                <a:gd name="T59" fmla="*/ 0 h 128"/>
                <a:gd name="T60" fmla="*/ 45645 w 101"/>
                <a:gd name="T61" fmla="*/ 3820 h 128"/>
                <a:gd name="T62" fmla="*/ 57056 w 101"/>
                <a:gd name="T63" fmla="*/ 21010 h 128"/>
                <a:gd name="T64" fmla="*/ 66565 w 101"/>
                <a:gd name="T65" fmla="*/ 22920 h 128"/>
                <a:gd name="T66" fmla="*/ 72271 w 101"/>
                <a:gd name="T67" fmla="*/ 47749 h 128"/>
                <a:gd name="T68" fmla="*/ 83682 w 101"/>
                <a:gd name="T69" fmla="*/ 53479 h 128"/>
                <a:gd name="T70" fmla="*/ 98897 w 101"/>
                <a:gd name="T71" fmla="*/ 45839 h 128"/>
                <a:gd name="T72" fmla="*/ 100799 w 101"/>
                <a:gd name="T73" fmla="*/ 59209 h 128"/>
                <a:gd name="T74" fmla="*/ 116014 w 101"/>
                <a:gd name="T75" fmla="*/ 68759 h 128"/>
                <a:gd name="T76" fmla="*/ 112210 w 101"/>
                <a:gd name="T77" fmla="*/ 74488 h 128"/>
                <a:gd name="T78" fmla="*/ 98897 w 101"/>
                <a:gd name="T79" fmla="*/ 80218 h 128"/>
                <a:gd name="T80" fmla="*/ 91289 w 101"/>
                <a:gd name="T81" fmla="*/ 89768 h 128"/>
                <a:gd name="T82" fmla="*/ 125523 w 101"/>
                <a:gd name="T83" fmla="*/ 118418 h 128"/>
                <a:gd name="T84" fmla="*/ 144541 w 101"/>
                <a:gd name="T85" fmla="*/ 141337 h 128"/>
                <a:gd name="T86" fmla="*/ 159756 w 101"/>
                <a:gd name="T87" fmla="*/ 158527 h 128"/>
                <a:gd name="T88" fmla="*/ 176873 w 101"/>
                <a:gd name="T89" fmla="*/ 177626 h 128"/>
                <a:gd name="T90" fmla="*/ 180677 w 101"/>
                <a:gd name="T91" fmla="*/ 189086 h 128"/>
                <a:gd name="T92" fmla="*/ 186382 w 101"/>
                <a:gd name="T93" fmla="*/ 212006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6" name="Freeform 134"/>
            <p:cNvSpPr>
              <a:spLocks noChangeAspect="1"/>
            </p:cNvSpPr>
            <p:nvPr/>
          </p:nvSpPr>
          <p:spPr bwMode="auto">
            <a:xfrm>
              <a:off x="6806389" y="2544362"/>
              <a:ext cx="132941" cy="92857"/>
            </a:xfrm>
            <a:custGeom>
              <a:avLst/>
              <a:gdLst>
                <a:gd name="T0" fmla="*/ 51559 w 69"/>
                <a:gd name="T1" fmla="*/ 114300 h 60"/>
                <a:gd name="T2" fmla="*/ 43921 w 69"/>
                <a:gd name="T3" fmla="*/ 110490 h 60"/>
                <a:gd name="T4" fmla="*/ 36282 w 69"/>
                <a:gd name="T5" fmla="*/ 102870 h 60"/>
                <a:gd name="T6" fmla="*/ 36282 w 69"/>
                <a:gd name="T7" fmla="*/ 93345 h 60"/>
                <a:gd name="T8" fmla="*/ 30554 w 69"/>
                <a:gd name="T9" fmla="*/ 97155 h 60"/>
                <a:gd name="T10" fmla="*/ 26734 w 69"/>
                <a:gd name="T11" fmla="*/ 102870 h 60"/>
                <a:gd name="T12" fmla="*/ 19096 w 69"/>
                <a:gd name="T13" fmla="*/ 102870 h 60"/>
                <a:gd name="T14" fmla="*/ 21006 w 69"/>
                <a:gd name="T15" fmla="*/ 91440 h 60"/>
                <a:gd name="T16" fmla="*/ 17186 w 69"/>
                <a:gd name="T17" fmla="*/ 80010 h 60"/>
                <a:gd name="T18" fmla="*/ 11458 w 69"/>
                <a:gd name="T19" fmla="*/ 68580 h 60"/>
                <a:gd name="T20" fmla="*/ 9548 w 69"/>
                <a:gd name="T21" fmla="*/ 57150 h 60"/>
                <a:gd name="T22" fmla="*/ 3819 w 69"/>
                <a:gd name="T23" fmla="*/ 51435 h 60"/>
                <a:gd name="T24" fmla="*/ 3819 w 69"/>
                <a:gd name="T25" fmla="*/ 43815 h 60"/>
                <a:gd name="T26" fmla="*/ 0 w 69"/>
                <a:gd name="T27" fmla="*/ 36195 h 60"/>
                <a:gd name="T28" fmla="*/ 1910 w 69"/>
                <a:gd name="T29" fmla="*/ 24765 h 60"/>
                <a:gd name="T30" fmla="*/ 5729 w 69"/>
                <a:gd name="T31" fmla="*/ 24765 h 60"/>
                <a:gd name="T32" fmla="*/ 13367 w 69"/>
                <a:gd name="T33" fmla="*/ 13335 h 60"/>
                <a:gd name="T34" fmla="*/ 24825 w 69"/>
                <a:gd name="T35" fmla="*/ 3810 h 60"/>
                <a:gd name="T36" fmla="*/ 32463 w 69"/>
                <a:gd name="T37" fmla="*/ 5715 h 60"/>
                <a:gd name="T38" fmla="*/ 38192 w 69"/>
                <a:gd name="T39" fmla="*/ 5715 h 60"/>
                <a:gd name="T40" fmla="*/ 55378 w 69"/>
                <a:gd name="T41" fmla="*/ 5715 h 60"/>
                <a:gd name="T42" fmla="*/ 64926 w 69"/>
                <a:gd name="T43" fmla="*/ 9525 h 60"/>
                <a:gd name="T44" fmla="*/ 68745 w 69"/>
                <a:gd name="T45" fmla="*/ 13335 h 60"/>
                <a:gd name="T46" fmla="*/ 74474 w 69"/>
                <a:gd name="T47" fmla="*/ 13335 h 60"/>
                <a:gd name="T48" fmla="*/ 84022 w 69"/>
                <a:gd name="T49" fmla="*/ 17145 h 60"/>
                <a:gd name="T50" fmla="*/ 89751 w 69"/>
                <a:gd name="T51" fmla="*/ 19050 h 60"/>
                <a:gd name="T52" fmla="*/ 87841 w 69"/>
                <a:gd name="T53" fmla="*/ 7620 h 60"/>
                <a:gd name="T54" fmla="*/ 99299 w 69"/>
                <a:gd name="T55" fmla="*/ 3810 h 60"/>
                <a:gd name="T56" fmla="*/ 105028 w 69"/>
                <a:gd name="T57" fmla="*/ 5715 h 60"/>
                <a:gd name="T58" fmla="*/ 112666 w 69"/>
                <a:gd name="T59" fmla="*/ 5715 h 60"/>
                <a:gd name="T60" fmla="*/ 120304 w 69"/>
                <a:gd name="T61" fmla="*/ 0 h 60"/>
                <a:gd name="T62" fmla="*/ 122214 w 69"/>
                <a:gd name="T63" fmla="*/ 7620 h 60"/>
                <a:gd name="T64" fmla="*/ 122214 w 69"/>
                <a:gd name="T65" fmla="*/ 13335 h 60"/>
                <a:gd name="T66" fmla="*/ 122214 w 69"/>
                <a:gd name="T67" fmla="*/ 22860 h 60"/>
                <a:gd name="T68" fmla="*/ 127943 w 69"/>
                <a:gd name="T69" fmla="*/ 26670 h 60"/>
                <a:gd name="T70" fmla="*/ 129852 w 69"/>
                <a:gd name="T71" fmla="*/ 43815 h 60"/>
                <a:gd name="T72" fmla="*/ 124124 w 69"/>
                <a:gd name="T73" fmla="*/ 64770 h 60"/>
                <a:gd name="T74" fmla="*/ 120304 w 69"/>
                <a:gd name="T75" fmla="*/ 62865 h 60"/>
                <a:gd name="T76" fmla="*/ 108847 w 69"/>
                <a:gd name="T77" fmla="*/ 72390 h 60"/>
                <a:gd name="T78" fmla="*/ 97389 w 69"/>
                <a:gd name="T79" fmla="*/ 72390 h 60"/>
                <a:gd name="T80" fmla="*/ 95480 w 69"/>
                <a:gd name="T81" fmla="*/ 80010 h 60"/>
                <a:gd name="T82" fmla="*/ 87841 w 69"/>
                <a:gd name="T83" fmla="*/ 78105 h 60"/>
                <a:gd name="T84" fmla="*/ 84022 w 69"/>
                <a:gd name="T85" fmla="*/ 81915 h 60"/>
                <a:gd name="T86" fmla="*/ 87841 w 69"/>
                <a:gd name="T87" fmla="*/ 91440 h 60"/>
                <a:gd name="T88" fmla="*/ 91661 w 69"/>
                <a:gd name="T89" fmla="*/ 95250 h 60"/>
                <a:gd name="T90" fmla="*/ 93570 w 69"/>
                <a:gd name="T91" fmla="*/ 100965 h 60"/>
                <a:gd name="T92" fmla="*/ 91661 w 69"/>
                <a:gd name="T93" fmla="*/ 106680 h 60"/>
                <a:gd name="T94" fmla="*/ 82113 w 69"/>
                <a:gd name="T95" fmla="*/ 102870 h 60"/>
                <a:gd name="T96" fmla="*/ 64926 w 69"/>
                <a:gd name="T97" fmla="*/ 102870 h 60"/>
                <a:gd name="T98" fmla="*/ 66836 w 69"/>
                <a:gd name="T99" fmla="*/ 110490 h 60"/>
                <a:gd name="T100" fmla="*/ 59197 w 69"/>
                <a:gd name="T101" fmla="*/ 114300 h 60"/>
                <a:gd name="T102" fmla="*/ 51559 w 69"/>
                <a:gd name="T103" fmla="*/ 114300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7" name="Freeform 135"/>
            <p:cNvSpPr>
              <a:spLocks noChangeAspect="1"/>
            </p:cNvSpPr>
            <p:nvPr/>
          </p:nvSpPr>
          <p:spPr bwMode="auto">
            <a:xfrm>
              <a:off x="6782362" y="2340593"/>
              <a:ext cx="195408" cy="339185"/>
            </a:xfrm>
            <a:custGeom>
              <a:avLst/>
              <a:gdLst>
                <a:gd name="T0" fmla="*/ 86291 w 101"/>
                <a:gd name="T1" fmla="*/ 367944 h 219"/>
                <a:gd name="T2" fmla="*/ 90126 w 101"/>
                <a:gd name="T3" fmla="*/ 407980 h 219"/>
                <a:gd name="T4" fmla="*/ 101631 w 101"/>
                <a:gd name="T5" fmla="*/ 415606 h 219"/>
                <a:gd name="T6" fmla="*/ 120807 w 101"/>
                <a:gd name="T7" fmla="*/ 394635 h 219"/>
                <a:gd name="T8" fmla="*/ 128477 w 101"/>
                <a:gd name="T9" fmla="*/ 387009 h 219"/>
                <a:gd name="T10" fmla="*/ 126560 w 101"/>
                <a:gd name="T11" fmla="*/ 375570 h 219"/>
                <a:gd name="T12" fmla="*/ 139983 w 101"/>
                <a:gd name="T13" fmla="*/ 366038 h 219"/>
                <a:gd name="T14" fmla="*/ 162994 w 101"/>
                <a:gd name="T15" fmla="*/ 358412 h 219"/>
                <a:gd name="T16" fmla="*/ 182170 w 101"/>
                <a:gd name="T17" fmla="*/ 339348 h 219"/>
                <a:gd name="T18" fmla="*/ 186005 w 101"/>
                <a:gd name="T19" fmla="*/ 306938 h 219"/>
                <a:gd name="T20" fmla="*/ 186005 w 101"/>
                <a:gd name="T21" fmla="*/ 299312 h 219"/>
                <a:gd name="T22" fmla="*/ 187922 w 101"/>
                <a:gd name="T23" fmla="*/ 278341 h 219"/>
                <a:gd name="T24" fmla="*/ 174499 w 101"/>
                <a:gd name="T25" fmla="*/ 226867 h 219"/>
                <a:gd name="T26" fmla="*/ 155324 w 101"/>
                <a:gd name="T27" fmla="*/ 205896 h 219"/>
                <a:gd name="T28" fmla="*/ 134230 w 101"/>
                <a:gd name="T29" fmla="*/ 184925 h 219"/>
                <a:gd name="T30" fmla="*/ 113137 w 101"/>
                <a:gd name="T31" fmla="*/ 152516 h 219"/>
                <a:gd name="T32" fmla="*/ 90126 w 101"/>
                <a:gd name="T33" fmla="*/ 129638 h 219"/>
                <a:gd name="T34" fmla="*/ 109302 w 101"/>
                <a:gd name="T35" fmla="*/ 89603 h 219"/>
                <a:gd name="T36" fmla="*/ 124642 w 101"/>
                <a:gd name="T37" fmla="*/ 70539 h 219"/>
                <a:gd name="T38" fmla="*/ 124642 w 101"/>
                <a:gd name="T39" fmla="*/ 49568 h 219"/>
                <a:gd name="T40" fmla="*/ 109302 w 101"/>
                <a:gd name="T41" fmla="*/ 20971 h 219"/>
                <a:gd name="T42" fmla="*/ 92044 w 101"/>
                <a:gd name="T43" fmla="*/ 13345 h 219"/>
                <a:gd name="T44" fmla="*/ 65198 w 101"/>
                <a:gd name="T45" fmla="*/ 7626 h 219"/>
                <a:gd name="T46" fmla="*/ 46022 w 101"/>
                <a:gd name="T47" fmla="*/ 20971 h 219"/>
                <a:gd name="T48" fmla="*/ 30681 w 101"/>
                <a:gd name="T49" fmla="*/ 28597 h 219"/>
                <a:gd name="T50" fmla="*/ 13423 w 101"/>
                <a:gd name="T51" fmla="*/ 30503 h 219"/>
                <a:gd name="T52" fmla="*/ 0 w 101"/>
                <a:gd name="T53" fmla="*/ 30503 h 219"/>
                <a:gd name="T54" fmla="*/ 15341 w 101"/>
                <a:gd name="T55" fmla="*/ 43848 h 219"/>
                <a:gd name="T56" fmla="*/ 26846 w 101"/>
                <a:gd name="T57" fmla="*/ 74351 h 219"/>
                <a:gd name="T58" fmla="*/ 47939 w 101"/>
                <a:gd name="T59" fmla="*/ 72445 h 219"/>
                <a:gd name="T60" fmla="*/ 55610 w 101"/>
                <a:gd name="T61" fmla="*/ 85790 h 219"/>
                <a:gd name="T62" fmla="*/ 72868 w 101"/>
                <a:gd name="T63" fmla="*/ 101042 h 219"/>
                <a:gd name="T64" fmla="*/ 53692 w 101"/>
                <a:gd name="T65" fmla="*/ 106761 h 219"/>
                <a:gd name="T66" fmla="*/ 78621 w 101"/>
                <a:gd name="T67" fmla="*/ 133451 h 219"/>
                <a:gd name="T68" fmla="*/ 99714 w 101"/>
                <a:gd name="T69" fmla="*/ 167767 h 219"/>
                <a:gd name="T70" fmla="*/ 118890 w 101"/>
                <a:gd name="T71" fmla="*/ 196364 h 219"/>
                <a:gd name="T72" fmla="*/ 136148 w 101"/>
                <a:gd name="T73" fmla="*/ 215429 h 219"/>
                <a:gd name="T74" fmla="*/ 143818 w 101"/>
                <a:gd name="T75" fmla="*/ 249745 h 219"/>
                <a:gd name="T76" fmla="*/ 145736 w 101"/>
                <a:gd name="T77" fmla="*/ 272622 h 219"/>
                <a:gd name="T78" fmla="*/ 147653 w 101"/>
                <a:gd name="T79" fmla="*/ 314564 h 219"/>
                <a:gd name="T80" fmla="*/ 120807 w 101"/>
                <a:gd name="T81" fmla="*/ 322190 h 219"/>
                <a:gd name="T82" fmla="*/ 107384 w 101"/>
                <a:gd name="T83" fmla="*/ 331722 h 219"/>
                <a:gd name="T84" fmla="*/ 116972 w 101"/>
                <a:gd name="T85" fmla="*/ 350786 h 219"/>
                <a:gd name="T86" fmla="*/ 88208 w 101"/>
                <a:gd name="T87" fmla="*/ 352693 h 219"/>
                <a:gd name="T88" fmla="*/ 74785 w 101"/>
                <a:gd name="T89" fmla="*/ 364131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8" name="Freeform 136"/>
            <p:cNvSpPr>
              <a:spLocks noChangeAspect="1"/>
            </p:cNvSpPr>
            <p:nvPr/>
          </p:nvSpPr>
          <p:spPr bwMode="auto">
            <a:xfrm>
              <a:off x="7238851" y="1858252"/>
              <a:ext cx="124934" cy="141864"/>
            </a:xfrm>
            <a:custGeom>
              <a:avLst/>
              <a:gdLst>
                <a:gd name="T0" fmla="*/ 57150 w 65"/>
                <a:gd name="T1" fmla="*/ 168931 h 92"/>
                <a:gd name="T2" fmla="*/ 47625 w 65"/>
                <a:gd name="T3" fmla="*/ 161338 h 92"/>
                <a:gd name="T4" fmla="*/ 34290 w 65"/>
                <a:gd name="T5" fmla="*/ 174625 h 92"/>
                <a:gd name="T6" fmla="*/ 36195 w 65"/>
                <a:gd name="T7" fmla="*/ 167033 h 92"/>
                <a:gd name="T8" fmla="*/ 28575 w 65"/>
                <a:gd name="T9" fmla="*/ 161338 h 92"/>
                <a:gd name="T10" fmla="*/ 32385 w 65"/>
                <a:gd name="T11" fmla="*/ 155644 h 92"/>
                <a:gd name="T12" fmla="*/ 19050 w 65"/>
                <a:gd name="T13" fmla="*/ 155644 h 92"/>
                <a:gd name="T14" fmla="*/ 20955 w 65"/>
                <a:gd name="T15" fmla="*/ 144255 h 92"/>
                <a:gd name="T16" fmla="*/ 32385 w 65"/>
                <a:gd name="T17" fmla="*/ 140459 h 92"/>
                <a:gd name="T18" fmla="*/ 24765 w 65"/>
                <a:gd name="T19" fmla="*/ 134765 h 92"/>
                <a:gd name="T20" fmla="*/ 32385 w 65"/>
                <a:gd name="T21" fmla="*/ 117682 h 92"/>
                <a:gd name="T22" fmla="*/ 30480 w 65"/>
                <a:gd name="T23" fmla="*/ 111988 h 92"/>
                <a:gd name="T24" fmla="*/ 34290 w 65"/>
                <a:gd name="T25" fmla="*/ 102497 h 92"/>
                <a:gd name="T26" fmla="*/ 26670 w 65"/>
                <a:gd name="T27" fmla="*/ 108192 h 92"/>
                <a:gd name="T28" fmla="*/ 7620 w 65"/>
                <a:gd name="T29" fmla="*/ 108192 h 92"/>
                <a:gd name="T30" fmla="*/ 0 w 65"/>
                <a:gd name="T31" fmla="*/ 100599 h 92"/>
                <a:gd name="T32" fmla="*/ 22860 w 65"/>
                <a:gd name="T33" fmla="*/ 77822 h 92"/>
                <a:gd name="T34" fmla="*/ 32385 w 65"/>
                <a:gd name="T35" fmla="*/ 70230 h 92"/>
                <a:gd name="T36" fmla="*/ 40005 w 65"/>
                <a:gd name="T37" fmla="*/ 58841 h 92"/>
                <a:gd name="T38" fmla="*/ 40005 w 65"/>
                <a:gd name="T39" fmla="*/ 45554 h 92"/>
                <a:gd name="T40" fmla="*/ 49530 w 65"/>
                <a:gd name="T41" fmla="*/ 41758 h 92"/>
                <a:gd name="T42" fmla="*/ 51435 w 65"/>
                <a:gd name="T43" fmla="*/ 47452 h 92"/>
                <a:gd name="T44" fmla="*/ 60960 w 65"/>
                <a:gd name="T45" fmla="*/ 51249 h 92"/>
                <a:gd name="T46" fmla="*/ 74295 w 65"/>
                <a:gd name="T47" fmla="*/ 51249 h 92"/>
                <a:gd name="T48" fmla="*/ 74295 w 65"/>
                <a:gd name="T49" fmla="*/ 43656 h 92"/>
                <a:gd name="T50" fmla="*/ 74295 w 65"/>
                <a:gd name="T51" fmla="*/ 36064 h 92"/>
                <a:gd name="T52" fmla="*/ 89535 w 65"/>
                <a:gd name="T53" fmla="*/ 36064 h 92"/>
                <a:gd name="T54" fmla="*/ 100965 w 65"/>
                <a:gd name="T55" fmla="*/ 15185 h 92"/>
                <a:gd name="T56" fmla="*/ 106680 w 65"/>
                <a:gd name="T57" fmla="*/ 15185 h 92"/>
                <a:gd name="T58" fmla="*/ 108585 w 65"/>
                <a:gd name="T59" fmla="*/ 1898 h 92"/>
                <a:gd name="T60" fmla="*/ 116205 w 65"/>
                <a:gd name="T61" fmla="*/ 1898 h 92"/>
                <a:gd name="T62" fmla="*/ 118110 w 65"/>
                <a:gd name="T63" fmla="*/ 13287 h 92"/>
                <a:gd name="T64" fmla="*/ 123825 w 65"/>
                <a:gd name="T65" fmla="*/ 20879 h 92"/>
                <a:gd name="T66" fmla="*/ 114300 w 65"/>
                <a:gd name="T67" fmla="*/ 47452 h 92"/>
                <a:gd name="T68" fmla="*/ 116205 w 65"/>
                <a:gd name="T69" fmla="*/ 55045 h 92"/>
                <a:gd name="T70" fmla="*/ 120015 w 65"/>
                <a:gd name="T71" fmla="*/ 72128 h 92"/>
                <a:gd name="T72" fmla="*/ 114300 w 65"/>
                <a:gd name="T73" fmla="*/ 77822 h 92"/>
                <a:gd name="T74" fmla="*/ 104775 w 65"/>
                <a:gd name="T75" fmla="*/ 87313 h 92"/>
                <a:gd name="T76" fmla="*/ 93345 w 65"/>
                <a:gd name="T77" fmla="*/ 100599 h 92"/>
                <a:gd name="T78" fmla="*/ 80010 w 65"/>
                <a:gd name="T79" fmla="*/ 100599 h 92"/>
                <a:gd name="T80" fmla="*/ 78105 w 65"/>
                <a:gd name="T81" fmla="*/ 104395 h 92"/>
                <a:gd name="T82" fmla="*/ 72390 w 65"/>
                <a:gd name="T83" fmla="*/ 104395 h 92"/>
                <a:gd name="T84" fmla="*/ 72390 w 65"/>
                <a:gd name="T85" fmla="*/ 111988 h 92"/>
                <a:gd name="T86" fmla="*/ 76200 w 65"/>
                <a:gd name="T87" fmla="*/ 115784 h 92"/>
                <a:gd name="T88" fmla="*/ 72390 w 65"/>
                <a:gd name="T89" fmla="*/ 125274 h 92"/>
                <a:gd name="T90" fmla="*/ 83820 w 65"/>
                <a:gd name="T91" fmla="*/ 129071 h 92"/>
                <a:gd name="T92" fmla="*/ 102870 w 65"/>
                <a:gd name="T93" fmla="*/ 144255 h 92"/>
                <a:gd name="T94" fmla="*/ 95250 w 65"/>
                <a:gd name="T95" fmla="*/ 153746 h 92"/>
                <a:gd name="T96" fmla="*/ 81915 w 65"/>
                <a:gd name="T97" fmla="*/ 153746 h 92"/>
                <a:gd name="T98" fmla="*/ 72390 w 65"/>
                <a:gd name="T99" fmla="*/ 155644 h 92"/>
                <a:gd name="T100" fmla="*/ 66675 w 65"/>
                <a:gd name="T101" fmla="*/ 163236 h 92"/>
                <a:gd name="T102" fmla="*/ 57150 w 65"/>
                <a:gd name="T103" fmla="*/ 168931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9" name="Freeform 137"/>
            <p:cNvSpPr>
              <a:spLocks noChangeAspect="1"/>
            </p:cNvSpPr>
            <p:nvPr/>
          </p:nvSpPr>
          <p:spPr bwMode="auto">
            <a:xfrm>
              <a:off x="7296513" y="1975613"/>
              <a:ext cx="89695" cy="107044"/>
            </a:xfrm>
            <a:custGeom>
              <a:avLst/>
              <a:gdLst>
                <a:gd name="T0" fmla="*/ 0 w 47"/>
                <a:gd name="T1" fmla="*/ 24825 h 69"/>
                <a:gd name="T2" fmla="*/ 9457 w 47"/>
                <a:gd name="T3" fmla="*/ 19096 h 69"/>
                <a:gd name="T4" fmla="*/ 15132 w 47"/>
                <a:gd name="T5" fmla="*/ 11458 h 69"/>
                <a:gd name="T6" fmla="*/ 24589 w 47"/>
                <a:gd name="T7" fmla="*/ 9548 h 69"/>
                <a:gd name="T8" fmla="*/ 37830 w 47"/>
                <a:gd name="T9" fmla="*/ 9548 h 69"/>
                <a:gd name="T10" fmla="*/ 45396 w 47"/>
                <a:gd name="T11" fmla="*/ 0 h 69"/>
                <a:gd name="T12" fmla="*/ 54853 w 47"/>
                <a:gd name="T13" fmla="*/ 15277 h 69"/>
                <a:gd name="T14" fmla="*/ 73768 w 47"/>
                <a:gd name="T15" fmla="*/ 42011 h 69"/>
                <a:gd name="T16" fmla="*/ 79443 w 47"/>
                <a:gd name="T17" fmla="*/ 68746 h 69"/>
                <a:gd name="T18" fmla="*/ 81334 w 47"/>
                <a:gd name="T19" fmla="*/ 80204 h 69"/>
                <a:gd name="T20" fmla="*/ 85117 w 47"/>
                <a:gd name="T21" fmla="*/ 78294 h 69"/>
                <a:gd name="T22" fmla="*/ 85117 w 47"/>
                <a:gd name="T23" fmla="*/ 105028 h 69"/>
                <a:gd name="T24" fmla="*/ 69985 w 47"/>
                <a:gd name="T25" fmla="*/ 106938 h 69"/>
                <a:gd name="T26" fmla="*/ 68094 w 47"/>
                <a:gd name="T27" fmla="*/ 116486 h 69"/>
                <a:gd name="T28" fmla="*/ 54853 w 47"/>
                <a:gd name="T29" fmla="*/ 110757 h 69"/>
                <a:gd name="T30" fmla="*/ 56745 w 47"/>
                <a:gd name="T31" fmla="*/ 118396 h 69"/>
                <a:gd name="T32" fmla="*/ 51070 w 47"/>
                <a:gd name="T33" fmla="*/ 112667 h 69"/>
                <a:gd name="T34" fmla="*/ 51070 w 47"/>
                <a:gd name="T35" fmla="*/ 122215 h 69"/>
                <a:gd name="T36" fmla="*/ 43504 w 47"/>
                <a:gd name="T37" fmla="*/ 114577 h 69"/>
                <a:gd name="T38" fmla="*/ 43504 w 47"/>
                <a:gd name="T39" fmla="*/ 122215 h 69"/>
                <a:gd name="T40" fmla="*/ 37830 w 47"/>
                <a:gd name="T41" fmla="*/ 124125 h 69"/>
                <a:gd name="T42" fmla="*/ 37830 w 47"/>
                <a:gd name="T43" fmla="*/ 116486 h 69"/>
                <a:gd name="T44" fmla="*/ 30264 w 47"/>
                <a:gd name="T45" fmla="*/ 126034 h 69"/>
                <a:gd name="T46" fmla="*/ 28372 w 47"/>
                <a:gd name="T47" fmla="*/ 122215 h 69"/>
                <a:gd name="T48" fmla="*/ 20806 w 47"/>
                <a:gd name="T49" fmla="*/ 131763 h 69"/>
                <a:gd name="T50" fmla="*/ 17023 w 47"/>
                <a:gd name="T51" fmla="*/ 120305 h 69"/>
                <a:gd name="T52" fmla="*/ 20806 w 47"/>
                <a:gd name="T53" fmla="*/ 114577 h 69"/>
                <a:gd name="T54" fmla="*/ 15132 w 47"/>
                <a:gd name="T55" fmla="*/ 103119 h 69"/>
                <a:gd name="T56" fmla="*/ 18915 w 47"/>
                <a:gd name="T57" fmla="*/ 93571 h 69"/>
                <a:gd name="T58" fmla="*/ 15132 w 47"/>
                <a:gd name="T59" fmla="*/ 93571 h 69"/>
                <a:gd name="T60" fmla="*/ 17023 w 47"/>
                <a:gd name="T61" fmla="*/ 80204 h 69"/>
                <a:gd name="T62" fmla="*/ 11349 w 47"/>
                <a:gd name="T63" fmla="*/ 55379 h 69"/>
                <a:gd name="T64" fmla="*/ 1891 w 47"/>
                <a:gd name="T65" fmla="*/ 53469 h 69"/>
                <a:gd name="T66" fmla="*/ 5674 w 47"/>
                <a:gd name="T67" fmla="*/ 47740 h 69"/>
                <a:gd name="T68" fmla="*/ 15132 w 47"/>
                <a:gd name="T69" fmla="*/ 47740 h 69"/>
                <a:gd name="T70" fmla="*/ 13240 w 47"/>
                <a:gd name="T71" fmla="*/ 36283 h 69"/>
                <a:gd name="T72" fmla="*/ 7566 w 47"/>
                <a:gd name="T73" fmla="*/ 28644 h 69"/>
                <a:gd name="T74" fmla="*/ 1891 w 47"/>
                <a:gd name="T75" fmla="*/ 28644 h 69"/>
                <a:gd name="T76" fmla="*/ 0 w 47"/>
                <a:gd name="T77" fmla="*/ 24825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0" name="Freeform 138"/>
            <p:cNvSpPr>
              <a:spLocks noChangeAspect="1"/>
            </p:cNvSpPr>
            <p:nvPr/>
          </p:nvSpPr>
          <p:spPr bwMode="auto">
            <a:xfrm>
              <a:off x="4849097" y="1502301"/>
              <a:ext cx="214630" cy="135417"/>
            </a:xfrm>
            <a:custGeom>
              <a:avLst/>
              <a:gdLst>
                <a:gd name="T0" fmla="*/ 13295 w 112"/>
                <a:gd name="T1" fmla="*/ 157216 h 88"/>
                <a:gd name="T2" fmla="*/ 13295 w 112"/>
                <a:gd name="T3" fmla="*/ 138274 h 88"/>
                <a:gd name="T4" fmla="*/ 7597 w 112"/>
                <a:gd name="T5" fmla="*/ 138274 h 88"/>
                <a:gd name="T6" fmla="*/ 3799 w 112"/>
                <a:gd name="T7" fmla="*/ 134486 h 88"/>
                <a:gd name="T8" fmla="*/ 5698 w 112"/>
                <a:gd name="T9" fmla="*/ 123121 h 88"/>
                <a:gd name="T10" fmla="*/ 9497 w 112"/>
                <a:gd name="T11" fmla="*/ 119333 h 88"/>
                <a:gd name="T12" fmla="*/ 13295 w 112"/>
                <a:gd name="T13" fmla="*/ 113650 h 88"/>
                <a:gd name="T14" fmla="*/ 13295 w 112"/>
                <a:gd name="T15" fmla="*/ 98497 h 88"/>
                <a:gd name="T16" fmla="*/ 9497 w 112"/>
                <a:gd name="T17" fmla="*/ 92814 h 88"/>
                <a:gd name="T18" fmla="*/ 1899 w 112"/>
                <a:gd name="T19" fmla="*/ 87132 h 88"/>
                <a:gd name="T20" fmla="*/ 1899 w 112"/>
                <a:gd name="T21" fmla="*/ 77661 h 88"/>
                <a:gd name="T22" fmla="*/ 11396 w 112"/>
                <a:gd name="T23" fmla="*/ 79555 h 88"/>
                <a:gd name="T24" fmla="*/ 20893 w 112"/>
                <a:gd name="T25" fmla="*/ 75767 h 88"/>
                <a:gd name="T26" fmla="*/ 30389 w 112"/>
                <a:gd name="T27" fmla="*/ 75767 h 88"/>
                <a:gd name="T28" fmla="*/ 36087 w 112"/>
                <a:gd name="T29" fmla="*/ 66296 h 88"/>
                <a:gd name="T30" fmla="*/ 53181 w 112"/>
                <a:gd name="T31" fmla="*/ 66296 h 88"/>
                <a:gd name="T32" fmla="*/ 51282 w 112"/>
                <a:gd name="T33" fmla="*/ 56825 h 88"/>
                <a:gd name="T34" fmla="*/ 56980 w 112"/>
                <a:gd name="T35" fmla="*/ 41672 h 88"/>
                <a:gd name="T36" fmla="*/ 74074 w 112"/>
                <a:gd name="T37" fmla="*/ 37883 h 88"/>
                <a:gd name="T38" fmla="*/ 74074 w 112"/>
                <a:gd name="T39" fmla="*/ 24624 h 88"/>
                <a:gd name="T40" fmla="*/ 81671 w 112"/>
                <a:gd name="T41" fmla="*/ 17048 h 88"/>
                <a:gd name="T42" fmla="*/ 93067 w 112"/>
                <a:gd name="T43" fmla="*/ 18942 h 88"/>
                <a:gd name="T44" fmla="*/ 98765 w 112"/>
                <a:gd name="T45" fmla="*/ 7577 h 88"/>
                <a:gd name="T46" fmla="*/ 104463 w 112"/>
                <a:gd name="T47" fmla="*/ 1894 h 88"/>
                <a:gd name="T48" fmla="*/ 115859 w 112"/>
                <a:gd name="T49" fmla="*/ 1894 h 88"/>
                <a:gd name="T50" fmla="*/ 119658 w 112"/>
                <a:gd name="T51" fmla="*/ 7577 h 88"/>
                <a:gd name="T52" fmla="*/ 131054 w 112"/>
                <a:gd name="T53" fmla="*/ 7577 h 88"/>
                <a:gd name="T54" fmla="*/ 132953 w 112"/>
                <a:gd name="T55" fmla="*/ 17048 h 88"/>
                <a:gd name="T56" fmla="*/ 148148 w 112"/>
                <a:gd name="T57" fmla="*/ 13259 h 88"/>
                <a:gd name="T58" fmla="*/ 170940 w 112"/>
                <a:gd name="T59" fmla="*/ 20836 h 88"/>
                <a:gd name="T60" fmla="*/ 169040 w 112"/>
                <a:gd name="T61" fmla="*/ 47354 h 88"/>
                <a:gd name="T62" fmla="*/ 174738 w 112"/>
                <a:gd name="T63" fmla="*/ 54931 h 88"/>
                <a:gd name="T64" fmla="*/ 176638 w 112"/>
                <a:gd name="T65" fmla="*/ 62508 h 88"/>
                <a:gd name="T66" fmla="*/ 191832 w 112"/>
                <a:gd name="T67" fmla="*/ 71978 h 88"/>
                <a:gd name="T68" fmla="*/ 191832 w 112"/>
                <a:gd name="T69" fmla="*/ 83344 h 88"/>
                <a:gd name="T70" fmla="*/ 203228 w 112"/>
                <a:gd name="T71" fmla="*/ 87132 h 88"/>
                <a:gd name="T72" fmla="*/ 212725 w 112"/>
                <a:gd name="T73" fmla="*/ 98497 h 88"/>
                <a:gd name="T74" fmla="*/ 201329 w 112"/>
                <a:gd name="T75" fmla="*/ 106074 h 88"/>
                <a:gd name="T76" fmla="*/ 193732 w 112"/>
                <a:gd name="T77" fmla="*/ 106074 h 88"/>
                <a:gd name="T78" fmla="*/ 186134 w 112"/>
                <a:gd name="T79" fmla="*/ 100391 h 88"/>
                <a:gd name="T80" fmla="*/ 178537 w 112"/>
                <a:gd name="T81" fmla="*/ 107968 h 88"/>
                <a:gd name="T82" fmla="*/ 186134 w 112"/>
                <a:gd name="T83" fmla="*/ 119333 h 88"/>
                <a:gd name="T84" fmla="*/ 189933 w 112"/>
                <a:gd name="T85" fmla="*/ 136380 h 88"/>
                <a:gd name="T86" fmla="*/ 174738 w 112"/>
                <a:gd name="T87" fmla="*/ 142063 h 88"/>
                <a:gd name="T88" fmla="*/ 169040 w 112"/>
                <a:gd name="T89" fmla="*/ 153428 h 88"/>
                <a:gd name="T90" fmla="*/ 163342 w 112"/>
                <a:gd name="T91" fmla="*/ 164793 h 88"/>
                <a:gd name="T92" fmla="*/ 153846 w 112"/>
                <a:gd name="T93" fmla="*/ 161004 h 88"/>
                <a:gd name="T94" fmla="*/ 144349 w 112"/>
                <a:gd name="T95" fmla="*/ 161004 h 88"/>
                <a:gd name="T96" fmla="*/ 134852 w 112"/>
                <a:gd name="T97" fmla="*/ 159110 h 88"/>
                <a:gd name="T98" fmla="*/ 125356 w 112"/>
                <a:gd name="T99" fmla="*/ 161004 h 88"/>
                <a:gd name="T100" fmla="*/ 115859 w 112"/>
                <a:gd name="T101" fmla="*/ 159110 h 88"/>
                <a:gd name="T102" fmla="*/ 104463 w 112"/>
                <a:gd name="T103" fmla="*/ 162899 h 88"/>
                <a:gd name="T104" fmla="*/ 98765 w 112"/>
                <a:gd name="T105" fmla="*/ 159110 h 88"/>
                <a:gd name="T106" fmla="*/ 83571 w 112"/>
                <a:gd name="T107" fmla="*/ 151534 h 88"/>
                <a:gd name="T108" fmla="*/ 72175 w 112"/>
                <a:gd name="T109" fmla="*/ 151534 h 88"/>
                <a:gd name="T110" fmla="*/ 60779 w 112"/>
                <a:gd name="T111" fmla="*/ 147745 h 88"/>
                <a:gd name="T112" fmla="*/ 41785 w 112"/>
                <a:gd name="T113" fmla="*/ 147745 h 88"/>
                <a:gd name="T114" fmla="*/ 28490 w 112"/>
                <a:gd name="T115" fmla="*/ 147745 h 88"/>
                <a:gd name="T116" fmla="*/ 24691 w 112"/>
                <a:gd name="T117" fmla="*/ 159110 h 88"/>
                <a:gd name="T118" fmla="*/ 13295 w 112"/>
                <a:gd name="T119" fmla="*/ 157216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1" name="Freeform 139"/>
            <p:cNvSpPr>
              <a:spLocks noChangeAspect="1"/>
            </p:cNvSpPr>
            <p:nvPr/>
          </p:nvSpPr>
          <p:spPr bwMode="auto">
            <a:xfrm>
              <a:off x="4644077" y="1540992"/>
              <a:ext cx="230647" cy="157341"/>
            </a:xfrm>
            <a:custGeom>
              <a:avLst/>
              <a:gdLst>
                <a:gd name="T0" fmla="*/ 217170 w 120"/>
                <a:gd name="T1" fmla="*/ 91141 h 102"/>
                <a:gd name="T2" fmla="*/ 207645 w 120"/>
                <a:gd name="T3" fmla="*/ 87344 h 102"/>
                <a:gd name="T4" fmla="*/ 213360 w 120"/>
                <a:gd name="T5" fmla="*/ 72153 h 102"/>
                <a:gd name="T6" fmla="*/ 217170 w 120"/>
                <a:gd name="T7" fmla="*/ 51267 h 102"/>
                <a:gd name="T8" fmla="*/ 205740 w 120"/>
                <a:gd name="T9" fmla="*/ 39874 h 102"/>
                <a:gd name="T10" fmla="*/ 196215 w 120"/>
                <a:gd name="T11" fmla="*/ 22785 h 102"/>
                <a:gd name="T12" fmla="*/ 173355 w 120"/>
                <a:gd name="T13" fmla="*/ 18988 h 102"/>
                <a:gd name="T14" fmla="*/ 129540 w 120"/>
                <a:gd name="T15" fmla="*/ 15190 h 102"/>
                <a:gd name="T16" fmla="*/ 118110 w 120"/>
                <a:gd name="T17" fmla="*/ 26583 h 102"/>
                <a:gd name="T18" fmla="*/ 121920 w 120"/>
                <a:gd name="T19" fmla="*/ 18988 h 102"/>
                <a:gd name="T20" fmla="*/ 121920 w 120"/>
                <a:gd name="T21" fmla="*/ 15190 h 102"/>
                <a:gd name="T22" fmla="*/ 99060 w 120"/>
                <a:gd name="T23" fmla="*/ 20887 h 102"/>
                <a:gd name="T24" fmla="*/ 93345 w 120"/>
                <a:gd name="T25" fmla="*/ 7595 h 102"/>
                <a:gd name="T26" fmla="*/ 83820 w 120"/>
                <a:gd name="T27" fmla="*/ 0 h 102"/>
                <a:gd name="T28" fmla="*/ 60960 w 120"/>
                <a:gd name="T29" fmla="*/ 9494 h 102"/>
                <a:gd name="T30" fmla="*/ 43815 w 120"/>
                <a:gd name="T31" fmla="*/ 18988 h 102"/>
                <a:gd name="T32" fmla="*/ 9525 w 120"/>
                <a:gd name="T33" fmla="*/ 28482 h 102"/>
                <a:gd name="T34" fmla="*/ 9525 w 120"/>
                <a:gd name="T35" fmla="*/ 32279 h 102"/>
                <a:gd name="T36" fmla="*/ 1905 w 120"/>
                <a:gd name="T37" fmla="*/ 36077 h 102"/>
                <a:gd name="T38" fmla="*/ 0 w 120"/>
                <a:gd name="T39" fmla="*/ 64558 h 102"/>
                <a:gd name="T40" fmla="*/ 7620 w 120"/>
                <a:gd name="T41" fmla="*/ 83546 h 102"/>
                <a:gd name="T42" fmla="*/ 9525 w 120"/>
                <a:gd name="T43" fmla="*/ 102534 h 102"/>
                <a:gd name="T44" fmla="*/ 19050 w 120"/>
                <a:gd name="T45" fmla="*/ 119623 h 102"/>
                <a:gd name="T46" fmla="*/ 26670 w 120"/>
                <a:gd name="T47" fmla="*/ 129117 h 102"/>
                <a:gd name="T48" fmla="*/ 36195 w 120"/>
                <a:gd name="T49" fmla="*/ 132914 h 102"/>
                <a:gd name="T50" fmla="*/ 51435 w 120"/>
                <a:gd name="T51" fmla="*/ 138611 h 102"/>
                <a:gd name="T52" fmla="*/ 59055 w 120"/>
                <a:gd name="T53" fmla="*/ 157598 h 102"/>
                <a:gd name="T54" fmla="*/ 62865 w 120"/>
                <a:gd name="T55" fmla="*/ 146206 h 102"/>
                <a:gd name="T56" fmla="*/ 76200 w 120"/>
                <a:gd name="T57" fmla="*/ 151902 h 102"/>
                <a:gd name="T58" fmla="*/ 80010 w 120"/>
                <a:gd name="T59" fmla="*/ 155700 h 102"/>
                <a:gd name="T60" fmla="*/ 91440 w 120"/>
                <a:gd name="T61" fmla="*/ 159497 h 102"/>
                <a:gd name="T62" fmla="*/ 102870 w 120"/>
                <a:gd name="T63" fmla="*/ 170890 h 102"/>
                <a:gd name="T64" fmla="*/ 116205 w 120"/>
                <a:gd name="T65" fmla="*/ 180384 h 102"/>
                <a:gd name="T66" fmla="*/ 131445 w 120"/>
                <a:gd name="T67" fmla="*/ 182282 h 102"/>
                <a:gd name="T68" fmla="*/ 137160 w 120"/>
                <a:gd name="T69" fmla="*/ 186080 h 102"/>
                <a:gd name="T70" fmla="*/ 154305 w 120"/>
                <a:gd name="T71" fmla="*/ 180384 h 102"/>
                <a:gd name="T72" fmla="*/ 165735 w 120"/>
                <a:gd name="T73" fmla="*/ 178485 h 102"/>
                <a:gd name="T74" fmla="*/ 184785 w 120"/>
                <a:gd name="T75" fmla="*/ 187979 h 102"/>
                <a:gd name="T76" fmla="*/ 201930 w 120"/>
                <a:gd name="T77" fmla="*/ 191776 h 102"/>
                <a:gd name="T78" fmla="*/ 198120 w 120"/>
                <a:gd name="T79" fmla="*/ 186080 h 102"/>
                <a:gd name="T80" fmla="*/ 196215 w 120"/>
                <a:gd name="T81" fmla="*/ 172788 h 102"/>
                <a:gd name="T82" fmla="*/ 219075 w 120"/>
                <a:gd name="T83" fmla="*/ 153801 h 102"/>
                <a:gd name="T84" fmla="*/ 228600 w 120"/>
                <a:gd name="T85" fmla="*/ 144307 h 102"/>
                <a:gd name="T86" fmla="*/ 226695 w 120"/>
                <a:gd name="T87" fmla="*/ 134813 h 102"/>
                <a:gd name="T88" fmla="*/ 217170 w 120"/>
                <a:gd name="T89" fmla="*/ 11012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2" name="Freeform 140"/>
            <p:cNvSpPr>
              <a:spLocks noChangeAspect="1"/>
            </p:cNvSpPr>
            <p:nvPr/>
          </p:nvSpPr>
          <p:spPr bwMode="auto">
            <a:xfrm>
              <a:off x="4770612" y="1533254"/>
              <a:ext cx="67272" cy="23214"/>
            </a:xfrm>
            <a:custGeom>
              <a:avLst/>
              <a:gdLst>
                <a:gd name="T0" fmla="*/ 60960 w 35"/>
                <a:gd name="T1" fmla="*/ 24765 h 15"/>
                <a:gd name="T2" fmla="*/ 47625 w 35"/>
                <a:gd name="T3" fmla="*/ 28575 h 15"/>
                <a:gd name="T4" fmla="*/ 36195 w 35"/>
                <a:gd name="T5" fmla="*/ 26670 h 15"/>
                <a:gd name="T6" fmla="*/ 3810 w 35"/>
                <a:gd name="T7" fmla="*/ 24765 h 15"/>
                <a:gd name="T8" fmla="*/ 13335 w 35"/>
                <a:gd name="T9" fmla="*/ 19050 h 15"/>
                <a:gd name="T10" fmla="*/ 11430 w 35"/>
                <a:gd name="T11" fmla="*/ 17145 h 15"/>
                <a:gd name="T12" fmla="*/ 3810 w 35"/>
                <a:gd name="T13" fmla="*/ 19050 h 15"/>
                <a:gd name="T14" fmla="*/ 1905 w 35"/>
                <a:gd name="T15" fmla="*/ 11430 h 15"/>
                <a:gd name="T16" fmla="*/ 11430 w 35"/>
                <a:gd name="T17" fmla="*/ 9525 h 15"/>
                <a:gd name="T18" fmla="*/ 20955 w 35"/>
                <a:gd name="T19" fmla="*/ 1905 h 15"/>
                <a:gd name="T20" fmla="*/ 20955 w 35"/>
                <a:gd name="T21" fmla="*/ 3810 h 15"/>
                <a:gd name="T22" fmla="*/ 17145 w 35"/>
                <a:gd name="T23" fmla="*/ 9525 h 15"/>
                <a:gd name="T24" fmla="*/ 30480 w 35"/>
                <a:gd name="T25" fmla="*/ 9525 h 15"/>
                <a:gd name="T26" fmla="*/ 30480 w 35"/>
                <a:gd name="T27" fmla="*/ 1905 h 15"/>
                <a:gd name="T28" fmla="*/ 34290 w 35"/>
                <a:gd name="T29" fmla="*/ 0 h 15"/>
                <a:gd name="T30" fmla="*/ 43815 w 35"/>
                <a:gd name="T31" fmla="*/ 5715 h 15"/>
                <a:gd name="T32" fmla="*/ 51435 w 35"/>
                <a:gd name="T33" fmla="*/ 5715 h 15"/>
                <a:gd name="T34" fmla="*/ 55245 w 35"/>
                <a:gd name="T35" fmla="*/ 3810 h 15"/>
                <a:gd name="T36" fmla="*/ 64770 w 35"/>
                <a:gd name="T37" fmla="*/ 9525 h 15"/>
                <a:gd name="T38" fmla="*/ 64770 w 35"/>
                <a:gd name="T39" fmla="*/ 17145 h 15"/>
                <a:gd name="T40" fmla="*/ 60960 w 35"/>
                <a:gd name="T41" fmla="*/ 24765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3" name="Freeform 141"/>
            <p:cNvSpPr>
              <a:spLocks noChangeAspect="1"/>
            </p:cNvSpPr>
            <p:nvPr/>
          </p:nvSpPr>
          <p:spPr bwMode="auto">
            <a:xfrm>
              <a:off x="4793035" y="1493274"/>
              <a:ext cx="134544" cy="73512"/>
            </a:xfrm>
            <a:custGeom>
              <a:avLst/>
              <a:gdLst>
                <a:gd name="T0" fmla="*/ 11430 w 70"/>
                <a:gd name="T1" fmla="*/ 49014 h 48"/>
                <a:gd name="T2" fmla="*/ 7620 w 70"/>
                <a:gd name="T3" fmla="*/ 37703 h 48"/>
                <a:gd name="T4" fmla="*/ 1905 w 70"/>
                <a:gd name="T5" fmla="*/ 26392 h 48"/>
                <a:gd name="T6" fmla="*/ 0 w 70"/>
                <a:gd name="T7" fmla="*/ 16967 h 48"/>
                <a:gd name="T8" fmla="*/ 7620 w 70"/>
                <a:gd name="T9" fmla="*/ 9426 h 48"/>
                <a:gd name="T10" fmla="*/ 22860 w 70"/>
                <a:gd name="T11" fmla="*/ 1885 h 48"/>
                <a:gd name="T12" fmla="*/ 45720 w 70"/>
                <a:gd name="T13" fmla="*/ 5656 h 48"/>
                <a:gd name="T14" fmla="*/ 68580 w 70"/>
                <a:gd name="T15" fmla="*/ 7541 h 48"/>
                <a:gd name="T16" fmla="*/ 76200 w 70"/>
                <a:gd name="T17" fmla="*/ 11311 h 48"/>
                <a:gd name="T18" fmla="*/ 87630 w 70"/>
                <a:gd name="T19" fmla="*/ 7541 h 48"/>
                <a:gd name="T20" fmla="*/ 99060 w 70"/>
                <a:gd name="T21" fmla="*/ 15081 h 48"/>
                <a:gd name="T22" fmla="*/ 114300 w 70"/>
                <a:gd name="T23" fmla="*/ 24507 h 48"/>
                <a:gd name="T24" fmla="*/ 129540 w 70"/>
                <a:gd name="T25" fmla="*/ 35818 h 48"/>
                <a:gd name="T26" fmla="*/ 129540 w 70"/>
                <a:gd name="T27" fmla="*/ 49014 h 48"/>
                <a:gd name="T28" fmla="*/ 112395 w 70"/>
                <a:gd name="T29" fmla="*/ 52785 h 48"/>
                <a:gd name="T30" fmla="*/ 106680 w 70"/>
                <a:gd name="T31" fmla="*/ 67866 h 48"/>
                <a:gd name="T32" fmla="*/ 108585 w 70"/>
                <a:gd name="T33" fmla="*/ 77292 h 48"/>
                <a:gd name="T34" fmla="*/ 91440 w 70"/>
                <a:gd name="T35" fmla="*/ 77292 h 48"/>
                <a:gd name="T36" fmla="*/ 85725 w 70"/>
                <a:gd name="T37" fmla="*/ 86718 h 48"/>
                <a:gd name="T38" fmla="*/ 76200 w 70"/>
                <a:gd name="T39" fmla="*/ 86718 h 48"/>
                <a:gd name="T40" fmla="*/ 66675 w 70"/>
                <a:gd name="T41" fmla="*/ 90488 h 48"/>
                <a:gd name="T42" fmla="*/ 57150 w 70"/>
                <a:gd name="T43" fmla="*/ 88603 h 48"/>
                <a:gd name="T44" fmla="*/ 47625 w 70"/>
                <a:gd name="T45" fmla="*/ 81062 h 48"/>
                <a:gd name="T46" fmla="*/ 38100 w 70"/>
                <a:gd name="T47" fmla="*/ 73522 h 48"/>
                <a:gd name="T48" fmla="*/ 41910 w 70"/>
                <a:gd name="T49" fmla="*/ 65981 h 48"/>
                <a:gd name="T50" fmla="*/ 41910 w 70"/>
                <a:gd name="T51" fmla="*/ 58440 h 48"/>
                <a:gd name="T52" fmla="*/ 32385 w 70"/>
                <a:gd name="T53" fmla="*/ 52785 h 48"/>
                <a:gd name="T54" fmla="*/ 28575 w 70"/>
                <a:gd name="T55" fmla="*/ 54670 h 48"/>
                <a:gd name="T56" fmla="*/ 20955 w 70"/>
                <a:gd name="T57" fmla="*/ 54670 h 48"/>
                <a:gd name="T58" fmla="*/ 11430 w 70"/>
                <a:gd name="T59" fmla="*/ 49014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4" name="Freeform 142"/>
            <p:cNvSpPr>
              <a:spLocks noChangeAspect="1"/>
            </p:cNvSpPr>
            <p:nvPr/>
          </p:nvSpPr>
          <p:spPr bwMode="auto">
            <a:xfrm>
              <a:off x="4791434" y="1444266"/>
              <a:ext cx="164976" cy="77381"/>
            </a:xfrm>
            <a:custGeom>
              <a:avLst/>
              <a:gdLst>
                <a:gd name="T0" fmla="*/ 138795 w 86"/>
                <a:gd name="T1" fmla="*/ 17145 h 50"/>
                <a:gd name="T2" fmla="*/ 133091 w 86"/>
                <a:gd name="T3" fmla="*/ 17145 h 50"/>
                <a:gd name="T4" fmla="*/ 125486 w 86"/>
                <a:gd name="T5" fmla="*/ 20955 h 50"/>
                <a:gd name="T6" fmla="*/ 112177 w 86"/>
                <a:gd name="T7" fmla="*/ 11430 h 50"/>
                <a:gd name="T8" fmla="*/ 95065 w 86"/>
                <a:gd name="T9" fmla="*/ 3810 h 50"/>
                <a:gd name="T10" fmla="*/ 87460 w 86"/>
                <a:gd name="T11" fmla="*/ 1905 h 50"/>
                <a:gd name="T12" fmla="*/ 74151 w 86"/>
                <a:gd name="T13" fmla="*/ 9525 h 50"/>
                <a:gd name="T14" fmla="*/ 77953 w 86"/>
                <a:gd name="T15" fmla="*/ 26670 h 50"/>
                <a:gd name="T16" fmla="*/ 70348 w 86"/>
                <a:gd name="T17" fmla="*/ 38100 h 50"/>
                <a:gd name="T18" fmla="*/ 55138 w 86"/>
                <a:gd name="T19" fmla="*/ 43815 h 50"/>
                <a:gd name="T20" fmla="*/ 45631 w 86"/>
                <a:gd name="T21" fmla="*/ 30480 h 50"/>
                <a:gd name="T22" fmla="*/ 36125 w 86"/>
                <a:gd name="T23" fmla="*/ 20955 h 50"/>
                <a:gd name="T24" fmla="*/ 34223 w 86"/>
                <a:gd name="T25" fmla="*/ 15240 h 50"/>
                <a:gd name="T26" fmla="*/ 17112 w 86"/>
                <a:gd name="T27" fmla="*/ 22860 h 50"/>
                <a:gd name="T28" fmla="*/ 11408 w 86"/>
                <a:gd name="T29" fmla="*/ 30480 h 50"/>
                <a:gd name="T30" fmla="*/ 1901 w 86"/>
                <a:gd name="T31" fmla="*/ 53340 h 50"/>
                <a:gd name="T32" fmla="*/ 1901 w 86"/>
                <a:gd name="T33" fmla="*/ 76200 h 50"/>
                <a:gd name="T34" fmla="*/ 9507 w 86"/>
                <a:gd name="T35" fmla="*/ 68580 h 50"/>
                <a:gd name="T36" fmla="*/ 24717 w 86"/>
                <a:gd name="T37" fmla="*/ 60960 h 50"/>
                <a:gd name="T38" fmla="*/ 47533 w 86"/>
                <a:gd name="T39" fmla="*/ 64770 h 50"/>
                <a:gd name="T40" fmla="*/ 70348 w 86"/>
                <a:gd name="T41" fmla="*/ 66675 h 50"/>
                <a:gd name="T42" fmla="*/ 77953 w 86"/>
                <a:gd name="T43" fmla="*/ 70485 h 50"/>
                <a:gd name="T44" fmla="*/ 89361 w 86"/>
                <a:gd name="T45" fmla="*/ 66675 h 50"/>
                <a:gd name="T46" fmla="*/ 100769 w 86"/>
                <a:gd name="T47" fmla="*/ 74295 h 50"/>
                <a:gd name="T48" fmla="*/ 115979 w 86"/>
                <a:gd name="T49" fmla="*/ 83820 h 50"/>
                <a:gd name="T50" fmla="*/ 131190 w 86"/>
                <a:gd name="T51" fmla="*/ 95250 h 50"/>
                <a:gd name="T52" fmla="*/ 138795 w 86"/>
                <a:gd name="T53" fmla="*/ 87630 h 50"/>
                <a:gd name="T54" fmla="*/ 150203 w 86"/>
                <a:gd name="T55" fmla="*/ 89535 h 50"/>
                <a:gd name="T56" fmla="*/ 155907 w 86"/>
                <a:gd name="T57" fmla="*/ 78105 h 50"/>
                <a:gd name="T58" fmla="*/ 161611 w 86"/>
                <a:gd name="T59" fmla="*/ 72390 h 50"/>
                <a:gd name="T60" fmla="*/ 163512 w 86"/>
                <a:gd name="T61" fmla="*/ 64770 h 50"/>
                <a:gd name="T62" fmla="*/ 152104 w 86"/>
                <a:gd name="T63" fmla="*/ 45720 h 50"/>
                <a:gd name="T64" fmla="*/ 152104 w 86"/>
                <a:gd name="T65" fmla="*/ 32385 h 50"/>
                <a:gd name="T66" fmla="*/ 146400 w 86"/>
                <a:gd name="T67" fmla="*/ 24765 h 50"/>
                <a:gd name="T68" fmla="*/ 138795 w 86"/>
                <a:gd name="T69" fmla="*/ 17145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5" name="Freeform 143"/>
            <p:cNvSpPr>
              <a:spLocks noChangeAspect="1"/>
            </p:cNvSpPr>
            <p:nvPr/>
          </p:nvSpPr>
          <p:spPr bwMode="auto">
            <a:xfrm>
              <a:off x="4842689" y="1404286"/>
              <a:ext cx="102509" cy="58035"/>
            </a:xfrm>
            <a:custGeom>
              <a:avLst/>
              <a:gdLst>
                <a:gd name="T0" fmla="*/ 88181 w 53"/>
                <a:gd name="T1" fmla="*/ 67576 h 37"/>
                <a:gd name="T2" fmla="*/ 82430 w 53"/>
                <a:gd name="T3" fmla="*/ 67576 h 37"/>
                <a:gd name="T4" fmla="*/ 74762 w 53"/>
                <a:gd name="T5" fmla="*/ 71437 h 37"/>
                <a:gd name="T6" fmla="*/ 61343 w 53"/>
                <a:gd name="T7" fmla="*/ 61783 h 37"/>
                <a:gd name="T8" fmla="*/ 44091 w 53"/>
                <a:gd name="T9" fmla="*/ 54060 h 37"/>
                <a:gd name="T10" fmla="*/ 36423 w 53"/>
                <a:gd name="T11" fmla="*/ 52130 h 37"/>
                <a:gd name="T12" fmla="*/ 23004 w 53"/>
                <a:gd name="T13" fmla="*/ 59853 h 37"/>
                <a:gd name="T14" fmla="*/ 26838 w 53"/>
                <a:gd name="T15" fmla="*/ 42476 h 37"/>
                <a:gd name="T16" fmla="*/ 19170 w 53"/>
                <a:gd name="T17" fmla="*/ 42476 h 37"/>
                <a:gd name="T18" fmla="*/ 13419 w 53"/>
                <a:gd name="T19" fmla="*/ 46338 h 37"/>
                <a:gd name="T20" fmla="*/ 3834 w 53"/>
                <a:gd name="T21" fmla="*/ 36684 h 37"/>
                <a:gd name="T22" fmla="*/ 3834 w 53"/>
                <a:gd name="T23" fmla="*/ 28961 h 37"/>
                <a:gd name="T24" fmla="*/ 0 w 53"/>
                <a:gd name="T25" fmla="*/ 21238 h 37"/>
                <a:gd name="T26" fmla="*/ 3834 w 53"/>
                <a:gd name="T27" fmla="*/ 11584 h 37"/>
                <a:gd name="T28" fmla="*/ 19170 w 53"/>
                <a:gd name="T29" fmla="*/ 5792 h 37"/>
                <a:gd name="T30" fmla="*/ 46008 w 53"/>
                <a:gd name="T31" fmla="*/ 0 h 37"/>
                <a:gd name="T32" fmla="*/ 69011 w 53"/>
                <a:gd name="T33" fmla="*/ 0 h 37"/>
                <a:gd name="T34" fmla="*/ 78596 w 53"/>
                <a:gd name="T35" fmla="*/ 5792 h 37"/>
                <a:gd name="T36" fmla="*/ 101600 w 53"/>
                <a:gd name="T37" fmla="*/ 5792 h 37"/>
                <a:gd name="T38" fmla="*/ 99683 w 53"/>
                <a:gd name="T39" fmla="*/ 15446 h 37"/>
                <a:gd name="T40" fmla="*/ 97766 w 53"/>
                <a:gd name="T41" fmla="*/ 21238 h 37"/>
                <a:gd name="T42" fmla="*/ 86264 w 53"/>
                <a:gd name="T43" fmla="*/ 23169 h 37"/>
                <a:gd name="T44" fmla="*/ 76679 w 53"/>
                <a:gd name="T45" fmla="*/ 27030 h 37"/>
                <a:gd name="T46" fmla="*/ 84347 w 53"/>
                <a:gd name="T47" fmla="*/ 42476 h 37"/>
                <a:gd name="T48" fmla="*/ 92015 w 53"/>
                <a:gd name="T49" fmla="*/ 59853 h 37"/>
                <a:gd name="T50" fmla="*/ 90098 w 53"/>
                <a:gd name="T51" fmla="*/ 63714 h 37"/>
                <a:gd name="T52" fmla="*/ 88181 w 53"/>
                <a:gd name="T53" fmla="*/ 67576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6" name="Freeform 144"/>
            <p:cNvSpPr>
              <a:spLocks noChangeAspect="1"/>
            </p:cNvSpPr>
            <p:nvPr/>
          </p:nvSpPr>
          <p:spPr bwMode="auto">
            <a:xfrm>
              <a:off x="4765808" y="1071548"/>
              <a:ext cx="245062" cy="326288"/>
            </a:xfrm>
            <a:custGeom>
              <a:avLst/>
              <a:gdLst>
                <a:gd name="T0" fmla="*/ 91800 w 127"/>
                <a:gd name="T1" fmla="*/ 180832 h 211"/>
                <a:gd name="T2" fmla="*/ 105187 w 127"/>
                <a:gd name="T3" fmla="*/ 207481 h 211"/>
                <a:gd name="T4" fmla="*/ 74587 w 127"/>
                <a:gd name="T5" fmla="*/ 232226 h 211"/>
                <a:gd name="T6" fmla="*/ 42075 w 127"/>
                <a:gd name="T7" fmla="*/ 268393 h 211"/>
                <a:gd name="T8" fmla="*/ 19125 w 127"/>
                <a:gd name="T9" fmla="*/ 285524 h 211"/>
                <a:gd name="T10" fmla="*/ 24862 w 127"/>
                <a:gd name="T11" fmla="*/ 352146 h 211"/>
                <a:gd name="T12" fmla="*/ 49725 w 127"/>
                <a:gd name="T13" fmla="*/ 376892 h 211"/>
                <a:gd name="T14" fmla="*/ 65025 w 127"/>
                <a:gd name="T15" fmla="*/ 397830 h 211"/>
                <a:gd name="T16" fmla="*/ 112837 w 127"/>
                <a:gd name="T17" fmla="*/ 388313 h 211"/>
                <a:gd name="T18" fmla="*/ 156825 w 127"/>
                <a:gd name="T19" fmla="*/ 376892 h 211"/>
                <a:gd name="T20" fmla="*/ 179775 w 127"/>
                <a:gd name="T21" fmla="*/ 361664 h 211"/>
                <a:gd name="T22" fmla="*/ 214200 w 127"/>
                <a:gd name="T23" fmla="*/ 327401 h 211"/>
                <a:gd name="T24" fmla="*/ 242887 w 127"/>
                <a:gd name="T25" fmla="*/ 283620 h 211"/>
                <a:gd name="T26" fmla="*/ 212287 w 127"/>
                <a:gd name="T27" fmla="*/ 251261 h 211"/>
                <a:gd name="T28" fmla="*/ 216112 w 127"/>
                <a:gd name="T29" fmla="*/ 230323 h 211"/>
                <a:gd name="T30" fmla="*/ 208462 w 127"/>
                <a:gd name="T31" fmla="*/ 213191 h 211"/>
                <a:gd name="T32" fmla="*/ 200812 w 127"/>
                <a:gd name="T33" fmla="*/ 199867 h 211"/>
                <a:gd name="T34" fmla="*/ 196987 w 127"/>
                <a:gd name="T35" fmla="*/ 188446 h 211"/>
                <a:gd name="T36" fmla="*/ 208462 w 127"/>
                <a:gd name="T37" fmla="*/ 167507 h 211"/>
                <a:gd name="T38" fmla="*/ 198900 w 127"/>
                <a:gd name="T39" fmla="*/ 100885 h 211"/>
                <a:gd name="T40" fmla="*/ 168300 w 127"/>
                <a:gd name="T41" fmla="*/ 79947 h 211"/>
                <a:gd name="T42" fmla="*/ 168300 w 127"/>
                <a:gd name="T43" fmla="*/ 53298 h 211"/>
                <a:gd name="T44" fmla="*/ 170212 w 127"/>
                <a:gd name="T45" fmla="*/ 43780 h 211"/>
                <a:gd name="T46" fmla="*/ 160650 w 127"/>
                <a:gd name="T47" fmla="*/ 13324 h 211"/>
                <a:gd name="T48" fmla="*/ 116662 w 127"/>
                <a:gd name="T49" fmla="*/ 5710 h 211"/>
                <a:gd name="T50" fmla="*/ 105187 w 127"/>
                <a:gd name="T51" fmla="*/ 47587 h 211"/>
                <a:gd name="T52" fmla="*/ 91800 w 127"/>
                <a:gd name="T53" fmla="*/ 62815 h 211"/>
                <a:gd name="T54" fmla="*/ 51637 w 127"/>
                <a:gd name="T55" fmla="*/ 60912 h 211"/>
                <a:gd name="T56" fmla="*/ 7650 w 127"/>
                <a:gd name="T57" fmla="*/ 26649 h 211"/>
                <a:gd name="T58" fmla="*/ 0 w 127"/>
                <a:gd name="T59" fmla="*/ 43780 h 211"/>
                <a:gd name="T60" fmla="*/ 42075 w 127"/>
                <a:gd name="T61" fmla="*/ 68526 h 211"/>
                <a:gd name="T62" fmla="*/ 59287 w 127"/>
                <a:gd name="T63" fmla="*/ 102789 h 211"/>
                <a:gd name="T64" fmla="*/ 65025 w 127"/>
                <a:gd name="T65" fmla="*/ 114210 h 211"/>
                <a:gd name="T66" fmla="*/ 66937 w 127"/>
                <a:gd name="T67" fmla="*/ 150376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7" name="Freeform 145"/>
            <p:cNvSpPr>
              <a:spLocks noChangeAspect="1"/>
            </p:cNvSpPr>
            <p:nvPr/>
          </p:nvSpPr>
          <p:spPr bwMode="auto">
            <a:xfrm>
              <a:off x="4568796" y="1103790"/>
              <a:ext cx="273893" cy="424305"/>
            </a:xfrm>
            <a:custGeom>
              <a:avLst/>
              <a:gdLst>
                <a:gd name="T0" fmla="*/ 9492 w 143"/>
                <a:gd name="T1" fmla="*/ 371701 h 274"/>
                <a:gd name="T2" fmla="*/ 26577 w 143"/>
                <a:gd name="T3" fmla="*/ 345015 h 274"/>
                <a:gd name="T4" fmla="*/ 30373 w 143"/>
                <a:gd name="T5" fmla="*/ 308798 h 274"/>
                <a:gd name="T6" fmla="*/ 17085 w 143"/>
                <a:gd name="T7" fmla="*/ 280206 h 274"/>
                <a:gd name="T8" fmla="*/ 30373 w 143"/>
                <a:gd name="T9" fmla="*/ 198241 h 274"/>
                <a:gd name="T10" fmla="*/ 53154 w 143"/>
                <a:gd name="T11" fmla="*/ 182991 h 274"/>
                <a:gd name="T12" fmla="*/ 66442 w 143"/>
                <a:gd name="T13" fmla="*/ 118182 h 274"/>
                <a:gd name="T14" fmla="*/ 98714 w 143"/>
                <a:gd name="T15" fmla="*/ 85777 h 274"/>
                <a:gd name="T16" fmla="*/ 125291 w 143"/>
                <a:gd name="T17" fmla="*/ 41936 h 274"/>
                <a:gd name="T18" fmla="*/ 140477 w 143"/>
                <a:gd name="T19" fmla="*/ 20968 h 274"/>
                <a:gd name="T20" fmla="*/ 180343 w 143"/>
                <a:gd name="T21" fmla="*/ 28592 h 274"/>
                <a:gd name="T22" fmla="*/ 195529 w 143"/>
                <a:gd name="T23" fmla="*/ 3812 h 274"/>
                <a:gd name="T24" fmla="*/ 237293 w 143"/>
                <a:gd name="T25" fmla="*/ 28592 h 274"/>
                <a:gd name="T26" fmla="*/ 254378 w 143"/>
                <a:gd name="T27" fmla="*/ 62903 h 274"/>
                <a:gd name="T28" fmla="*/ 260073 w 143"/>
                <a:gd name="T29" fmla="*/ 74340 h 274"/>
                <a:gd name="T30" fmla="*/ 261971 w 143"/>
                <a:gd name="T31" fmla="*/ 110557 h 274"/>
                <a:gd name="T32" fmla="*/ 254378 w 143"/>
                <a:gd name="T33" fmla="*/ 133431 h 274"/>
                <a:gd name="T34" fmla="*/ 235394 w 143"/>
                <a:gd name="T35" fmla="*/ 144868 h 274"/>
                <a:gd name="T36" fmla="*/ 220208 w 143"/>
                <a:gd name="T37" fmla="*/ 156305 h 274"/>
                <a:gd name="T38" fmla="*/ 222106 w 143"/>
                <a:gd name="T39" fmla="*/ 184898 h 274"/>
                <a:gd name="T40" fmla="*/ 195529 w 143"/>
                <a:gd name="T41" fmla="*/ 213490 h 274"/>
                <a:gd name="T42" fmla="*/ 161359 w 143"/>
                <a:gd name="T43" fmla="*/ 232552 h 274"/>
                <a:gd name="T44" fmla="*/ 146172 w 143"/>
                <a:gd name="T45" fmla="*/ 255426 h 274"/>
                <a:gd name="T46" fmla="*/ 138579 w 143"/>
                <a:gd name="T47" fmla="*/ 266862 h 274"/>
                <a:gd name="T48" fmla="*/ 129087 w 143"/>
                <a:gd name="T49" fmla="*/ 291643 h 274"/>
                <a:gd name="T50" fmla="*/ 142376 w 143"/>
                <a:gd name="T51" fmla="*/ 339297 h 274"/>
                <a:gd name="T52" fmla="*/ 176546 w 143"/>
                <a:gd name="T53" fmla="*/ 360264 h 274"/>
                <a:gd name="T54" fmla="*/ 148071 w 143"/>
                <a:gd name="T55" fmla="*/ 371701 h 274"/>
                <a:gd name="T56" fmla="*/ 163257 w 143"/>
                <a:gd name="T57" fmla="*/ 377420 h 274"/>
                <a:gd name="T58" fmla="*/ 146172 w 143"/>
                <a:gd name="T59" fmla="*/ 388857 h 274"/>
                <a:gd name="T60" fmla="*/ 127189 w 143"/>
                <a:gd name="T61" fmla="*/ 407918 h 274"/>
                <a:gd name="T62" fmla="*/ 119596 w 143"/>
                <a:gd name="T63" fmla="*/ 472728 h 274"/>
                <a:gd name="T64" fmla="*/ 87324 w 143"/>
                <a:gd name="T65" fmla="*/ 491789 h 274"/>
                <a:gd name="T66" fmla="*/ 81629 w 143"/>
                <a:gd name="T67" fmla="*/ 516570 h 274"/>
                <a:gd name="T68" fmla="*/ 45560 w 143"/>
                <a:gd name="T69" fmla="*/ 520382 h 274"/>
                <a:gd name="T70" fmla="*/ 49357 w 143"/>
                <a:gd name="T71" fmla="*/ 507039 h 274"/>
                <a:gd name="T72" fmla="*/ 45560 w 143"/>
                <a:gd name="T73" fmla="*/ 489883 h 274"/>
                <a:gd name="T74" fmla="*/ 45560 w 143"/>
                <a:gd name="T75" fmla="*/ 480352 h 274"/>
                <a:gd name="T76" fmla="*/ 18983 w 143"/>
                <a:gd name="T77" fmla="*/ 451760 h 274"/>
                <a:gd name="T78" fmla="*/ 15187 w 143"/>
                <a:gd name="T79" fmla="*/ 415543 h 274"/>
                <a:gd name="T80" fmla="*/ 7593 w 143"/>
                <a:gd name="T81" fmla="*/ 394575 h 274"/>
                <a:gd name="T82" fmla="*/ 9492 w 143"/>
                <a:gd name="T83" fmla="*/ 386951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8" name="Freeform 146"/>
            <p:cNvSpPr>
              <a:spLocks noChangeAspect="1"/>
            </p:cNvSpPr>
            <p:nvPr/>
          </p:nvSpPr>
          <p:spPr bwMode="auto">
            <a:xfrm>
              <a:off x="4429447" y="1036726"/>
              <a:ext cx="552590" cy="412698"/>
            </a:xfrm>
            <a:custGeom>
              <a:avLst/>
              <a:gdLst>
                <a:gd name="T0" fmla="*/ 133582 w 287"/>
                <a:gd name="T1" fmla="*/ 449019 h 267"/>
                <a:gd name="T2" fmla="*/ 124041 w 287"/>
                <a:gd name="T3" fmla="*/ 466142 h 267"/>
                <a:gd name="T4" fmla="*/ 74424 w 287"/>
                <a:gd name="T5" fmla="*/ 502292 h 267"/>
                <a:gd name="T6" fmla="*/ 11450 w 287"/>
                <a:gd name="T7" fmla="*/ 475655 h 267"/>
                <a:gd name="T8" fmla="*/ 24808 w 287"/>
                <a:gd name="T9" fmla="*/ 450921 h 267"/>
                <a:gd name="T10" fmla="*/ 24808 w 287"/>
                <a:gd name="T11" fmla="*/ 437603 h 267"/>
                <a:gd name="T12" fmla="*/ 17175 w 287"/>
                <a:gd name="T13" fmla="*/ 435700 h 267"/>
                <a:gd name="T14" fmla="*/ 9542 w 287"/>
                <a:gd name="T15" fmla="*/ 397648 h 267"/>
                <a:gd name="T16" fmla="*/ 13358 w 287"/>
                <a:gd name="T17" fmla="*/ 369109 h 267"/>
                <a:gd name="T18" fmla="*/ 1908 w 287"/>
                <a:gd name="T19" fmla="*/ 353888 h 267"/>
                <a:gd name="T20" fmla="*/ 47708 w 287"/>
                <a:gd name="T21" fmla="*/ 351985 h 267"/>
                <a:gd name="T22" fmla="*/ 57250 w 287"/>
                <a:gd name="T23" fmla="*/ 338667 h 267"/>
                <a:gd name="T24" fmla="*/ 72516 w 287"/>
                <a:gd name="T25" fmla="*/ 334861 h 267"/>
                <a:gd name="T26" fmla="*/ 85874 w 287"/>
                <a:gd name="T27" fmla="*/ 310127 h 267"/>
                <a:gd name="T28" fmla="*/ 103049 w 287"/>
                <a:gd name="T29" fmla="*/ 304419 h 267"/>
                <a:gd name="T30" fmla="*/ 135491 w 287"/>
                <a:gd name="T31" fmla="*/ 289198 h 267"/>
                <a:gd name="T32" fmla="*/ 103049 w 287"/>
                <a:gd name="T33" fmla="*/ 291101 h 267"/>
                <a:gd name="T34" fmla="*/ 148849 w 287"/>
                <a:gd name="T35" fmla="*/ 266367 h 267"/>
                <a:gd name="T36" fmla="*/ 164115 w 287"/>
                <a:gd name="T37" fmla="*/ 235925 h 267"/>
                <a:gd name="T38" fmla="*/ 171749 w 287"/>
                <a:gd name="T39" fmla="*/ 205483 h 267"/>
                <a:gd name="T40" fmla="*/ 177473 w 287"/>
                <a:gd name="T41" fmla="*/ 188360 h 267"/>
                <a:gd name="T42" fmla="*/ 202282 w 287"/>
                <a:gd name="T43" fmla="*/ 169333 h 267"/>
                <a:gd name="T44" fmla="*/ 217548 w 287"/>
                <a:gd name="T45" fmla="*/ 152210 h 267"/>
                <a:gd name="T46" fmla="*/ 209915 w 287"/>
                <a:gd name="T47" fmla="*/ 140794 h 267"/>
                <a:gd name="T48" fmla="*/ 261439 w 287"/>
                <a:gd name="T49" fmla="*/ 114157 h 267"/>
                <a:gd name="T50" fmla="*/ 225181 w 287"/>
                <a:gd name="T51" fmla="*/ 89423 h 267"/>
                <a:gd name="T52" fmla="*/ 246173 w 287"/>
                <a:gd name="T53" fmla="*/ 106547 h 267"/>
                <a:gd name="T54" fmla="*/ 255714 w 287"/>
                <a:gd name="T55" fmla="*/ 93228 h 267"/>
                <a:gd name="T56" fmla="*/ 274798 w 287"/>
                <a:gd name="T57" fmla="*/ 68494 h 267"/>
                <a:gd name="T58" fmla="*/ 299606 w 287"/>
                <a:gd name="T59" fmla="*/ 76105 h 267"/>
                <a:gd name="T60" fmla="*/ 307239 w 287"/>
                <a:gd name="T61" fmla="*/ 68494 h 267"/>
                <a:gd name="T62" fmla="*/ 316781 w 287"/>
                <a:gd name="T63" fmla="*/ 74202 h 267"/>
                <a:gd name="T64" fmla="*/ 354947 w 287"/>
                <a:gd name="T65" fmla="*/ 66592 h 267"/>
                <a:gd name="T66" fmla="*/ 356855 w 287"/>
                <a:gd name="T67" fmla="*/ 36150 h 267"/>
                <a:gd name="T68" fmla="*/ 387388 w 287"/>
                <a:gd name="T69" fmla="*/ 38052 h 267"/>
                <a:gd name="T70" fmla="*/ 408380 w 287"/>
                <a:gd name="T71" fmla="*/ 5708 h 267"/>
                <a:gd name="T72" fmla="*/ 435096 w 287"/>
                <a:gd name="T73" fmla="*/ 15221 h 267"/>
                <a:gd name="T74" fmla="*/ 442729 w 287"/>
                <a:gd name="T75" fmla="*/ 19026 h 267"/>
                <a:gd name="T76" fmla="*/ 461813 w 287"/>
                <a:gd name="T77" fmla="*/ 28539 h 267"/>
                <a:gd name="T78" fmla="*/ 480896 w 287"/>
                <a:gd name="T79" fmla="*/ 1903 h 267"/>
                <a:gd name="T80" fmla="*/ 484712 w 287"/>
                <a:gd name="T81" fmla="*/ 22831 h 267"/>
                <a:gd name="T82" fmla="*/ 499979 w 287"/>
                <a:gd name="T83" fmla="*/ 13318 h 267"/>
                <a:gd name="T84" fmla="*/ 543870 w 287"/>
                <a:gd name="T85" fmla="*/ 36150 h 267"/>
                <a:gd name="T86" fmla="*/ 522879 w 287"/>
                <a:gd name="T87" fmla="*/ 53273 h 267"/>
                <a:gd name="T88" fmla="*/ 547687 w 287"/>
                <a:gd name="T89" fmla="*/ 62787 h 267"/>
                <a:gd name="T90" fmla="*/ 526696 w 287"/>
                <a:gd name="T91" fmla="*/ 72300 h 267"/>
                <a:gd name="T92" fmla="*/ 503796 w 287"/>
                <a:gd name="T93" fmla="*/ 87521 h 267"/>
                <a:gd name="T94" fmla="*/ 471354 w 287"/>
                <a:gd name="T95" fmla="*/ 47566 h 267"/>
                <a:gd name="T96" fmla="*/ 438913 w 287"/>
                <a:gd name="T97" fmla="*/ 91326 h 267"/>
                <a:gd name="T98" fmla="*/ 400747 w 287"/>
                <a:gd name="T99" fmla="*/ 97034 h 267"/>
                <a:gd name="T100" fmla="*/ 341589 w 287"/>
                <a:gd name="T101" fmla="*/ 70397 h 267"/>
                <a:gd name="T102" fmla="*/ 320597 w 287"/>
                <a:gd name="T103" fmla="*/ 87521 h 267"/>
                <a:gd name="T104" fmla="*/ 278614 w 287"/>
                <a:gd name="T105" fmla="*/ 104644 h 267"/>
                <a:gd name="T106" fmla="*/ 236631 w 287"/>
                <a:gd name="T107" fmla="*/ 154112 h 267"/>
                <a:gd name="T108" fmla="*/ 204190 w 287"/>
                <a:gd name="T109" fmla="*/ 201678 h 267"/>
                <a:gd name="T110" fmla="*/ 196557 w 287"/>
                <a:gd name="T111" fmla="*/ 281588 h 267"/>
                <a:gd name="T112" fmla="*/ 154574 w 287"/>
                <a:gd name="T113" fmla="*/ 363401 h 267"/>
                <a:gd name="T114" fmla="*/ 162207 w 287"/>
                <a:gd name="T115" fmla="*/ 395745 h 267"/>
                <a:gd name="T116" fmla="*/ 146940 w 287"/>
                <a:gd name="T117" fmla="*/ 45472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9" name="Freeform 148"/>
            <p:cNvSpPr>
              <a:spLocks noChangeAspect="1"/>
            </p:cNvSpPr>
            <p:nvPr/>
          </p:nvSpPr>
          <p:spPr bwMode="auto">
            <a:xfrm>
              <a:off x="4379794" y="1632558"/>
              <a:ext cx="88095" cy="50298"/>
            </a:xfrm>
            <a:custGeom>
              <a:avLst/>
              <a:gdLst>
                <a:gd name="T0" fmla="*/ 0 w 46"/>
                <a:gd name="T1" fmla="*/ 13133 h 33"/>
                <a:gd name="T2" fmla="*/ 9491 w 46"/>
                <a:gd name="T3" fmla="*/ 5628 h 33"/>
                <a:gd name="T4" fmla="*/ 17083 w 46"/>
                <a:gd name="T5" fmla="*/ 3752 h 33"/>
                <a:gd name="T6" fmla="*/ 24675 w 46"/>
                <a:gd name="T7" fmla="*/ 7505 h 33"/>
                <a:gd name="T8" fmla="*/ 32268 w 46"/>
                <a:gd name="T9" fmla="*/ 7505 h 33"/>
                <a:gd name="T10" fmla="*/ 34166 w 46"/>
                <a:gd name="T11" fmla="*/ 5628 h 33"/>
                <a:gd name="T12" fmla="*/ 39860 w 46"/>
                <a:gd name="T13" fmla="*/ 1876 h 33"/>
                <a:gd name="T14" fmla="*/ 43657 w 46"/>
                <a:gd name="T15" fmla="*/ 0 h 33"/>
                <a:gd name="T16" fmla="*/ 53147 w 46"/>
                <a:gd name="T17" fmla="*/ 0 h 33"/>
                <a:gd name="T18" fmla="*/ 58841 w 46"/>
                <a:gd name="T19" fmla="*/ 3752 h 33"/>
                <a:gd name="T20" fmla="*/ 60739 w 46"/>
                <a:gd name="T21" fmla="*/ 7505 h 33"/>
                <a:gd name="T22" fmla="*/ 66434 w 46"/>
                <a:gd name="T23" fmla="*/ 7505 h 33"/>
                <a:gd name="T24" fmla="*/ 72128 w 46"/>
                <a:gd name="T25" fmla="*/ 11257 h 33"/>
                <a:gd name="T26" fmla="*/ 70230 w 46"/>
                <a:gd name="T27" fmla="*/ 20638 h 33"/>
                <a:gd name="T28" fmla="*/ 77822 w 46"/>
                <a:gd name="T29" fmla="*/ 20638 h 33"/>
                <a:gd name="T30" fmla="*/ 83517 w 46"/>
                <a:gd name="T31" fmla="*/ 26266 h 33"/>
                <a:gd name="T32" fmla="*/ 81619 w 46"/>
                <a:gd name="T33" fmla="*/ 30018 h 33"/>
                <a:gd name="T34" fmla="*/ 85415 w 46"/>
                <a:gd name="T35" fmla="*/ 30018 h 33"/>
                <a:gd name="T36" fmla="*/ 87313 w 46"/>
                <a:gd name="T37" fmla="*/ 35647 h 33"/>
                <a:gd name="T38" fmla="*/ 79721 w 46"/>
                <a:gd name="T39" fmla="*/ 41275 h 33"/>
                <a:gd name="T40" fmla="*/ 75924 w 46"/>
                <a:gd name="T41" fmla="*/ 43151 h 33"/>
                <a:gd name="T42" fmla="*/ 72128 w 46"/>
                <a:gd name="T43" fmla="*/ 48780 h 33"/>
                <a:gd name="T44" fmla="*/ 74026 w 46"/>
                <a:gd name="T45" fmla="*/ 54408 h 33"/>
                <a:gd name="T46" fmla="*/ 75924 w 46"/>
                <a:gd name="T47" fmla="*/ 61913 h 33"/>
                <a:gd name="T48" fmla="*/ 70230 w 46"/>
                <a:gd name="T49" fmla="*/ 61913 h 33"/>
                <a:gd name="T50" fmla="*/ 62638 w 46"/>
                <a:gd name="T51" fmla="*/ 58161 h 33"/>
                <a:gd name="T52" fmla="*/ 55045 w 46"/>
                <a:gd name="T53" fmla="*/ 52532 h 33"/>
                <a:gd name="T54" fmla="*/ 51249 w 46"/>
                <a:gd name="T55" fmla="*/ 46904 h 33"/>
                <a:gd name="T56" fmla="*/ 47453 w 46"/>
                <a:gd name="T57" fmla="*/ 46904 h 33"/>
                <a:gd name="T58" fmla="*/ 39860 w 46"/>
                <a:gd name="T59" fmla="*/ 46904 h 33"/>
                <a:gd name="T60" fmla="*/ 37962 w 46"/>
                <a:gd name="T61" fmla="*/ 41275 h 33"/>
                <a:gd name="T62" fmla="*/ 34166 w 46"/>
                <a:gd name="T63" fmla="*/ 35647 h 33"/>
                <a:gd name="T64" fmla="*/ 26574 w 46"/>
                <a:gd name="T65" fmla="*/ 35647 h 33"/>
                <a:gd name="T66" fmla="*/ 24675 w 46"/>
                <a:gd name="T67" fmla="*/ 31895 h 33"/>
                <a:gd name="T68" fmla="*/ 17083 w 46"/>
                <a:gd name="T69" fmla="*/ 30018 h 33"/>
                <a:gd name="T70" fmla="*/ 13287 w 46"/>
                <a:gd name="T71" fmla="*/ 24390 h 33"/>
                <a:gd name="T72" fmla="*/ 7592 w 46"/>
                <a:gd name="T73" fmla="*/ 22514 h 33"/>
                <a:gd name="T74" fmla="*/ 3796 w 46"/>
                <a:gd name="T75" fmla="*/ 20638 h 33"/>
                <a:gd name="T76" fmla="*/ 0 w 46"/>
                <a:gd name="T77" fmla="*/ 13133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0" name="Freeform 149"/>
            <p:cNvSpPr>
              <a:spLocks noChangeAspect="1"/>
            </p:cNvSpPr>
            <p:nvPr/>
          </p:nvSpPr>
          <p:spPr bwMode="auto">
            <a:xfrm>
              <a:off x="4418235" y="1578391"/>
              <a:ext cx="67272" cy="72222"/>
            </a:xfrm>
            <a:custGeom>
              <a:avLst/>
              <a:gdLst>
                <a:gd name="T0" fmla="*/ 1905 w 35"/>
                <a:gd name="T1" fmla="*/ 68094 h 47"/>
                <a:gd name="T2" fmla="*/ 0 w 35"/>
                <a:gd name="T3" fmla="*/ 58636 h 47"/>
                <a:gd name="T4" fmla="*/ 0 w 35"/>
                <a:gd name="T5" fmla="*/ 51070 h 47"/>
                <a:gd name="T6" fmla="*/ 0 w 35"/>
                <a:gd name="T7" fmla="*/ 43504 h 47"/>
                <a:gd name="T8" fmla="*/ 5715 w 35"/>
                <a:gd name="T9" fmla="*/ 34047 h 47"/>
                <a:gd name="T10" fmla="*/ 7620 w 35"/>
                <a:gd name="T11" fmla="*/ 22698 h 47"/>
                <a:gd name="T12" fmla="*/ 11430 w 35"/>
                <a:gd name="T13" fmla="*/ 17023 h 47"/>
                <a:gd name="T14" fmla="*/ 19050 w 35"/>
                <a:gd name="T15" fmla="*/ 15132 h 47"/>
                <a:gd name="T16" fmla="*/ 24765 w 35"/>
                <a:gd name="T17" fmla="*/ 9457 h 47"/>
                <a:gd name="T18" fmla="*/ 36195 w 35"/>
                <a:gd name="T19" fmla="*/ 1891 h 47"/>
                <a:gd name="T20" fmla="*/ 43815 w 35"/>
                <a:gd name="T21" fmla="*/ 3783 h 47"/>
                <a:gd name="T22" fmla="*/ 47625 w 35"/>
                <a:gd name="T23" fmla="*/ 1891 h 47"/>
                <a:gd name="T24" fmla="*/ 57150 w 35"/>
                <a:gd name="T25" fmla="*/ 0 h 47"/>
                <a:gd name="T26" fmla="*/ 59055 w 35"/>
                <a:gd name="T27" fmla="*/ 3783 h 47"/>
                <a:gd name="T28" fmla="*/ 62865 w 35"/>
                <a:gd name="T29" fmla="*/ 5674 h 47"/>
                <a:gd name="T30" fmla="*/ 66675 w 35"/>
                <a:gd name="T31" fmla="*/ 9457 h 47"/>
                <a:gd name="T32" fmla="*/ 64770 w 35"/>
                <a:gd name="T33" fmla="*/ 17023 h 47"/>
                <a:gd name="T34" fmla="*/ 60960 w 35"/>
                <a:gd name="T35" fmla="*/ 26481 h 47"/>
                <a:gd name="T36" fmla="*/ 62865 w 35"/>
                <a:gd name="T37" fmla="*/ 37830 h 47"/>
                <a:gd name="T38" fmla="*/ 55245 w 35"/>
                <a:gd name="T39" fmla="*/ 43504 h 47"/>
                <a:gd name="T40" fmla="*/ 55245 w 35"/>
                <a:gd name="T41" fmla="*/ 51070 h 47"/>
                <a:gd name="T42" fmla="*/ 47625 w 35"/>
                <a:gd name="T43" fmla="*/ 52962 h 47"/>
                <a:gd name="T44" fmla="*/ 40005 w 35"/>
                <a:gd name="T45" fmla="*/ 52962 h 47"/>
                <a:gd name="T46" fmla="*/ 43815 w 35"/>
                <a:gd name="T47" fmla="*/ 68094 h 47"/>
                <a:gd name="T48" fmla="*/ 41910 w 35"/>
                <a:gd name="T49" fmla="*/ 75660 h 47"/>
                <a:gd name="T50" fmla="*/ 40005 w 35"/>
                <a:gd name="T51" fmla="*/ 81334 h 47"/>
                <a:gd name="T52" fmla="*/ 40005 w 35"/>
                <a:gd name="T53" fmla="*/ 87009 h 47"/>
                <a:gd name="T54" fmla="*/ 32385 w 35"/>
                <a:gd name="T55" fmla="*/ 87009 h 47"/>
                <a:gd name="T56" fmla="*/ 34290 w 35"/>
                <a:gd name="T57" fmla="*/ 77551 h 47"/>
                <a:gd name="T58" fmla="*/ 28575 w 35"/>
                <a:gd name="T59" fmla="*/ 73768 h 47"/>
                <a:gd name="T60" fmla="*/ 22860 w 35"/>
                <a:gd name="T61" fmla="*/ 73768 h 47"/>
                <a:gd name="T62" fmla="*/ 20955 w 35"/>
                <a:gd name="T63" fmla="*/ 69985 h 47"/>
                <a:gd name="T64" fmla="*/ 15240 w 35"/>
                <a:gd name="T65" fmla="*/ 66202 h 47"/>
                <a:gd name="T66" fmla="*/ 5715 w 35"/>
                <a:gd name="T67" fmla="*/ 66202 h 47"/>
                <a:gd name="T68" fmla="*/ 1905 w 35"/>
                <a:gd name="T69" fmla="*/ 68094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1" name="Freeform 150"/>
            <p:cNvSpPr>
              <a:spLocks noChangeAspect="1"/>
            </p:cNvSpPr>
            <p:nvPr/>
          </p:nvSpPr>
          <p:spPr bwMode="auto">
            <a:xfrm>
              <a:off x="4078673" y="1521646"/>
              <a:ext cx="107315" cy="112203"/>
            </a:xfrm>
            <a:custGeom>
              <a:avLst/>
              <a:gdLst>
                <a:gd name="T0" fmla="*/ 100665 w 56"/>
                <a:gd name="T1" fmla="*/ 61384 h 72"/>
                <a:gd name="T2" fmla="*/ 106363 w 56"/>
                <a:gd name="T3" fmla="*/ 86321 h 72"/>
                <a:gd name="T4" fmla="*/ 96866 w 56"/>
                <a:gd name="T5" fmla="*/ 109339 h 72"/>
                <a:gd name="T6" fmla="*/ 79772 w 56"/>
                <a:gd name="T7" fmla="*/ 111258 h 72"/>
                <a:gd name="T8" fmla="*/ 55081 w 56"/>
                <a:gd name="T9" fmla="*/ 124685 h 72"/>
                <a:gd name="T10" fmla="*/ 26591 w 56"/>
                <a:gd name="T11" fmla="*/ 134277 h 72"/>
                <a:gd name="T12" fmla="*/ 24691 w 56"/>
                <a:gd name="T13" fmla="*/ 128522 h 72"/>
                <a:gd name="T14" fmla="*/ 18993 w 56"/>
                <a:gd name="T15" fmla="*/ 124685 h 72"/>
                <a:gd name="T16" fmla="*/ 9497 w 56"/>
                <a:gd name="T17" fmla="*/ 117012 h 72"/>
                <a:gd name="T18" fmla="*/ 3799 w 56"/>
                <a:gd name="T19" fmla="*/ 113176 h 72"/>
                <a:gd name="T20" fmla="*/ 18993 w 56"/>
                <a:gd name="T21" fmla="*/ 107421 h 72"/>
                <a:gd name="T22" fmla="*/ 32289 w 56"/>
                <a:gd name="T23" fmla="*/ 97830 h 72"/>
                <a:gd name="T24" fmla="*/ 36087 w 56"/>
                <a:gd name="T25" fmla="*/ 92075 h 72"/>
                <a:gd name="T26" fmla="*/ 22792 w 56"/>
                <a:gd name="T27" fmla="*/ 93994 h 72"/>
                <a:gd name="T28" fmla="*/ 32289 w 56"/>
                <a:gd name="T29" fmla="*/ 80566 h 72"/>
                <a:gd name="T30" fmla="*/ 36087 w 56"/>
                <a:gd name="T31" fmla="*/ 70975 h 72"/>
                <a:gd name="T32" fmla="*/ 28490 w 56"/>
                <a:gd name="T33" fmla="*/ 67138 h 72"/>
                <a:gd name="T34" fmla="*/ 22792 w 56"/>
                <a:gd name="T35" fmla="*/ 74811 h 72"/>
                <a:gd name="T36" fmla="*/ 15195 w 56"/>
                <a:gd name="T37" fmla="*/ 61384 h 72"/>
                <a:gd name="T38" fmla="*/ 24691 w 56"/>
                <a:gd name="T39" fmla="*/ 51792 h 72"/>
                <a:gd name="T40" fmla="*/ 20893 w 56"/>
                <a:gd name="T41" fmla="*/ 46038 h 72"/>
                <a:gd name="T42" fmla="*/ 22792 w 56"/>
                <a:gd name="T43" fmla="*/ 36446 h 72"/>
                <a:gd name="T44" fmla="*/ 37987 w 56"/>
                <a:gd name="T45" fmla="*/ 42201 h 72"/>
                <a:gd name="T46" fmla="*/ 49383 w 56"/>
                <a:gd name="T47" fmla="*/ 40283 h 72"/>
                <a:gd name="T48" fmla="*/ 56980 w 56"/>
                <a:gd name="T49" fmla="*/ 28774 h 72"/>
                <a:gd name="T50" fmla="*/ 45584 w 56"/>
                <a:gd name="T51" fmla="*/ 21101 h 72"/>
                <a:gd name="T52" fmla="*/ 56980 w 56"/>
                <a:gd name="T53" fmla="*/ 7673 h 72"/>
                <a:gd name="T54" fmla="*/ 75974 w 56"/>
                <a:gd name="T55" fmla="*/ 0 h 72"/>
                <a:gd name="T56" fmla="*/ 77873 w 56"/>
                <a:gd name="T57" fmla="*/ 15346 h 72"/>
                <a:gd name="T58" fmla="*/ 64578 w 56"/>
                <a:gd name="T59" fmla="*/ 21101 h 72"/>
                <a:gd name="T60" fmla="*/ 56980 w 56"/>
                <a:gd name="T61" fmla="*/ 30692 h 72"/>
                <a:gd name="T62" fmla="*/ 77873 w 56"/>
                <a:gd name="T63" fmla="*/ 44119 h 72"/>
                <a:gd name="T64" fmla="*/ 79772 w 56"/>
                <a:gd name="T65" fmla="*/ 34528 h 72"/>
                <a:gd name="T66" fmla="*/ 91168 w 56"/>
                <a:gd name="T67" fmla="*/ 42201 h 72"/>
                <a:gd name="T68" fmla="*/ 102564 w 56"/>
                <a:gd name="T69" fmla="*/ 53711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2" name="Freeform 151"/>
            <p:cNvSpPr>
              <a:spLocks noChangeAspect="1"/>
            </p:cNvSpPr>
            <p:nvPr/>
          </p:nvSpPr>
          <p:spPr bwMode="auto">
            <a:xfrm>
              <a:off x="4136334" y="1526805"/>
              <a:ext cx="59264" cy="38690"/>
            </a:xfrm>
            <a:custGeom>
              <a:avLst/>
              <a:gdLst>
                <a:gd name="T0" fmla="*/ 45475 w 31"/>
                <a:gd name="T1" fmla="*/ 47625 h 25"/>
                <a:gd name="T2" fmla="*/ 49264 w 31"/>
                <a:gd name="T3" fmla="*/ 38100 h 25"/>
                <a:gd name="T4" fmla="*/ 56843 w 31"/>
                <a:gd name="T5" fmla="*/ 34290 h 25"/>
                <a:gd name="T6" fmla="*/ 56843 w 31"/>
                <a:gd name="T7" fmla="*/ 24765 h 25"/>
                <a:gd name="T8" fmla="*/ 54948 w 31"/>
                <a:gd name="T9" fmla="*/ 15240 h 25"/>
                <a:gd name="T10" fmla="*/ 51159 w 31"/>
                <a:gd name="T11" fmla="*/ 3810 h 25"/>
                <a:gd name="T12" fmla="*/ 41685 w 31"/>
                <a:gd name="T13" fmla="*/ 0 h 25"/>
                <a:gd name="T14" fmla="*/ 32211 w 31"/>
                <a:gd name="T15" fmla="*/ 1905 h 25"/>
                <a:gd name="T16" fmla="*/ 28422 w 31"/>
                <a:gd name="T17" fmla="*/ 0 h 25"/>
                <a:gd name="T18" fmla="*/ 20843 w 31"/>
                <a:gd name="T19" fmla="*/ 9525 h 25"/>
                <a:gd name="T20" fmla="*/ 15158 w 31"/>
                <a:gd name="T21" fmla="*/ 15240 h 25"/>
                <a:gd name="T22" fmla="*/ 7579 w 31"/>
                <a:gd name="T23" fmla="*/ 15240 h 25"/>
                <a:gd name="T24" fmla="*/ 9474 w 31"/>
                <a:gd name="T25" fmla="*/ 20955 h 25"/>
                <a:gd name="T26" fmla="*/ 0 w 31"/>
                <a:gd name="T27" fmla="*/ 24765 h 25"/>
                <a:gd name="T28" fmla="*/ 9474 w 31"/>
                <a:gd name="T29" fmla="*/ 36195 h 25"/>
                <a:gd name="T30" fmla="*/ 20843 w 31"/>
                <a:gd name="T31" fmla="*/ 38100 h 25"/>
                <a:gd name="T32" fmla="*/ 24632 w 31"/>
                <a:gd name="T33" fmla="*/ 34290 h 25"/>
                <a:gd name="T34" fmla="*/ 22737 w 31"/>
                <a:gd name="T35" fmla="*/ 28575 h 25"/>
                <a:gd name="T36" fmla="*/ 28422 w 31"/>
                <a:gd name="T37" fmla="*/ 28575 h 25"/>
                <a:gd name="T38" fmla="*/ 34106 w 31"/>
                <a:gd name="T39" fmla="*/ 36195 h 25"/>
                <a:gd name="T40" fmla="*/ 41685 w 31"/>
                <a:gd name="T41" fmla="*/ 41910 h 25"/>
                <a:gd name="T42" fmla="*/ 45475 w 31"/>
                <a:gd name="T43" fmla="*/ 47625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3" name="Freeform 152"/>
            <p:cNvSpPr>
              <a:spLocks noChangeAspect="1"/>
            </p:cNvSpPr>
            <p:nvPr/>
          </p:nvSpPr>
          <p:spPr bwMode="auto">
            <a:xfrm>
              <a:off x="5320000" y="2602397"/>
              <a:ext cx="249867" cy="303075"/>
            </a:xfrm>
            <a:custGeom>
              <a:avLst/>
              <a:gdLst>
                <a:gd name="T0" fmla="*/ 17145 w 130"/>
                <a:gd name="T1" fmla="*/ 220792 h 196"/>
                <a:gd name="T2" fmla="*/ 11430 w 130"/>
                <a:gd name="T3" fmla="*/ 237923 h 196"/>
                <a:gd name="T4" fmla="*/ 0 w 130"/>
                <a:gd name="T5" fmla="*/ 251247 h 196"/>
                <a:gd name="T6" fmla="*/ 0 w 130"/>
                <a:gd name="T7" fmla="*/ 354029 h 196"/>
                <a:gd name="T8" fmla="*/ 15240 w 130"/>
                <a:gd name="T9" fmla="*/ 373063 h 196"/>
                <a:gd name="T10" fmla="*/ 24765 w 130"/>
                <a:gd name="T11" fmla="*/ 350222 h 196"/>
                <a:gd name="T12" fmla="*/ 49530 w 130"/>
                <a:gd name="T13" fmla="*/ 325478 h 196"/>
                <a:gd name="T14" fmla="*/ 72390 w 130"/>
                <a:gd name="T15" fmla="*/ 300734 h 196"/>
                <a:gd name="T16" fmla="*/ 81915 w 130"/>
                <a:gd name="T17" fmla="*/ 295024 h 196"/>
                <a:gd name="T18" fmla="*/ 89535 w 130"/>
                <a:gd name="T19" fmla="*/ 283604 h 196"/>
                <a:gd name="T20" fmla="*/ 110490 w 130"/>
                <a:gd name="T21" fmla="*/ 272184 h 196"/>
                <a:gd name="T22" fmla="*/ 125730 w 130"/>
                <a:gd name="T23" fmla="*/ 264570 h 196"/>
                <a:gd name="T24" fmla="*/ 142875 w 130"/>
                <a:gd name="T25" fmla="*/ 243633 h 196"/>
                <a:gd name="T26" fmla="*/ 160020 w 130"/>
                <a:gd name="T27" fmla="*/ 220792 h 196"/>
                <a:gd name="T28" fmla="*/ 175260 w 130"/>
                <a:gd name="T29" fmla="*/ 194145 h 196"/>
                <a:gd name="T30" fmla="*/ 198120 w 130"/>
                <a:gd name="T31" fmla="*/ 159884 h 196"/>
                <a:gd name="T32" fmla="*/ 196215 w 130"/>
                <a:gd name="T33" fmla="*/ 152271 h 196"/>
                <a:gd name="T34" fmla="*/ 215265 w 130"/>
                <a:gd name="T35" fmla="*/ 119913 h 196"/>
                <a:gd name="T36" fmla="*/ 213360 w 130"/>
                <a:gd name="T37" fmla="*/ 112300 h 196"/>
                <a:gd name="T38" fmla="*/ 222885 w 130"/>
                <a:gd name="T39" fmla="*/ 104686 h 196"/>
                <a:gd name="T40" fmla="*/ 230505 w 130"/>
                <a:gd name="T41" fmla="*/ 85652 h 196"/>
                <a:gd name="T42" fmla="*/ 238125 w 130"/>
                <a:gd name="T43" fmla="*/ 68522 h 196"/>
                <a:gd name="T44" fmla="*/ 238125 w 130"/>
                <a:gd name="T45" fmla="*/ 47585 h 196"/>
                <a:gd name="T46" fmla="*/ 243840 w 130"/>
                <a:gd name="T47" fmla="*/ 36164 h 196"/>
                <a:gd name="T48" fmla="*/ 241935 w 130"/>
                <a:gd name="T49" fmla="*/ 19034 h 196"/>
                <a:gd name="T50" fmla="*/ 245745 w 130"/>
                <a:gd name="T51" fmla="*/ 3807 h 196"/>
                <a:gd name="T52" fmla="*/ 234315 w 130"/>
                <a:gd name="T53" fmla="*/ 0 h 196"/>
                <a:gd name="T54" fmla="*/ 228600 w 130"/>
                <a:gd name="T55" fmla="*/ 1903 h 196"/>
                <a:gd name="T56" fmla="*/ 220980 w 130"/>
                <a:gd name="T57" fmla="*/ 9517 h 196"/>
                <a:gd name="T58" fmla="*/ 201930 w 130"/>
                <a:gd name="T59" fmla="*/ 15227 h 196"/>
                <a:gd name="T60" fmla="*/ 190500 w 130"/>
                <a:gd name="T61" fmla="*/ 20937 h 196"/>
                <a:gd name="T62" fmla="*/ 179070 w 130"/>
                <a:gd name="T63" fmla="*/ 17130 h 196"/>
                <a:gd name="T64" fmla="*/ 169545 w 130"/>
                <a:gd name="T65" fmla="*/ 22841 h 196"/>
                <a:gd name="T66" fmla="*/ 152400 w 130"/>
                <a:gd name="T67" fmla="*/ 22841 h 196"/>
                <a:gd name="T68" fmla="*/ 139065 w 130"/>
                <a:gd name="T69" fmla="*/ 30454 h 196"/>
                <a:gd name="T70" fmla="*/ 121920 w 130"/>
                <a:gd name="T71" fmla="*/ 36164 h 196"/>
                <a:gd name="T72" fmla="*/ 112395 w 130"/>
                <a:gd name="T73" fmla="*/ 34261 h 196"/>
                <a:gd name="T74" fmla="*/ 93345 w 130"/>
                <a:gd name="T75" fmla="*/ 41874 h 196"/>
                <a:gd name="T76" fmla="*/ 74295 w 130"/>
                <a:gd name="T77" fmla="*/ 39971 h 196"/>
                <a:gd name="T78" fmla="*/ 64770 w 130"/>
                <a:gd name="T79" fmla="*/ 30454 h 196"/>
                <a:gd name="T80" fmla="*/ 64770 w 130"/>
                <a:gd name="T81" fmla="*/ 22841 h 196"/>
                <a:gd name="T82" fmla="*/ 55245 w 130"/>
                <a:gd name="T83" fmla="*/ 19034 h 196"/>
                <a:gd name="T84" fmla="*/ 49530 w 130"/>
                <a:gd name="T85" fmla="*/ 22841 h 196"/>
                <a:gd name="T86" fmla="*/ 43815 w 130"/>
                <a:gd name="T87" fmla="*/ 26647 h 196"/>
                <a:gd name="T88" fmla="*/ 34290 w 130"/>
                <a:gd name="T89" fmla="*/ 43778 h 196"/>
                <a:gd name="T90" fmla="*/ 49530 w 130"/>
                <a:gd name="T91" fmla="*/ 59005 h 196"/>
                <a:gd name="T92" fmla="*/ 53340 w 130"/>
                <a:gd name="T93" fmla="*/ 68522 h 196"/>
                <a:gd name="T94" fmla="*/ 64770 w 130"/>
                <a:gd name="T95" fmla="*/ 79942 h 196"/>
                <a:gd name="T96" fmla="*/ 142875 w 130"/>
                <a:gd name="T97" fmla="*/ 110396 h 196"/>
                <a:gd name="T98" fmla="*/ 165735 w 130"/>
                <a:gd name="T99" fmla="*/ 106589 h 196"/>
                <a:gd name="T100" fmla="*/ 95250 w 130"/>
                <a:gd name="T101" fmla="*/ 192242 h 196"/>
                <a:gd name="T102" fmla="*/ 68580 w 130"/>
                <a:gd name="T103" fmla="*/ 194145 h 196"/>
                <a:gd name="T104" fmla="*/ 41910 w 130"/>
                <a:gd name="T105" fmla="*/ 205565 h 196"/>
                <a:gd name="T106" fmla="*/ 17145 w 130"/>
                <a:gd name="T107" fmla="*/ 220792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4" name="Freeform 153"/>
            <p:cNvSpPr>
              <a:spLocks noChangeAspect="1"/>
            </p:cNvSpPr>
            <p:nvPr/>
          </p:nvSpPr>
          <p:spPr bwMode="auto">
            <a:xfrm>
              <a:off x="4974030" y="3523227"/>
              <a:ext cx="57662" cy="50298"/>
            </a:xfrm>
            <a:custGeom>
              <a:avLst/>
              <a:gdLst>
                <a:gd name="T0" fmla="*/ 36195 w 30"/>
                <a:gd name="T1" fmla="*/ 0 h 32"/>
                <a:gd name="T2" fmla="*/ 55245 w 30"/>
                <a:gd name="T3" fmla="*/ 17413 h 32"/>
                <a:gd name="T4" fmla="*/ 55245 w 30"/>
                <a:gd name="T5" fmla="*/ 29022 h 32"/>
                <a:gd name="T6" fmla="*/ 45720 w 30"/>
                <a:gd name="T7" fmla="*/ 44500 h 32"/>
                <a:gd name="T8" fmla="*/ 40005 w 30"/>
                <a:gd name="T9" fmla="*/ 46435 h 32"/>
                <a:gd name="T10" fmla="*/ 30480 w 30"/>
                <a:gd name="T11" fmla="*/ 46435 h 32"/>
                <a:gd name="T12" fmla="*/ 22860 w 30"/>
                <a:gd name="T13" fmla="*/ 59978 h 32"/>
                <a:gd name="T14" fmla="*/ 15240 w 30"/>
                <a:gd name="T15" fmla="*/ 59978 h 32"/>
                <a:gd name="T16" fmla="*/ 7620 w 30"/>
                <a:gd name="T17" fmla="*/ 50304 h 32"/>
                <a:gd name="T18" fmla="*/ 1905 w 30"/>
                <a:gd name="T19" fmla="*/ 40630 h 32"/>
                <a:gd name="T20" fmla="*/ 1905 w 30"/>
                <a:gd name="T21" fmla="*/ 29022 h 32"/>
                <a:gd name="T22" fmla="*/ 11430 w 30"/>
                <a:gd name="T23" fmla="*/ 23217 h 32"/>
                <a:gd name="T24" fmla="*/ 20955 w 30"/>
                <a:gd name="T25" fmla="*/ 9674 h 32"/>
                <a:gd name="T26" fmla="*/ 30480 w 30"/>
                <a:gd name="T27" fmla="*/ 5804 h 32"/>
                <a:gd name="T28" fmla="*/ 36195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5" name="Freeform 154"/>
            <p:cNvSpPr>
              <a:spLocks noChangeAspect="1"/>
            </p:cNvSpPr>
            <p:nvPr/>
          </p:nvSpPr>
          <p:spPr bwMode="auto">
            <a:xfrm>
              <a:off x="4578406" y="2089105"/>
              <a:ext cx="9610" cy="6449"/>
            </a:xfrm>
            <a:custGeom>
              <a:avLst/>
              <a:gdLst>
                <a:gd name="T0" fmla="*/ 3810 w 5"/>
                <a:gd name="T1" fmla="*/ 0 h 4"/>
                <a:gd name="T2" fmla="*/ 9525 w 5"/>
                <a:gd name="T3" fmla="*/ 3969 h 4"/>
                <a:gd name="T4" fmla="*/ 3810 w 5"/>
                <a:gd name="T5" fmla="*/ 7938 h 4"/>
                <a:gd name="T6" fmla="*/ 0 w 5"/>
                <a:gd name="T7" fmla="*/ 3969 h 4"/>
                <a:gd name="T8" fmla="*/ 3810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6" name="Freeform 155"/>
            <p:cNvSpPr>
              <a:spLocks noChangeAspect="1"/>
            </p:cNvSpPr>
            <p:nvPr/>
          </p:nvSpPr>
          <p:spPr bwMode="auto">
            <a:xfrm>
              <a:off x="5611512" y="2584341"/>
              <a:ext cx="35238" cy="10318"/>
            </a:xfrm>
            <a:custGeom>
              <a:avLst/>
              <a:gdLst>
                <a:gd name="T0" fmla="*/ 9701 w 18"/>
                <a:gd name="T1" fmla="*/ 1814 h 7"/>
                <a:gd name="T2" fmla="*/ 17463 w 18"/>
                <a:gd name="T3" fmla="*/ 5443 h 7"/>
                <a:gd name="T4" fmla="*/ 27164 w 18"/>
                <a:gd name="T5" fmla="*/ 0 h 7"/>
                <a:gd name="T6" fmla="*/ 32985 w 18"/>
                <a:gd name="T7" fmla="*/ 5443 h 7"/>
                <a:gd name="T8" fmla="*/ 21343 w 18"/>
                <a:gd name="T9" fmla="*/ 12700 h 7"/>
                <a:gd name="T10" fmla="*/ 1940 w 18"/>
                <a:gd name="T11" fmla="*/ 7257 h 7"/>
                <a:gd name="T12" fmla="*/ 9701 w 18"/>
                <a:gd name="T13" fmla="*/ 1814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5" y="1"/>
                  </a:moveTo>
                  <a:cubicBezTo>
                    <a:pt x="6" y="1"/>
                    <a:pt x="8" y="3"/>
                    <a:pt x="9" y="3"/>
                  </a:cubicBezTo>
                  <a:cubicBezTo>
                    <a:pt x="11" y="3"/>
                    <a:pt x="12" y="0"/>
                    <a:pt x="14" y="0"/>
                  </a:cubicBezTo>
                  <a:cubicBezTo>
                    <a:pt x="15" y="0"/>
                    <a:pt x="18" y="2"/>
                    <a:pt x="17" y="3"/>
                  </a:cubicBezTo>
                  <a:cubicBezTo>
                    <a:pt x="16" y="5"/>
                    <a:pt x="14" y="7"/>
                    <a:pt x="11" y="7"/>
                  </a:cubicBezTo>
                  <a:cubicBezTo>
                    <a:pt x="8" y="7"/>
                    <a:pt x="4" y="6"/>
                    <a:pt x="1" y="4"/>
                  </a:cubicBezTo>
                  <a:cubicBezTo>
                    <a:pt x="0" y="3"/>
                    <a:pt x="3"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7" name="Freeform 156"/>
            <p:cNvSpPr>
              <a:spLocks noChangeAspect="1"/>
            </p:cNvSpPr>
            <p:nvPr/>
          </p:nvSpPr>
          <p:spPr bwMode="auto">
            <a:xfrm>
              <a:off x="5278356" y="2993170"/>
              <a:ext cx="11212" cy="19345"/>
            </a:xfrm>
            <a:custGeom>
              <a:avLst/>
              <a:gdLst>
                <a:gd name="T0" fmla="*/ 3704 w 6"/>
                <a:gd name="T1" fmla="*/ 1832 h 13"/>
                <a:gd name="T2" fmla="*/ 11112 w 6"/>
                <a:gd name="T3" fmla="*/ 20149 h 13"/>
                <a:gd name="T4" fmla="*/ 1852 w 6"/>
                <a:gd name="T5" fmla="*/ 14654 h 13"/>
                <a:gd name="T6" fmla="*/ 3704 w 6"/>
                <a:gd name="T7" fmla="*/ 1832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8" name="Freeform 157"/>
            <p:cNvSpPr>
              <a:spLocks noChangeAspect="1"/>
            </p:cNvSpPr>
            <p:nvPr/>
          </p:nvSpPr>
          <p:spPr bwMode="auto">
            <a:xfrm>
              <a:off x="4523948" y="2784242"/>
              <a:ext cx="17619" cy="16766"/>
            </a:xfrm>
            <a:custGeom>
              <a:avLst/>
              <a:gdLst>
                <a:gd name="T0" fmla="*/ 15523 w 9"/>
                <a:gd name="T1" fmla="*/ 3752 h 11"/>
                <a:gd name="T2" fmla="*/ 11642 w 9"/>
                <a:gd name="T3" fmla="*/ 18761 h 11"/>
                <a:gd name="T4" fmla="*/ 1940 w 9"/>
                <a:gd name="T5" fmla="*/ 15009 h 11"/>
                <a:gd name="T6" fmla="*/ 9702 w 9"/>
                <a:gd name="T7" fmla="*/ 5628 h 11"/>
                <a:gd name="T8" fmla="*/ 15523 w 9"/>
                <a:gd name="T9" fmla="*/ 375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9" name="Freeform 158"/>
            <p:cNvSpPr>
              <a:spLocks noChangeAspect="1"/>
            </p:cNvSpPr>
            <p:nvPr/>
          </p:nvSpPr>
          <p:spPr bwMode="auto">
            <a:xfrm>
              <a:off x="4485507" y="2856465"/>
              <a:ext cx="8009" cy="9027"/>
            </a:xfrm>
            <a:custGeom>
              <a:avLst/>
              <a:gdLst>
                <a:gd name="T0" fmla="*/ 3969 w 4"/>
                <a:gd name="T1" fmla="*/ 0 h 6"/>
                <a:gd name="T2" fmla="*/ 7938 w 4"/>
                <a:gd name="T3" fmla="*/ 3704 h 6"/>
                <a:gd name="T4" fmla="*/ 3969 w 4"/>
                <a:gd name="T5" fmla="*/ 11112 h 6"/>
                <a:gd name="T6" fmla="*/ 0 w 4"/>
                <a:gd name="T7" fmla="*/ 9260 h 6"/>
                <a:gd name="T8" fmla="*/ 3969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0" name="Freeform 159"/>
            <p:cNvSpPr>
              <a:spLocks noChangeAspect="1"/>
            </p:cNvSpPr>
            <p:nvPr/>
          </p:nvSpPr>
          <p:spPr bwMode="auto">
            <a:xfrm>
              <a:off x="3972960" y="2212914"/>
              <a:ext cx="20823" cy="21925"/>
            </a:xfrm>
            <a:custGeom>
              <a:avLst/>
              <a:gdLst>
                <a:gd name="T0" fmla="*/ 20638 w 11"/>
                <a:gd name="T1" fmla="*/ 1928 h 14"/>
                <a:gd name="T2" fmla="*/ 16886 w 11"/>
                <a:gd name="T3" fmla="*/ 17349 h 14"/>
                <a:gd name="T4" fmla="*/ 3752 w 11"/>
                <a:gd name="T5" fmla="*/ 23133 h 14"/>
                <a:gd name="T6" fmla="*/ 13133 w 11"/>
                <a:gd name="T7" fmla="*/ 9639 h 14"/>
                <a:gd name="T8" fmla="*/ 16886 w 11"/>
                <a:gd name="T9" fmla="*/ 0 h 14"/>
                <a:gd name="T10" fmla="*/ 20638 w 11"/>
                <a:gd name="T11" fmla="*/ 1928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1" name="Freeform 160"/>
            <p:cNvSpPr>
              <a:spLocks noChangeAspect="1"/>
            </p:cNvSpPr>
            <p:nvPr/>
          </p:nvSpPr>
          <p:spPr bwMode="auto">
            <a:xfrm>
              <a:off x="3993783" y="2198728"/>
              <a:ext cx="14415" cy="14186"/>
            </a:xfrm>
            <a:custGeom>
              <a:avLst/>
              <a:gdLst>
                <a:gd name="T0" fmla="*/ 12501 w 8"/>
                <a:gd name="T1" fmla="*/ 3880 h 9"/>
                <a:gd name="T2" fmla="*/ 8929 w 8"/>
                <a:gd name="T3" fmla="*/ 11641 h 9"/>
                <a:gd name="T4" fmla="*/ 1786 w 8"/>
                <a:gd name="T5" fmla="*/ 15522 h 9"/>
                <a:gd name="T6" fmla="*/ 1786 w 8"/>
                <a:gd name="T7" fmla="*/ 7761 h 9"/>
                <a:gd name="T8" fmla="*/ 12501 w 8"/>
                <a:gd name="T9" fmla="*/ 388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2" name="Freeform 161"/>
            <p:cNvSpPr>
              <a:spLocks noChangeAspect="1"/>
            </p:cNvSpPr>
            <p:nvPr/>
          </p:nvSpPr>
          <p:spPr bwMode="auto">
            <a:xfrm>
              <a:off x="3945731" y="2223231"/>
              <a:ext cx="14415" cy="12897"/>
            </a:xfrm>
            <a:custGeom>
              <a:avLst/>
              <a:gdLst>
                <a:gd name="T0" fmla="*/ 12501 w 8"/>
                <a:gd name="T1" fmla="*/ 1984 h 8"/>
                <a:gd name="T2" fmla="*/ 12501 w 8"/>
                <a:gd name="T3" fmla="*/ 9922 h 8"/>
                <a:gd name="T4" fmla="*/ 7144 w 8"/>
                <a:gd name="T5" fmla="*/ 15875 h 8"/>
                <a:gd name="T6" fmla="*/ 0 w 8"/>
                <a:gd name="T7" fmla="*/ 11906 h 8"/>
                <a:gd name="T8" fmla="*/ 3572 w 8"/>
                <a:gd name="T9" fmla="*/ 1984 h 8"/>
                <a:gd name="T10" fmla="*/ 12501 w 8"/>
                <a:gd name="T11" fmla="*/ 198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3" name="Freeform 162"/>
            <p:cNvSpPr>
              <a:spLocks noChangeAspect="1"/>
            </p:cNvSpPr>
            <p:nvPr/>
          </p:nvSpPr>
          <p:spPr bwMode="auto">
            <a:xfrm>
              <a:off x="3920103" y="2215493"/>
              <a:ext cx="20822" cy="15476"/>
            </a:xfrm>
            <a:custGeom>
              <a:avLst/>
              <a:gdLst>
                <a:gd name="T0" fmla="*/ 20637 w 11"/>
                <a:gd name="T1" fmla="*/ 3810 h 10"/>
                <a:gd name="T2" fmla="*/ 7504 w 11"/>
                <a:gd name="T3" fmla="*/ 19050 h 10"/>
                <a:gd name="T4" fmla="*/ 1876 w 11"/>
                <a:gd name="T5" fmla="*/ 13335 h 10"/>
                <a:gd name="T6" fmla="*/ 1876 w 11"/>
                <a:gd name="T7" fmla="*/ 7620 h 10"/>
                <a:gd name="T8" fmla="*/ 13133 w 11"/>
                <a:gd name="T9" fmla="*/ 1905 h 10"/>
                <a:gd name="T10" fmla="*/ 20637 w 11"/>
                <a:gd name="T11" fmla="*/ 381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4" name="Freeform 163"/>
            <p:cNvSpPr>
              <a:spLocks noChangeAspect="1"/>
            </p:cNvSpPr>
            <p:nvPr/>
          </p:nvSpPr>
          <p:spPr bwMode="auto">
            <a:xfrm>
              <a:off x="3908890" y="2224521"/>
              <a:ext cx="11213" cy="7738"/>
            </a:xfrm>
            <a:custGeom>
              <a:avLst/>
              <a:gdLst>
                <a:gd name="T0" fmla="*/ 1852 w 6"/>
                <a:gd name="T1" fmla="*/ 1905 h 5"/>
                <a:gd name="T2" fmla="*/ 11113 w 6"/>
                <a:gd name="T3" fmla="*/ 5715 h 5"/>
                <a:gd name="T4" fmla="*/ 5557 w 6"/>
                <a:gd name="T5" fmla="*/ 7620 h 5"/>
                <a:gd name="T6" fmla="*/ 1852 w 6"/>
                <a:gd name="T7" fmla="*/ 190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3" y="0"/>
                    <a:pt x="5" y="1"/>
                    <a:pt x="6" y="3"/>
                  </a:cubicBezTo>
                  <a:cubicBezTo>
                    <a:pt x="6" y="4"/>
                    <a:pt x="4" y="5"/>
                    <a:pt x="3" y="4"/>
                  </a:cubicBezTo>
                  <a:cubicBezTo>
                    <a:pt x="2" y="4"/>
                    <a:pt x="0" y="2"/>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5" name="Freeform 164"/>
            <p:cNvSpPr>
              <a:spLocks noChangeAspect="1"/>
            </p:cNvSpPr>
            <p:nvPr/>
          </p:nvSpPr>
          <p:spPr bwMode="auto">
            <a:xfrm>
              <a:off x="3892874" y="2234839"/>
              <a:ext cx="9610" cy="9027"/>
            </a:xfrm>
            <a:custGeom>
              <a:avLst/>
              <a:gdLst>
                <a:gd name="T0" fmla="*/ 7620 w 5"/>
                <a:gd name="T1" fmla="*/ 0 h 6"/>
                <a:gd name="T2" fmla="*/ 5715 w 5"/>
                <a:gd name="T3" fmla="*/ 9260 h 6"/>
                <a:gd name="T4" fmla="*/ 1905 w 5"/>
                <a:gd name="T5" fmla="*/ 3704 h 6"/>
                <a:gd name="T6" fmla="*/ 762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4" y="0"/>
                  </a:moveTo>
                  <a:cubicBezTo>
                    <a:pt x="5" y="2"/>
                    <a:pt x="4" y="4"/>
                    <a:pt x="3" y="5"/>
                  </a:cubicBezTo>
                  <a:cubicBezTo>
                    <a:pt x="2" y="6"/>
                    <a:pt x="0" y="3"/>
                    <a:pt x="1" y="2"/>
                  </a:cubicBezTo>
                  <a:cubicBezTo>
                    <a:pt x="1" y="1"/>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6" name="Freeform 165"/>
            <p:cNvSpPr>
              <a:spLocks noChangeAspect="1"/>
            </p:cNvSpPr>
            <p:nvPr/>
          </p:nvSpPr>
          <p:spPr bwMode="auto">
            <a:xfrm>
              <a:off x="3896076" y="2207755"/>
              <a:ext cx="6407" cy="11608"/>
            </a:xfrm>
            <a:custGeom>
              <a:avLst/>
              <a:gdLst>
                <a:gd name="T0" fmla="*/ 6350 w 4"/>
                <a:gd name="T1" fmla="*/ 4082 h 7"/>
                <a:gd name="T2" fmla="*/ 4762 w 4"/>
                <a:gd name="T3" fmla="*/ 14288 h 7"/>
                <a:gd name="T4" fmla="*/ 1588 w 4"/>
                <a:gd name="T5" fmla="*/ 8165 h 7"/>
                <a:gd name="T6" fmla="*/ 1588 w 4"/>
                <a:gd name="T7" fmla="*/ 2041 h 7"/>
                <a:gd name="T8" fmla="*/ 6350 w 4"/>
                <a:gd name="T9" fmla="*/ 4082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2"/>
                  </a:moveTo>
                  <a:cubicBezTo>
                    <a:pt x="4" y="4"/>
                    <a:pt x="4" y="6"/>
                    <a:pt x="3" y="7"/>
                  </a:cubicBezTo>
                  <a:cubicBezTo>
                    <a:pt x="2" y="7"/>
                    <a:pt x="1" y="5"/>
                    <a:pt x="1" y="4"/>
                  </a:cubicBezTo>
                  <a:cubicBezTo>
                    <a:pt x="0" y="3"/>
                    <a:pt x="0" y="1"/>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7" name="Freeform 166"/>
            <p:cNvSpPr>
              <a:spLocks noChangeAspect="1"/>
            </p:cNvSpPr>
            <p:nvPr/>
          </p:nvSpPr>
          <p:spPr bwMode="auto">
            <a:xfrm>
              <a:off x="3916900" y="2113609"/>
              <a:ext cx="14415" cy="6448"/>
            </a:xfrm>
            <a:custGeom>
              <a:avLst/>
              <a:gdLst>
                <a:gd name="T0" fmla="*/ 5358 w 8"/>
                <a:gd name="T1" fmla="*/ 0 h 4"/>
                <a:gd name="T2" fmla="*/ 14287 w 8"/>
                <a:gd name="T3" fmla="*/ 3969 h 4"/>
                <a:gd name="T4" fmla="*/ 7144 w 8"/>
                <a:gd name="T5" fmla="*/ 7937 h 4"/>
                <a:gd name="T6" fmla="*/ 0 w 8"/>
                <a:gd name="T7" fmla="*/ 3969 h 4"/>
                <a:gd name="T8" fmla="*/ 5358 w 8"/>
                <a:gd name="T9" fmla="*/ 0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3" y="0"/>
                  </a:moveTo>
                  <a:cubicBezTo>
                    <a:pt x="5" y="0"/>
                    <a:pt x="7" y="0"/>
                    <a:pt x="8" y="2"/>
                  </a:cubicBezTo>
                  <a:cubicBezTo>
                    <a:pt x="8" y="4"/>
                    <a:pt x="5" y="4"/>
                    <a:pt x="4" y="4"/>
                  </a:cubicBezTo>
                  <a:cubicBezTo>
                    <a:pt x="2" y="4"/>
                    <a:pt x="0" y="4"/>
                    <a:pt x="0" y="2"/>
                  </a:cubicBezTo>
                  <a:cubicBezTo>
                    <a:pt x="0" y="1"/>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8" name="Freeform 167"/>
            <p:cNvSpPr>
              <a:spLocks noChangeAspect="1"/>
            </p:cNvSpPr>
            <p:nvPr/>
          </p:nvSpPr>
          <p:spPr bwMode="auto">
            <a:xfrm>
              <a:off x="5587485" y="2595949"/>
              <a:ext cx="9610" cy="3868"/>
            </a:xfrm>
            <a:custGeom>
              <a:avLst/>
              <a:gdLst>
                <a:gd name="T0" fmla="*/ 5715 w 5"/>
                <a:gd name="T1" fmla="*/ 2381 h 2"/>
                <a:gd name="T2" fmla="*/ 7620 w 5"/>
                <a:gd name="T3" fmla="*/ 4762 h 2"/>
                <a:gd name="T4" fmla="*/ 3810 w 5"/>
                <a:gd name="T5" fmla="*/ 4762 h 2"/>
                <a:gd name="T6" fmla="*/ 0 w 5"/>
                <a:gd name="T7" fmla="*/ 2381 h 2"/>
                <a:gd name="T8" fmla="*/ 5715 w 5"/>
                <a:gd name="T9" fmla="*/ 2381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9" name="Freeform 168"/>
            <p:cNvSpPr>
              <a:spLocks noChangeAspect="1"/>
            </p:cNvSpPr>
            <p:nvPr/>
          </p:nvSpPr>
          <p:spPr bwMode="auto">
            <a:xfrm>
              <a:off x="6748727" y="2719758"/>
              <a:ext cx="1601" cy="6448"/>
            </a:xfrm>
            <a:custGeom>
              <a:avLst/>
              <a:gdLst>
                <a:gd name="T0" fmla="*/ 1587 w 1"/>
                <a:gd name="T1" fmla="*/ 5953 h 4"/>
                <a:gd name="T2" fmla="*/ 0 w 1"/>
                <a:gd name="T3" fmla="*/ 7937 h 4"/>
                <a:gd name="T4" fmla="*/ 0 w 1"/>
                <a:gd name="T5" fmla="*/ 3969 h 4"/>
                <a:gd name="T6" fmla="*/ 0 w 1"/>
                <a:gd name="T7" fmla="*/ 0 h 4"/>
                <a:gd name="T8" fmla="*/ 1587 w 1"/>
                <a:gd name="T9" fmla="*/ 5953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0" y="4"/>
                  </a:cubicBezTo>
                  <a:cubicBezTo>
                    <a:pt x="0" y="4"/>
                    <a:pt x="0" y="3"/>
                    <a:pt x="0" y="2"/>
                  </a:cubicBezTo>
                  <a:cubicBezTo>
                    <a:pt x="0" y="2"/>
                    <a:pt x="0" y="0"/>
                    <a:pt x="0"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0" name="Freeform 169"/>
            <p:cNvSpPr>
              <a:spLocks noChangeAspect="1"/>
            </p:cNvSpPr>
            <p:nvPr/>
          </p:nvSpPr>
          <p:spPr bwMode="auto">
            <a:xfrm>
              <a:off x="6703879" y="2575314"/>
              <a:ext cx="1601" cy="5158"/>
            </a:xfrm>
            <a:custGeom>
              <a:avLst/>
              <a:gdLst>
                <a:gd name="T0" fmla="*/ 1587 w 1"/>
                <a:gd name="T1" fmla="*/ 4762 h 4"/>
                <a:gd name="T2" fmla="*/ 1587 w 1"/>
                <a:gd name="T3" fmla="*/ 6350 h 4"/>
                <a:gd name="T4" fmla="*/ 0 w 1"/>
                <a:gd name="T5" fmla="*/ 3175 h 4"/>
                <a:gd name="T6" fmla="*/ 0 w 1"/>
                <a:gd name="T7" fmla="*/ 0 h 4"/>
                <a:gd name="T8" fmla="*/ 1587 w 1"/>
                <a:gd name="T9" fmla="*/ 4762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1" y="4"/>
                  </a:cubicBezTo>
                  <a:cubicBezTo>
                    <a:pt x="0" y="4"/>
                    <a:pt x="0" y="3"/>
                    <a:pt x="0" y="2"/>
                  </a:cubicBezTo>
                  <a:cubicBezTo>
                    <a:pt x="0" y="1"/>
                    <a:pt x="0" y="0"/>
                    <a:pt x="0"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1" name="Freeform 170"/>
            <p:cNvSpPr>
              <a:spLocks noChangeAspect="1"/>
            </p:cNvSpPr>
            <p:nvPr/>
          </p:nvSpPr>
          <p:spPr bwMode="auto">
            <a:xfrm>
              <a:off x="6700675" y="2606267"/>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3"/>
                    <a:pt x="0" y="3"/>
                  </a:cubicBezTo>
                  <a:cubicBezTo>
                    <a:pt x="0" y="2"/>
                    <a:pt x="1"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2" name="Freeform 171"/>
            <p:cNvSpPr>
              <a:spLocks noChangeAspect="1"/>
            </p:cNvSpPr>
            <p:nvPr/>
          </p:nvSpPr>
          <p:spPr bwMode="auto">
            <a:xfrm>
              <a:off x="6703879" y="2625612"/>
              <a:ext cx="4805" cy="7738"/>
            </a:xfrm>
            <a:custGeom>
              <a:avLst/>
              <a:gdLst>
                <a:gd name="T0" fmla="*/ 4762 w 2"/>
                <a:gd name="T1" fmla="*/ 5715 h 5"/>
                <a:gd name="T2" fmla="*/ 4762 w 2"/>
                <a:gd name="T3" fmla="*/ 9525 h 5"/>
                <a:gd name="T4" fmla="*/ 2381 w 2"/>
                <a:gd name="T5" fmla="*/ 5715 h 5"/>
                <a:gd name="T6" fmla="*/ 2381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2" y="5"/>
                  </a:cubicBezTo>
                  <a:cubicBezTo>
                    <a:pt x="1" y="4"/>
                    <a:pt x="1" y="3"/>
                    <a:pt x="1" y="3"/>
                  </a:cubicBezTo>
                  <a:cubicBezTo>
                    <a:pt x="1"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3" name="Freeform 172"/>
            <p:cNvSpPr>
              <a:spLocks noChangeAspect="1"/>
            </p:cNvSpPr>
            <p:nvPr/>
          </p:nvSpPr>
          <p:spPr bwMode="auto">
            <a:xfrm>
              <a:off x="6705480" y="2644957"/>
              <a:ext cx="6407" cy="7738"/>
            </a:xfrm>
            <a:custGeom>
              <a:avLst/>
              <a:gdLst>
                <a:gd name="T0" fmla="*/ 4233 w 3"/>
                <a:gd name="T1" fmla="*/ 5715 h 5"/>
                <a:gd name="T2" fmla="*/ 0 w 3"/>
                <a:gd name="T3" fmla="*/ 9525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5"/>
                  </a:cubicBezTo>
                  <a:cubicBezTo>
                    <a:pt x="0" y="4"/>
                    <a:pt x="0" y="3"/>
                    <a:pt x="0" y="2"/>
                  </a:cubicBezTo>
                  <a:cubicBezTo>
                    <a:pt x="1" y="2"/>
                    <a:pt x="2" y="0"/>
                    <a:pt x="2" y="0"/>
                  </a:cubicBezTo>
                  <a:cubicBezTo>
                    <a:pt x="3"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4" name="Freeform 173"/>
            <p:cNvSpPr>
              <a:spLocks noChangeAspect="1"/>
            </p:cNvSpPr>
            <p:nvPr/>
          </p:nvSpPr>
          <p:spPr bwMode="auto">
            <a:xfrm>
              <a:off x="6705480" y="2585632"/>
              <a:ext cx="4806" cy="7738"/>
            </a:xfrm>
            <a:custGeom>
              <a:avLst/>
              <a:gdLst>
                <a:gd name="T0" fmla="*/ 4763 w 2"/>
                <a:gd name="T1" fmla="*/ 5715 h 5"/>
                <a:gd name="T2" fmla="*/ 2382 w 2"/>
                <a:gd name="T3" fmla="*/ 9525 h 5"/>
                <a:gd name="T4" fmla="*/ 0 w 2"/>
                <a:gd name="T5" fmla="*/ 5715 h 5"/>
                <a:gd name="T6" fmla="*/ 2382 w 2"/>
                <a:gd name="T7" fmla="*/ 1905 h 5"/>
                <a:gd name="T8" fmla="*/ 4763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5" name="Freeform 174"/>
            <p:cNvSpPr>
              <a:spLocks noChangeAspect="1"/>
            </p:cNvSpPr>
            <p:nvPr/>
          </p:nvSpPr>
          <p:spPr bwMode="auto">
            <a:xfrm>
              <a:off x="6569335" y="2564996"/>
              <a:ext cx="8008" cy="15476"/>
            </a:xfrm>
            <a:custGeom>
              <a:avLst/>
              <a:gdLst>
                <a:gd name="T0" fmla="*/ 5953 w 4"/>
                <a:gd name="T1" fmla="*/ 11430 h 10"/>
                <a:gd name="T2" fmla="*/ 1984 w 4"/>
                <a:gd name="T3" fmla="*/ 17145 h 10"/>
                <a:gd name="T4" fmla="*/ 1984 w 4"/>
                <a:gd name="T5" fmla="*/ 9525 h 10"/>
                <a:gd name="T6" fmla="*/ 5953 w 4"/>
                <a:gd name="T7" fmla="*/ 1905 h 10"/>
                <a:gd name="T8" fmla="*/ 5953 w 4"/>
                <a:gd name="T9" fmla="*/ 1143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6" name="Freeform 175"/>
            <p:cNvSpPr>
              <a:spLocks noChangeAspect="1"/>
            </p:cNvSpPr>
            <p:nvPr/>
          </p:nvSpPr>
          <p:spPr bwMode="auto">
            <a:xfrm>
              <a:off x="6567732" y="2580473"/>
              <a:ext cx="8009" cy="18056"/>
            </a:xfrm>
            <a:custGeom>
              <a:avLst/>
              <a:gdLst>
                <a:gd name="T0" fmla="*/ 5953 w 4"/>
                <a:gd name="T1" fmla="*/ 14143 h 11"/>
                <a:gd name="T2" fmla="*/ 1985 w 4"/>
                <a:gd name="T3" fmla="*/ 20205 h 11"/>
                <a:gd name="T4" fmla="*/ 1985 w 4"/>
                <a:gd name="T5" fmla="*/ 12123 h 11"/>
                <a:gd name="T6" fmla="*/ 5953 w 4"/>
                <a:gd name="T7" fmla="*/ 2020 h 11"/>
                <a:gd name="T8" fmla="*/ 5953 w 4"/>
                <a:gd name="T9" fmla="*/ 14143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7" name="Freeform 176"/>
            <p:cNvSpPr>
              <a:spLocks noChangeAspect="1"/>
            </p:cNvSpPr>
            <p:nvPr/>
          </p:nvSpPr>
          <p:spPr bwMode="auto">
            <a:xfrm>
              <a:off x="6567732" y="2601108"/>
              <a:ext cx="3203" cy="15476"/>
            </a:xfrm>
            <a:custGeom>
              <a:avLst/>
              <a:gdLst>
                <a:gd name="T0" fmla="*/ 3175 w 2"/>
                <a:gd name="T1" fmla="*/ 13335 h 10"/>
                <a:gd name="T2" fmla="*/ 1588 w 2"/>
                <a:gd name="T3" fmla="*/ 19050 h 10"/>
                <a:gd name="T4" fmla="*/ 0 w 2"/>
                <a:gd name="T5" fmla="*/ 9525 h 10"/>
                <a:gd name="T6" fmla="*/ 1588 w 2"/>
                <a:gd name="T7" fmla="*/ 1905 h 10"/>
                <a:gd name="T8" fmla="*/ 3175 w 2"/>
                <a:gd name="T9" fmla="*/ 13335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8" name="Freeform 177"/>
            <p:cNvSpPr>
              <a:spLocks noChangeAspect="1"/>
            </p:cNvSpPr>
            <p:nvPr/>
          </p:nvSpPr>
          <p:spPr bwMode="auto">
            <a:xfrm>
              <a:off x="5345628" y="2521148"/>
              <a:ext cx="6407" cy="2579"/>
            </a:xfrm>
            <a:custGeom>
              <a:avLst/>
              <a:gdLst>
                <a:gd name="T0" fmla="*/ 3175 w 4"/>
                <a:gd name="T1" fmla="*/ 0 h 2"/>
                <a:gd name="T2" fmla="*/ 4762 w 4"/>
                <a:gd name="T3" fmla="*/ 1588 h 2"/>
                <a:gd name="T4" fmla="*/ 3175 w 4"/>
                <a:gd name="T5" fmla="*/ 3175 h 2"/>
                <a:gd name="T6" fmla="*/ 0 w 4"/>
                <a:gd name="T7" fmla="*/ 1588 h 2"/>
                <a:gd name="T8" fmla="*/ 3175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3" y="1"/>
                  </a:cubicBezTo>
                  <a:cubicBezTo>
                    <a:pt x="3" y="2"/>
                    <a:pt x="3" y="2"/>
                    <a:pt x="2" y="2"/>
                  </a:cubicBezTo>
                  <a:cubicBezTo>
                    <a:pt x="1" y="2"/>
                    <a:pt x="0" y="2"/>
                    <a:pt x="0" y="1"/>
                  </a:cubicBezTo>
                  <a:cubicBezTo>
                    <a:pt x="1"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9" name="Freeform 178"/>
            <p:cNvSpPr>
              <a:spLocks noChangeAspect="1"/>
            </p:cNvSpPr>
            <p:nvPr/>
          </p:nvSpPr>
          <p:spPr bwMode="auto">
            <a:xfrm>
              <a:off x="6527690" y="2361228"/>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0" name="Freeform 179"/>
            <p:cNvSpPr>
              <a:spLocks noChangeAspect="1"/>
            </p:cNvSpPr>
            <p:nvPr/>
          </p:nvSpPr>
          <p:spPr bwMode="auto">
            <a:xfrm>
              <a:off x="6516477" y="2356069"/>
              <a:ext cx="3203" cy="5158"/>
            </a:xfrm>
            <a:custGeom>
              <a:avLst/>
              <a:gdLst>
                <a:gd name="T0" fmla="*/ 3175 w 2"/>
                <a:gd name="T1" fmla="*/ 4233 h 3"/>
                <a:gd name="T2" fmla="*/ 1588 w 2"/>
                <a:gd name="T3" fmla="*/ 6350 h 3"/>
                <a:gd name="T4" fmla="*/ 0 w 2"/>
                <a:gd name="T5" fmla="*/ 4233 h 3"/>
                <a:gd name="T6" fmla="*/ 0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1" name="Freeform 180"/>
            <p:cNvSpPr>
              <a:spLocks noChangeAspect="1"/>
            </p:cNvSpPr>
            <p:nvPr/>
          </p:nvSpPr>
          <p:spPr bwMode="auto">
            <a:xfrm>
              <a:off x="6518080" y="2363807"/>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2" name="Freeform 181"/>
            <p:cNvSpPr>
              <a:spLocks noChangeAspect="1"/>
            </p:cNvSpPr>
            <p:nvPr/>
          </p:nvSpPr>
          <p:spPr bwMode="auto">
            <a:xfrm>
              <a:off x="6506867" y="2356069"/>
              <a:ext cx="6407" cy="12897"/>
            </a:xfrm>
            <a:custGeom>
              <a:avLst/>
              <a:gdLst>
                <a:gd name="T0" fmla="*/ 4762 w 4"/>
                <a:gd name="T1" fmla="*/ 7938 h 8"/>
                <a:gd name="T2" fmla="*/ 4762 w 4"/>
                <a:gd name="T3" fmla="*/ 15875 h 8"/>
                <a:gd name="T4" fmla="*/ 1588 w 4"/>
                <a:gd name="T5" fmla="*/ 9922 h 8"/>
                <a:gd name="T6" fmla="*/ 1588 w 4"/>
                <a:gd name="T7" fmla="*/ 0 h 8"/>
                <a:gd name="T8" fmla="*/ 4762 w 4"/>
                <a:gd name="T9" fmla="*/ 7938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3" name="Oval 182"/>
            <p:cNvSpPr>
              <a:spLocks noChangeAspect="1" noChangeArrowheads="1"/>
            </p:cNvSpPr>
            <p:nvPr/>
          </p:nvSpPr>
          <p:spPr bwMode="auto">
            <a:xfrm>
              <a:off x="5608308" y="2598528"/>
              <a:ext cx="6407"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4" name="Oval 183"/>
            <p:cNvSpPr>
              <a:spLocks noChangeAspect="1" noChangeArrowheads="1"/>
            </p:cNvSpPr>
            <p:nvPr/>
          </p:nvSpPr>
          <p:spPr bwMode="auto">
            <a:xfrm>
              <a:off x="6710286" y="2691384"/>
              <a:ext cx="3203"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5" name="Freeform 184"/>
            <p:cNvSpPr>
              <a:spLocks noChangeAspect="1"/>
            </p:cNvSpPr>
            <p:nvPr/>
          </p:nvSpPr>
          <p:spPr bwMode="auto">
            <a:xfrm>
              <a:off x="6695870" y="2593370"/>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1" y="0"/>
                    <a:pt x="1" y="0"/>
                  </a:cubicBezTo>
                  <a:cubicBezTo>
                    <a:pt x="2" y="0"/>
                    <a:pt x="3" y="0"/>
                    <a:pt x="3"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6" name="Freeform 185"/>
            <p:cNvSpPr>
              <a:spLocks noChangeAspect="1"/>
            </p:cNvSpPr>
            <p:nvPr/>
          </p:nvSpPr>
          <p:spPr bwMode="auto">
            <a:xfrm>
              <a:off x="6705480" y="2607556"/>
              <a:ext cx="4806" cy="3869"/>
            </a:xfrm>
            <a:custGeom>
              <a:avLst/>
              <a:gdLst>
                <a:gd name="T0" fmla="*/ 4763 w 2"/>
                <a:gd name="T1" fmla="*/ 3175 h 3"/>
                <a:gd name="T2" fmla="*/ 2382 w 2"/>
                <a:gd name="T3" fmla="*/ 3175 h 3"/>
                <a:gd name="T4" fmla="*/ 0 w 2"/>
                <a:gd name="T5" fmla="*/ 1588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2"/>
                  </a:cubicBezTo>
                  <a:cubicBezTo>
                    <a:pt x="1" y="2"/>
                    <a:pt x="0" y="2"/>
                    <a:pt x="0" y="1"/>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7" name="Freeform 186"/>
            <p:cNvSpPr>
              <a:spLocks noChangeAspect="1"/>
            </p:cNvSpPr>
            <p:nvPr/>
          </p:nvSpPr>
          <p:spPr bwMode="auto">
            <a:xfrm>
              <a:off x="6710286" y="2619163"/>
              <a:ext cx="3203" cy="5158"/>
            </a:xfrm>
            <a:custGeom>
              <a:avLst/>
              <a:gdLst>
                <a:gd name="T0" fmla="*/ 1588 w 2"/>
                <a:gd name="T1" fmla="*/ 4233 h 3"/>
                <a:gd name="T2" fmla="*/ 1588 w 2"/>
                <a:gd name="T3" fmla="*/ 6350 h 3"/>
                <a:gd name="T4" fmla="*/ 0 w 2"/>
                <a:gd name="T5" fmla="*/ 4233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8" name="Freeform 187"/>
            <p:cNvSpPr>
              <a:spLocks noChangeAspect="1"/>
            </p:cNvSpPr>
            <p:nvPr/>
          </p:nvSpPr>
          <p:spPr bwMode="auto">
            <a:xfrm>
              <a:off x="6700675" y="2598528"/>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0"/>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9" name="Freeform 188"/>
            <p:cNvSpPr>
              <a:spLocks noChangeAspect="1"/>
            </p:cNvSpPr>
            <p:nvPr/>
          </p:nvSpPr>
          <p:spPr bwMode="auto">
            <a:xfrm>
              <a:off x="6703879" y="2641088"/>
              <a:ext cx="4805" cy="3869"/>
            </a:xfrm>
            <a:custGeom>
              <a:avLst/>
              <a:gdLst>
                <a:gd name="T0" fmla="*/ 2381 w 2"/>
                <a:gd name="T1" fmla="*/ 2382 h 2"/>
                <a:gd name="T2" fmla="*/ 2381 w 2"/>
                <a:gd name="T3" fmla="*/ 4763 h 2"/>
                <a:gd name="T4" fmla="*/ 0 w 2"/>
                <a:gd name="T5" fmla="*/ 2382 h 2"/>
                <a:gd name="T6" fmla="*/ 2381 w 2"/>
                <a:gd name="T7" fmla="*/ 0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1" y="2"/>
                  </a:cubicBezTo>
                  <a:cubicBezTo>
                    <a:pt x="0" y="2"/>
                    <a:pt x="0" y="2"/>
                    <a:pt x="0" y="1"/>
                  </a:cubicBezTo>
                  <a:cubicBezTo>
                    <a:pt x="0" y="1"/>
                    <a:pt x="0" y="0"/>
                    <a:pt x="1" y="0"/>
                  </a:cubicBezTo>
                  <a:cubicBezTo>
                    <a:pt x="2"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0" name="Freeform 189"/>
            <p:cNvSpPr>
              <a:spLocks noChangeAspect="1"/>
            </p:cNvSpPr>
            <p:nvPr/>
          </p:nvSpPr>
          <p:spPr bwMode="auto">
            <a:xfrm>
              <a:off x="6593360" y="2691384"/>
              <a:ext cx="4806" cy="3868"/>
            </a:xfrm>
            <a:custGeom>
              <a:avLst/>
              <a:gdLst>
                <a:gd name="T0" fmla="*/ 3175 w 3"/>
                <a:gd name="T1" fmla="*/ 3175 h 3"/>
                <a:gd name="T2" fmla="*/ 3175 w 3"/>
                <a:gd name="T3" fmla="*/ 4762 h 3"/>
                <a:gd name="T4" fmla="*/ 1588 w 3"/>
                <a:gd name="T5" fmla="*/ 3175 h 3"/>
                <a:gd name="T6" fmla="*/ 1588 w 3"/>
                <a:gd name="T7" fmla="*/ 0 h 3"/>
                <a:gd name="T8" fmla="*/ 3175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2" y="3"/>
                    <a:pt x="2" y="3"/>
                  </a:cubicBezTo>
                  <a:cubicBezTo>
                    <a:pt x="1" y="3"/>
                    <a:pt x="1" y="2"/>
                    <a:pt x="1"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1" name="Freeform 190"/>
            <p:cNvSpPr>
              <a:spLocks noChangeAspect="1"/>
            </p:cNvSpPr>
            <p:nvPr/>
          </p:nvSpPr>
          <p:spPr bwMode="auto">
            <a:xfrm>
              <a:off x="6585352" y="2684936"/>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2" name="Freeform 191"/>
            <p:cNvSpPr>
              <a:spLocks noChangeAspect="1"/>
            </p:cNvSpPr>
            <p:nvPr/>
          </p:nvSpPr>
          <p:spPr bwMode="auto">
            <a:xfrm>
              <a:off x="6596563" y="2704282"/>
              <a:ext cx="3203" cy="5158"/>
            </a:xfrm>
            <a:custGeom>
              <a:avLst/>
              <a:gdLst>
                <a:gd name="T0" fmla="*/ 1588 w 2"/>
                <a:gd name="T1" fmla="*/ 4233 h 3"/>
                <a:gd name="T2" fmla="*/ 0 w 2"/>
                <a:gd name="T3" fmla="*/ 6350 h 3"/>
                <a:gd name="T4" fmla="*/ 0 w 2"/>
                <a:gd name="T5" fmla="*/ 2117 h 3"/>
                <a:gd name="T6" fmla="*/ 1588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3"/>
                  </a:cubicBezTo>
                  <a:cubicBezTo>
                    <a:pt x="0" y="2"/>
                    <a:pt x="0" y="2"/>
                    <a:pt x="0" y="1"/>
                  </a:cubicBezTo>
                  <a:cubicBezTo>
                    <a:pt x="0" y="1"/>
                    <a:pt x="1" y="0"/>
                    <a:pt x="1" y="1"/>
                  </a:cubicBezTo>
                  <a:cubicBezTo>
                    <a:pt x="2"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3" name="Freeform 192"/>
            <p:cNvSpPr>
              <a:spLocks noChangeAspect="1"/>
            </p:cNvSpPr>
            <p:nvPr/>
          </p:nvSpPr>
          <p:spPr bwMode="auto">
            <a:xfrm>
              <a:off x="6574139" y="2663013"/>
              <a:ext cx="1602" cy="2579"/>
            </a:xfrm>
            <a:custGeom>
              <a:avLst/>
              <a:gdLst>
                <a:gd name="T0" fmla="*/ 1588 w 1"/>
                <a:gd name="T1" fmla="*/ 1588 h 2"/>
                <a:gd name="T2" fmla="*/ 1588 w 1"/>
                <a:gd name="T3" fmla="*/ 3175 h 2"/>
                <a:gd name="T4" fmla="*/ 0 w 1"/>
                <a:gd name="T5" fmla="*/ 1588 h 2"/>
                <a:gd name="T6" fmla="*/ 0 w 1"/>
                <a:gd name="T7" fmla="*/ 0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1" y="2"/>
                  </a:cubicBezTo>
                  <a:cubicBezTo>
                    <a:pt x="0" y="2"/>
                    <a:pt x="0" y="2"/>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4" name="Freeform 193"/>
            <p:cNvSpPr>
              <a:spLocks noChangeAspect="1"/>
            </p:cNvSpPr>
            <p:nvPr/>
          </p:nvSpPr>
          <p:spPr bwMode="auto">
            <a:xfrm>
              <a:off x="6598165" y="2684936"/>
              <a:ext cx="6407" cy="9029"/>
            </a:xfrm>
            <a:custGeom>
              <a:avLst/>
              <a:gdLst>
                <a:gd name="T0" fmla="*/ 4233 w 3"/>
                <a:gd name="T1" fmla="*/ 5557 h 6"/>
                <a:gd name="T2" fmla="*/ 4233 w 3"/>
                <a:gd name="T3" fmla="*/ 9261 h 6"/>
                <a:gd name="T4" fmla="*/ 2117 w 3"/>
                <a:gd name="T5" fmla="*/ 7409 h 6"/>
                <a:gd name="T6" fmla="*/ 2117 w 3"/>
                <a:gd name="T7" fmla="*/ 1852 h 6"/>
                <a:gd name="T8" fmla="*/ 4233 w 3"/>
                <a:gd name="T9" fmla="*/ 5557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3"/>
                  </a:moveTo>
                  <a:cubicBezTo>
                    <a:pt x="3" y="4"/>
                    <a:pt x="3" y="5"/>
                    <a:pt x="2" y="5"/>
                  </a:cubicBezTo>
                  <a:cubicBezTo>
                    <a:pt x="2" y="6"/>
                    <a:pt x="1" y="4"/>
                    <a:pt x="1" y="4"/>
                  </a:cubicBezTo>
                  <a:cubicBezTo>
                    <a:pt x="1" y="3"/>
                    <a:pt x="0" y="1"/>
                    <a:pt x="1" y="1"/>
                  </a:cubicBezTo>
                  <a:cubicBezTo>
                    <a:pt x="1"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5" name="Freeform 194"/>
            <p:cNvSpPr>
              <a:spLocks noChangeAspect="1"/>
            </p:cNvSpPr>
            <p:nvPr/>
          </p:nvSpPr>
          <p:spPr bwMode="auto">
            <a:xfrm>
              <a:off x="6567732" y="2626902"/>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4"/>
                  </a:cubicBezTo>
                  <a:cubicBezTo>
                    <a:pt x="0" y="4"/>
                    <a:pt x="0" y="3"/>
                    <a:pt x="0" y="2"/>
                  </a:cubicBezTo>
                  <a:cubicBezTo>
                    <a:pt x="0" y="2"/>
                    <a:pt x="0" y="0"/>
                    <a:pt x="1"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6" name="Freeform 195"/>
            <p:cNvSpPr>
              <a:spLocks noChangeAspect="1"/>
            </p:cNvSpPr>
            <p:nvPr/>
          </p:nvSpPr>
          <p:spPr bwMode="auto">
            <a:xfrm>
              <a:off x="6577344" y="2599818"/>
              <a:ext cx="8009" cy="6449"/>
            </a:xfrm>
            <a:custGeom>
              <a:avLst/>
              <a:gdLst>
                <a:gd name="T0" fmla="*/ 5953 w 4"/>
                <a:gd name="T1" fmla="*/ 3969 h 4"/>
                <a:gd name="T2" fmla="*/ 5953 w 4"/>
                <a:gd name="T3" fmla="*/ 5953 h 4"/>
                <a:gd name="T4" fmla="*/ 1985 w 4"/>
                <a:gd name="T5" fmla="*/ 5953 h 4"/>
                <a:gd name="T6" fmla="*/ 1985 w 4"/>
                <a:gd name="T7" fmla="*/ 1985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1" y="3"/>
                  </a:cubicBezTo>
                  <a:cubicBezTo>
                    <a:pt x="1" y="3"/>
                    <a:pt x="0" y="2"/>
                    <a:pt x="1"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7" name="Freeform 196"/>
            <p:cNvSpPr>
              <a:spLocks noChangeAspect="1"/>
            </p:cNvSpPr>
            <p:nvPr/>
          </p:nvSpPr>
          <p:spPr bwMode="auto">
            <a:xfrm>
              <a:off x="5566664" y="2633349"/>
              <a:ext cx="6407" cy="5158"/>
            </a:xfrm>
            <a:custGeom>
              <a:avLst/>
              <a:gdLst>
                <a:gd name="T0" fmla="*/ 4762 w 4"/>
                <a:gd name="T1" fmla="*/ 0 h 3"/>
                <a:gd name="T2" fmla="*/ 6350 w 4"/>
                <a:gd name="T3" fmla="*/ 2117 h 3"/>
                <a:gd name="T4" fmla="*/ 3175 w 4"/>
                <a:gd name="T5" fmla="*/ 6350 h 3"/>
                <a:gd name="T6" fmla="*/ 0 w 4"/>
                <a:gd name="T7" fmla="*/ 2117 h 3"/>
                <a:gd name="T8" fmla="*/ 4762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0"/>
                  </a:moveTo>
                  <a:cubicBezTo>
                    <a:pt x="3" y="0"/>
                    <a:pt x="4" y="1"/>
                    <a:pt x="4" y="1"/>
                  </a:cubicBezTo>
                  <a:cubicBezTo>
                    <a:pt x="4" y="2"/>
                    <a:pt x="3" y="3"/>
                    <a:pt x="2" y="3"/>
                  </a:cubicBezTo>
                  <a:cubicBezTo>
                    <a:pt x="1" y="3"/>
                    <a:pt x="0"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8" name="Freeform 197"/>
            <p:cNvSpPr>
              <a:spLocks noChangeAspect="1"/>
            </p:cNvSpPr>
            <p:nvPr/>
          </p:nvSpPr>
          <p:spPr bwMode="auto">
            <a:xfrm>
              <a:off x="5368051" y="3138903"/>
              <a:ext cx="182595" cy="314682"/>
            </a:xfrm>
            <a:custGeom>
              <a:avLst/>
              <a:gdLst>
                <a:gd name="T0" fmla="*/ 161925 w 95"/>
                <a:gd name="T1" fmla="*/ 24684 h 204"/>
                <a:gd name="T2" fmla="*/ 177165 w 95"/>
                <a:gd name="T3" fmla="*/ 79749 h 204"/>
                <a:gd name="T4" fmla="*/ 175260 w 95"/>
                <a:gd name="T5" fmla="*/ 113926 h 204"/>
                <a:gd name="T6" fmla="*/ 158115 w 95"/>
                <a:gd name="T7" fmla="*/ 106331 h 204"/>
                <a:gd name="T8" fmla="*/ 154305 w 95"/>
                <a:gd name="T9" fmla="*/ 157598 h 204"/>
                <a:gd name="T10" fmla="*/ 144780 w 95"/>
                <a:gd name="T11" fmla="*/ 203169 h 204"/>
                <a:gd name="T12" fmla="*/ 123825 w 95"/>
                <a:gd name="T13" fmla="*/ 258233 h 204"/>
                <a:gd name="T14" fmla="*/ 102870 w 95"/>
                <a:gd name="T15" fmla="*/ 332286 h 204"/>
                <a:gd name="T16" fmla="*/ 80010 w 95"/>
                <a:gd name="T17" fmla="*/ 374059 h 204"/>
                <a:gd name="T18" fmla="*/ 57150 w 95"/>
                <a:gd name="T19" fmla="*/ 385451 h 204"/>
                <a:gd name="T20" fmla="*/ 7620 w 95"/>
                <a:gd name="T21" fmla="*/ 353172 h 204"/>
                <a:gd name="T22" fmla="*/ 11430 w 95"/>
                <a:gd name="T23" fmla="*/ 324690 h 204"/>
                <a:gd name="T24" fmla="*/ 0 w 95"/>
                <a:gd name="T25" fmla="*/ 284816 h 204"/>
                <a:gd name="T26" fmla="*/ 15240 w 95"/>
                <a:gd name="T27" fmla="*/ 260132 h 204"/>
                <a:gd name="T28" fmla="*/ 28575 w 95"/>
                <a:gd name="T29" fmla="*/ 231650 h 204"/>
                <a:gd name="T30" fmla="*/ 24765 w 95"/>
                <a:gd name="T31" fmla="*/ 199371 h 204"/>
                <a:gd name="T32" fmla="*/ 20955 w 95"/>
                <a:gd name="T33" fmla="*/ 170890 h 204"/>
                <a:gd name="T34" fmla="*/ 20955 w 95"/>
                <a:gd name="T35" fmla="*/ 155700 h 204"/>
                <a:gd name="T36" fmla="*/ 36195 w 95"/>
                <a:gd name="T37" fmla="*/ 117724 h 204"/>
                <a:gd name="T38" fmla="*/ 57150 w 95"/>
                <a:gd name="T39" fmla="*/ 113926 h 204"/>
                <a:gd name="T40" fmla="*/ 76200 w 95"/>
                <a:gd name="T41" fmla="*/ 110129 h 204"/>
                <a:gd name="T42" fmla="*/ 81915 w 95"/>
                <a:gd name="T43" fmla="*/ 100635 h 204"/>
                <a:gd name="T44" fmla="*/ 99060 w 95"/>
                <a:gd name="T45" fmla="*/ 94939 h 204"/>
                <a:gd name="T46" fmla="*/ 106680 w 95"/>
                <a:gd name="T47" fmla="*/ 91141 h 204"/>
                <a:gd name="T48" fmla="*/ 120015 w 95"/>
                <a:gd name="T49" fmla="*/ 83546 h 204"/>
                <a:gd name="T50" fmla="*/ 114300 w 95"/>
                <a:gd name="T51" fmla="*/ 70255 h 204"/>
                <a:gd name="T52" fmla="*/ 121920 w 95"/>
                <a:gd name="T53" fmla="*/ 64558 h 204"/>
                <a:gd name="T54" fmla="*/ 118110 w 95"/>
                <a:gd name="T55" fmla="*/ 43672 h 204"/>
                <a:gd name="T56" fmla="*/ 129540 w 95"/>
                <a:gd name="T57" fmla="*/ 45571 h 204"/>
                <a:gd name="T58" fmla="*/ 140970 w 95"/>
                <a:gd name="T59" fmla="*/ 32279 h 204"/>
                <a:gd name="T60" fmla="*/ 137160 w 95"/>
                <a:gd name="T61" fmla="*/ 15190 h 204"/>
                <a:gd name="T62" fmla="*/ 154305 w 95"/>
                <a:gd name="T63" fmla="*/ 1899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9" name="Freeform 198"/>
            <p:cNvSpPr>
              <a:spLocks noChangeAspect="1"/>
            </p:cNvSpPr>
            <p:nvPr/>
          </p:nvSpPr>
          <p:spPr bwMode="auto">
            <a:xfrm>
              <a:off x="5374458" y="3127297"/>
              <a:ext cx="4805" cy="9027"/>
            </a:xfrm>
            <a:custGeom>
              <a:avLst/>
              <a:gdLst>
                <a:gd name="T0" fmla="*/ 1587 w 3"/>
                <a:gd name="T1" fmla="*/ 0 h 6"/>
                <a:gd name="T2" fmla="*/ 0 w 3"/>
                <a:gd name="T3" fmla="*/ 5556 h 6"/>
                <a:gd name="T4" fmla="*/ 1587 w 3"/>
                <a:gd name="T5" fmla="*/ 11112 h 6"/>
                <a:gd name="T6" fmla="*/ 3175 w 3"/>
                <a:gd name="T7" fmla="*/ 5556 h 6"/>
                <a:gd name="T8" fmla="*/ 1587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1" y="0"/>
                  </a:moveTo>
                  <a:cubicBezTo>
                    <a:pt x="0" y="0"/>
                    <a:pt x="0" y="2"/>
                    <a:pt x="0" y="3"/>
                  </a:cubicBezTo>
                  <a:cubicBezTo>
                    <a:pt x="0" y="4"/>
                    <a:pt x="0" y="6"/>
                    <a:pt x="1" y="6"/>
                  </a:cubicBezTo>
                  <a:cubicBezTo>
                    <a:pt x="3" y="6"/>
                    <a:pt x="2" y="4"/>
                    <a:pt x="2" y="3"/>
                  </a:cubicBezTo>
                  <a:cubicBezTo>
                    <a:pt x="2" y="2"/>
                    <a:pt x="2"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0" name="Freeform 199"/>
            <p:cNvSpPr>
              <a:spLocks noChangeAspect="1"/>
            </p:cNvSpPr>
            <p:nvPr/>
          </p:nvSpPr>
          <p:spPr bwMode="auto">
            <a:xfrm>
              <a:off x="5398483" y="3140194"/>
              <a:ext cx="9610" cy="9027"/>
            </a:xfrm>
            <a:custGeom>
              <a:avLst/>
              <a:gdLst>
                <a:gd name="T0" fmla="*/ 1905 w 5"/>
                <a:gd name="T1" fmla="*/ 1852 h 6"/>
                <a:gd name="T2" fmla="*/ 1905 w 5"/>
                <a:gd name="T3" fmla="*/ 5556 h 6"/>
                <a:gd name="T4" fmla="*/ 5715 w 5"/>
                <a:gd name="T5" fmla="*/ 11112 h 6"/>
                <a:gd name="T6" fmla="*/ 5715 w 5"/>
                <a:gd name="T7" fmla="*/ 3704 h 6"/>
                <a:gd name="T8" fmla="*/ 1905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1"/>
                    <a:pt x="0" y="2"/>
                    <a:pt x="1" y="3"/>
                  </a:cubicBezTo>
                  <a:cubicBezTo>
                    <a:pt x="1" y="4"/>
                    <a:pt x="2" y="6"/>
                    <a:pt x="3" y="6"/>
                  </a:cubicBezTo>
                  <a:cubicBezTo>
                    <a:pt x="5" y="5"/>
                    <a:pt x="4" y="3"/>
                    <a:pt x="3" y="2"/>
                  </a:cubicBezTo>
                  <a:cubicBezTo>
                    <a:pt x="3"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1" name="Freeform 200"/>
            <p:cNvSpPr>
              <a:spLocks noChangeAspect="1"/>
            </p:cNvSpPr>
            <p:nvPr/>
          </p:nvSpPr>
          <p:spPr bwMode="auto">
            <a:xfrm>
              <a:off x="5417703" y="3154379"/>
              <a:ext cx="9610" cy="9029"/>
            </a:xfrm>
            <a:custGeom>
              <a:avLst/>
              <a:gdLst>
                <a:gd name="T0" fmla="*/ 1905 w 5"/>
                <a:gd name="T1" fmla="*/ 0 h 6"/>
                <a:gd name="T2" fmla="*/ 1905 w 5"/>
                <a:gd name="T3" fmla="*/ 5557 h 6"/>
                <a:gd name="T4" fmla="*/ 5715 w 5"/>
                <a:gd name="T5" fmla="*/ 11113 h 6"/>
                <a:gd name="T6" fmla="*/ 5715 w 5"/>
                <a:gd name="T7" fmla="*/ 3704 h 6"/>
                <a:gd name="T8" fmla="*/ 190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0"/>
                  </a:moveTo>
                  <a:cubicBezTo>
                    <a:pt x="0" y="1"/>
                    <a:pt x="0" y="2"/>
                    <a:pt x="1" y="3"/>
                  </a:cubicBezTo>
                  <a:cubicBezTo>
                    <a:pt x="1" y="4"/>
                    <a:pt x="2" y="6"/>
                    <a:pt x="3" y="6"/>
                  </a:cubicBezTo>
                  <a:cubicBezTo>
                    <a:pt x="5" y="5"/>
                    <a:pt x="4" y="3"/>
                    <a:pt x="3" y="2"/>
                  </a:cubicBezTo>
                  <a:cubicBezTo>
                    <a:pt x="3" y="1"/>
                    <a:pt x="2"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2" name="Freeform 201"/>
            <p:cNvSpPr>
              <a:spLocks noChangeAspect="1"/>
            </p:cNvSpPr>
            <p:nvPr/>
          </p:nvSpPr>
          <p:spPr bwMode="auto">
            <a:xfrm>
              <a:off x="5492985" y="3163408"/>
              <a:ext cx="8008" cy="10318"/>
            </a:xfrm>
            <a:custGeom>
              <a:avLst/>
              <a:gdLst>
                <a:gd name="T0" fmla="*/ 0 w 4"/>
                <a:gd name="T1" fmla="*/ 1814 h 7"/>
                <a:gd name="T2" fmla="*/ 0 w 4"/>
                <a:gd name="T3" fmla="*/ 5443 h 7"/>
                <a:gd name="T4" fmla="*/ 5953 w 4"/>
                <a:gd name="T5" fmla="*/ 10886 h 7"/>
                <a:gd name="T6" fmla="*/ 5953 w 4"/>
                <a:gd name="T7" fmla="*/ 3629 h 7"/>
                <a:gd name="T8" fmla="*/ 0 w 4"/>
                <a:gd name="T9" fmla="*/ 1814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0" y="1"/>
                  </a:moveTo>
                  <a:cubicBezTo>
                    <a:pt x="0" y="1"/>
                    <a:pt x="0" y="3"/>
                    <a:pt x="0" y="3"/>
                  </a:cubicBezTo>
                  <a:cubicBezTo>
                    <a:pt x="1" y="5"/>
                    <a:pt x="2" y="7"/>
                    <a:pt x="3" y="6"/>
                  </a:cubicBezTo>
                  <a:cubicBezTo>
                    <a:pt x="4" y="5"/>
                    <a:pt x="3" y="3"/>
                    <a:pt x="3" y="2"/>
                  </a:cubicBezTo>
                  <a:cubicBezTo>
                    <a:pt x="2" y="1"/>
                    <a:pt x="1"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3" name="Freeform 202"/>
            <p:cNvSpPr>
              <a:spLocks noChangeAspect="1"/>
            </p:cNvSpPr>
            <p:nvPr/>
          </p:nvSpPr>
          <p:spPr bwMode="auto">
            <a:xfrm>
              <a:off x="5709216" y="3319458"/>
              <a:ext cx="11213" cy="18056"/>
            </a:xfrm>
            <a:custGeom>
              <a:avLst/>
              <a:gdLst>
                <a:gd name="T0" fmla="*/ 5557 w 6"/>
                <a:gd name="T1" fmla="*/ 1852 h 12"/>
                <a:gd name="T2" fmla="*/ 11113 w 6"/>
                <a:gd name="T3" fmla="*/ 12965 h 12"/>
                <a:gd name="T4" fmla="*/ 5557 w 6"/>
                <a:gd name="T5" fmla="*/ 20373 h 12"/>
                <a:gd name="T6" fmla="*/ 0 w 6"/>
                <a:gd name="T7" fmla="*/ 11113 h 12"/>
                <a:gd name="T8" fmla="*/ 5557 w 6"/>
                <a:gd name="T9" fmla="*/ 1852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4" name="Freeform 203"/>
            <p:cNvSpPr>
              <a:spLocks noChangeAspect="1"/>
            </p:cNvSpPr>
            <p:nvPr/>
          </p:nvSpPr>
          <p:spPr bwMode="auto">
            <a:xfrm>
              <a:off x="5657961" y="3342673"/>
              <a:ext cx="14416" cy="12897"/>
            </a:xfrm>
            <a:custGeom>
              <a:avLst/>
              <a:gdLst>
                <a:gd name="T0" fmla="*/ 4082 w 7"/>
                <a:gd name="T1" fmla="*/ 0 h 8"/>
                <a:gd name="T2" fmla="*/ 14288 w 7"/>
                <a:gd name="T3" fmla="*/ 9922 h 8"/>
                <a:gd name="T4" fmla="*/ 12247 w 7"/>
                <a:gd name="T5" fmla="*/ 15875 h 8"/>
                <a:gd name="T6" fmla="*/ 2041 w 7"/>
                <a:gd name="T7" fmla="*/ 11906 h 8"/>
                <a:gd name="T8" fmla="*/ 4082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5" name="Freeform 204"/>
            <p:cNvSpPr>
              <a:spLocks noChangeAspect="1"/>
            </p:cNvSpPr>
            <p:nvPr/>
          </p:nvSpPr>
          <p:spPr bwMode="auto">
            <a:xfrm>
              <a:off x="5664367" y="2966086"/>
              <a:ext cx="11213" cy="9029"/>
            </a:xfrm>
            <a:custGeom>
              <a:avLst/>
              <a:gdLst>
                <a:gd name="T0" fmla="*/ 1852 w 6"/>
                <a:gd name="T1" fmla="*/ 1852 h 6"/>
                <a:gd name="T2" fmla="*/ 9261 w 6"/>
                <a:gd name="T3" fmla="*/ 5557 h 6"/>
                <a:gd name="T4" fmla="*/ 9261 w 6"/>
                <a:gd name="T5" fmla="*/ 11113 h 6"/>
                <a:gd name="T6" fmla="*/ 1852 w 6"/>
                <a:gd name="T7" fmla="*/ 7409 h 6"/>
                <a:gd name="T8" fmla="*/ 1852 w 6"/>
                <a:gd name="T9" fmla="*/ 1852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1" y="1"/>
                  </a:moveTo>
                  <a:cubicBezTo>
                    <a:pt x="3" y="0"/>
                    <a:pt x="4" y="2"/>
                    <a:pt x="5" y="3"/>
                  </a:cubicBezTo>
                  <a:cubicBezTo>
                    <a:pt x="6" y="4"/>
                    <a:pt x="6" y="5"/>
                    <a:pt x="5" y="6"/>
                  </a:cubicBezTo>
                  <a:cubicBezTo>
                    <a:pt x="4" y="6"/>
                    <a:pt x="2" y="5"/>
                    <a:pt x="1" y="4"/>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6" name="Freeform 205"/>
            <p:cNvSpPr>
              <a:spLocks noChangeAspect="1"/>
            </p:cNvSpPr>
            <p:nvPr/>
          </p:nvSpPr>
          <p:spPr bwMode="auto">
            <a:xfrm>
              <a:off x="4102699" y="1838907"/>
              <a:ext cx="296316" cy="196031"/>
            </a:xfrm>
            <a:custGeom>
              <a:avLst/>
              <a:gdLst>
                <a:gd name="T0" fmla="*/ 41955 w 154"/>
                <a:gd name="T1" fmla="*/ 195338 h 126"/>
                <a:gd name="T2" fmla="*/ 55305 w 154"/>
                <a:gd name="T3" fmla="*/ 180017 h 126"/>
                <a:gd name="T4" fmla="*/ 47676 w 154"/>
                <a:gd name="T5" fmla="*/ 162782 h 126"/>
                <a:gd name="T6" fmla="*/ 55305 w 154"/>
                <a:gd name="T7" fmla="*/ 149376 h 126"/>
                <a:gd name="T8" fmla="*/ 45769 w 154"/>
                <a:gd name="T9" fmla="*/ 134056 h 126"/>
                <a:gd name="T10" fmla="*/ 57212 w 154"/>
                <a:gd name="T11" fmla="*/ 120650 h 126"/>
                <a:gd name="T12" fmla="*/ 59119 w 154"/>
                <a:gd name="T13" fmla="*/ 109160 h 126"/>
                <a:gd name="T14" fmla="*/ 66747 w 154"/>
                <a:gd name="T15" fmla="*/ 80433 h 126"/>
                <a:gd name="T16" fmla="*/ 64840 w 154"/>
                <a:gd name="T17" fmla="*/ 67028 h 126"/>
                <a:gd name="T18" fmla="*/ 53398 w 154"/>
                <a:gd name="T19" fmla="*/ 57452 h 126"/>
                <a:gd name="T20" fmla="*/ 40048 w 154"/>
                <a:gd name="T21" fmla="*/ 61283 h 126"/>
                <a:gd name="T22" fmla="*/ 32420 w 154"/>
                <a:gd name="T23" fmla="*/ 55537 h 126"/>
                <a:gd name="T24" fmla="*/ 11442 w 154"/>
                <a:gd name="T25" fmla="*/ 59367 h 126"/>
                <a:gd name="T26" fmla="*/ 13349 w 154"/>
                <a:gd name="T27" fmla="*/ 44047 h 126"/>
                <a:gd name="T28" fmla="*/ 9535 w 154"/>
                <a:gd name="T29" fmla="*/ 36387 h 126"/>
                <a:gd name="T30" fmla="*/ 1907 w 154"/>
                <a:gd name="T31" fmla="*/ 22981 h 126"/>
                <a:gd name="T32" fmla="*/ 26699 w 154"/>
                <a:gd name="T33" fmla="*/ 13406 h 126"/>
                <a:gd name="T34" fmla="*/ 32420 w 154"/>
                <a:gd name="T35" fmla="*/ 1915 h 126"/>
                <a:gd name="T36" fmla="*/ 55305 w 154"/>
                <a:gd name="T37" fmla="*/ 5745 h 126"/>
                <a:gd name="T38" fmla="*/ 93446 w 154"/>
                <a:gd name="T39" fmla="*/ 3830 h 126"/>
                <a:gd name="T40" fmla="*/ 125866 w 154"/>
                <a:gd name="T41" fmla="*/ 9575 h 126"/>
                <a:gd name="T42" fmla="*/ 146844 w 154"/>
                <a:gd name="T43" fmla="*/ 13406 h 126"/>
                <a:gd name="T44" fmla="*/ 164007 w 154"/>
                <a:gd name="T45" fmla="*/ 15321 h 126"/>
                <a:gd name="T46" fmla="*/ 184985 w 154"/>
                <a:gd name="T47" fmla="*/ 15321 h 126"/>
                <a:gd name="T48" fmla="*/ 200241 w 154"/>
                <a:gd name="T49" fmla="*/ 24896 h 126"/>
                <a:gd name="T50" fmla="*/ 223126 w 154"/>
                <a:gd name="T51" fmla="*/ 32556 h 126"/>
                <a:gd name="T52" fmla="*/ 234568 w 154"/>
                <a:gd name="T53" fmla="*/ 26811 h 126"/>
                <a:gd name="T54" fmla="*/ 259360 w 154"/>
                <a:gd name="T55" fmla="*/ 40217 h 126"/>
                <a:gd name="T56" fmla="*/ 282245 w 154"/>
                <a:gd name="T57" fmla="*/ 42132 h 126"/>
                <a:gd name="T58" fmla="*/ 291780 w 154"/>
                <a:gd name="T59" fmla="*/ 49792 h 126"/>
                <a:gd name="T60" fmla="*/ 272709 w 154"/>
                <a:gd name="T61" fmla="*/ 70858 h 126"/>
                <a:gd name="T62" fmla="*/ 240289 w 154"/>
                <a:gd name="T63" fmla="*/ 84264 h 126"/>
                <a:gd name="T64" fmla="*/ 236475 w 154"/>
                <a:gd name="T65" fmla="*/ 99584 h 126"/>
                <a:gd name="T66" fmla="*/ 211683 w 154"/>
                <a:gd name="T67" fmla="*/ 132141 h 126"/>
                <a:gd name="T68" fmla="*/ 217405 w 154"/>
                <a:gd name="T69" fmla="*/ 153206 h 126"/>
                <a:gd name="T70" fmla="*/ 211683 w 154"/>
                <a:gd name="T71" fmla="*/ 166612 h 126"/>
                <a:gd name="T72" fmla="*/ 198334 w 154"/>
                <a:gd name="T73" fmla="*/ 191508 h 126"/>
                <a:gd name="T74" fmla="*/ 184985 w 154"/>
                <a:gd name="T75" fmla="*/ 197253 h 126"/>
                <a:gd name="T76" fmla="*/ 171635 w 154"/>
                <a:gd name="T77" fmla="*/ 218319 h 126"/>
                <a:gd name="T78" fmla="*/ 160193 w 154"/>
                <a:gd name="T79" fmla="*/ 218319 h 126"/>
                <a:gd name="T80" fmla="*/ 137308 w 154"/>
                <a:gd name="T81" fmla="*/ 222149 h 126"/>
                <a:gd name="T82" fmla="*/ 110609 w 154"/>
                <a:gd name="T83" fmla="*/ 225979 h 126"/>
                <a:gd name="T84" fmla="*/ 91539 w 154"/>
                <a:gd name="T85" fmla="*/ 239385 h 126"/>
                <a:gd name="T86" fmla="*/ 70561 w 154"/>
                <a:gd name="T87" fmla="*/ 225979 h 126"/>
                <a:gd name="T88" fmla="*/ 57212 w 154"/>
                <a:gd name="T89" fmla="*/ 206829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7" name="Freeform 206"/>
            <p:cNvSpPr>
              <a:spLocks noChangeAspect="1"/>
            </p:cNvSpPr>
            <p:nvPr/>
          </p:nvSpPr>
          <p:spPr bwMode="auto">
            <a:xfrm>
              <a:off x="4193996" y="2033649"/>
              <a:ext cx="6407" cy="3868"/>
            </a:xfrm>
            <a:custGeom>
              <a:avLst/>
              <a:gdLst>
                <a:gd name="T0" fmla="*/ 0 w 4"/>
                <a:gd name="T1" fmla="*/ 3175 h 3"/>
                <a:gd name="T2" fmla="*/ 3175 w 4"/>
                <a:gd name="T3" fmla="*/ 1587 h 3"/>
                <a:gd name="T4" fmla="*/ 4762 w 4"/>
                <a:gd name="T5" fmla="*/ 0 h 3"/>
                <a:gd name="T6" fmla="*/ 6350 w 4"/>
                <a:gd name="T7" fmla="*/ 3175 h 3"/>
                <a:gd name="T8" fmla="*/ 3175 w 4"/>
                <a:gd name="T9" fmla="*/ 4762 h 3"/>
                <a:gd name="T10" fmla="*/ 0 w 4"/>
                <a:gd name="T11" fmla="*/ 3175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8" name="Freeform 207"/>
            <p:cNvSpPr>
              <a:spLocks noChangeAspect="1"/>
            </p:cNvSpPr>
            <p:nvPr/>
          </p:nvSpPr>
          <p:spPr bwMode="auto">
            <a:xfrm>
              <a:off x="4376590" y="1936922"/>
              <a:ext cx="28831" cy="18056"/>
            </a:xfrm>
            <a:custGeom>
              <a:avLst/>
              <a:gdLst>
                <a:gd name="T0" fmla="*/ 19050 w 15"/>
                <a:gd name="T1" fmla="*/ 0 h 12"/>
                <a:gd name="T2" fmla="*/ 19050 w 15"/>
                <a:gd name="T3" fmla="*/ 7408 h 12"/>
                <a:gd name="T4" fmla="*/ 28575 w 15"/>
                <a:gd name="T5" fmla="*/ 7408 h 12"/>
                <a:gd name="T6" fmla="*/ 19050 w 15"/>
                <a:gd name="T7" fmla="*/ 22225 h 12"/>
                <a:gd name="T8" fmla="*/ 15240 w 15"/>
                <a:gd name="T9" fmla="*/ 20373 h 12"/>
                <a:gd name="T10" fmla="*/ 9525 w 15"/>
                <a:gd name="T11" fmla="*/ 14817 h 12"/>
                <a:gd name="T12" fmla="*/ 0 w 15"/>
                <a:gd name="T13" fmla="*/ 11113 h 12"/>
                <a:gd name="T14" fmla="*/ 11430 w 15"/>
                <a:gd name="T15" fmla="*/ 5556 h 12"/>
                <a:gd name="T16" fmla="*/ 19050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9" name="Freeform 208"/>
            <p:cNvSpPr>
              <a:spLocks noChangeAspect="1"/>
            </p:cNvSpPr>
            <p:nvPr/>
          </p:nvSpPr>
          <p:spPr bwMode="auto">
            <a:xfrm>
              <a:off x="4413430" y="1934343"/>
              <a:ext cx="14415" cy="9029"/>
            </a:xfrm>
            <a:custGeom>
              <a:avLst/>
              <a:gdLst>
                <a:gd name="T0" fmla="*/ 5358 w 8"/>
                <a:gd name="T1" fmla="*/ 0 h 6"/>
                <a:gd name="T2" fmla="*/ 12501 w 8"/>
                <a:gd name="T3" fmla="*/ 9261 h 6"/>
                <a:gd name="T4" fmla="*/ 0 w 8"/>
                <a:gd name="T5" fmla="*/ 5557 h 6"/>
                <a:gd name="T6" fmla="*/ 0 w 8"/>
                <a:gd name="T7" fmla="*/ 1852 h 6"/>
                <a:gd name="T8" fmla="*/ 5358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0" name="Freeform 209"/>
            <p:cNvSpPr>
              <a:spLocks noChangeAspect="1"/>
            </p:cNvSpPr>
            <p:nvPr/>
          </p:nvSpPr>
          <p:spPr bwMode="auto">
            <a:xfrm>
              <a:off x="4349361" y="1957557"/>
              <a:ext cx="12814" cy="9029"/>
            </a:xfrm>
            <a:custGeom>
              <a:avLst/>
              <a:gdLst>
                <a:gd name="T0" fmla="*/ 10886 w 7"/>
                <a:gd name="T1" fmla="*/ 1852 h 6"/>
                <a:gd name="T2" fmla="*/ 7257 w 7"/>
                <a:gd name="T3" fmla="*/ 7409 h 6"/>
                <a:gd name="T4" fmla="*/ 0 w 7"/>
                <a:gd name="T5" fmla="*/ 9261 h 6"/>
                <a:gd name="T6" fmla="*/ 3629 w 7"/>
                <a:gd name="T7" fmla="*/ 3704 h 6"/>
                <a:gd name="T8" fmla="*/ 10886 w 7"/>
                <a:gd name="T9" fmla="*/ 1852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1" name="Freeform 210"/>
            <p:cNvSpPr>
              <a:spLocks noChangeAspect="1"/>
            </p:cNvSpPr>
            <p:nvPr/>
          </p:nvSpPr>
          <p:spPr bwMode="auto">
            <a:xfrm>
              <a:off x="4354167" y="1967875"/>
              <a:ext cx="11213" cy="5158"/>
            </a:xfrm>
            <a:custGeom>
              <a:avLst/>
              <a:gdLst>
                <a:gd name="T0" fmla="*/ 4445 w 5"/>
                <a:gd name="T1" fmla="*/ 0 h 3"/>
                <a:gd name="T2" fmla="*/ 8890 w 5"/>
                <a:gd name="T3" fmla="*/ 4233 h 3"/>
                <a:gd name="T4" fmla="*/ 2223 w 5"/>
                <a:gd name="T5" fmla="*/ 4233 h 3"/>
                <a:gd name="T6" fmla="*/ 4445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2" name="Freeform 211"/>
            <p:cNvSpPr>
              <a:spLocks noChangeAspect="1"/>
            </p:cNvSpPr>
            <p:nvPr/>
          </p:nvSpPr>
          <p:spPr bwMode="auto">
            <a:xfrm>
              <a:off x="4802647" y="1966586"/>
              <a:ext cx="8009" cy="3868"/>
            </a:xfrm>
            <a:custGeom>
              <a:avLst/>
              <a:gdLst>
                <a:gd name="T0" fmla="*/ 3969 w 4"/>
                <a:gd name="T1" fmla="*/ 0 h 3"/>
                <a:gd name="T2" fmla="*/ 7938 w 4"/>
                <a:gd name="T3" fmla="*/ 3175 h 3"/>
                <a:gd name="T4" fmla="*/ 1985 w 4"/>
                <a:gd name="T5" fmla="*/ 3175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2"/>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3" name="Freeform 212"/>
            <p:cNvSpPr>
              <a:spLocks noChangeAspect="1"/>
            </p:cNvSpPr>
            <p:nvPr/>
          </p:nvSpPr>
          <p:spPr bwMode="auto">
            <a:xfrm>
              <a:off x="4807452" y="1988510"/>
              <a:ext cx="6407" cy="6449"/>
            </a:xfrm>
            <a:custGeom>
              <a:avLst/>
              <a:gdLst>
                <a:gd name="T0" fmla="*/ 3175 w 4"/>
                <a:gd name="T1" fmla="*/ 0 h 4"/>
                <a:gd name="T2" fmla="*/ 6350 w 4"/>
                <a:gd name="T3" fmla="*/ 5953 h 4"/>
                <a:gd name="T4" fmla="*/ 0 w 4"/>
                <a:gd name="T5" fmla="*/ 5953 h 4"/>
                <a:gd name="T6" fmla="*/ 3175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4" name="Freeform 213"/>
            <p:cNvSpPr>
              <a:spLocks noChangeAspect="1"/>
            </p:cNvSpPr>
            <p:nvPr/>
          </p:nvSpPr>
          <p:spPr bwMode="auto">
            <a:xfrm>
              <a:off x="4895546" y="1916287"/>
              <a:ext cx="9610" cy="6449"/>
            </a:xfrm>
            <a:custGeom>
              <a:avLst/>
              <a:gdLst>
                <a:gd name="T0" fmla="*/ 3810 w 5"/>
                <a:gd name="T1" fmla="*/ 0 h 4"/>
                <a:gd name="T2" fmla="*/ 7620 w 5"/>
                <a:gd name="T3" fmla="*/ 5953 h 4"/>
                <a:gd name="T4" fmla="*/ 1905 w 5"/>
                <a:gd name="T5" fmla="*/ 5953 h 4"/>
                <a:gd name="T6" fmla="*/ 3810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5" name="Freeform 214"/>
            <p:cNvSpPr>
              <a:spLocks noChangeAspect="1"/>
            </p:cNvSpPr>
            <p:nvPr/>
          </p:nvSpPr>
          <p:spPr bwMode="auto">
            <a:xfrm>
              <a:off x="4917969" y="1921446"/>
              <a:ext cx="8009" cy="5158"/>
            </a:xfrm>
            <a:custGeom>
              <a:avLst/>
              <a:gdLst>
                <a:gd name="T0" fmla="*/ 3969 w 4"/>
                <a:gd name="T1" fmla="*/ 0 h 3"/>
                <a:gd name="T2" fmla="*/ 7938 w 4"/>
                <a:gd name="T3" fmla="*/ 4233 h 3"/>
                <a:gd name="T4" fmla="*/ 1985 w 4"/>
                <a:gd name="T5" fmla="*/ 4233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6" name="Freeform 215"/>
            <p:cNvSpPr>
              <a:spLocks noChangeAspect="1"/>
            </p:cNvSpPr>
            <p:nvPr/>
          </p:nvSpPr>
          <p:spPr bwMode="auto">
            <a:xfrm>
              <a:off x="4909961" y="1935633"/>
              <a:ext cx="8008" cy="3868"/>
            </a:xfrm>
            <a:custGeom>
              <a:avLst/>
              <a:gdLst>
                <a:gd name="T0" fmla="*/ 3969 w 4"/>
                <a:gd name="T1" fmla="*/ 0 h 3"/>
                <a:gd name="T2" fmla="*/ 7937 w 4"/>
                <a:gd name="T3" fmla="*/ 3175 h 3"/>
                <a:gd name="T4" fmla="*/ 1984 w 4"/>
                <a:gd name="T5" fmla="*/ 3175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7" name="Freeform 216"/>
            <p:cNvSpPr>
              <a:spLocks noChangeAspect="1"/>
            </p:cNvSpPr>
            <p:nvPr/>
          </p:nvSpPr>
          <p:spPr bwMode="auto">
            <a:xfrm>
              <a:off x="4897147" y="1961427"/>
              <a:ext cx="8008" cy="5158"/>
            </a:xfrm>
            <a:custGeom>
              <a:avLst/>
              <a:gdLst>
                <a:gd name="T0" fmla="*/ 1984 w 4"/>
                <a:gd name="T1" fmla="*/ 0 h 3"/>
                <a:gd name="T2" fmla="*/ 5953 w 4"/>
                <a:gd name="T3" fmla="*/ 6350 h 3"/>
                <a:gd name="T4" fmla="*/ 0 w 4"/>
                <a:gd name="T5" fmla="*/ 6350 h 3"/>
                <a:gd name="T6" fmla="*/ 1984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8" name="Freeform 217"/>
            <p:cNvSpPr>
              <a:spLocks noChangeAspect="1"/>
            </p:cNvSpPr>
            <p:nvPr/>
          </p:nvSpPr>
          <p:spPr bwMode="auto">
            <a:xfrm>
              <a:off x="4903555" y="1987220"/>
              <a:ext cx="9610" cy="5158"/>
            </a:xfrm>
            <a:custGeom>
              <a:avLst/>
              <a:gdLst>
                <a:gd name="T0" fmla="*/ 5715 w 5"/>
                <a:gd name="T1" fmla="*/ 1588 h 4"/>
                <a:gd name="T2" fmla="*/ 7620 w 5"/>
                <a:gd name="T3" fmla="*/ 6350 h 4"/>
                <a:gd name="T4" fmla="*/ 0 w 5"/>
                <a:gd name="T5" fmla="*/ 1588 h 4"/>
                <a:gd name="T6" fmla="*/ 5715 w 5"/>
                <a:gd name="T7" fmla="*/ 1588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9" name="Freeform 218"/>
            <p:cNvSpPr>
              <a:spLocks noChangeAspect="1"/>
            </p:cNvSpPr>
            <p:nvPr/>
          </p:nvSpPr>
          <p:spPr bwMode="auto">
            <a:xfrm>
              <a:off x="4948402" y="1991089"/>
              <a:ext cx="9610" cy="5158"/>
            </a:xfrm>
            <a:custGeom>
              <a:avLst/>
              <a:gdLst>
                <a:gd name="T0" fmla="*/ 5715 w 5"/>
                <a:gd name="T1" fmla="*/ 2117 h 3"/>
                <a:gd name="T2" fmla="*/ 7620 w 5"/>
                <a:gd name="T3" fmla="*/ 6350 h 3"/>
                <a:gd name="T4" fmla="*/ 0 w 5"/>
                <a:gd name="T5" fmla="*/ 2117 h 3"/>
                <a:gd name="T6" fmla="*/ 5715 w 5"/>
                <a:gd name="T7" fmla="*/ 2117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3" y="1"/>
                  </a:moveTo>
                  <a:cubicBezTo>
                    <a:pt x="4" y="1"/>
                    <a:pt x="5" y="3"/>
                    <a:pt x="4" y="3"/>
                  </a:cubicBezTo>
                  <a:cubicBezTo>
                    <a:pt x="4" y="3"/>
                    <a:pt x="1" y="2"/>
                    <a:pt x="0" y="1"/>
                  </a:cubicBezTo>
                  <a:cubicBezTo>
                    <a:pt x="0" y="0"/>
                    <a:pt x="1"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0" name="Freeform 219"/>
            <p:cNvSpPr>
              <a:spLocks noChangeAspect="1"/>
            </p:cNvSpPr>
            <p:nvPr/>
          </p:nvSpPr>
          <p:spPr bwMode="auto">
            <a:xfrm>
              <a:off x="4897147" y="2015594"/>
              <a:ext cx="6407" cy="6448"/>
            </a:xfrm>
            <a:custGeom>
              <a:avLst/>
              <a:gdLst>
                <a:gd name="T0" fmla="*/ 2117 w 3"/>
                <a:gd name="T1" fmla="*/ 3969 h 4"/>
                <a:gd name="T2" fmla="*/ 6350 w 3"/>
                <a:gd name="T3" fmla="*/ 1984 h 4"/>
                <a:gd name="T4" fmla="*/ 2117 w 3"/>
                <a:gd name="T5" fmla="*/ 7937 h 4"/>
                <a:gd name="T6" fmla="*/ 2117 w 3"/>
                <a:gd name="T7" fmla="*/ 396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2"/>
                  </a:moveTo>
                  <a:cubicBezTo>
                    <a:pt x="2" y="1"/>
                    <a:pt x="3" y="0"/>
                    <a:pt x="3" y="1"/>
                  </a:cubicBezTo>
                  <a:cubicBezTo>
                    <a:pt x="3" y="2"/>
                    <a:pt x="2" y="3"/>
                    <a:pt x="1" y="4"/>
                  </a:cubicBezTo>
                  <a:cubicBezTo>
                    <a:pt x="0" y="4"/>
                    <a:pt x="0"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1" name="Freeform 220"/>
            <p:cNvSpPr>
              <a:spLocks noChangeAspect="1"/>
            </p:cNvSpPr>
            <p:nvPr/>
          </p:nvSpPr>
          <p:spPr bwMode="auto">
            <a:xfrm>
              <a:off x="4933987" y="1994959"/>
              <a:ext cx="8009" cy="3868"/>
            </a:xfrm>
            <a:custGeom>
              <a:avLst/>
              <a:gdLst>
                <a:gd name="T0" fmla="*/ 1985 w 4"/>
                <a:gd name="T1" fmla="*/ 1587 h 3"/>
                <a:gd name="T2" fmla="*/ 7938 w 4"/>
                <a:gd name="T3" fmla="*/ 1587 h 3"/>
                <a:gd name="T4" fmla="*/ 1985 w 4"/>
                <a:gd name="T5" fmla="*/ 4762 h 3"/>
                <a:gd name="T6" fmla="*/ 1985 w 4"/>
                <a:gd name="T7" fmla="*/ 1587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1"/>
                  </a:moveTo>
                  <a:cubicBezTo>
                    <a:pt x="2" y="1"/>
                    <a:pt x="4" y="0"/>
                    <a:pt x="4" y="1"/>
                  </a:cubicBezTo>
                  <a:cubicBezTo>
                    <a:pt x="4" y="1"/>
                    <a:pt x="2" y="3"/>
                    <a:pt x="1" y="3"/>
                  </a:cubicBezTo>
                  <a:cubicBezTo>
                    <a:pt x="0"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2" name="Freeform 221"/>
            <p:cNvSpPr>
              <a:spLocks noChangeAspect="1"/>
            </p:cNvSpPr>
            <p:nvPr/>
          </p:nvSpPr>
          <p:spPr bwMode="auto">
            <a:xfrm>
              <a:off x="4932386" y="2013015"/>
              <a:ext cx="4805" cy="5158"/>
            </a:xfrm>
            <a:custGeom>
              <a:avLst/>
              <a:gdLst>
                <a:gd name="T0" fmla="*/ 1587 w 3"/>
                <a:gd name="T1" fmla="*/ 2117 h 3"/>
                <a:gd name="T2" fmla="*/ 4762 w 3"/>
                <a:gd name="T3" fmla="*/ 0 h 3"/>
                <a:gd name="T4" fmla="*/ 1587 w 3"/>
                <a:gd name="T5" fmla="*/ 6350 h 3"/>
                <a:gd name="T6" fmla="*/ 1587 w 3"/>
                <a:gd name="T7" fmla="*/ 211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2" y="1"/>
                    <a:pt x="3" y="0"/>
                    <a:pt x="3" y="0"/>
                  </a:cubicBezTo>
                  <a:cubicBezTo>
                    <a:pt x="3" y="1"/>
                    <a:pt x="1" y="3"/>
                    <a:pt x="1" y="3"/>
                  </a:cubicBezTo>
                  <a:cubicBezTo>
                    <a:pt x="0"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3" name="Freeform 222"/>
            <p:cNvSpPr>
              <a:spLocks noChangeAspect="1"/>
            </p:cNvSpPr>
            <p:nvPr/>
          </p:nvSpPr>
          <p:spPr bwMode="auto">
            <a:xfrm>
              <a:off x="4881130" y="1951109"/>
              <a:ext cx="8008" cy="6448"/>
            </a:xfrm>
            <a:custGeom>
              <a:avLst/>
              <a:gdLst>
                <a:gd name="T0" fmla="*/ 1984 w 4"/>
                <a:gd name="T1" fmla="*/ 3969 h 4"/>
                <a:gd name="T2" fmla="*/ 5953 w 4"/>
                <a:gd name="T3" fmla="*/ 1984 h 4"/>
                <a:gd name="T4" fmla="*/ 1984 w 4"/>
                <a:gd name="T5" fmla="*/ 7937 h 4"/>
                <a:gd name="T6" fmla="*/ 1984 w 4"/>
                <a:gd name="T7" fmla="*/ 3969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2"/>
                  </a:moveTo>
                  <a:cubicBezTo>
                    <a:pt x="2" y="1"/>
                    <a:pt x="4" y="0"/>
                    <a:pt x="3" y="1"/>
                  </a:cubicBezTo>
                  <a:cubicBezTo>
                    <a:pt x="3" y="2"/>
                    <a:pt x="2" y="3"/>
                    <a:pt x="1" y="4"/>
                  </a:cubicBezTo>
                  <a:cubicBezTo>
                    <a:pt x="0" y="4"/>
                    <a:pt x="0"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4" name="Freeform 223"/>
            <p:cNvSpPr>
              <a:spLocks noChangeAspect="1"/>
            </p:cNvSpPr>
            <p:nvPr/>
          </p:nvSpPr>
          <p:spPr bwMode="auto">
            <a:xfrm>
              <a:off x="4874723" y="1954978"/>
              <a:ext cx="4805" cy="5158"/>
            </a:xfrm>
            <a:custGeom>
              <a:avLst/>
              <a:gdLst>
                <a:gd name="T0" fmla="*/ 3175 w 3"/>
                <a:gd name="T1" fmla="*/ 2117 h 3"/>
                <a:gd name="T2" fmla="*/ 4762 w 3"/>
                <a:gd name="T3" fmla="*/ 6350 h 3"/>
                <a:gd name="T4" fmla="*/ 0 w 3"/>
                <a:gd name="T5" fmla="*/ 2117 h 3"/>
                <a:gd name="T6" fmla="*/ 3175 w 3"/>
                <a:gd name="T7" fmla="*/ 211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1"/>
                  </a:moveTo>
                  <a:cubicBezTo>
                    <a:pt x="3" y="1"/>
                    <a:pt x="3" y="3"/>
                    <a:pt x="3" y="3"/>
                  </a:cubicBezTo>
                  <a:cubicBezTo>
                    <a:pt x="2" y="3"/>
                    <a:pt x="0" y="1"/>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5" name="Freeform 224"/>
            <p:cNvSpPr>
              <a:spLocks noChangeAspect="1"/>
            </p:cNvSpPr>
            <p:nvPr/>
          </p:nvSpPr>
          <p:spPr bwMode="auto">
            <a:xfrm>
              <a:off x="4245250" y="1742181"/>
              <a:ext cx="6407" cy="3868"/>
            </a:xfrm>
            <a:custGeom>
              <a:avLst/>
              <a:gdLst>
                <a:gd name="T0" fmla="*/ 4233 w 3"/>
                <a:gd name="T1" fmla="*/ 3175 h 3"/>
                <a:gd name="T2" fmla="*/ 4233 w 3"/>
                <a:gd name="T3" fmla="*/ 4762 h 3"/>
                <a:gd name="T4" fmla="*/ 0 w 3"/>
                <a:gd name="T5" fmla="*/ 3175 h 3"/>
                <a:gd name="T6" fmla="*/ 2117 w 3"/>
                <a:gd name="T7" fmla="*/ 0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2" y="3"/>
                  </a:cubicBezTo>
                  <a:cubicBezTo>
                    <a:pt x="1" y="3"/>
                    <a:pt x="1" y="3"/>
                    <a:pt x="0" y="2"/>
                  </a:cubicBezTo>
                  <a:cubicBezTo>
                    <a:pt x="0" y="1"/>
                    <a:pt x="0" y="0"/>
                    <a:pt x="1" y="0"/>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6" name="Freeform 225"/>
            <p:cNvSpPr>
              <a:spLocks noChangeAspect="1"/>
            </p:cNvSpPr>
            <p:nvPr/>
          </p:nvSpPr>
          <p:spPr bwMode="auto">
            <a:xfrm>
              <a:off x="4266073" y="1751209"/>
              <a:ext cx="6407" cy="5158"/>
            </a:xfrm>
            <a:custGeom>
              <a:avLst/>
              <a:gdLst>
                <a:gd name="T0" fmla="*/ 4233 w 3"/>
                <a:gd name="T1" fmla="*/ 2117 h 3"/>
                <a:gd name="T2" fmla="*/ 6350 w 3"/>
                <a:gd name="T3" fmla="*/ 4233 h 3"/>
                <a:gd name="T4" fmla="*/ 2117 w 3"/>
                <a:gd name="T5" fmla="*/ 4233 h 3"/>
                <a:gd name="T6" fmla="*/ 2117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3" y="2"/>
                  </a:cubicBezTo>
                  <a:cubicBezTo>
                    <a:pt x="2" y="3"/>
                    <a:pt x="1" y="2"/>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7" name="Freeform 226"/>
            <p:cNvSpPr>
              <a:spLocks noChangeAspect="1"/>
            </p:cNvSpPr>
            <p:nvPr/>
          </p:nvSpPr>
          <p:spPr bwMode="auto">
            <a:xfrm>
              <a:off x="4286895" y="1777002"/>
              <a:ext cx="6407" cy="5158"/>
            </a:xfrm>
            <a:custGeom>
              <a:avLst/>
              <a:gdLst>
                <a:gd name="T0" fmla="*/ 4233 w 3"/>
                <a:gd name="T1" fmla="*/ 4233 h 3"/>
                <a:gd name="T2" fmla="*/ 6350 w 3"/>
                <a:gd name="T3" fmla="*/ 6350 h 3"/>
                <a:gd name="T4" fmla="*/ 0 w 3"/>
                <a:gd name="T5" fmla="*/ 6350 h 3"/>
                <a:gd name="T6" fmla="*/ 0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3" y="3"/>
                  </a:cubicBezTo>
                  <a:cubicBezTo>
                    <a:pt x="2" y="3"/>
                    <a:pt x="1" y="3"/>
                    <a:pt x="0" y="3"/>
                  </a:cubicBezTo>
                  <a:cubicBezTo>
                    <a:pt x="0" y="2"/>
                    <a:pt x="0" y="1"/>
                    <a:pt x="0" y="1"/>
                  </a:cubicBezTo>
                  <a:cubicBezTo>
                    <a:pt x="1" y="0"/>
                    <a:pt x="1"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8" name="Freeform 227"/>
            <p:cNvSpPr>
              <a:spLocks noChangeAspect="1"/>
            </p:cNvSpPr>
            <p:nvPr/>
          </p:nvSpPr>
          <p:spPr bwMode="auto">
            <a:xfrm>
              <a:off x="4658492" y="1804087"/>
              <a:ext cx="6407" cy="3868"/>
            </a:xfrm>
            <a:custGeom>
              <a:avLst/>
              <a:gdLst>
                <a:gd name="T0" fmla="*/ 4233 w 3"/>
                <a:gd name="T1" fmla="*/ 1587 h 3"/>
                <a:gd name="T2" fmla="*/ 4233 w 3"/>
                <a:gd name="T3" fmla="*/ 3175 h 3"/>
                <a:gd name="T4" fmla="*/ 2117 w 3"/>
                <a:gd name="T5" fmla="*/ 3175 h 3"/>
                <a:gd name="T6" fmla="*/ 2117 w 3"/>
                <a:gd name="T7" fmla="*/ 0 h 3"/>
                <a:gd name="T8" fmla="*/ 4233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1"/>
                    <a:pt x="0" y="1"/>
                    <a:pt x="1"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9" name="Freeform 228"/>
            <p:cNvSpPr>
              <a:spLocks noChangeAspect="1"/>
            </p:cNvSpPr>
            <p:nvPr/>
          </p:nvSpPr>
          <p:spPr bwMode="auto">
            <a:xfrm>
              <a:off x="4403820" y="1627399"/>
              <a:ext cx="11212" cy="5158"/>
            </a:xfrm>
            <a:custGeom>
              <a:avLst/>
              <a:gdLst>
                <a:gd name="T0" fmla="*/ 0 w 6"/>
                <a:gd name="T1" fmla="*/ 2117 h 3"/>
                <a:gd name="T2" fmla="*/ 5556 w 6"/>
                <a:gd name="T3" fmla="*/ 2117 h 3"/>
                <a:gd name="T4" fmla="*/ 11112 w 6"/>
                <a:gd name="T5" fmla="*/ 4233 h 3"/>
                <a:gd name="T6" fmla="*/ 5556 w 6"/>
                <a:gd name="T7" fmla="*/ 4233 h 3"/>
                <a:gd name="T8" fmla="*/ 0 w 6"/>
                <a:gd name="T9" fmla="*/ 2117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1"/>
                  </a:moveTo>
                  <a:cubicBezTo>
                    <a:pt x="1" y="0"/>
                    <a:pt x="2" y="1"/>
                    <a:pt x="3" y="1"/>
                  </a:cubicBezTo>
                  <a:cubicBezTo>
                    <a:pt x="4" y="1"/>
                    <a:pt x="6" y="2"/>
                    <a:pt x="6" y="2"/>
                  </a:cubicBezTo>
                  <a:cubicBezTo>
                    <a:pt x="5" y="3"/>
                    <a:pt x="4" y="2"/>
                    <a:pt x="3" y="2"/>
                  </a:cubicBezTo>
                  <a:cubicBezTo>
                    <a:pt x="2" y="2"/>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0" name="Freeform 229"/>
            <p:cNvSpPr>
              <a:spLocks noChangeAspect="1"/>
            </p:cNvSpPr>
            <p:nvPr/>
          </p:nvSpPr>
          <p:spPr bwMode="auto">
            <a:xfrm>
              <a:off x="4426245" y="1582261"/>
              <a:ext cx="8008" cy="9027"/>
            </a:xfrm>
            <a:custGeom>
              <a:avLst/>
              <a:gdLst>
                <a:gd name="T0" fmla="*/ 1984 w 4"/>
                <a:gd name="T1" fmla="*/ 9260 h 6"/>
                <a:gd name="T2" fmla="*/ 3969 w 4"/>
                <a:gd name="T3" fmla="*/ 3704 h 6"/>
                <a:gd name="T4" fmla="*/ 7937 w 4"/>
                <a:gd name="T5" fmla="*/ 1852 h 6"/>
                <a:gd name="T6" fmla="*/ 5953 w 4"/>
                <a:gd name="T7" fmla="*/ 7408 h 6"/>
                <a:gd name="T8" fmla="*/ 1984 w 4"/>
                <a:gd name="T9" fmla="*/ 926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1" name="Freeform 230"/>
            <p:cNvSpPr>
              <a:spLocks noChangeAspect="1"/>
            </p:cNvSpPr>
            <p:nvPr/>
          </p:nvSpPr>
          <p:spPr bwMode="auto">
            <a:xfrm>
              <a:off x="4435855" y="1575812"/>
              <a:ext cx="6407" cy="6449"/>
            </a:xfrm>
            <a:custGeom>
              <a:avLst/>
              <a:gdLst>
                <a:gd name="T0" fmla="*/ 0 w 3"/>
                <a:gd name="T1" fmla="*/ 7938 h 4"/>
                <a:gd name="T2" fmla="*/ 4233 w 3"/>
                <a:gd name="T3" fmla="*/ 3969 h 4"/>
                <a:gd name="T4" fmla="*/ 6350 w 3"/>
                <a:gd name="T5" fmla="*/ 1985 h 4"/>
                <a:gd name="T6" fmla="*/ 4233 w 3"/>
                <a:gd name="T7" fmla="*/ 5953 h 4"/>
                <a:gd name="T8" fmla="*/ 0 w 3"/>
                <a:gd name="T9" fmla="*/ 793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2" name="Freeform 231"/>
            <p:cNvSpPr>
              <a:spLocks noChangeAspect="1"/>
            </p:cNvSpPr>
            <p:nvPr/>
          </p:nvSpPr>
          <p:spPr bwMode="auto">
            <a:xfrm>
              <a:off x="4405421" y="1624820"/>
              <a:ext cx="9610" cy="3869"/>
            </a:xfrm>
            <a:custGeom>
              <a:avLst/>
              <a:gdLst>
                <a:gd name="T0" fmla="*/ 3810 w 5"/>
                <a:gd name="T1" fmla="*/ 1588 h 3"/>
                <a:gd name="T2" fmla="*/ 9525 w 5"/>
                <a:gd name="T3" fmla="*/ 3175 h 3"/>
                <a:gd name="T4" fmla="*/ 3810 w 5"/>
                <a:gd name="T5" fmla="*/ 3175 h 3"/>
                <a:gd name="T6" fmla="*/ 0 w 5"/>
                <a:gd name="T7" fmla="*/ 1588 h 3"/>
                <a:gd name="T8" fmla="*/ 3810 w 5"/>
                <a:gd name="T9" fmla="*/ 1588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1"/>
                  </a:moveTo>
                  <a:cubicBezTo>
                    <a:pt x="3" y="1"/>
                    <a:pt x="5" y="1"/>
                    <a:pt x="5" y="2"/>
                  </a:cubicBezTo>
                  <a:cubicBezTo>
                    <a:pt x="5" y="3"/>
                    <a:pt x="3" y="2"/>
                    <a:pt x="2" y="2"/>
                  </a:cubicBezTo>
                  <a:cubicBezTo>
                    <a:pt x="1" y="2"/>
                    <a:pt x="0" y="1"/>
                    <a:pt x="0" y="1"/>
                  </a:cubicBezTo>
                  <a:cubicBezTo>
                    <a:pt x="0"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3" name="Freeform 232"/>
            <p:cNvSpPr>
              <a:spLocks noChangeAspect="1"/>
            </p:cNvSpPr>
            <p:nvPr/>
          </p:nvSpPr>
          <p:spPr bwMode="auto">
            <a:xfrm>
              <a:off x="4408624" y="1620952"/>
              <a:ext cx="8009" cy="3868"/>
            </a:xfrm>
            <a:custGeom>
              <a:avLst/>
              <a:gdLst>
                <a:gd name="T0" fmla="*/ 1985 w 4"/>
                <a:gd name="T1" fmla="*/ 2381 h 2"/>
                <a:gd name="T2" fmla="*/ 7938 w 4"/>
                <a:gd name="T3" fmla="*/ 4762 h 2"/>
                <a:gd name="T4" fmla="*/ 1985 w 4"/>
                <a:gd name="T5" fmla="*/ 4762 h 2"/>
                <a:gd name="T6" fmla="*/ 0 w 4"/>
                <a:gd name="T7" fmla="*/ 2381 h 2"/>
                <a:gd name="T8" fmla="*/ 1985 w 4"/>
                <a:gd name="T9" fmla="*/ 238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1"/>
                  </a:moveTo>
                  <a:cubicBezTo>
                    <a:pt x="2" y="1"/>
                    <a:pt x="4" y="1"/>
                    <a:pt x="4" y="2"/>
                  </a:cubicBezTo>
                  <a:cubicBezTo>
                    <a:pt x="4" y="2"/>
                    <a:pt x="2" y="2"/>
                    <a:pt x="1" y="2"/>
                  </a:cubicBezTo>
                  <a:cubicBezTo>
                    <a:pt x="1" y="2"/>
                    <a:pt x="0" y="1"/>
                    <a:pt x="0" y="1"/>
                  </a:cubicBezTo>
                  <a:cubicBezTo>
                    <a:pt x="0"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4" name="Freeform 233"/>
            <p:cNvSpPr>
              <a:spLocks noChangeAspect="1"/>
            </p:cNvSpPr>
            <p:nvPr/>
          </p:nvSpPr>
          <p:spPr bwMode="auto">
            <a:xfrm>
              <a:off x="4258064" y="1682856"/>
              <a:ext cx="4806" cy="5158"/>
            </a:xfrm>
            <a:custGeom>
              <a:avLst/>
              <a:gdLst>
                <a:gd name="T0" fmla="*/ 2382 w 2"/>
                <a:gd name="T1" fmla="*/ 0 h 3"/>
                <a:gd name="T2" fmla="*/ 0 w 2"/>
                <a:gd name="T3" fmla="*/ 4233 h 3"/>
                <a:gd name="T4" fmla="*/ 2382 w 2"/>
                <a:gd name="T5" fmla="*/ 6350 h 3"/>
                <a:gd name="T6" fmla="*/ 4763 w 2"/>
                <a:gd name="T7" fmla="*/ 6350 h 3"/>
                <a:gd name="T8" fmla="*/ 2382 w 2"/>
                <a:gd name="T9" fmla="*/ 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0"/>
                  </a:moveTo>
                  <a:cubicBezTo>
                    <a:pt x="1" y="0"/>
                    <a:pt x="0" y="1"/>
                    <a:pt x="0" y="2"/>
                  </a:cubicBezTo>
                  <a:cubicBezTo>
                    <a:pt x="0" y="2"/>
                    <a:pt x="0" y="3"/>
                    <a:pt x="1" y="3"/>
                  </a:cubicBezTo>
                  <a:cubicBezTo>
                    <a:pt x="1" y="3"/>
                    <a:pt x="1" y="3"/>
                    <a:pt x="2" y="3"/>
                  </a:cubicBezTo>
                  <a:cubicBezTo>
                    <a:pt x="2" y="2"/>
                    <a:pt x="2" y="1"/>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5" name="Freeform 234"/>
            <p:cNvSpPr>
              <a:spLocks noChangeAspect="1"/>
            </p:cNvSpPr>
            <p:nvPr/>
          </p:nvSpPr>
          <p:spPr bwMode="auto">
            <a:xfrm>
              <a:off x="4520746" y="1856962"/>
              <a:ext cx="24026" cy="43849"/>
            </a:xfrm>
            <a:custGeom>
              <a:avLst/>
              <a:gdLst>
                <a:gd name="T0" fmla="*/ 16486 w 13"/>
                <a:gd name="T1" fmla="*/ 53975 h 29"/>
                <a:gd name="T2" fmla="*/ 5495 w 13"/>
                <a:gd name="T3" fmla="*/ 48391 h 29"/>
                <a:gd name="T4" fmla="*/ 9159 w 13"/>
                <a:gd name="T5" fmla="*/ 44669 h 29"/>
                <a:gd name="T6" fmla="*/ 7327 w 13"/>
                <a:gd name="T7" fmla="*/ 39085 h 29"/>
                <a:gd name="T8" fmla="*/ 3664 w 13"/>
                <a:gd name="T9" fmla="*/ 35363 h 29"/>
                <a:gd name="T10" fmla="*/ 5495 w 13"/>
                <a:gd name="T11" fmla="*/ 31641 h 29"/>
                <a:gd name="T12" fmla="*/ 0 w 13"/>
                <a:gd name="T13" fmla="*/ 27918 h 29"/>
                <a:gd name="T14" fmla="*/ 3664 w 13"/>
                <a:gd name="T15" fmla="*/ 24196 h 29"/>
                <a:gd name="T16" fmla="*/ 3664 w 13"/>
                <a:gd name="T17" fmla="*/ 16751 h 29"/>
                <a:gd name="T18" fmla="*/ 12822 w 13"/>
                <a:gd name="T19" fmla="*/ 11167 h 29"/>
                <a:gd name="T20" fmla="*/ 16486 w 13"/>
                <a:gd name="T21" fmla="*/ 13028 h 29"/>
                <a:gd name="T22" fmla="*/ 18318 w 13"/>
                <a:gd name="T23" fmla="*/ 1861 h 29"/>
                <a:gd name="T24" fmla="*/ 21981 w 13"/>
                <a:gd name="T25" fmla="*/ 5584 h 29"/>
                <a:gd name="T26" fmla="*/ 23813 w 13"/>
                <a:gd name="T27" fmla="*/ 16751 h 29"/>
                <a:gd name="T28" fmla="*/ 23813 w 13"/>
                <a:gd name="T29" fmla="*/ 31641 h 29"/>
                <a:gd name="T30" fmla="*/ 20149 w 13"/>
                <a:gd name="T31" fmla="*/ 39085 h 29"/>
                <a:gd name="T32" fmla="*/ 16486 w 13"/>
                <a:gd name="T33" fmla="*/ 48391 h 29"/>
                <a:gd name="T34" fmla="*/ 16486 w 13"/>
                <a:gd name="T35" fmla="*/ 53975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6" name="Freeform 235"/>
            <p:cNvSpPr>
              <a:spLocks noChangeAspect="1"/>
            </p:cNvSpPr>
            <p:nvPr/>
          </p:nvSpPr>
          <p:spPr bwMode="auto">
            <a:xfrm>
              <a:off x="4511134" y="1904681"/>
              <a:ext cx="41645" cy="60614"/>
            </a:xfrm>
            <a:custGeom>
              <a:avLst/>
              <a:gdLst>
                <a:gd name="T0" fmla="*/ 35647 w 22"/>
                <a:gd name="T1" fmla="*/ 5739 h 39"/>
                <a:gd name="T2" fmla="*/ 41275 w 22"/>
                <a:gd name="T3" fmla="*/ 22958 h 39"/>
                <a:gd name="T4" fmla="*/ 35647 w 22"/>
                <a:gd name="T5" fmla="*/ 32523 h 39"/>
                <a:gd name="T6" fmla="*/ 37523 w 22"/>
                <a:gd name="T7" fmla="*/ 40176 h 39"/>
                <a:gd name="T8" fmla="*/ 35647 w 22"/>
                <a:gd name="T9" fmla="*/ 66959 h 39"/>
                <a:gd name="T10" fmla="*/ 24390 w 22"/>
                <a:gd name="T11" fmla="*/ 63133 h 39"/>
                <a:gd name="T12" fmla="*/ 20638 w 22"/>
                <a:gd name="T13" fmla="*/ 72699 h 39"/>
                <a:gd name="T14" fmla="*/ 11257 w 22"/>
                <a:gd name="T15" fmla="*/ 70786 h 39"/>
                <a:gd name="T16" fmla="*/ 5628 w 22"/>
                <a:gd name="T17" fmla="*/ 65046 h 39"/>
                <a:gd name="T18" fmla="*/ 7505 w 22"/>
                <a:gd name="T19" fmla="*/ 55481 h 39"/>
                <a:gd name="T20" fmla="*/ 13133 w 22"/>
                <a:gd name="T21" fmla="*/ 44002 h 39"/>
                <a:gd name="T22" fmla="*/ 7505 w 22"/>
                <a:gd name="T23" fmla="*/ 38263 h 39"/>
                <a:gd name="T24" fmla="*/ 9381 w 22"/>
                <a:gd name="T25" fmla="*/ 32523 h 39"/>
                <a:gd name="T26" fmla="*/ 5628 w 22"/>
                <a:gd name="T27" fmla="*/ 22958 h 39"/>
                <a:gd name="T28" fmla="*/ 0 w 22"/>
                <a:gd name="T29" fmla="*/ 17218 h 39"/>
                <a:gd name="T30" fmla="*/ 3752 w 22"/>
                <a:gd name="T31" fmla="*/ 3826 h 39"/>
                <a:gd name="T32" fmla="*/ 11257 w 22"/>
                <a:gd name="T33" fmla="*/ 13392 h 39"/>
                <a:gd name="T34" fmla="*/ 16885 w 22"/>
                <a:gd name="T35" fmla="*/ 7653 h 39"/>
                <a:gd name="T36" fmla="*/ 26266 w 22"/>
                <a:gd name="T37" fmla="*/ 1913 h 39"/>
                <a:gd name="T38" fmla="*/ 35647 w 22"/>
                <a:gd name="T39" fmla="*/ 573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7" name="Freeform 236"/>
            <p:cNvSpPr>
              <a:spLocks noChangeAspect="1"/>
            </p:cNvSpPr>
            <p:nvPr/>
          </p:nvSpPr>
          <p:spPr bwMode="auto">
            <a:xfrm>
              <a:off x="4615246" y="1979483"/>
              <a:ext cx="73679" cy="42559"/>
            </a:xfrm>
            <a:custGeom>
              <a:avLst/>
              <a:gdLst>
                <a:gd name="T0" fmla="*/ 73025 w 39"/>
                <a:gd name="T1" fmla="*/ 0 h 28"/>
                <a:gd name="T2" fmla="*/ 63663 w 39"/>
                <a:gd name="T3" fmla="*/ 20581 h 28"/>
                <a:gd name="T4" fmla="*/ 63663 w 39"/>
                <a:gd name="T5" fmla="*/ 31806 h 28"/>
                <a:gd name="T6" fmla="*/ 67408 w 39"/>
                <a:gd name="T7" fmla="*/ 39290 h 28"/>
                <a:gd name="T8" fmla="*/ 63663 w 39"/>
                <a:gd name="T9" fmla="*/ 44903 h 28"/>
                <a:gd name="T10" fmla="*/ 63663 w 39"/>
                <a:gd name="T11" fmla="*/ 52387 h 28"/>
                <a:gd name="T12" fmla="*/ 48683 w 39"/>
                <a:gd name="T13" fmla="*/ 44903 h 28"/>
                <a:gd name="T14" fmla="*/ 39321 w 39"/>
                <a:gd name="T15" fmla="*/ 37419 h 28"/>
                <a:gd name="T16" fmla="*/ 22469 w 39"/>
                <a:gd name="T17" fmla="*/ 29935 h 28"/>
                <a:gd name="T18" fmla="*/ 14979 w 39"/>
                <a:gd name="T19" fmla="*/ 22452 h 28"/>
                <a:gd name="T20" fmla="*/ 1872 w 39"/>
                <a:gd name="T21" fmla="*/ 18710 h 28"/>
                <a:gd name="T22" fmla="*/ 3745 w 39"/>
                <a:gd name="T23" fmla="*/ 7484 h 28"/>
                <a:gd name="T24" fmla="*/ 14979 w 39"/>
                <a:gd name="T25" fmla="*/ 7484 h 28"/>
                <a:gd name="T26" fmla="*/ 24342 w 39"/>
                <a:gd name="T27" fmla="*/ 9355 h 28"/>
                <a:gd name="T28" fmla="*/ 39321 w 39"/>
                <a:gd name="T29" fmla="*/ 9355 h 28"/>
                <a:gd name="T30" fmla="*/ 59918 w 39"/>
                <a:gd name="T31" fmla="*/ 3742 h 28"/>
                <a:gd name="T32" fmla="*/ 73025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8" name="Freeform 237"/>
            <p:cNvSpPr>
              <a:spLocks noChangeAspect="1"/>
            </p:cNvSpPr>
            <p:nvPr/>
          </p:nvSpPr>
          <p:spPr bwMode="auto">
            <a:xfrm>
              <a:off x="4506330" y="1457163"/>
              <a:ext cx="52856" cy="29663"/>
            </a:xfrm>
            <a:custGeom>
              <a:avLst/>
              <a:gdLst>
                <a:gd name="T0" fmla="*/ 50447 w 27"/>
                <a:gd name="T1" fmla="*/ 1922 h 19"/>
                <a:gd name="T2" fmla="*/ 46566 w 27"/>
                <a:gd name="T3" fmla="*/ 1922 h 19"/>
                <a:gd name="T4" fmla="*/ 36865 w 27"/>
                <a:gd name="T5" fmla="*/ 7687 h 19"/>
                <a:gd name="T6" fmla="*/ 27164 w 27"/>
                <a:gd name="T7" fmla="*/ 19217 h 19"/>
                <a:gd name="T8" fmla="*/ 9701 w 27"/>
                <a:gd name="T9" fmla="*/ 23061 h 19"/>
                <a:gd name="T10" fmla="*/ 0 w 27"/>
                <a:gd name="T11" fmla="*/ 34591 h 19"/>
                <a:gd name="T12" fmla="*/ 5821 w 27"/>
                <a:gd name="T13" fmla="*/ 32670 h 19"/>
                <a:gd name="T14" fmla="*/ 11642 w 27"/>
                <a:gd name="T15" fmla="*/ 26904 h 19"/>
                <a:gd name="T16" fmla="*/ 17462 w 27"/>
                <a:gd name="T17" fmla="*/ 24983 h 19"/>
                <a:gd name="T18" fmla="*/ 36865 w 27"/>
                <a:gd name="T19" fmla="*/ 23061 h 19"/>
                <a:gd name="T20" fmla="*/ 40745 w 27"/>
                <a:gd name="T21" fmla="*/ 23061 h 19"/>
                <a:gd name="T22" fmla="*/ 46566 w 27"/>
                <a:gd name="T23" fmla="*/ 26904 h 19"/>
                <a:gd name="T24" fmla="*/ 52387 w 27"/>
                <a:gd name="T25" fmla="*/ 15374 h 19"/>
                <a:gd name="T26" fmla="*/ 48506 w 27"/>
                <a:gd name="T27" fmla="*/ 7687 h 19"/>
                <a:gd name="T28" fmla="*/ 50447 w 27"/>
                <a:gd name="T29" fmla="*/ 1922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9" name="Freeform 238"/>
            <p:cNvSpPr>
              <a:spLocks noChangeAspect="1"/>
            </p:cNvSpPr>
            <p:nvPr/>
          </p:nvSpPr>
          <p:spPr bwMode="auto">
            <a:xfrm>
              <a:off x="4503127" y="1477797"/>
              <a:ext cx="65670" cy="63195"/>
            </a:xfrm>
            <a:custGeom>
              <a:avLst/>
              <a:gdLst>
                <a:gd name="T0" fmla="*/ 28715 w 34"/>
                <a:gd name="T1" fmla="*/ 77788 h 41"/>
                <a:gd name="T2" fmla="*/ 38286 w 34"/>
                <a:gd name="T3" fmla="*/ 75891 h 41"/>
                <a:gd name="T4" fmla="*/ 34458 w 34"/>
                <a:gd name="T5" fmla="*/ 70199 h 41"/>
                <a:gd name="T6" fmla="*/ 36372 w 34"/>
                <a:gd name="T7" fmla="*/ 66404 h 41"/>
                <a:gd name="T8" fmla="*/ 34458 w 34"/>
                <a:gd name="T9" fmla="*/ 55021 h 41"/>
                <a:gd name="T10" fmla="*/ 40201 w 34"/>
                <a:gd name="T11" fmla="*/ 55021 h 41"/>
                <a:gd name="T12" fmla="*/ 38286 w 34"/>
                <a:gd name="T13" fmla="*/ 49329 h 41"/>
                <a:gd name="T14" fmla="*/ 44029 w 34"/>
                <a:gd name="T15" fmla="*/ 43637 h 41"/>
                <a:gd name="T16" fmla="*/ 49772 w 34"/>
                <a:gd name="T17" fmla="*/ 32254 h 41"/>
                <a:gd name="T18" fmla="*/ 59344 w 34"/>
                <a:gd name="T19" fmla="*/ 30356 h 41"/>
                <a:gd name="T20" fmla="*/ 65087 w 34"/>
                <a:gd name="T21" fmla="*/ 20870 h 41"/>
                <a:gd name="T22" fmla="*/ 53601 w 34"/>
                <a:gd name="T23" fmla="*/ 18973 h 41"/>
                <a:gd name="T24" fmla="*/ 47858 w 34"/>
                <a:gd name="T25" fmla="*/ 13281 h 41"/>
                <a:gd name="T26" fmla="*/ 47858 w 34"/>
                <a:gd name="T27" fmla="*/ 3795 h 41"/>
                <a:gd name="T28" fmla="*/ 40201 w 34"/>
                <a:gd name="T29" fmla="*/ 0 h 41"/>
                <a:gd name="T30" fmla="*/ 28715 w 34"/>
                <a:gd name="T31" fmla="*/ 3795 h 41"/>
                <a:gd name="T32" fmla="*/ 26801 w 34"/>
                <a:gd name="T33" fmla="*/ 5692 h 41"/>
                <a:gd name="T34" fmla="*/ 26801 w 34"/>
                <a:gd name="T35" fmla="*/ 17075 h 41"/>
                <a:gd name="T36" fmla="*/ 21058 w 34"/>
                <a:gd name="T37" fmla="*/ 17075 h 41"/>
                <a:gd name="T38" fmla="*/ 21058 w 34"/>
                <a:gd name="T39" fmla="*/ 9486 h 41"/>
                <a:gd name="T40" fmla="*/ 17229 w 34"/>
                <a:gd name="T41" fmla="*/ 11384 h 41"/>
                <a:gd name="T42" fmla="*/ 15315 w 34"/>
                <a:gd name="T43" fmla="*/ 15178 h 41"/>
                <a:gd name="T44" fmla="*/ 15315 w 34"/>
                <a:gd name="T45" fmla="*/ 15178 h 41"/>
                <a:gd name="T46" fmla="*/ 15315 w 34"/>
                <a:gd name="T47" fmla="*/ 20870 h 41"/>
                <a:gd name="T48" fmla="*/ 11486 w 34"/>
                <a:gd name="T49" fmla="*/ 17075 h 41"/>
                <a:gd name="T50" fmla="*/ 1914 w 34"/>
                <a:gd name="T51" fmla="*/ 13281 h 41"/>
                <a:gd name="T52" fmla="*/ 3829 w 34"/>
                <a:gd name="T53" fmla="*/ 22767 h 41"/>
                <a:gd name="T54" fmla="*/ 1914 w 34"/>
                <a:gd name="T55" fmla="*/ 28459 h 41"/>
                <a:gd name="T56" fmla="*/ 3829 w 34"/>
                <a:gd name="T57" fmla="*/ 34151 h 41"/>
                <a:gd name="T58" fmla="*/ 1914 w 34"/>
                <a:gd name="T59" fmla="*/ 43637 h 41"/>
                <a:gd name="T60" fmla="*/ 0 w 34"/>
                <a:gd name="T61" fmla="*/ 51226 h 41"/>
                <a:gd name="T62" fmla="*/ 5743 w 34"/>
                <a:gd name="T63" fmla="*/ 51226 h 41"/>
                <a:gd name="T64" fmla="*/ 11486 w 34"/>
                <a:gd name="T65" fmla="*/ 56918 h 41"/>
                <a:gd name="T66" fmla="*/ 15315 w 34"/>
                <a:gd name="T67" fmla="*/ 64507 h 41"/>
                <a:gd name="T68" fmla="*/ 15315 w 34"/>
                <a:gd name="T69" fmla="*/ 73993 h 41"/>
                <a:gd name="T70" fmla="*/ 22972 w 34"/>
                <a:gd name="T71" fmla="*/ 75891 h 41"/>
                <a:gd name="T72" fmla="*/ 28715 w 34"/>
                <a:gd name="T73" fmla="*/ 77788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0" name="Freeform 239"/>
            <p:cNvSpPr>
              <a:spLocks noChangeAspect="1"/>
            </p:cNvSpPr>
            <p:nvPr/>
          </p:nvSpPr>
          <p:spPr bwMode="auto">
            <a:xfrm>
              <a:off x="4286895" y="1649324"/>
              <a:ext cx="9610" cy="3868"/>
            </a:xfrm>
            <a:custGeom>
              <a:avLst/>
              <a:gdLst>
                <a:gd name="T0" fmla="*/ 7620 w 5"/>
                <a:gd name="T1" fmla="*/ 3175 h 3"/>
                <a:gd name="T2" fmla="*/ 3810 w 5"/>
                <a:gd name="T3" fmla="*/ 0 h 3"/>
                <a:gd name="T4" fmla="*/ 0 w 5"/>
                <a:gd name="T5" fmla="*/ 3175 h 3"/>
                <a:gd name="T6" fmla="*/ 3810 w 5"/>
                <a:gd name="T7" fmla="*/ 4762 h 3"/>
                <a:gd name="T8" fmla="*/ 7620 w 5"/>
                <a:gd name="T9" fmla="*/ 3175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1" name="Freeform 240"/>
            <p:cNvSpPr>
              <a:spLocks noChangeAspect="1"/>
            </p:cNvSpPr>
            <p:nvPr/>
          </p:nvSpPr>
          <p:spPr bwMode="auto">
            <a:xfrm>
              <a:off x="4213216" y="1550019"/>
              <a:ext cx="11213" cy="7738"/>
            </a:xfrm>
            <a:custGeom>
              <a:avLst/>
              <a:gdLst>
                <a:gd name="T0" fmla="*/ 9261 w 6"/>
                <a:gd name="T1" fmla="*/ 1905 h 5"/>
                <a:gd name="T2" fmla="*/ 5557 w 6"/>
                <a:gd name="T3" fmla="*/ 1905 h 5"/>
                <a:gd name="T4" fmla="*/ 1852 w 6"/>
                <a:gd name="T5" fmla="*/ 7620 h 5"/>
                <a:gd name="T6" fmla="*/ 7409 w 6"/>
                <a:gd name="T7" fmla="*/ 7620 h 5"/>
                <a:gd name="T8" fmla="*/ 9261 w 6"/>
                <a:gd name="T9" fmla="*/ 190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5" y="1"/>
                  </a:moveTo>
                  <a:cubicBezTo>
                    <a:pt x="5" y="0"/>
                    <a:pt x="3" y="0"/>
                    <a:pt x="3" y="1"/>
                  </a:cubicBezTo>
                  <a:cubicBezTo>
                    <a:pt x="2" y="2"/>
                    <a:pt x="0" y="3"/>
                    <a:pt x="1" y="4"/>
                  </a:cubicBezTo>
                  <a:cubicBezTo>
                    <a:pt x="1" y="5"/>
                    <a:pt x="3" y="4"/>
                    <a:pt x="4" y="4"/>
                  </a:cubicBezTo>
                  <a:cubicBezTo>
                    <a:pt x="5" y="3"/>
                    <a:pt x="6"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2" name="Freeform 241"/>
            <p:cNvSpPr>
              <a:spLocks noChangeAspect="1"/>
            </p:cNvSpPr>
            <p:nvPr/>
          </p:nvSpPr>
          <p:spPr bwMode="auto">
            <a:xfrm>
              <a:off x="4200402" y="1512619"/>
              <a:ext cx="6407" cy="6448"/>
            </a:xfrm>
            <a:custGeom>
              <a:avLst/>
              <a:gdLst>
                <a:gd name="T0" fmla="*/ 4233 w 3"/>
                <a:gd name="T1" fmla="*/ 7937 h 4"/>
                <a:gd name="T2" fmla="*/ 6350 w 3"/>
                <a:gd name="T3" fmla="*/ 3969 h 4"/>
                <a:gd name="T4" fmla="*/ 2117 w 3"/>
                <a:gd name="T5" fmla="*/ 0 h 4"/>
                <a:gd name="T6" fmla="*/ 0 w 3"/>
                <a:gd name="T7" fmla="*/ 3969 h 4"/>
                <a:gd name="T8" fmla="*/ 4233 w 3"/>
                <a:gd name="T9" fmla="*/ 7937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3" y="1"/>
                    <a:pt x="2" y="0"/>
                    <a:pt x="1" y="0"/>
                  </a:cubicBezTo>
                  <a:cubicBezTo>
                    <a:pt x="0" y="0"/>
                    <a:pt x="0" y="1"/>
                    <a:pt x="0" y="2"/>
                  </a:cubicBezTo>
                  <a:cubicBezTo>
                    <a:pt x="1" y="3"/>
                    <a:pt x="1"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3" name="Freeform 242"/>
            <p:cNvSpPr>
              <a:spLocks noChangeAspect="1"/>
            </p:cNvSpPr>
            <p:nvPr/>
          </p:nvSpPr>
          <p:spPr bwMode="auto">
            <a:xfrm>
              <a:off x="4193996" y="1542281"/>
              <a:ext cx="4806" cy="6449"/>
            </a:xfrm>
            <a:custGeom>
              <a:avLst/>
              <a:gdLst>
                <a:gd name="T0" fmla="*/ 3175 w 3"/>
                <a:gd name="T1" fmla="*/ 7938 h 4"/>
                <a:gd name="T2" fmla="*/ 4763 w 3"/>
                <a:gd name="T3" fmla="*/ 3969 h 4"/>
                <a:gd name="T4" fmla="*/ 1588 w 3"/>
                <a:gd name="T5" fmla="*/ 0 h 4"/>
                <a:gd name="T6" fmla="*/ 0 w 3"/>
                <a:gd name="T7" fmla="*/ 3969 h 4"/>
                <a:gd name="T8" fmla="*/ 3175 w 3"/>
                <a:gd name="T9" fmla="*/ 793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4" name="Freeform 243"/>
            <p:cNvSpPr>
              <a:spLocks noChangeAspect="1"/>
            </p:cNvSpPr>
            <p:nvPr/>
          </p:nvSpPr>
          <p:spPr bwMode="auto">
            <a:xfrm>
              <a:off x="4216420" y="1578391"/>
              <a:ext cx="9610" cy="3869"/>
            </a:xfrm>
            <a:custGeom>
              <a:avLst/>
              <a:gdLst>
                <a:gd name="T0" fmla="*/ 9525 w 5"/>
                <a:gd name="T1" fmla="*/ 1588 h 3"/>
                <a:gd name="T2" fmla="*/ 5715 w 5"/>
                <a:gd name="T3" fmla="*/ 0 h 3"/>
                <a:gd name="T4" fmla="*/ 0 w 5"/>
                <a:gd name="T5" fmla="*/ 1588 h 3"/>
                <a:gd name="T6" fmla="*/ 3810 w 5"/>
                <a:gd name="T7" fmla="*/ 4763 h 3"/>
                <a:gd name="T8" fmla="*/ 9525 w 5"/>
                <a:gd name="T9" fmla="*/ 1588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1"/>
                  </a:moveTo>
                  <a:cubicBezTo>
                    <a:pt x="5" y="0"/>
                    <a:pt x="4" y="0"/>
                    <a:pt x="3" y="0"/>
                  </a:cubicBezTo>
                  <a:cubicBezTo>
                    <a:pt x="2" y="0"/>
                    <a:pt x="1" y="0"/>
                    <a:pt x="0" y="1"/>
                  </a:cubicBezTo>
                  <a:cubicBezTo>
                    <a:pt x="0" y="3"/>
                    <a:pt x="2" y="3"/>
                    <a:pt x="2" y="3"/>
                  </a:cubicBezTo>
                  <a:cubicBezTo>
                    <a:pt x="3" y="3"/>
                    <a:pt x="4" y="3"/>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5" name="Freeform 244"/>
            <p:cNvSpPr>
              <a:spLocks noChangeAspect="1"/>
            </p:cNvSpPr>
            <p:nvPr/>
          </p:nvSpPr>
          <p:spPr bwMode="auto">
            <a:xfrm>
              <a:off x="4563991" y="1470059"/>
              <a:ext cx="6407" cy="3869"/>
            </a:xfrm>
            <a:custGeom>
              <a:avLst/>
              <a:gdLst>
                <a:gd name="T0" fmla="*/ 6350 w 3"/>
                <a:gd name="T1" fmla="*/ 0 h 3"/>
                <a:gd name="T2" fmla="*/ 2117 w 3"/>
                <a:gd name="T3" fmla="*/ 0 h 3"/>
                <a:gd name="T4" fmla="*/ 0 w 3"/>
                <a:gd name="T5" fmla="*/ 3175 h 3"/>
                <a:gd name="T6" fmla="*/ 4233 w 3"/>
                <a:gd name="T7" fmla="*/ 3175 h 3"/>
                <a:gd name="T8" fmla="*/ 635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0"/>
                    <a:pt x="2" y="0"/>
                    <a:pt x="1" y="0"/>
                  </a:cubicBezTo>
                  <a:cubicBezTo>
                    <a:pt x="1" y="1"/>
                    <a:pt x="0" y="2"/>
                    <a:pt x="0" y="2"/>
                  </a:cubicBezTo>
                  <a:cubicBezTo>
                    <a:pt x="1" y="3"/>
                    <a:pt x="2" y="2"/>
                    <a:pt x="2" y="2"/>
                  </a:cubicBezTo>
                  <a:cubicBezTo>
                    <a:pt x="3" y="2"/>
                    <a:pt x="3"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6" name="Freeform 245"/>
            <p:cNvSpPr>
              <a:spLocks noChangeAspect="1"/>
            </p:cNvSpPr>
            <p:nvPr/>
          </p:nvSpPr>
          <p:spPr bwMode="auto">
            <a:xfrm>
              <a:off x="4541567" y="1534543"/>
              <a:ext cx="6407" cy="5158"/>
            </a:xfrm>
            <a:custGeom>
              <a:avLst/>
              <a:gdLst>
                <a:gd name="T0" fmla="*/ 6350 w 3"/>
                <a:gd name="T1" fmla="*/ 6350 h 3"/>
                <a:gd name="T2" fmla="*/ 4233 w 3"/>
                <a:gd name="T3" fmla="*/ 2117 h 3"/>
                <a:gd name="T4" fmla="*/ 0 w 3"/>
                <a:gd name="T5" fmla="*/ 2117 h 3"/>
                <a:gd name="T6" fmla="*/ 2117 w 3"/>
                <a:gd name="T7" fmla="*/ 4233 h 3"/>
                <a:gd name="T8" fmla="*/ 6350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3"/>
                  </a:moveTo>
                  <a:cubicBezTo>
                    <a:pt x="3" y="2"/>
                    <a:pt x="3" y="1"/>
                    <a:pt x="2" y="1"/>
                  </a:cubicBezTo>
                  <a:cubicBezTo>
                    <a:pt x="2" y="1"/>
                    <a:pt x="1" y="0"/>
                    <a:pt x="0" y="1"/>
                  </a:cubicBezTo>
                  <a:cubicBezTo>
                    <a:pt x="0" y="1"/>
                    <a:pt x="1" y="2"/>
                    <a:pt x="1" y="2"/>
                  </a:cubicBezTo>
                  <a:cubicBezTo>
                    <a:pt x="2" y="3"/>
                    <a:pt x="3" y="3"/>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7" name="Freeform 246"/>
            <p:cNvSpPr>
              <a:spLocks noChangeAspect="1"/>
            </p:cNvSpPr>
            <p:nvPr/>
          </p:nvSpPr>
          <p:spPr bwMode="auto">
            <a:xfrm>
              <a:off x="4552779" y="1537123"/>
              <a:ext cx="6407" cy="5158"/>
            </a:xfrm>
            <a:custGeom>
              <a:avLst/>
              <a:gdLst>
                <a:gd name="T0" fmla="*/ 6350 w 3"/>
                <a:gd name="T1" fmla="*/ 4233 h 3"/>
                <a:gd name="T2" fmla="*/ 4233 w 3"/>
                <a:gd name="T3" fmla="*/ 2117 h 3"/>
                <a:gd name="T4" fmla="*/ 0 w 3"/>
                <a:gd name="T5" fmla="*/ 0 h 3"/>
                <a:gd name="T6" fmla="*/ 2117 w 3"/>
                <a:gd name="T7" fmla="*/ 4233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1"/>
                    <a:pt x="2" y="1"/>
                  </a:cubicBezTo>
                  <a:cubicBezTo>
                    <a:pt x="2" y="0"/>
                    <a:pt x="1" y="0"/>
                    <a:pt x="0" y="0"/>
                  </a:cubicBezTo>
                  <a:cubicBezTo>
                    <a:pt x="0" y="1"/>
                    <a:pt x="0" y="1"/>
                    <a:pt x="1" y="2"/>
                  </a:cubicBezTo>
                  <a:cubicBezTo>
                    <a:pt x="1" y="2"/>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8" name="Freeform 247"/>
            <p:cNvSpPr>
              <a:spLocks noChangeAspect="1"/>
            </p:cNvSpPr>
            <p:nvPr/>
          </p:nvSpPr>
          <p:spPr bwMode="auto">
            <a:xfrm>
              <a:off x="4509533" y="1534543"/>
              <a:ext cx="1601" cy="6449"/>
            </a:xfrm>
            <a:custGeom>
              <a:avLst/>
              <a:gdLst>
                <a:gd name="T0" fmla="*/ 1587 w 1"/>
                <a:gd name="T1" fmla="*/ 7938 h 4"/>
                <a:gd name="T2" fmla="*/ 1587 w 1"/>
                <a:gd name="T3" fmla="*/ 3969 h 4"/>
                <a:gd name="T4" fmla="*/ 1587 w 1"/>
                <a:gd name="T5" fmla="*/ 0 h 4"/>
                <a:gd name="T6" fmla="*/ 0 w 1"/>
                <a:gd name="T7" fmla="*/ 3969 h 4"/>
                <a:gd name="T8" fmla="*/ 1587 w 1"/>
                <a:gd name="T9" fmla="*/ 7938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4"/>
                  </a:moveTo>
                  <a:cubicBezTo>
                    <a:pt x="1" y="4"/>
                    <a:pt x="1" y="3"/>
                    <a:pt x="1" y="2"/>
                  </a:cubicBezTo>
                  <a:cubicBezTo>
                    <a:pt x="1" y="2"/>
                    <a:pt x="1" y="1"/>
                    <a:pt x="1" y="0"/>
                  </a:cubicBezTo>
                  <a:cubicBezTo>
                    <a:pt x="0" y="0"/>
                    <a:pt x="0" y="1"/>
                    <a:pt x="0" y="2"/>
                  </a:cubicBezTo>
                  <a:cubicBezTo>
                    <a:pt x="0" y="3"/>
                    <a:pt x="1" y="4"/>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9" name="Freeform 248"/>
            <p:cNvSpPr>
              <a:spLocks noChangeAspect="1"/>
            </p:cNvSpPr>
            <p:nvPr/>
          </p:nvSpPr>
          <p:spPr bwMode="auto">
            <a:xfrm>
              <a:off x="4509533" y="1524225"/>
              <a:ext cx="3203" cy="2579"/>
            </a:xfrm>
            <a:custGeom>
              <a:avLst/>
              <a:gdLst>
                <a:gd name="T0" fmla="*/ 3175 w 2"/>
                <a:gd name="T1" fmla="*/ 3175 h 2"/>
                <a:gd name="T2" fmla="*/ 3175 w 2"/>
                <a:gd name="T3" fmla="*/ 0 h 2"/>
                <a:gd name="T4" fmla="*/ 0 w 2"/>
                <a:gd name="T5" fmla="*/ 0 h 2"/>
                <a:gd name="T6" fmla="*/ 1588 w 2"/>
                <a:gd name="T7" fmla="*/ 1588 h 2"/>
                <a:gd name="T8" fmla="*/ 3175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1"/>
                    <a:pt x="2" y="1"/>
                    <a:pt x="2" y="0"/>
                  </a:cubicBezTo>
                  <a:cubicBezTo>
                    <a:pt x="1" y="0"/>
                    <a:pt x="0" y="0"/>
                    <a:pt x="0" y="0"/>
                  </a:cubicBezTo>
                  <a:cubicBezTo>
                    <a:pt x="0" y="1"/>
                    <a:pt x="0" y="1"/>
                    <a:pt x="1" y="1"/>
                  </a:cubicBezTo>
                  <a:cubicBezTo>
                    <a:pt x="1"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0" name="Freeform 249"/>
            <p:cNvSpPr>
              <a:spLocks noChangeAspect="1"/>
            </p:cNvSpPr>
            <p:nvPr/>
          </p:nvSpPr>
          <p:spPr bwMode="auto">
            <a:xfrm>
              <a:off x="4511134" y="1542281"/>
              <a:ext cx="3203" cy="2579"/>
            </a:xfrm>
            <a:custGeom>
              <a:avLst/>
              <a:gdLst>
                <a:gd name="T0" fmla="*/ 3175 w 2"/>
                <a:gd name="T1" fmla="*/ 3175 h 2"/>
                <a:gd name="T2" fmla="*/ 3175 w 2"/>
                <a:gd name="T3" fmla="*/ 1588 h 2"/>
                <a:gd name="T4" fmla="*/ 1588 w 2"/>
                <a:gd name="T5" fmla="*/ 0 h 2"/>
                <a:gd name="T6" fmla="*/ 1588 w 2"/>
                <a:gd name="T7" fmla="*/ 1588 h 2"/>
                <a:gd name="T8" fmla="*/ 3175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2" y="1"/>
                    <a:pt x="2" y="1"/>
                  </a:cubicBezTo>
                  <a:cubicBezTo>
                    <a:pt x="2" y="0"/>
                    <a:pt x="1" y="0"/>
                    <a:pt x="1" y="0"/>
                  </a:cubicBezTo>
                  <a:cubicBezTo>
                    <a:pt x="0" y="0"/>
                    <a:pt x="1" y="1"/>
                    <a:pt x="1" y="1"/>
                  </a:cubicBezTo>
                  <a:cubicBezTo>
                    <a:pt x="1" y="1"/>
                    <a:pt x="1"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1" name="Freeform 250"/>
            <p:cNvSpPr>
              <a:spLocks noChangeAspect="1"/>
            </p:cNvSpPr>
            <p:nvPr/>
          </p:nvSpPr>
          <p:spPr bwMode="auto">
            <a:xfrm>
              <a:off x="4512737" y="1548730"/>
              <a:ext cx="6407" cy="1289"/>
            </a:xfrm>
            <a:custGeom>
              <a:avLst/>
              <a:gdLst>
                <a:gd name="T0" fmla="*/ 6350 w 3"/>
                <a:gd name="T1" fmla="*/ 1587 h 1"/>
                <a:gd name="T2" fmla="*/ 4233 w 3"/>
                <a:gd name="T3" fmla="*/ 0 h 1"/>
                <a:gd name="T4" fmla="*/ 0 w 3"/>
                <a:gd name="T5" fmla="*/ 1587 h 1"/>
                <a:gd name="T6" fmla="*/ 4233 w 3"/>
                <a:gd name="T7" fmla="*/ 1587 h 1"/>
                <a:gd name="T8" fmla="*/ 6350 w 3"/>
                <a:gd name="T9" fmla="*/ 1587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1"/>
                  </a:moveTo>
                  <a:cubicBezTo>
                    <a:pt x="3" y="0"/>
                    <a:pt x="2" y="0"/>
                    <a:pt x="2" y="0"/>
                  </a:cubicBezTo>
                  <a:cubicBezTo>
                    <a:pt x="1" y="0"/>
                    <a:pt x="1" y="0"/>
                    <a:pt x="0" y="1"/>
                  </a:cubicBezTo>
                  <a:cubicBezTo>
                    <a:pt x="0" y="1"/>
                    <a:pt x="1" y="1"/>
                    <a:pt x="2" y="1"/>
                  </a:cubicBezTo>
                  <a:cubicBezTo>
                    <a:pt x="2" y="1"/>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2" name="Freeform 251"/>
            <p:cNvSpPr>
              <a:spLocks noChangeAspect="1"/>
            </p:cNvSpPr>
            <p:nvPr/>
          </p:nvSpPr>
          <p:spPr bwMode="auto">
            <a:xfrm>
              <a:off x="4597627" y="1535833"/>
              <a:ext cx="4806" cy="3868"/>
            </a:xfrm>
            <a:custGeom>
              <a:avLst/>
              <a:gdLst>
                <a:gd name="T0" fmla="*/ 4763 w 3"/>
                <a:gd name="T1" fmla="*/ 2381 h 2"/>
                <a:gd name="T2" fmla="*/ 3175 w 3"/>
                <a:gd name="T3" fmla="*/ 0 h 2"/>
                <a:gd name="T4" fmla="*/ 0 w 3"/>
                <a:gd name="T5" fmla="*/ 2381 h 2"/>
                <a:gd name="T6" fmla="*/ 3175 w 3"/>
                <a:gd name="T7" fmla="*/ 4762 h 2"/>
                <a:gd name="T8" fmla="*/ 4763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3" y="1"/>
                  </a:moveTo>
                  <a:cubicBezTo>
                    <a:pt x="3" y="0"/>
                    <a:pt x="2" y="0"/>
                    <a:pt x="2" y="0"/>
                  </a:cubicBezTo>
                  <a:cubicBezTo>
                    <a:pt x="1" y="0"/>
                    <a:pt x="1" y="1"/>
                    <a:pt x="0" y="1"/>
                  </a:cubicBezTo>
                  <a:cubicBezTo>
                    <a:pt x="0" y="2"/>
                    <a:pt x="1" y="2"/>
                    <a:pt x="2" y="2"/>
                  </a:cubicBezTo>
                  <a:cubicBezTo>
                    <a:pt x="2" y="2"/>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3" name="Oval 252"/>
            <p:cNvSpPr>
              <a:spLocks noChangeAspect="1" noChangeArrowheads="1"/>
            </p:cNvSpPr>
            <p:nvPr/>
          </p:nvSpPr>
          <p:spPr bwMode="auto">
            <a:xfrm>
              <a:off x="4559186" y="1508749"/>
              <a:ext cx="3203"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4" name="Freeform 253"/>
            <p:cNvSpPr>
              <a:spLocks noChangeAspect="1"/>
            </p:cNvSpPr>
            <p:nvPr/>
          </p:nvSpPr>
          <p:spPr bwMode="auto">
            <a:xfrm>
              <a:off x="4656891" y="1529385"/>
              <a:ext cx="8008" cy="6449"/>
            </a:xfrm>
            <a:custGeom>
              <a:avLst/>
              <a:gdLst>
                <a:gd name="T0" fmla="*/ 0 w 4"/>
                <a:gd name="T1" fmla="*/ 1985 h 4"/>
                <a:gd name="T2" fmla="*/ 1984 w 4"/>
                <a:gd name="T3" fmla="*/ 5953 h 4"/>
                <a:gd name="T4" fmla="*/ 5953 w 4"/>
                <a:gd name="T5" fmla="*/ 7938 h 4"/>
                <a:gd name="T6" fmla="*/ 5953 w 4"/>
                <a:gd name="T7" fmla="*/ 3969 h 4"/>
                <a:gd name="T8" fmla="*/ 0 w 4"/>
                <a:gd name="T9" fmla="*/ 198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5" name="Freeform 254"/>
            <p:cNvSpPr>
              <a:spLocks noChangeAspect="1"/>
            </p:cNvSpPr>
            <p:nvPr/>
          </p:nvSpPr>
          <p:spPr bwMode="auto">
            <a:xfrm>
              <a:off x="4514338" y="1481667"/>
              <a:ext cx="6407" cy="6448"/>
            </a:xfrm>
            <a:custGeom>
              <a:avLst/>
              <a:gdLst>
                <a:gd name="T0" fmla="*/ 4233 w 3"/>
                <a:gd name="T1" fmla="*/ 0 h 4"/>
                <a:gd name="T2" fmla="*/ 2117 w 3"/>
                <a:gd name="T3" fmla="*/ 1984 h 4"/>
                <a:gd name="T4" fmla="*/ 0 w 3"/>
                <a:gd name="T5" fmla="*/ 5953 h 4"/>
                <a:gd name="T6" fmla="*/ 4233 w 3"/>
                <a:gd name="T7" fmla="*/ 3969 h 4"/>
                <a:gd name="T8" fmla="*/ 423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6" name="Freeform 255"/>
            <p:cNvSpPr>
              <a:spLocks noChangeAspect="1"/>
            </p:cNvSpPr>
            <p:nvPr/>
          </p:nvSpPr>
          <p:spPr bwMode="auto">
            <a:xfrm>
              <a:off x="4543169" y="1519067"/>
              <a:ext cx="20823" cy="16766"/>
            </a:xfrm>
            <a:custGeom>
              <a:avLst/>
              <a:gdLst>
                <a:gd name="T0" fmla="*/ 9381 w 11"/>
                <a:gd name="T1" fmla="*/ 0 h 11"/>
                <a:gd name="T2" fmla="*/ 16886 w 11"/>
                <a:gd name="T3" fmla="*/ 3752 h 11"/>
                <a:gd name="T4" fmla="*/ 20638 w 11"/>
                <a:gd name="T5" fmla="*/ 13133 h 11"/>
                <a:gd name="T6" fmla="*/ 16886 w 11"/>
                <a:gd name="T7" fmla="*/ 20638 h 11"/>
                <a:gd name="T8" fmla="*/ 5629 w 11"/>
                <a:gd name="T9" fmla="*/ 15009 h 11"/>
                <a:gd name="T10" fmla="*/ 0 w 11"/>
                <a:gd name="T11" fmla="*/ 9381 h 11"/>
                <a:gd name="T12" fmla="*/ 3752 w 11"/>
                <a:gd name="T13" fmla="*/ 1876 h 11"/>
                <a:gd name="T14" fmla="*/ 9381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7" name="Freeform 256"/>
            <p:cNvSpPr>
              <a:spLocks noChangeAspect="1"/>
            </p:cNvSpPr>
            <p:nvPr/>
          </p:nvSpPr>
          <p:spPr bwMode="auto">
            <a:xfrm>
              <a:off x="4567195" y="1503591"/>
              <a:ext cx="38441" cy="36111"/>
            </a:xfrm>
            <a:custGeom>
              <a:avLst/>
              <a:gdLst>
                <a:gd name="T0" fmla="*/ 22860 w 20"/>
                <a:gd name="T1" fmla="*/ 5798 h 23"/>
                <a:gd name="T2" fmla="*/ 32385 w 20"/>
                <a:gd name="T3" fmla="*/ 0 h 23"/>
                <a:gd name="T4" fmla="*/ 38100 w 20"/>
                <a:gd name="T5" fmla="*/ 5798 h 23"/>
                <a:gd name="T6" fmla="*/ 34290 w 20"/>
                <a:gd name="T7" fmla="*/ 21259 h 23"/>
                <a:gd name="T8" fmla="*/ 30480 w 20"/>
                <a:gd name="T9" fmla="*/ 25124 h 23"/>
                <a:gd name="T10" fmla="*/ 34290 w 20"/>
                <a:gd name="T11" fmla="*/ 30922 h 23"/>
                <a:gd name="T12" fmla="*/ 28575 w 20"/>
                <a:gd name="T13" fmla="*/ 32854 h 23"/>
                <a:gd name="T14" fmla="*/ 28575 w 20"/>
                <a:gd name="T15" fmla="*/ 42517 h 23"/>
                <a:gd name="T16" fmla="*/ 19050 w 20"/>
                <a:gd name="T17" fmla="*/ 36720 h 23"/>
                <a:gd name="T18" fmla="*/ 13335 w 20"/>
                <a:gd name="T19" fmla="*/ 34787 h 23"/>
                <a:gd name="T20" fmla="*/ 5715 w 20"/>
                <a:gd name="T21" fmla="*/ 28989 h 23"/>
                <a:gd name="T22" fmla="*/ 5715 w 20"/>
                <a:gd name="T23" fmla="*/ 21259 h 23"/>
                <a:gd name="T24" fmla="*/ 1905 w 20"/>
                <a:gd name="T25" fmla="*/ 15461 h 23"/>
                <a:gd name="T26" fmla="*/ 11430 w 20"/>
                <a:gd name="T27" fmla="*/ 13528 h 23"/>
                <a:gd name="T28" fmla="*/ 13335 w 20"/>
                <a:gd name="T29" fmla="*/ 7730 h 23"/>
                <a:gd name="T30" fmla="*/ 19050 w 20"/>
                <a:gd name="T31" fmla="*/ 11596 h 23"/>
                <a:gd name="T32" fmla="*/ 19050 w 20"/>
                <a:gd name="T33" fmla="*/ 15461 h 23"/>
                <a:gd name="T34" fmla="*/ 26670 w 20"/>
                <a:gd name="T35" fmla="*/ 17393 h 23"/>
                <a:gd name="T36" fmla="*/ 26670 w 20"/>
                <a:gd name="T37" fmla="*/ 9663 h 23"/>
                <a:gd name="T38" fmla="*/ 22860 w 20"/>
                <a:gd name="T39" fmla="*/ 5798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8" name="Freeform 257"/>
            <p:cNvSpPr>
              <a:spLocks noChangeAspect="1"/>
            </p:cNvSpPr>
            <p:nvPr/>
          </p:nvSpPr>
          <p:spPr bwMode="auto">
            <a:xfrm>
              <a:off x="4586415" y="1539702"/>
              <a:ext cx="9610" cy="9029"/>
            </a:xfrm>
            <a:custGeom>
              <a:avLst/>
              <a:gdLst>
                <a:gd name="T0" fmla="*/ 9525 w 5"/>
                <a:gd name="T1" fmla="*/ 1852 h 6"/>
                <a:gd name="T2" fmla="*/ 1905 w 5"/>
                <a:gd name="T3" fmla="*/ 0 h 6"/>
                <a:gd name="T4" fmla="*/ 3810 w 5"/>
                <a:gd name="T5" fmla="*/ 5557 h 6"/>
                <a:gd name="T6" fmla="*/ 5715 w 5"/>
                <a:gd name="T7" fmla="*/ 11113 h 6"/>
                <a:gd name="T8" fmla="*/ 9525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9" name="Freeform 258"/>
            <p:cNvSpPr>
              <a:spLocks noChangeAspect="1"/>
            </p:cNvSpPr>
            <p:nvPr/>
          </p:nvSpPr>
          <p:spPr bwMode="auto">
            <a:xfrm>
              <a:off x="4570398" y="1537123"/>
              <a:ext cx="17618" cy="10318"/>
            </a:xfrm>
            <a:custGeom>
              <a:avLst/>
              <a:gdLst>
                <a:gd name="T0" fmla="*/ 3880 w 9"/>
                <a:gd name="T1" fmla="*/ 0 h 6"/>
                <a:gd name="T2" fmla="*/ 13582 w 9"/>
                <a:gd name="T3" fmla="*/ 6350 h 6"/>
                <a:gd name="T4" fmla="*/ 17462 w 9"/>
                <a:gd name="T5" fmla="*/ 12700 h 6"/>
                <a:gd name="T6" fmla="*/ 5821 w 9"/>
                <a:gd name="T7" fmla="*/ 10583 h 6"/>
                <a:gd name="T8" fmla="*/ 0 w 9"/>
                <a:gd name="T9" fmla="*/ 6350 h 6"/>
                <a:gd name="T10" fmla="*/ 0 w 9"/>
                <a:gd name="T11" fmla="*/ 2117 h 6"/>
                <a:gd name="T12" fmla="*/ 3880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0" name="Freeform 259"/>
            <p:cNvSpPr>
              <a:spLocks noChangeAspect="1"/>
            </p:cNvSpPr>
            <p:nvPr/>
          </p:nvSpPr>
          <p:spPr bwMode="auto">
            <a:xfrm>
              <a:off x="4562389" y="1534543"/>
              <a:ext cx="4806" cy="10318"/>
            </a:xfrm>
            <a:custGeom>
              <a:avLst/>
              <a:gdLst>
                <a:gd name="T0" fmla="*/ 4763 w 2"/>
                <a:gd name="T1" fmla="*/ 0 h 7"/>
                <a:gd name="T2" fmla="*/ 0 w 2"/>
                <a:gd name="T3" fmla="*/ 12700 h 7"/>
                <a:gd name="T4" fmla="*/ 0 w 2"/>
                <a:gd name="T5" fmla="*/ 5443 h 7"/>
                <a:gd name="T6" fmla="*/ 476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1" name="Freeform 260"/>
            <p:cNvSpPr>
              <a:spLocks noChangeAspect="1"/>
            </p:cNvSpPr>
            <p:nvPr/>
          </p:nvSpPr>
          <p:spPr bwMode="auto">
            <a:xfrm>
              <a:off x="4618450" y="1544860"/>
              <a:ext cx="12814" cy="12897"/>
            </a:xfrm>
            <a:custGeom>
              <a:avLst/>
              <a:gdLst>
                <a:gd name="T0" fmla="*/ 5443 w 7"/>
                <a:gd name="T1" fmla="*/ 1984 h 8"/>
                <a:gd name="T2" fmla="*/ 10886 w 7"/>
                <a:gd name="T3" fmla="*/ 5953 h 8"/>
                <a:gd name="T4" fmla="*/ 9071 w 7"/>
                <a:gd name="T5" fmla="*/ 13891 h 8"/>
                <a:gd name="T6" fmla="*/ 1814 w 7"/>
                <a:gd name="T7" fmla="*/ 9922 h 8"/>
                <a:gd name="T8" fmla="*/ 1814 w 7"/>
                <a:gd name="T9" fmla="*/ 3969 h 8"/>
                <a:gd name="T10" fmla="*/ 5443 w 7"/>
                <a:gd name="T11" fmla="*/ 1984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2" name="Freeform 261"/>
            <p:cNvSpPr>
              <a:spLocks noChangeAspect="1"/>
            </p:cNvSpPr>
            <p:nvPr/>
          </p:nvSpPr>
          <p:spPr bwMode="auto">
            <a:xfrm>
              <a:off x="4187589" y="1428789"/>
              <a:ext cx="172985" cy="245039"/>
            </a:xfrm>
            <a:custGeom>
              <a:avLst/>
              <a:gdLst>
                <a:gd name="T0" fmla="*/ 167640 w 90"/>
                <a:gd name="T1" fmla="*/ 253900 h 158"/>
                <a:gd name="T2" fmla="*/ 125730 w 90"/>
                <a:gd name="T3" fmla="*/ 269172 h 158"/>
                <a:gd name="T4" fmla="*/ 87630 w 90"/>
                <a:gd name="T5" fmla="*/ 272990 h 158"/>
                <a:gd name="T6" fmla="*/ 55245 w 90"/>
                <a:gd name="T7" fmla="*/ 276808 h 158"/>
                <a:gd name="T8" fmla="*/ 20955 w 90"/>
                <a:gd name="T9" fmla="*/ 292080 h 158"/>
                <a:gd name="T10" fmla="*/ 0 w 90"/>
                <a:gd name="T11" fmla="*/ 297807 h 158"/>
                <a:gd name="T12" fmla="*/ 30480 w 90"/>
                <a:gd name="T13" fmla="*/ 263445 h 158"/>
                <a:gd name="T14" fmla="*/ 62865 w 90"/>
                <a:gd name="T15" fmla="*/ 255809 h 158"/>
                <a:gd name="T16" fmla="*/ 57150 w 90"/>
                <a:gd name="T17" fmla="*/ 251991 h 158"/>
                <a:gd name="T18" fmla="*/ 34290 w 90"/>
                <a:gd name="T19" fmla="*/ 240536 h 158"/>
                <a:gd name="T20" fmla="*/ 30480 w 90"/>
                <a:gd name="T21" fmla="*/ 225264 h 158"/>
                <a:gd name="T22" fmla="*/ 28575 w 90"/>
                <a:gd name="T23" fmla="*/ 202356 h 158"/>
                <a:gd name="T24" fmla="*/ 57150 w 90"/>
                <a:gd name="T25" fmla="*/ 185175 h 158"/>
                <a:gd name="T26" fmla="*/ 68580 w 90"/>
                <a:gd name="T27" fmla="*/ 169903 h 158"/>
                <a:gd name="T28" fmla="*/ 62865 w 90"/>
                <a:gd name="T29" fmla="*/ 158449 h 158"/>
                <a:gd name="T30" fmla="*/ 60960 w 90"/>
                <a:gd name="T31" fmla="*/ 129813 h 158"/>
                <a:gd name="T32" fmla="*/ 30480 w 90"/>
                <a:gd name="T33" fmla="*/ 133631 h 158"/>
                <a:gd name="T34" fmla="*/ 26670 w 90"/>
                <a:gd name="T35" fmla="*/ 114541 h 158"/>
                <a:gd name="T36" fmla="*/ 22860 w 90"/>
                <a:gd name="T37" fmla="*/ 97360 h 158"/>
                <a:gd name="T38" fmla="*/ 11430 w 90"/>
                <a:gd name="T39" fmla="*/ 99269 h 158"/>
                <a:gd name="T40" fmla="*/ 13335 w 90"/>
                <a:gd name="T41" fmla="*/ 78270 h 158"/>
                <a:gd name="T42" fmla="*/ 0 w 90"/>
                <a:gd name="T43" fmla="*/ 70634 h 158"/>
                <a:gd name="T44" fmla="*/ 9525 w 90"/>
                <a:gd name="T45" fmla="*/ 59180 h 158"/>
                <a:gd name="T46" fmla="*/ 7620 w 90"/>
                <a:gd name="T47" fmla="*/ 49634 h 158"/>
                <a:gd name="T48" fmla="*/ 5715 w 90"/>
                <a:gd name="T49" fmla="*/ 34362 h 158"/>
                <a:gd name="T50" fmla="*/ 13335 w 90"/>
                <a:gd name="T51" fmla="*/ 20999 h 158"/>
                <a:gd name="T52" fmla="*/ 22860 w 90"/>
                <a:gd name="T53" fmla="*/ 13363 h 158"/>
                <a:gd name="T54" fmla="*/ 36195 w 90"/>
                <a:gd name="T55" fmla="*/ 5727 h 158"/>
                <a:gd name="T56" fmla="*/ 64770 w 90"/>
                <a:gd name="T57" fmla="*/ 7636 h 158"/>
                <a:gd name="T58" fmla="*/ 40005 w 90"/>
                <a:gd name="T59" fmla="*/ 30544 h 158"/>
                <a:gd name="T60" fmla="*/ 38100 w 90"/>
                <a:gd name="T61" fmla="*/ 43907 h 158"/>
                <a:gd name="T62" fmla="*/ 76200 w 90"/>
                <a:gd name="T63" fmla="*/ 34362 h 158"/>
                <a:gd name="T64" fmla="*/ 91440 w 90"/>
                <a:gd name="T65" fmla="*/ 49634 h 158"/>
                <a:gd name="T66" fmla="*/ 68580 w 90"/>
                <a:gd name="T67" fmla="*/ 78270 h 158"/>
                <a:gd name="T68" fmla="*/ 59055 w 90"/>
                <a:gd name="T69" fmla="*/ 95451 h 158"/>
                <a:gd name="T70" fmla="*/ 87630 w 90"/>
                <a:gd name="T71" fmla="*/ 99269 h 158"/>
                <a:gd name="T72" fmla="*/ 106680 w 90"/>
                <a:gd name="T73" fmla="*/ 139358 h 158"/>
                <a:gd name="T74" fmla="*/ 135255 w 90"/>
                <a:gd name="T75" fmla="*/ 177539 h 158"/>
                <a:gd name="T76" fmla="*/ 142875 w 90"/>
                <a:gd name="T77" fmla="*/ 190902 h 158"/>
                <a:gd name="T78" fmla="*/ 142875 w 90"/>
                <a:gd name="T79" fmla="*/ 204265 h 158"/>
                <a:gd name="T80" fmla="*/ 171450 w 90"/>
                <a:gd name="T81" fmla="*/ 215719 h 158"/>
                <a:gd name="T82" fmla="*/ 160020 w 90"/>
                <a:gd name="T83" fmla="*/ 238627 h 158"/>
                <a:gd name="T84" fmla="*/ 146685 w 90"/>
                <a:gd name="T85" fmla="*/ 248172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3" name="Freeform 262"/>
            <p:cNvSpPr>
              <a:spLocks noChangeAspect="1"/>
            </p:cNvSpPr>
            <p:nvPr/>
          </p:nvSpPr>
          <p:spPr bwMode="auto">
            <a:xfrm>
              <a:off x="4190792" y="1513908"/>
              <a:ext cx="8009" cy="10318"/>
            </a:xfrm>
            <a:custGeom>
              <a:avLst/>
              <a:gdLst>
                <a:gd name="T0" fmla="*/ 1985 w 4"/>
                <a:gd name="T1" fmla="*/ 10583 h 6"/>
                <a:gd name="T2" fmla="*/ 3969 w 4"/>
                <a:gd name="T3" fmla="*/ 0 h 6"/>
                <a:gd name="T4" fmla="*/ 5953 w 4"/>
                <a:gd name="T5" fmla="*/ 0 h 6"/>
                <a:gd name="T6" fmla="*/ 5953 w 4"/>
                <a:gd name="T7" fmla="*/ 10583 h 6"/>
                <a:gd name="T8" fmla="*/ 1985 w 4"/>
                <a:gd name="T9" fmla="*/ 10583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4" name="Freeform 263"/>
            <p:cNvSpPr>
              <a:spLocks noChangeAspect="1"/>
            </p:cNvSpPr>
            <p:nvPr/>
          </p:nvSpPr>
          <p:spPr bwMode="auto">
            <a:xfrm>
              <a:off x="4161961" y="1432659"/>
              <a:ext cx="22424" cy="24503"/>
            </a:xfrm>
            <a:custGeom>
              <a:avLst/>
              <a:gdLst>
                <a:gd name="T0" fmla="*/ 22225 w 11"/>
                <a:gd name="T1" fmla="*/ 1885 h 16"/>
                <a:gd name="T2" fmla="*/ 16164 w 11"/>
                <a:gd name="T3" fmla="*/ 20736 h 16"/>
                <a:gd name="T4" fmla="*/ 2020 w 11"/>
                <a:gd name="T5" fmla="*/ 28277 h 16"/>
                <a:gd name="T6" fmla="*/ 4041 w 11"/>
                <a:gd name="T7" fmla="*/ 20736 h 16"/>
                <a:gd name="T8" fmla="*/ 2020 w 11"/>
                <a:gd name="T9" fmla="*/ 11311 h 16"/>
                <a:gd name="T10" fmla="*/ 8082 w 11"/>
                <a:gd name="T11" fmla="*/ 11311 h 16"/>
                <a:gd name="T12" fmla="*/ 14143 w 11"/>
                <a:gd name="T13" fmla="*/ 3770 h 16"/>
                <a:gd name="T14" fmla="*/ 22225 w 11"/>
                <a:gd name="T15" fmla="*/ 1885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5" name="Freeform 264"/>
            <p:cNvSpPr>
              <a:spLocks noChangeAspect="1"/>
            </p:cNvSpPr>
            <p:nvPr/>
          </p:nvSpPr>
          <p:spPr bwMode="auto">
            <a:xfrm>
              <a:off x="4168368" y="1457163"/>
              <a:ext cx="25627" cy="15476"/>
            </a:xfrm>
            <a:custGeom>
              <a:avLst/>
              <a:gdLst>
                <a:gd name="T0" fmla="*/ 15631 w 13"/>
                <a:gd name="T1" fmla="*/ 0 h 10"/>
                <a:gd name="T2" fmla="*/ 17585 w 13"/>
                <a:gd name="T3" fmla="*/ 11430 h 10"/>
                <a:gd name="T4" fmla="*/ 23446 w 13"/>
                <a:gd name="T5" fmla="*/ 15240 h 10"/>
                <a:gd name="T6" fmla="*/ 15631 w 13"/>
                <a:gd name="T7" fmla="*/ 17145 h 10"/>
                <a:gd name="T8" fmla="*/ 7815 w 13"/>
                <a:gd name="T9" fmla="*/ 11430 h 10"/>
                <a:gd name="T10" fmla="*/ 1954 w 13"/>
                <a:gd name="T11" fmla="*/ 5715 h 10"/>
                <a:gd name="T12" fmla="*/ 11723 w 13"/>
                <a:gd name="T13" fmla="*/ 5715 h 10"/>
                <a:gd name="T14" fmla="*/ 15631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6" name="Freeform 265"/>
            <p:cNvSpPr>
              <a:spLocks noChangeAspect="1"/>
            </p:cNvSpPr>
            <p:nvPr/>
          </p:nvSpPr>
          <p:spPr bwMode="auto">
            <a:xfrm>
              <a:off x="4174775" y="1506170"/>
              <a:ext cx="12814" cy="10318"/>
            </a:xfrm>
            <a:custGeom>
              <a:avLst/>
              <a:gdLst>
                <a:gd name="T0" fmla="*/ 0 w 7"/>
                <a:gd name="T1" fmla="*/ 8467 h 6"/>
                <a:gd name="T2" fmla="*/ 7257 w 7"/>
                <a:gd name="T3" fmla="*/ 0 h 6"/>
                <a:gd name="T4" fmla="*/ 12700 w 7"/>
                <a:gd name="T5" fmla="*/ 10583 h 6"/>
                <a:gd name="T6" fmla="*/ 9071 w 7"/>
                <a:gd name="T7" fmla="*/ 12700 h 6"/>
                <a:gd name="T8" fmla="*/ 5443 w 7"/>
                <a:gd name="T9" fmla="*/ 10583 h 6"/>
                <a:gd name="T10" fmla="*/ 0 w 7"/>
                <a:gd name="T11" fmla="*/ 8467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7" name="Freeform 266"/>
            <p:cNvSpPr>
              <a:spLocks noChangeAspect="1"/>
            </p:cNvSpPr>
            <p:nvPr/>
          </p:nvSpPr>
          <p:spPr bwMode="auto">
            <a:xfrm>
              <a:off x="4246853" y="1410734"/>
              <a:ext cx="20822" cy="14187"/>
            </a:xfrm>
            <a:custGeom>
              <a:avLst/>
              <a:gdLst>
                <a:gd name="T0" fmla="*/ 1876 w 11"/>
                <a:gd name="T1" fmla="*/ 3881 h 9"/>
                <a:gd name="T2" fmla="*/ 3752 w 11"/>
                <a:gd name="T3" fmla="*/ 13582 h 9"/>
                <a:gd name="T4" fmla="*/ 15009 w 11"/>
                <a:gd name="T5" fmla="*/ 15523 h 9"/>
                <a:gd name="T6" fmla="*/ 9380 w 11"/>
                <a:gd name="T7" fmla="*/ 5821 h 9"/>
                <a:gd name="T8" fmla="*/ 18761 w 11"/>
                <a:gd name="T9" fmla="*/ 5821 h 9"/>
                <a:gd name="T10" fmla="*/ 15009 w 11"/>
                <a:gd name="T11" fmla="*/ 1940 h 9"/>
                <a:gd name="T12" fmla="*/ 7504 w 11"/>
                <a:gd name="T13" fmla="*/ 1940 h 9"/>
                <a:gd name="T14" fmla="*/ 9380 w 11"/>
                <a:gd name="T15" fmla="*/ 5821 h 9"/>
                <a:gd name="T16" fmla="*/ 1876 w 11"/>
                <a:gd name="T17" fmla="*/ 388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8" name="Freeform 267"/>
            <p:cNvSpPr>
              <a:spLocks noChangeAspect="1"/>
            </p:cNvSpPr>
            <p:nvPr/>
          </p:nvSpPr>
          <p:spPr bwMode="auto">
            <a:xfrm>
              <a:off x="4176377" y="1475218"/>
              <a:ext cx="8008" cy="5158"/>
            </a:xfrm>
            <a:custGeom>
              <a:avLst/>
              <a:gdLst>
                <a:gd name="T0" fmla="*/ 3969 w 4"/>
                <a:gd name="T1" fmla="*/ 0 h 3"/>
                <a:gd name="T2" fmla="*/ 7937 w 4"/>
                <a:gd name="T3" fmla="*/ 4233 h 3"/>
                <a:gd name="T4" fmla="*/ 3969 w 4"/>
                <a:gd name="T5" fmla="*/ 6350 h 3"/>
                <a:gd name="T6" fmla="*/ 0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3" y="0"/>
                    <a:pt x="4" y="1"/>
                    <a:pt x="4" y="2"/>
                  </a:cubicBezTo>
                  <a:cubicBezTo>
                    <a:pt x="4" y="2"/>
                    <a:pt x="3" y="3"/>
                    <a:pt x="2" y="3"/>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9" name="Freeform 268"/>
            <p:cNvSpPr>
              <a:spLocks noChangeAspect="1"/>
            </p:cNvSpPr>
            <p:nvPr/>
          </p:nvSpPr>
          <p:spPr bwMode="auto">
            <a:xfrm>
              <a:off x="4155554" y="1457163"/>
              <a:ext cx="4806" cy="2579"/>
            </a:xfrm>
            <a:custGeom>
              <a:avLst/>
              <a:gdLst>
                <a:gd name="T0" fmla="*/ 1588 w 3"/>
                <a:gd name="T1" fmla="*/ 0 h 2"/>
                <a:gd name="T2" fmla="*/ 4763 w 3"/>
                <a:gd name="T3" fmla="*/ 1588 h 2"/>
                <a:gd name="T4" fmla="*/ 1588 w 3"/>
                <a:gd name="T5" fmla="*/ 3175 h 2"/>
                <a:gd name="T6" fmla="*/ 0 w 3"/>
                <a:gd name="T7" fmla="*/ 1588 h 2"/>
                <a:gd name="T8" fmla="*/ 1588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0"/>
                    <a:pt x="3" y="1"/>
                  </a:cubicBezTo>
                  <a:cubicBezTo>
                    <a:pt x="3" y="2"/>
                    <a:pt x="2" y="2"/>
                    <a:pt x="1" y="2"/>
                  </a:cubicBezTo>
                  <a:cubicBezTo>
                    <a:pt x="1" y="2"/>
                    <a:pt x="0" y="1"/>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0" name="Freeform 269"/>
            <p:cNvSpPr>
              <a:spLocks noChangeAspect="1"/>
            </p:cNvSpPr>
            <p:nvPr/>
          </p:nvSpPr>
          <p:spPr bwMode="auto">
            <a:xfrm>
              <a:off x="4155554" y="1462321"/>
              <a:ext cx="4806" cy="2579"/>
            </a:xfrm>
            <a:custGeom>
              <a:avLst/>
              <a:gdLst>
                <a:gd name="T0" fmla="*/ 1588 w 3"/>
                <a:gd name="T1" fmla="*/ 0 h 2"/>
                <a:gd name="T2" fmla="*/ 4763 w 3"/>
                <a:gd name="T3" fmla="*/ 1588 h 2"/>
                <a:gd name="T4" fmla="*/ 3175 w 3"/>
                <a:gd name="T5" fmla="*/ 3175 h 2"/>
                <a:gd name="T6" fmla="*/ 0 w 3"/>
                <a:gd name="T7" fmla="*/ 1588 h 2"/>
                <a:gd name="T8" fmla="*/ 1588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1"/>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1" name="Freeform 270"/>
            <p:cNvSpPr>
              <a:spLocks noChangeAspect="1"/>
            </p:cNvSpPr>
            <p:nvPr/>
          </p:nvSpPr>
          <p:spPr bwMode="auto">
            <a:xfrm>
              <a:off x="4155554" y="1466190"/>
              <a:ext cx="4806" cy="3868"/>
            </a:xfrm>
            <a:custGeom>
              <a:avLst/>
              <a:gdLst>
                <a:gd name="T0" fmla="*/ 1588 w 3"/>
                <a:gd name="T1" fmla="*/ 2381 h 2"/>
                <a:gd name="T2" fmla="*/ 4763 w 3"/>
                <a:gd name="T3" fmla="*/ 4762 h 2"/>
                <a:gd name="T4" fmla="*/ 1588 w 3"/>
                <a:gd name="T5" fmla="*/ 4762 h 2"/>
                <a:gd name="T6" fmla="*/ 0 w 3"/>
                <a:gd name="T7" fmla="*/ 2381 h 2"/>
                <a:gd name="T8" fmla="*/ 1588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2" y="1"/>
                    <a:pt x="3" y="1"/>
                    <a:pt x="3" y="2"/>
                  </a:cubicBezTo>
                  <a:cubicBezTo>
                    <a:pt x="3" y="2"/>
                    <a:pt x="2" y="2"/>
                    <a:pt x="1" y="2"/>
                  </a:cubicBezTo>
                  <a:cubicBezTo>
                    <a:pt x="0" y="2"/>
                    <a:pt x="0" y="2"/>
                    <a:pt x="0" y="1"/>
                  </a:cubicBezTo>
                  <a:cubicBezTo>
                    <a:pt x="0" y="1"/>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2" name="Freeform 271"/>
            <p:cNvSpPr>
              <a:spLocks noChangeAspect="1"/>
            </p:cNvSpPr>
            <p:nvPr/>
          </p:nvSpPr>
          <p:spPr bwMode="auto">
            <a:xfrm>
              <a:off x="4152351" y="1471349"/>
              <a:ext cx="6407" cy="2579"/>
            </a:xfrm>
            <a:custGeom>
              <a:avLst/>
              <a:gdLst>
                <a:gd name="T0" fmla="*/ 4233 w 3"/>
                <a:gd name="T1" fmla="*/ 1588 h 2"/>
                <a:gd name="T2" fmla="*/ 6350 w 3"/>
                <a:gd name="T3" fmla="*/ 3175 h 2"/>
                <a:gd name="T4" fmla="*/ 4233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2" y="2"/>
                  </a:cubicBezTo>
                  <a:cubicBezTo>
                    <a:pt x="1" y="2"/>
                    <a:pt x="0" y="2"/>
                    <a:pt x="0" y="1"/>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3" name="Oval 272"/>
            <p:cNvSpPr>
              <a:spLocks noChangeAspect="1" noChangeArrowheads="1"/>
            </p:cNvSpPr>
            <p:nvPr/>
          </p:nvSpPr>
          <p:spPr bwMode="auto">
            <a:xfrm>
              <a:off x="4152351" y="1477797"/>
              <a:ext cx="4806" cy="1290"/>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4" name="Freeform 273"/>
            <p:cNvSpPr>
              <a:spLocks noChangeAspect="1"/>
            </p:cNvSpPr>
            <p:nvPr/>
          </p:nvSpPr>
          <p:spPr bwMode="auto">
            <a:xfrm>
              <a:off x="4176377" y="1488114"/>
              <a:ext cx="17618" cy="10318"/>
            </a:xfrm>
            <a:custGeom>
              <a:avLst/>
              <a:gdLst>
                <a:gd name="T0" fmla="*/ 7761 w 9"/>
                <a:gd name="T1" fmla="*/ 0 h 7"/>
                <a:gd name="T2" fmla="*/ 17462 w 9"/>
                <a:gd name="T3" fmla="*/ 5443 h 7"/>
                <a:gd name="T4" fmla="*/ 13582 w 9"/>
                <a:gd name="T5" fmla="*/ 10886 h 7"/>
                <a:gd name="T6" fmla="*/ 1940 w 9"/>
                <a:gd name="T7" fmla="*/ 10886 h 7"/>
                <a:gd name="T8" fmla="*/ 7761 w 9"/>
                <a:gd name="T9" fmla="*/ 5443 h 7"/>
                <a:gd name="T10" fmla="*/ 5821 w 9"/>
                <a:gd name="T11" fmla="*/ 0 h 7"/>
                <a:gd name="T12" fmla="*/ 7761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5" name="Freeform 274"/>
            <p:cNvSpPr>
              <a:spLocks noChangeAspect="1"/>
            </p:cNvSpPr>
            <p:nvPr/>
          </p:nvSpPr>
          <p:spPr bwMode="auto">
            <a:xfrm>
              <a:off x="4165165" y="1485535"/>
              <a:ext cx="11213" cy="10318"/>
            </a:xfrm>
            <a:custGeom>
              <a:avLst/>
              <a:gdLst>
                <a:gd name="T0" fmla="*/ 11113 w 6"/>
                <a:gd name="T1" fmla="*/ 1814 h 7"/>
                <a:gd name="T2" fmla="*/ 1852 w 6"/>
                <a:gd name="T3" fmla="*/ 12700 h 7"/>
                <a:gd name="T4" fmla="*/ 1852 w 6"/>
                <a:gd name="T5" fmla="*/ 5443 h 7"/>
                <a:gd name="T6" fmla="*/ 11113 w 6"/>
                <a:gd name="T7" fmla="*/ 1814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6" name="Freeform 275"/>
            <p:cNvSpPr>
              <a:spLocks noChangeAspect="1"/>
            </p:cNvSpPr>
            <p:nvPr/>
          </p:nvSpPr>
          <p:spPr bwMode="auto">
            <a:xfrm>
              <a:off x="4282090" y="1378492"/>
              <a:ext cx="17618" cy="16766"/>
            </a:xfrm>
            <a:custGeom>
              <a:avLst/>
              <a:gdLst>
                <a:gd name="T0" fmla="*/ 1940 w 9"/>
                <a:gd name="T1" fmla="*/ 1876 h 11"/>
                <a:gd name="T2" fmla="*/ 11641 w 9"/>
                <a:gd name="T3" fmla="*/ 0 h 11"/>
                <a:gd name="T4" fmla="*/ 17462 w 9"/>
                <a:gd name="T5" fmla="*/ 3752 h 11"/>
                <a:gd name="T6" fmla="*/ 11641 w 9"/>
                <a:gd name="T7" fmla="*/ 20637 h 11"/>
                <a:gd name="T8" fmla="*/ 11641 w 9"/>
                <a:gd name="T9" fmla="*/ 11257 h 11"/>
                <a:gd name="T10" fmla="*/ 3880 w 9"/>
                <a:gd name="T11" fmla="*/ 7504 h 11"/>
                <a:gd name="T12" fmla="*/ 1940 w 9"/>
                <a:gd name="T13" fmla="*/ 1876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7" name="Freeform 276"/>
            <p:cNvSpPr>
              <a:spLocks noChangeAspect="1"/>
            </p:cNvSpPr>
            <p:nvPr/>
          </p:nvSpPr>
          <p:spPr bwMode="auto">
            <a:xfrm>
              <a:off x="4302912" y="1364305"/>
              <a:ext cx="6407" cy="6449"/>
            </a:xfrm>
            <a:custGeom>
              <a:avLst/>
              <a:gdLst>
                <a:gd name="T0" fmla="*/ 4233 w 3"/>
                <a:gd name="T1" fmla="*/ 0 h 4"/>
                <a:gd name="T2" fmla="*/ 6350 w 3"/>
                <a:gd name="T3" fmla="*/ 3969 h 4"/>
                <a:gd name="T4" fmla="*/ 2117 w 3"/>
                <a:gd name="T5" fmla="*/ 7938 h 4"/>
                <a:gd name="T6" fmla="*/ 0 w 3"/>
                <a:gd name="T7" fmla="*/ 1985 h 4"/>
                <a:gd name="T8" fmla="*/ 423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3" y="1"/>
                    <a:pt x="3" y="2"/>
                  </a:cubicBezTo>
                  <a:cubicBezTo>
                    <a:pt x="2" y="3"/>
                    <a:pt x="2" y="4"/>
                    <a:pt x="1" y="4"/>
                  </a:cubicBezTo>
                  <a:cubicBezTo>
                    <a:pt x="0" y="4"/>
                    <a:pt x="0" y="3"/>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8" name="Freeform 277"/>
            <p:cNvSpPr>
              <a:spLocks noChangeAspect="1"/>
            </p:cNvSpPr>
            <p:nvPr/>
          </p:nvSpPr>
          <p:spPr bwMode="auto">
            <a:xfrm>
              <a:off x="4294903" y="1366884"/>
              <a:ext cx="6407" cy="7738"/>
            </a:xfrm>
            <a:custGeom>
              <a:avLst/>
              <a:gdLst>
                <a:gd name="T0" fmla="*/ 4233 w 3"/>
                <a:gd name="T1" fmla="*/ 0 h 5"/>
                <a:gd name="T2" fmla="*/ 6350 w 3"/>
                <a:gd name="T3" fmla="*/ 5715 h 5"/>
                <a:gd name="T4" fmla="*/ 4233 w 3"/>
                <a:gd name="T5" fmla="*/ 9525 h 5"/>
                <a:gd name="T6" fmla="*/ 0 w 3"/>
                <a:gd name="T7" fmla="*/ 3810 h 5"/>
                <a:gd name="T8" fmla="*/ 4233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0"/>
                  </a:moveTo>
                  <a:cubicBezTo>
                    <a:pt x="3" y="0"/>
                    <a:pt x="3" y="2"/>
                    <a:pt x="3" y="3"/>
                  </a:cubicBezTo>
                  <a:cubicBezTo>
                    <a:pt x="3" y="3"/>
                    <a:pt x="2" y="5"/>
                    <a:pt x="2" y="5"/>
                  </a:cubicBezTo>
                  <a:cubicBezTo>
                    <a:pt x="1" y="4"/>
                    <a:pt x="0"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9" name="Freeform 278"/>
            <p:cNvSpPr>
              <a:spLocks noChangeAspect="1"/>
            </p:cNvSpPr>
            <p:nvPr/>
          </p:nvSpPr>
          <p:spPr bwMode="auto">
            <a:xfrm>
              <a:off x="4437456" y="1388810"/>
              <a:ext cx="6407" cy="7738"/>
            </a:xfrm>
            <a:custGeom>
              <a:avLst/>
              <a:gdLst>
                <a:gd name="T0" fmla="*/ 4233 w 3"/>
                <a:gd name="T1" fmla="*/ 1905 h 5"/>
                <a:gd name="T2" fmla="*/ 6350 w 3"/>
                <a:gd name="T3" fmla="*/ 5715 h 5"/>
                <a:gd name="T4" fmla="*/ 4233 w 3"/>
                <a:gd name="T5" fmla="*/ 9525 h 5"/>
                <a:gd name="T6" fmla="*/ 0 w 3"/>
                <a:gd name="T7" fmla="*/ 3810 h 5"/>
                <a:gd name="T8" fmla="*/ 4233 w 3"/>
                <a:gd name="T9" fmla="*/ 190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0" name="Freeform 279"/>
            <p:cNvSpPr>
              <a:spLocks noChangeAspect="1"/>
            </p:cNvSpPr>
            <p:nvPr/>
          </p:nvSpPr>
          <p:spPr bwMode="auto">
            <a:xfrm>
              <a:off x="4448669" y="1412024"/>
              <a:ext cx="9610" cy="5158"/>
            </a:xfrm>
            <a:custGeom>
              <a:avLst/>
              <a:gdLst>
                <a:gd name="T0" fmla="*/ 7620 w 5"/>
                <a:gd name="T1" fmla="*/ 4233 h 3"/>
                <a:gd name="T2" fmla="*/ 3810 w 5"/>
                <a:gd name="T3" fmla="*/ 6350 h 3"/>
                <a:gd name="T4" fmla="*/ 0 w 5"/>
                <a:gd name="T5" fmla="*/ 4233 h 3"/>
                <a:gd name="T6" fmla="*/ 5715 w 5"/>
                <a:gd name="T7" fmla="*/ 0 h 3"/>
                <a:gd name="T8" fmla="*/ 762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1" name="Freeform 280"/>
            <p:cNvSpPr>
              <a:spLocks noChangeAspect="1"/>
            </p:cNvSpPr>
            <p:nvPr/>
          </p:nvSpPr>
          <p:spPr bwMode="auto">
            <a:xfrm>
              <a:off x="4442261" y="1319167"/>
              <a:ext cx="9610" cy="5158"/>
            </a:xfrm>
            <a:custGeom>
              <a:avLst/>
              <a:gdLst>
                <a:gd name="T0" fmla="*/ 9525 w 5"/>
                <a:gd name="T1" fmla="*/ 4233 h 3"/>
                <a:gd name="T2" fmla="*/ 5715 w 5"/>
                <a:gd name="T3" fmla="*/ 6350 h 3"/>
                <a:gd name="T4" fmla="*/ 1905 w 5"/>
                <a:gd name="T5" fmla="*/ 2117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2" name="Freeform 281"/>
            <p:cNvSpPr>
              <a:spLocks noChangeAspect="1"/>
            </p:cNvSpPr>
            <p:nvPr/>
          </p:nvSpPr>
          <p:spPr bwMode="auto">
            <a:xfrm>
              <a:off x="4483906" y="1295953"/>
              <a:ext cx="8008" cy="3868"/>
            </a:xfrm>
            <a:custGeom>
              <a:avLst/>
              <a:gdLst>
                <a:gd name="T0" fmla="*/ 7937 w 4"/>
                <a:gd name="T1" fmla="*/ 2381 h 2"/>
                <a:gd name="T2" fmla="*/ 3969 w 4"/>
                <a:gd name="T3" fmla="*/ 4762 h 2"/>
                <a:gd name="T4" fmla="*/ 0 w 4"/>
                <a:gd name="T5" fmla="*/ 2381 h 2"/>
                <a:gd name="T6" fmla="*/ 3969 w 4"/>
                <a:gd name="T7" fmla="*/ 0 h 2"/>
                <a:gd name="T8" fmla="*/ 7937 w 4"/>
                <a:gd name="T9" fmla="*/ 238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3" name="Freeform 282"/>
            <p:cNvSpPr>
              <a:spLocks noChangeAspect="1"/>
            </p:cNvSpPr>
            <p:nvPr/>
          </p:nvSpPr>
          <p:spPr bwMode="auto">
            <a:xfrm>
              <a:off x="4491915" y="1286924"/>
              <a:ext cx="9610" cy="5158"/>
            </a:xfrm>
            <a:custGeom>
              <a:avLst/>
              <a:gdLst>
                <a:gd name="T0" fmla="*/ 9525 w 5"/>
                <a:gd name="T1" fmla="*/ 4233 h 3"/>
                <a:gd name="T2" fmla="*/ 3810 w 5"/>
                <a:gd name="T3" fmla="*/ 6350 h 3"/>
                <a:gd name="T4" fmla="*/ 0 w 5"/>
                <a:gd name="T5" fmla="*/ 2117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4" name="Freeform 283"/>
            <p:cNvSpPr>
              <a:spLocks noChangeAspect="1"/>
            </p:cNvSpPr>
            <p:nvPr/>
          </p:nvSpPr>
          <p:spPr bwMode="auto">
            <a:xfrm>
              <a:off x="4571999" y="1215993"/>
              <a:ext cx="9610" cy="3868"/>
            </a:xfrm>
            <a:custGeom>
              <a:avLst/>
              <a:gdLst>
                <a:gd name="T0" fmla="*/ 9525 w 5"/>
                <a:gd name="T1" fmla="*/ 3175 h 3"/>
                <a:gd name="T2" fmla="*/ 5715 w 5"/>
                <a:gd name="T3" fmla="*/ 4762 h 3"/>
                <a:gd name="T4" fmla="*/ 1905 w 5"/>
                <a:gd name="T5" fmla="*/ 3175 h 3"/>
                <a:gd name="T6" fmla="*/ 5715 w 5"/>
                <a:gd name="T7" fmla="*/ 0 h 3"/>
                <a:gd name="T8" fmla="*/ 9525 w 5"/>
                <a:gd name="T9" fmla="*/ 3175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5" name="Freeform 284"/>
            <p:cNvSpPr>
              <a:spLocks noChangeAspect="1"/>
            </p:cNvSpPr>
            <p:nvPr/>
          </p:nvSpPr>
          <p:spPr bwMode="auto">
            <a:xfrm>
              <a:off x="4648882" y="1134743"/>
              <a:ext cx="9610" cy="5158"/>
            </a:xfrm>
            <a:custGeom>
              <a:avLst/>
              <a:gdLst>
                <a:gd name="T0" fmla="*/ 9525 w 5"/>
                <a:gd name="T1" fmla="*/ 4233 h 3"/>
                <a:gd name="T2" fmla="*/ 3810 w 5"/>
                <a:gd name="T3" fmla="*/ 6350 h 3"/>
                <a:gd name="T4" fmla="*/ 0 w 5"/>
                <a:gd name="T5" fmla="*/ 4233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6" name="Freeform 285"/>
            <p:cNvSpPr>
              <a:spLocks noChangeAspect="1"/>
            </p:cNvSpPr>
            <p:nvPr/>
          </p:nvSpPr>
          <p:spPr bwMode="auto">
            <a:xfrm>
              <a:off x="4716154" y="1070258"/>
              <a:ext cx="8009" cy="5158"/>
            </a:xfrm>
            <a:custGeom>
              <a:avLst/>
              <a:gdLst>
                <a:gd name="T0" fmla="*/ 7938 w 4"/>
                <a:gd name="T1" fmla="*/ 4233 h 3"/>
                <a:gd name="T2" fmla="*/ 3969 w 4"/>
                <a:gd name="T3" fmla="*/ 6350 h 3"/>
                <a:gd name="T4" fmla="*/ 0 w 4"/>
                <a:gd name="T5" fmla="*/ 4233 h 3"/>
                <a:gd name="T6" fmla="*/ 5953 w 4"/>
                <a:gd name="T7" fmla="*/ 0 h 3"/>
                <a:gd name="T8" fmla="*/ 7938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3" y="3"/>
                    <a:pt x="2" y="3"/>
                  </a:cubicBezTo>
                  <a:cubicBezTo>
                    <a:pt x="1" y="2"/>
                    <a:pt x="0" y="2"/>
                    <a:pt x="0" y="2"/>
                  </a:cubicBezTo>
                  <a:cubicBezTo>
                    <a:pt x="1" y="1"/>
                    <a:pt x="2" y="0"/>
                    <a:pt x="3"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7" name="Freeform 286"/>
            <p:cNvSpPr>
              <a:spLocks noChangeAspect="1"/>
            </p:cNvSpPr>
            <p:nvPr/>
          </p:nvSpPr>
          <p:spPr bwMode="auto">
            <a:xfrm>
              <a:off x="4724163" y="1065100"/>
              <a:ext cx="6407" cy="5158"/>
            </a:xfrm>
            <a:custGeom>
              <a:avLst/>
              <a:gdLst>
                <a:gd name="T0" fmla="*/ 6350 w 3"/>
                <a:gd name="T1" fmla="*/ 4233 h 3"/>
                <a:gd name="T2" fmla="*/ 2117 w 3"/>
                <a:gd name="T3" fmla="*/ 6350 h 3"/>
                <a:gd name="T4" fmla="*/ 0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1" y="3"/>
                    <a:pt x="0" y="2"/>
                    <a:pt x="0" y="2"/>
                  </a:cubicBezTo>
                  <a:cubicBezTo>
                    <a:pt x="0" y="1"/>
                    <a:pt x="1"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8" name="Freeform 287"/>
            <p:cNvSpPr>
              <a:spLocks noChangeAspect="1"/>
            </p:cNvSpPr>
            <p:nvPr/>
          </p:nvSpPr>
          <p:spPr bwMode="auto">
            <a:xfrm>
              <a:off x="4740180" y="1076707"/>
              <a:ext cx="4805" cy="3868"/>
            </a:xfrm>
            <a:custGeom>
              <a:avLst/>
              <a:gdLst>
                <a:gd name="T0" fmla="*/ 4762 w 3"/>
                <a:gd name="T1" fmla="*/ 0 h 3"/>
                <a:gd name="T2" fmla="*/ 3175 w 3"/>
                <a:gd name="T3" fmla="*/ 3175 h 3"/>
                <a:gd name="T4" fmla="*/ 0 w 3"/>
                <a:gd name="T5" fmla="*/ 4762 h 3"/>
                <a:gd name="T6" fmla="*/ 1587 w 3"/>
                <a:gd name="T7" fmla="*/ 0 h 3"/>
                <a:gd name="T8" fmla="*/ 4762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9" name="Freeform 288"/>
            <p:cNvSpPr>
              <a:spLocks noChangeAspect="1"/>
            </p:cNvSpPr>
            <p:nvPr/>
          </p:nvSpPr>
          <p:spPr bwMode="auto">
            <a:xfrm>
              <a:off x="4756197" y="1065100"/>
              <a:ext cx="6407" cy="5158"/>
            </a:xfrm>
            <a:custGeom>
              <a:avLst/>
              <a:gdLst>
                <a:gd name="T0" fmla="*/ 6350 w 3"/>
                <a:gd name="T1" fmla="*/ 0 h 3"/>
                <a:gd name="T2" fmla="*/ 4233 w 3"/>
                <a:gd name="T3" fmla="*/ 4233 h 3"/>
                <a:gd name="T4" fmla="*/ 0 w 3"/>
                <a:gd name="T5" fmla="*/ 6350 h 3"/>
                <a:gd name="T6" fmla="*/ 2117 w 3"/>
                <a:gd name="T7" fmla="*/ 0 h 3"/>
                <a:gd name="T8" fmla="*/ 635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0" name="Freeform 289"/>
            <p:cNvSpPr>
              <a:spLocks noChangeAspect="1"/>
            </p:cNvSpPr>
            <p:nvPr/>
          </p:nvSpPr>
          <p:spPr bwMode="auto">
            <a:xfrm>
              <a:off x="4797842" y="1062520"/>
              <a:ext cx="6407" cy="2579"/>
            </a:xfrm>
            <a:custGeom>
              <a:avLst/>
              <a:gdLst>
                <a:gd name="T0" fmla="*/ 6350 w 4"/>
                <a:gd name="T1" fmla="*/ 3175 h 2"/>
                <a:gd name="T2" fmla="*/ 3175 w 4"/>
                <a:gd name="T3" fmla="*/ 3175 h 2"/>
                <a:gd name="T4" fmla="*/ 0 w 4"/>
                <a:gd name="T5" fmla="*/ 1588 h 2"/>
                <a:gd name="T6" fmla="*/ 4762 w 4"/>
                <a:gd name="T7" fmla="*/ 0 h 2"/>
                <a:gd name="T8" fmla="*/ 6350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1" name="Freeform 290"/>
            <p:cNvSpPr>
              <a:spLocks noChangeAspect="1"/>
            </p:cNvSpPr>
            <p:nvPr/>
          </p:nvSpPr>
          <p:spPr bwMode="auto">
            <a:xfrm>
              <a:off x="4826673" y="1040596"/>
              <a:ext cx="6407" cy="3868"/>
            </a:xfrm>
            <a:custGeom>
              <a:avLst/>
              <a:gdLst>
                <a:gd name="T0" fmla="*/ 6350 w 4"/>
                <a:gd name="T1" fmla="*/ 4762 h 2"/>
                <a:gd name="T2" fmla="*/ 3175 w 4"/>
                <a:gd name="T3" fmla="*/ 4762 h 2"/>
                <a:gd name="T4" fmla="*/ 0 w 4"/>
                <a:gd name="T5" fmla="*/ 2381 h 2"/>
                <a:gd name="T6" fmla="*/ 4762 w 4"/>
                <a:gd name="T7" fmla="*/ 0 h 2"/>
                <a:gd name="T8" fmla="*/ 6350 w 4"/>
                <a:gd name="T9" fmla="*/ 476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2" y="2"/>
                    <a:pt x="2" y="2"/>
                  </a:cubicBezTo>
                  <a:cubicBezTo>
                    <a:pt x="1" y="2"/>
                    <a:pt x="0" y="1"/>
                    <a:pt x="0" y="1"/>
                  </a:cubicBezTo>
                  <a:cubicBezTo>
                    <a:pt x="1" y="0"/>
                    <a:pt x="2" y="0"/>
                    <a:pt x="3"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2" name="Freeform 291"/>
            <p:cNvSpPr>
              <a:spLocks noChangeAspect="1"/>
            </p:cNvSpPr>
            <p:nvPr/>
          </p:nvSpPr>
          <p:spPr bwMode="auto">
            <a:xfrm>
              <a:off x="4831476" y="1047044"/>
              <a:ext cx="8009" cy="2579"/>
            </a:xfrm>
            <a:custGeom>
              <a:avLst/>
              <a:gdLst>
                <a:gd name="T0" fmla="*/ 7938 w 4"/>
                <a:gd name="T1" fmla="*/ 1588 h 2"/>
                <a:gd name="T2" fmla="*/ 3969 w 4"/>
                <a:gd name="T3" fmla="*/ 3175 h 2"/>
                <a:gd name="T4" fmla="*/ 0 w 4"/>
                <a:gd name="T5" fmla="*/ 1588 h 2"/>
                <a:gd name="T6" fmla="*/ 5953 w 4"/>
                <a:gd name="T7" fmla="*/ 0 h 2"/>
                <a:gd name="T8" fmla="*/ 7938 w 4"/>
                <a:gd name="T9" fmla="*/ 1588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2" y="2"/>
                    <a:pt x="2" y="2"/>
                  </a:cubicBezTo>
                  <a:cubicBezTo>
                    <a:pt x="1" y="2"/>
                    <a:pt x="0" y="1"/>
                    <a:pt x="0" y="1"/>
                  </a:cubicBezTo>
                  <a:cubicBezTo>
                    <a:pt x="1" y="0"/>
                    <a:pt x="2" y="0"/>
                    <a:pt x="3" y="0"/>
                  </a:cubicBezTo>
                  <a:cubicBezTo>
                    <a:pt x="3" y="0"/>
                    <a:pt x="4"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3" name="Freeform 292"/>
            <p:cNvSpPr>
              <a:spLocks noChangeAspect="1"/>
            </p:cNvSpPr>
            <p:nvPr/>
          </p:nvSpPr>
          <p:spPr bwMode="auto">
            <a:xfrm>
              <a:off x="4857104" y="1036726"/>
              <a:ext cx="11213" cy="5158"/>
            </a:xfrm>
            <a:custGeom>
              <a:avLst/>
              <a:gdLst>
                <a:gd name="T0" fmla="*/ 11113 w 6"/>
                <a:gd name="T1" fmla="*/ 4762 h 4"/>
                <a:gd name="T2" fmla="*/ 5557 w 6"/>
                <a:gd name="T3" fmla="*/ 6350 h 4"/>
                <a:gd name="T4" fmla="*/ 1852 w 6"/>
                <a:gd name="T5" fmla="*/ 3175 h 4"/>
                <a:gd name="T6" fmla="*/ 7409 w 6"/>
                <a:gd name="T7" fmla="*/ 0 h 4"/>
                <a:gd name="T8" fmla="*/ 11113 w 6"/>
                <a:gd name="T9" fmla="*/ 4762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6" y="3"/>
                  </a:moveTo>
                  <a:cubicBezTo>
                    <a:pt x="6" y="4"/>
                    <a:pt x="4" y="4"/>
                    <a:pt x="3" y="4"/>
                  </a:cubicBezTo>
                  <a:cubicBezTo>
                    <a:pt x="2" y="3"/>
                    <a:pt x="0" y="3"/>
                    <a:pt x="1" y="2"/>
                  </a:cubicBezTo>
                  <a:cubicBezTo>
                    <a:pt x="1" y="1"/>
                    <a:pt x="3" y="0"/>
                    <a:pt x="4" y="0"/>
                  </a:cubicBezTo>
                  <a:cubicBezTo>
                    <a:pt x="5" y="1"/>
                    <a:pt x="6" y="2"/>
                    <a:pt x="6"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4" name="Freeform 293"/>
            <p:cNvSpPr>
              <a:spLocks noChangeAspect="1"/>
            </p:cNvSpPr>
            <p:nvPr/>
          </p:nvSpPr>
          <p:spPr bwMode="auto">
            <a:xfrm>
              <a:off x="4583212" y="1219861"/>
              <a:ext cx="9610" cy="12897"/>
            </a:xfrm>
            <a:custGeom>
              <a:avLst/>
              <a:gdLst>
                <a:gd name="T0" fmla="*/ 9525 w 5"/>
                <a:gd name="T1" fmla="*/ 1984 h 8"/>
                <a:gd name="T2" fmla="*/ 7620 w 5"/>
                <a:gd name="T3" fmla="*/ 11906 h 8"/>
                <a:gd name="T4" fmla="*/ 1905 w 5"/>
                <a:gd name="T5" fmla="*/ 13891 h 8"/>
                <a:gd name="T6" fmla="*/ 1905 w 5"/>
                <a:gd name="T7" fmla="*/ 3969 h 8"/>
                <a:gd name="T8" fmla="*/ 9525 w 5"/>
                <a:gd name="T9" fmla="*/ 1984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5" name="Freeform 294"/>
            <p:cNvSpPr>
              <a:spLocks noChangeAspect="1"/>
            </p:cNvSpPr>
            <p:nvPr/>
          </p:nvSpPr>
          <p:spPr bwMode="auto">
            <a:xfrm>
              <a:off x="4169970" y="1334643"/>
              <a:ext cx="8008" cy="5158"/>
            </a:xfrm>
            <a:custGeom>
              <a:avLst/>
              <a:gdLst>
                <a:gd name="T0" fmla="*/ 0 w 4"/>
                <a:gd name="T1" fmla="*/ 0 h 3"/>
                <a:gd name="T2" fmla="*/ 5953 w 4"/>
                <a:gd name="T3" fmla="*/ 2117 h 3"/>
                <a:gd name="T4" fmla="*/ 5953 w 4"/>
                <a:gd name="T5" fmla="*/ 4233 h 3"/>
                <a:gd name="T6" fmla="*/ 0 w 4"/>
                <a:gd name="T7" fmla="*/ 4233 h 3"/>
                <a:gd name="T8" fmla="*/ 0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0" y="0"/>
                  </a:moveTo>
                  <a:cubicBezTo>
                    <a:pt x="1" y="0"/>
                    <a:pt x="2" y="0"/>
                    <a:pt x="3" y="1"/>
                  </a:cubicBezTo>
                  <a:cubicBezTo>
                    <a:pt x="3" y="1"/>
                    <a:pt x="4" y="2"/>
                    <a:pt x="3" y="2"/>
                  </a:cubicBezTo>
                  <a:cubicBezTo>
                    <a:pt x="3" y="3"/>
                    <a:pt x="1" y="2"/>
                    <a:pt x="0" y="2"/>
                  </a:cubicBezTo>
                  <a:cubicBezTo>
                    <a:pt x="0" y="1"/>
                    <a:pt x="0"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6" name="Freeform 295"/>
            <p:cNvSpPr>
              <a:spLocks noChangeAspect="1"/>
            </p:cNvSpPr>
            <p:nvPr/>
          </p:nvSpPr>
          <p:spPr bwMode="auto">
            <a:xfrm>
              <a:off x="4168368" y="1341091"/>
              <a:ext cx="8009" cy="6449"/>
            </a:xfrm>
            <a:custGeom>
              <a:avLst/>
              <a:gdLst>
                <a:gd name="T0" fmla="*/ 1985 w 4"/>
                <a:gd name="T1" fmla="*/ 1985 h 4"/>
                <a:gd name="T2" fmla="*/ 5953 w 4"/>
                <a:gd name="T3" fmla="*/ 3969 h 4"/>
                <a:gd name="T4" fmla="*/ 5953 w 4"/>
                <a:gd name="T5" fmla="*/ 7938 h 4"/>
                <a:gd name="T6" fmla="*/ 1985 w 4"/>
                <a:gd name="T7" fmla="*/ 3969 h 4"/>
                <a:gd name="T8" fmla="*/ 1985 w 4"/>
                <a:gd name="T9" fmla="*/ 198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1"/>
                  </a:moveTo>
                  <a:cubicBezTo>
                    <a:pt x="2" y="1"/>
                    <a:pt x="3" y="1"/>
                    <a:pt x="3" y="2"/>
                  </a:cubicBezTo>
                  <a:cubicBezTo>
                    <a:pt x="4" y="3"/>
                    <a:pt x="4" y="4"/>
                    <a:pt x="3" y="4"/>
                  </a:cubicBezTo>
                  <a:cubicBezTo>
                    <a:pt x="2" y="4"/>
                    <a:pt x="1" y="3"/>
                    <a:pt x="1" y="2"/>
                  </a:cubicBezTo>
                  <a:cubicBezTo>
                    <a:pt x="0" y="1"/>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7" name="Freeform 296"/>
            <p:cNvSpPr>
              <a:spLocks noChangeAspect="1"/>
            </p:cNvSpPr>
            <p:nvPr/>
          </p:nvSpPr>
          <p:spPr bwMode="auto">
            <a:xfrm>
              <a:off x="4176377" y="1319167"/>
              <a:ext cx="8008" cy="5158"/>
            </a:xfrm>
            <a:custGeom>
              <a:avLst/>
              <a:gdLst>
                <a:gd name="T0" fmla="*/ 1984 w 4"/>
                <a:gd name="T1" fmla="*/ 0 h 3"/>
                <a:gd name="T2" fmla="*/ 5953 w 4"/>
                <a:gd name="T3" fmla="*/ 2117 h 3"/>
                <a:gd name="T4" fmla="*/ 5953 w 4"/>
                <a:gd name="T5" fmla="*/ 6350 h 3"/>
                <a:gd name="T6" fmla="*/ 1984 w 4"/>
                <a:gd name="T7" fmla="*/ 2117 h 3"/>
                <a:gd name="T8" fmla="*/ 1984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2" y="0"/>
                    <a:pt x="3" y="1"/>
                    <a:pt x="3" y="1"/>
                  </a:cubicBezTo>
                  <a:cubicBezTo>
                    <a:pt x="3" y="2"/>
                    <a:pt x="4" y="3"/>
                    <a:pt x="3" y="3"/>
                  </a:cubicBezTo>
                  <a:cubicBezTo>
                    <a:pt x="2" y="3"/>
                    <a:pt x="1" y="2"/>
                    <a:pt x="1"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8" name="Freeform 297"/>
            <p:cNvSpPr>
              <a:spLocks noChangeAspect="1"/>
            </p:cNvSpPr>
            <p:nvPr/>
          </p:nvSpPr>
          <p:spPr bwMode="auto">
            <a:xfrm>
              <a:off x="4158758" y="1324325"/>
              <a:ext cx="8009" cy="3868"/>
            </a:xfrm>
            <a:custGeom>
              <a:avLst/>
              <a:gdLst>
                <a:gd name="T0" fmla="*/ 1985 w 4"/>
                <a:gd name="T1" fmla="*/ 0 h 3"/>
                <a:gd name="T2" fmla="*/ 5953 w 4"/>
                <a:gd name="T3" fmla="*/ 1587 h 3"/>
                <a:gd name="T4" fmla="*/ 5953 w 4"/>
                <a:gd name="T5" fmla="*/ 4762 h 3"/>
                <a:gd name="T6" fmla="*/ 0 w 4"/>
                <a:gd name="T7" fmla="*/ 3175 h 3"/>
                <a:gd name="T8" fmla="*/ 1985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1" y="0"/>
                    <a:pt x="2" y="1"/>
                    <a:pt x="3" y="1"/>
                  </a:cubicBezTo>
                  <a:cubicBezTo>
                    <a:pt x="3" y="2"/>
                    <a:pt x="4" y="2"/>
                    <a:pt x="3" y="3"/>
                  </a:cubicBezTo>
                  <a:cubicBezTo>
                    <a:pt x="2" y="3"/>
                    <a:pt x="1"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9" name="Freeform 298"/>
            <p:cNvSpPr>
              <a:spLocks noChangeAspect="1"/>
            </p:cNvSpPr>
            <p:nvPr/>
          </p:nvSpPr>
          <p:spPr bwMode="auto">
            <a:xfrm>
              <a:off x="4286895" y="1370754"/>
              <a:ext cx="6407" cy="7738"/>
            </a:xfrm>
            <a:custGeom>
              <a:avLst/>
              <a:gdLst>
                <a:gd name="T0" fmla="*/ 4233 w 3"/>
                <a:gd name="T1" fmla="*/ 1905 h 5"/>
                <a:gd name="T2" fmla="*/ 6350 w 3"/>
                <a:gd name="T3" fmla="*/ 5715 h 5"/>
                <a:gd name="T4" fmla="*/ 2117 w 3"/>
                <a:gd name="T5" fmla="*/ 9525 h 5"/>
                <a:gd name="T6" fmla="*/ 0 w 3"/>
                <a:gd name="T7" fmla="*/ 3810 h 5"/>
                <a:gd name="T8" fmla="*/ 4233 w 3"/>
                <a:gd name="T9" fmla="*/ 190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0" name="Freeform 299"/>
            <p:cNvSpPr>
              <a:spLocks noChangeAspect="1"/>
            </p:cNvSpPr>
            <p:nvPr/>
          </p:nvSpPr>
          <p:spPr bwMode="auto">
            <a:xfrm>
              <a:off x="4161961" y="1320456"/>
              <a:ext cx="14416" cy="11608"/>
            </a:xfrm>
            <a:custGeom>
              <a:avLst/>
              <a:gdLst>
                <a:gd name="T0" fmla="*/ 0 w 7"/>
                <a:gd name="T1" fmla="*/ 2041 h 7"/>
                <a:gd name="T2" fmla="*/ 10206 w 7"/>
                <a:gd name="T3" fmla="*/ 8165 h 7"/>
                <a:gd name="T4" fmla="*/ 12247 w 7"/>
                <a:gd name="T5" fmla="*/ 14288 h 7"/>
                <a:gd name="T6" fmla="*/ 6123 w 7"/>
                <a:gd name="T7" fmla="*/ 10206 h 7"/>
                <a:gd name="T8" fmla="*/ 0 w 7"/>
                <a:gd name="T9" fmla="*/ 204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1" name="Freeform 300"/>
            <p:cNvSpPr>
              <a:spLocks noChangeAspect="1"/>
            </p:cNvSpPr>
            <p:nvPr/>
          </p:nvSpPr>
          <p:spPr bwMode="auto">
            <a:xfrm>
              <a:off x="4491915" y="1294662"/>
              <a:ext cx="12814" cy="10318"/>
            </a:xfrm>
            <a:custGeom>
              <a:avLst/>
              <a:gdLst>
                <a:gd name="T0" fmla="*/ 1814 w 7"/>
                <a:gd name="T1" fmla="*/ 1814 h 7"/>
                <a:gd name="T2" fmla="*/ 9071 w 7"/>
                <a:gd name="T3" fmla="*/ 7257 h 7"/>
                <a:gd name="T4" fmla="*/ 12700 w 7"/>
                <a:gd name="T5" fmla="*/ 12700 h 7"/>
                <a:gd name="T6" fmla="*/ 5443 w 7"/>
                <a:gd name="T7" fmla="*/ 7257 h 7"/>
                <a:gd name="T8" fmla="*/ 1814 w 7"/>
                <a:gd name="T9" fmla="*/ 1814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2" name="Freeform 301"/>
            <p:cNvSpPr>
              <a:spLocks noChangeAspect="1"/>
            </p:cNvSpPr>
            <p:nvPr/>
          </p:nvSpPr>
          <p:spPr bwMode="auto">
            <a:xfrm>
              <a:off x="4504727" y="1272738"/>
              <a:ext cx="11213" cy="5158"/>
            </a:xfrm>
            <a:custGeom>
              <a:avLst/>
              <a:gdLst>
                <a:gd name="T0" fmla="*/ 0 w 6"/>
                <a:gd name="T1" fmla="*/ 4233 h 3"/>
                <a:gd name="T2" fmla="*/ 5557 w 6"/>
                <a:gd name="T3" fmla="*/ 0 h 3"/>
                <a:gd name="T4" fmla="*/ 11113 w 6"/>
                <a:gd name="T5" fmla="*/ 2117 h 3"/>
                <a:gd name="T6" fmla="*/ 5557 w 6"/>
                <a:gd name="T7" fmla="*/ 4233 h 3"/>
                <a:gd name="T8" fmla="*/ 0 w 6"/>
                <a:gd name="T9" fmla="*/ 423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3" name="Freeform 302"/>
            <p:cNvSpPr>
              <a:spLocks noChangeAspect="1"/>
            </p:cNvSpPr>
            <p:nvPr/>
          </p:nvSpPr>
          <p:spPr bwMode="auto">
            <a:xfrm>
              <a:off x="4589619" y="1200516"/>
              <a:ext cx="8008" cy="9027"/>
            </a:xfrm>
            <a:custGeom>
              <a:avLst/>
              <a:gdLst>
                <a:gd name="T0" fmla="*/ 1984 w 4"/>
                <a:gd name="T1" fmla="*/ 9260 h 6"/>
                <a:gd name="T2" fmla="*/ 3969 w 4"/>
                <a:gd name="T3" fmla="*/ 3704 h 6"/>
                <a:gd name="T4" fmla="*/ 7937 w 4"/>
                <a:gd name="T5" fmla="*/ 1852 h 6"/>
                <a:gd name="T6" fmla="*/ 5953 w 4"/>
                <a:gd name="T7" fmla="*/ 7408 h 6"/>
                <a:gd name="T8" fmla="*/ 1984 w 4"/>
                <a:gd name="T9" fmla="*/ 926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4" name="Freeform 303"/>
            <p:cNvSpPr>
              <a:spLocks noChangeAspect="1"/>
            </p:cNvSpPr>
            <p:nvPr/>
          </p:nvSpPr>
          <p:spPr bwMode="auto">
            <a:xfrm>
              <a:off x="4735375" y="1067679"/>
              <a:ext cx="11213" cy="7738"/>
            </a:xfrm>
            <a:custGeom>
              <a:avLst/>
              <a:gdLst>
                <a:gd name="T0" fmla="*/ 1852 w 6"/>
                <a:gd name="T1" fmla="*/ 1905 h 5"/>
                <a:gd name="T2" fmla="*/ 7409 w 6"/>
                <a:gd name="T3" fmla="*/ 3810 h 5"/>
                <a:gd name="T4" fmla="*/ 9261 w 6"/>
                <a:gd name="T5" fmla="*/ 9525 h 5"/>
                <a:gd name="T6" fmla="*/ 3704 w 6"/>
                <a:gd name="T7" fmla="*/ 5715 h 5"/>
                <a:gd name="T8" fmla="*/ 1852 w 6"/>
                <a:gd name="T9" fmla="*/ 190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1"/>
                  </a:moveTo>
                  <a:cubicBezTo>
                    <a:pt x="2" y="0"/>
                    <a:pt x="3" y="1"/>
                    <a:pt x="4" y="2"/>
                  </a:cubicBezTo>
                  <a:cubicBezTo>
                    <a:pt x="5" y="3"/>
                    <a:pt x="6" y="4"/>
                    <a:pt x="5" y="5"/>
                  </a:cubicBezTo>
                  <a:cubicBezTo>
                    <a:pt x="4" y="5"/>
                    <a:pt x="3" y="4"/>
                    <a:pt x="2" y="3"/>
                  </a:cubicBezTo>
                  <a:cubicBezTo>
                    <a:pt x="2"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5" name="Freeform 304"/>
            <p:cNvSpPr>
              <a:spLocks noChangeAspect="1"/>
            </p:cNvSpPr>
            <p:nvPr/>
          </p:nvSpPr>
          <p:spPr bwMode="auto">
            <a:xfrm>
              <a:off x="4503127" y="1277897"/>
              <a:ext cx="11212" cy="7738"/>
            </a:xfrm>
            <a:custGeom>
              <a:avLst/>
              <a:gdLst>
                <a:gd name="T0" fmla="*/ 1852 w 6"/>
                <a:gd name="T1" fmla="*/ 7620 h 5"/>
                <a:gd name="T2" fmla="*/ 5556 w 6"/>
                <a:gd name="T3" fmla="*/ 1905 h 5"/>
                <a:gd name="T4" fmla="*/ 11112 w 6"/>
                <a:gd name="T5" fmla="*/ 1905 h 5"/>
                <a:gd name="T6" fmla="*/ 7408 w 6"/>
                <a:gd name="T7" fmla="*/ 7620 h 5"/>
                <a:gd name="T8" fmla="*/ 1852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6" name="Freeform 305"/>
            <p:cNvSpPr>
              <a:spLocks noChangeAspect="1"/>
            </p:cNvSpPr>
            <p:nvPr/>
          </p:nvSpPr>
          <p:spPr bwMode="auto">
            <a:xfrm>
              <a:off x="4168368" y="1320456"/>
              <a:ext cx="9610" cy="7738"/>
            </a:xfrm>
            <a:custGeom>
              <a:avLst/>
              <a:gdLst>
                <a:gd name="T0" fmla="*/ 0 w 5"/>
                <a:gd name="T1" fmla="*/ 0 h 5"/>
                <a:gd name="T2" fmla="*/ 7620 w 5"/>
                <a:gd name="T3" fmla="*/ 3810 h 5"/>
                <a:gd name="T4" fmla="*/ 9525 w 5"/>
                <a:gd name="T5" fmla="*/ 9525 h 5"/>
                <a:gd name="T6" fmla="*/ 5715 w 5"/>
                <a:gd name="T7" fmla="*/ 5715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7" name="Freeform 306"/>
            <p:cNvSpPr>
              <a:spLocks noChangeAspect="1"/>
            </p:cNvSpPr>
            <p:nvPr/>
          </p:nvSpPr>
          <p:spPr bwMode="auto">
            <a:xfrm>
              <a:off x="4688925" y="1466190"/>
              <a:ext cx="17618" cy="37400"/>
            </a:xfrm>
            <a:custGeom>
              <a:avLst/>
              <a:gdLst>
                <a:gd name="T0" fmla="*/ 17462 w 9"/>
                <a:gd name="T1" fmla="*/ 1918 h 24"/>
                <a:gd name="T2" fmla="*/ 9701 w 9"/>
                <a:gd name="T3" fmla="*/ 30691 h 24"/>
                <a:gd name="T4" fmla="*/ 1940 w 9"/>
                <a:gd name="T5" fmla="*/ 44119 h 24"/>
                <a:gd name="T6" fmla="*/ 1940 w 9"/>
                <a:gd name="T7" fmla="*/ 36446 h 24"/>
                <a:gd name="T8" fmla="*/ 9701 w 9"/>
                <a:gd name="T9" fmla="*/ 9591 h 24"/>
                <a:gd name="T10" fmla="*/ 13582 w 9"/>
                <a:gd name="T11" fmla="*/ 1918 h 24"/>
                <a:gd name="T12" fmla="*/ 17462 w 9"/>
                <a:gd name="T13" fmla="*/ 1918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8" name="Freeform 307"/>
            <p:cNvSpPr>
              <a:spLocks noChangeAspect="1"/>
            </p:cNvSpPr>
            <p:nvPr/>
          </p:nvSpPr>
          <p:spPr bwMode="auto">
            <a:xfrm>
              <a:off x="4725763" y="1450714"/>
              <a:ext cx="28831" cy="32242"/>
            </a:xfrm>
            <a:custGeom>
              <a:avLst/>
              <a:gdLst>
                <a:gd name="T0" fmla="*/ 28575 w 15"/>
                <a:gd name="T1" fmla="*/ 1890 h 21"/>
                <a:gd name="T2" fmla="*/ 15240 w 15"/>
                <a:gd name="T3" fmla="*/ 11339 h 21"/>
                <a:gd name="T4" fmla="*/ 15240 w 15"/>
                <a:gd name="T5" fmla="*/ 28348 h 21"/>
                <a:gd name="T6" fmla="*/ 7620 w 15"/>
                <a:gd name="T7" fmla="*/ 39687 h 21"/>
                <a:gd name="T8" fmla="*/ 7620 w 15"/>
                <a:gd name="T9" fmla="*/ 28348 h 21"/>
                <a:gd name="T10" fmla="*/ 3810 w 15"/>
                <a:gd name="T11" fmla="*/ 15119 h 21"/>
                <a:gd name="T12" fmla="*/ 20955 w 15"/>
                <a:gd name="T13" fmla="*/ 0 h 21"/>
                <a:gd name="T14" fmla="*/ 28575 w 15"/>
                <a:gd name="T15" fmla="*/ 1890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9" name="Freeform 308"/>
            <p:cNvSpPr>
              <a:spLocks noChangeAspect="1"/>
            </p:cNvSpPr>
            <p:nvPr/>
          </p:nvSpPr>
          <p:spPr bwMode="auto">
            <a:xfrm>
              <a:off x="4754595" y="1378492"/>
              <a:ext cx="20823" cy="11607"/>
            </a:xfrm>
            <a:custGeom>
              <a:avLst/>
              <a:gdLst>
                <a:gd name="T0" fmla="*/ 1876 w 11"/>
                <a:gd name="T1" fmla="*/ 5358 h 8"/>
                <a:gd name="T2" fmla="*/ 9381 w 11"/>
                <a:gd name="T3" fmla="*/ 8929 h 8"/>
                <a:gd name="T4" fmla="*/ 15009 w 11"/>
                <a:gd name="T5" fmla="*/ 1786 h 8"/>
                <a:gd name="T6" fmla="*/ 20638 w 11"/>
                <a:gd name="T7" fmla="*/ 10715 h 8"/>
                <a:gd name="T8" fmla="*/ 13133 w 11"/>
                <a:gd name="T9" fmla="*/ 12501 h 8"/>
                <a:gd name="T10" fmla="*/ 7505 w 11"/>
                <a:gd name="T11" fmla="*/ 10715 h 8"/>
                <a:gd name="T12" fmla="*/ 3752 w 11"/>
                <a:gd name="T13" fmla="*/ 12501 h 8"/>
                <a:gd name="T14" fmla="*/ 1876 w 11"/>
                <a:gd name="T15" fmla="*/ 5358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0" name="Freeform 309"/>
            <p:cNvSpPr>
              <a:spLocks noChangeAspect="1"/>
            </p:cNvSpPr>
            <p:nvPr/>
          </p:nvSpPr>
          <p:spPr bwMode="auto">
            <a:xfrm>
              <a:off x="4812257" y="1382360"/>
              <a:ext cx="16017" cy="11608"/>
            </a:xfrm>
            <a:custGeom>
              <a:avLst/>
              <a:gdLst>
                <a:gd name="T0" fmla="*/ 1984 w 8"/>
                <a:gd name="T1" fmla="*/ 2041 h 7"/>
                <a:gd name="T2" fmla="*/ 13891 w 8"/>
                <a:gd name="T3" fmla="*/ 2041 h 7"/>
                <a:gd name="T4" fmla="*/ 13891 w 8"/>
                <a:gd name="T5" fmla="*/ 12247 h 7"/>
                <a:gd name="T6" fmla="*/ 1984 w 8"/>
                <a:gd name="T7" fmla="*/ 10206 h 7"/>
                <a:gd name="T8" fmla="*/ 3969 w 8"/>
                <a:gd name="T9" fmla="*/ 6123 h 7"/>
                <a:gd name="T10" fmla="*/ 1984 w 8"/>
                <a:gd name="T11" fmla="*/ 204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1" name="Freeform 310"/>
            <p:cNvSpPr>
              <a:spLocks noChangeAspect="1"/>
            </p:cNvSpPr>
            <p:nvPr/>
          </p:nvSpPr>
          <p:spPr bwMode="auto">
            <a:xfrm>
              <a:off x="4591220" y="1134743"/>
              <a:ext cx="11213" cy="15476"/>
            </a:xfrm>
            <a:custGeom>
              <a:avLst/>
              <a:gdLst>
                <a:gd name="T0" fmla="*/ 9261 w 6"/>
                <a:gd name="T1" fmla="*/ 1905 h 10"/>
                <a:gd name="T2" fmla="*/ 9261 w 6"/>
                <a:gd name="T3" fmla="*/ 11430 h 10"/>
                <a:gd name="T4" fmla="*/ 3704 w 6"/>
                <a:gd name="T5" fmla="*/ 17145 h 10"/>
                <a:gd name="T6" fmla="*/ 3704 w 6"/>
                <a:gd name="T7" fmla="*/ 7620 h 10"/>
                <a:gd name="T8" fmla="*/ 9261 w 6"/>
                <a:gd name="T9" fmla="*/ 1905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2" name="Freeform 311"/>
            <p:cNvSpPr>
              <a:spLocks noChangeAspect="1"/>
            </p:cNvSpPr>
            <p:nvPr/>
          </p:nvSpPr>
          <p:spPr bwMode="auto">
            <a:xfrm>
              <a:off x="4608839" y="1127004"/>
              <a:ext cx="11212" cy="12897"/>
            </a:xfrm>
            <a:custGeom>
              <a:avLst/>
              <a:gdLst>
                <a:gd name="T0" fmla="*/ 9260 w 6"/>
                <a:gd name="T1" fmla="*/ 1984 h 8"/>
                <a:gd name="T2" fmla="*/ 11112 w 6"/>
                <a:gd name="T3" fmla="*/ 7938 h 8"/>
                <a:gd name="T4" fmla="*/ 3704 w 6"/>
                <a:gd name="T5" fmla="*/ 13891 h 8"/>
                <a:gd name="T6" fmla="*/ 1852 w 6"/>
                <a:gd name="T7" fmla="*/ 3969 h 8"/>
                <a:gd name="T8" fmla="*/ 9260 w 6"/>
                <a:gd name="T9" fmla="*/ 1984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3" name="Freeform 312"/>
            <p:cNvSpPr>
              <a:spLocks noChangeAspect="1"/>
            </p:cNvSpPr>
            <p:nvPr/>
          </p:nvSpPr>
          <p:spPr bwMode="auto">
            <a:xfrm>
              <a:off x="4626458" y="1123136"/>
              <a:ext cx="14416" cy="14186"/>
            </a:xfrm>
            <a:custGeom>
              <a:avLst/>
              <a:gdLst>
                <a:gd name="T0" fmla="*/ 12502 w 8"/>
                <a:gd name="T1" fmla="*/ 1940 h 9"/>
                <a:gd name="T2" fmla="*/ 5358 w 8"/>
                <a:gd name="T3" fmla="*/ 3880 h 9"/>
                <a:gd name="T4" fmla="*/ 1786 w 8"/>
                <a:gd name="T5" fmla="*/ 13582 h 9"/>
                <a:gd name="T6" fmla="*/ 12502 w 8"/>
                <a:gd name="T7" fmla="*/ 9701 h 9"/>
                <a:gd name="T8" fmla="*/ 12502 w 8"/>
                <a:gd name="T9" fmla="*/ 194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4" name="Freeform 313"/>
            <p:cNvSpPr>
              <a:spLocks noChangeAspect="1"/>
            </p:cNvSpPr>
            <p:nvPr/>
          </p:nvSpPr>
          <p:spPr bwMode="auto">
            <a:xfrm>
              <a:off x="4708146" y="1080576"/>
              <a:ext cx="14415" cy="10318"/>
            </a:xfrm>
            <a:custGeom>
              <a:avLst/>
              <a:gdLst>
                <a:gd name="T0" fmla="*/ 12246 w 7"/>
                <a:gd name="T1" fmla="*/ 0 h 6"/>
                <a:gd name="T2" fmla="*/ 6123 w 7"/>
                <a:gd name="T3" fmla="*/ 2117 h 6"/>
                <a:gd name="T4" fmla="*/ 2041 w 7"/>
                <a:gd name="T5" fmla="*/ 10583 h 6"/>
                <a:gd name="T6" fmla="*/ 12246 w 7"/>
                <a:gd name="T7" fmla="*/ 6350 h 6"/>
                <a:gd name="T8" fmla="*/ 12246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5" name="Freeform 314"/>
            <p:cNvSpPr>
              <a:spLocks noChangeAspect="1"/>
            </p:cNvSpPr>
            <p:nvPr/>
          </p:nvSpPr>
          <p:spPr bwMode="auto">
            <a:xfrm>
              <a:off x="4722561" y="1075417"/>
              <a:ext cx="12814" cy="9029"/>
            </a:xfrm>
            <a:custGeom>
              <a:avLst/>
              <a:gdLst>
                <a:gd name="T0" fmla="*/ 10886 w 7"/>
                <a:gd name="T1" fmla="*/ 0 h 6"/>
                <a:gd name="T2" fmla="*/ 5443 w 7"/>
                <a:gd name="T3" fmla="*/ 1852 h 6"/>
                <a:gd name="T4" fmla="*/ 1814 w 7"/>
                <a:gd name="T5" fmla="*/ 9261 h 6"/>
                <a:gd name="T6" fmla="*/ 10886 w 7"/>
                <a:gd name="T7" fmla="*/ 5557 h 6"/>
                <a:gd name="T8" fmla="*/ 10886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2" y="6"/>
                    <a:pt x="4" y="4"/>
                    <a:pt x="6" y="3"/>
                  </a:cubicBezTo>
                  <a:cubicBezTo>
                    <a:pt x="6" y="2"/>
                    <a:pt x="7" y="1"/>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6" name="Freeform 315"/>
            <p:cNvSpPr>
              <a:spLocks noChangeAspect="1"/>
            </p:cNvSpPr>
            <p:nvPr/>
          </p:nvSpPr>
          <p:spPr bwMode="auto">
            <a:xfrm>
              <a:off x="4648882" y="1094762"/>
              <a:ext cx="19221" cy="20635"/>
            </a:xfrm>
            <a:custGeom>
              <a:avLst/>
              <a:gdLst>
                <a:gd name="T0" fmla="*/ 13335 w 10"/>
                <a:gd name="T1" fmla="*/ 0 h 13"/>
                <a:gd name="T2" fmla="*/ 17145 w 10"/>
                <a:gd name="T3" fmla="*/ 11723 h 13"/>
                <a:gd name="T4" fmla="*/ 1905 w 10"/>
                <a:gd name="T5" fmla="*/ 15631 h 13"/>
                <a:gd name="T6" fmla="*/ 0 w 10"/>
                <a:gd name="T7" fmla="*/ 23446 h 13"/>
                <a:gd name="T8" fmla="*/ 1905 w 10"/>
                <a:gd name="T9" fmla="*/ 9769 h 13"/>
                <a:gd name="T10" fmla="*/ 13335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7" name="Freeform 316"/>
            <p:cNvSpPr>
              <a:spLocks noChangeAspect="1"/>
            </p:cNvSpPr>
            <p:nvPr/>
          </p:nvSpPr>
          <p:spPr bwMode="auto">
            <a:xfrm>
              <a:off x="4629661" y="1102501"/>
              <a:ext cx="16017" cy="19345"/>
            </a:xfrm>
            <a:custGeom>
              <a:avLst/>
              <a:gdLst>
                <a:gd name="T0" fmla="*/ 13891 w 8"/>
                <a:gd name="T1" fmla="*/ 3969 h 12"/>
                <a:gd name="T2" fmla="*/ 15875 w 8"/>
                <a:gd name="T3" fmla="*/ 19843 h 12"/>
                <a:gd name="T4" fmla="*/ 7938 w 8"/>
                <a:gd name="T5" fmla="*/ 23812 h 12"/>
                <a:gd name="T6" fmla="*/ 7938 w 8"/>
                <a:gd name="T7" fmla="*/ 17859 h 12"/>
                <a:gd name="T8" fmla="*/ 1984 w 8"/>
                <a:gd name="T9" fmla="*/ 17859 h 12"/>
                <a:gd name="T10" fmla="*/ 3969 w 8"/>
                <a:gd name="T11" fmla="*/ 11906 h 12"/>
                <a:gd name="T12" fmla="*/ 9922 w 8"/>
                <a:gd name="T13" fmla="*/ 11906 h 12"/>
                <a:gd name="T14" fmla="*/ 13891 w 8"/>
                <a:gd name="T15" fmla="*/ 3969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8" name="Freeform 317"/>
            <p:cNvSpPr>
              <a:spLocks noChangeAspect="1"/>
            </p:cNvSpPr>
            <p:nvPr/>
          </p:nvSpPr>
          <p:spPr bwMode="auto">
            <a:xfrm>
              <a:off x="4682518" y="1088314"/>
              <a:ext cx="20822" cy="20635"/>
            </a:xfrm>
            <a:custGeom>
              <a:avLst/>
              <a:gdLst>
                <a:gd name="T0" fmla="*/ 20637 w 11"/>
                <a:gd name="T1" fmla="*/ 1954 h 13"/>
                <a:gd name="T2" fmla="*/ 16885 w 11"/>
                <a:gd name="T3" fmla="*/ 17585 h 13"/>
                <a:gd name="T4" fmla="*/ 11257 w 11"/>
                <a:gd name="T5" fmla="*/ 19538 h 13"/>
                <a:gd name="T6" fmla="*/ 5628 w 11"/>
                <a:gd name="T7" fmla="*/ 17585 h 13"/>
                <a:gd name="T8" fmla="*/ 3752 w 11"/>
                <a:gd name="T9" fmla="*/ 25400 h 13"/>
                <a:gd name="T10" fmla="*/ 1876 w 11"/>
                <a:gd name="T11" fmla="*/ 15631 h 13"/>
                <a:gd name="T12" fmla="*/ 1876 w 11"/>
                <a:gd name="T13" fmla="*/ 5862 h 13"/>
                <a:gd name="T14" fmla="*/ 15009 w 11"/>
                <a:gd name="T15" fmla="*/ 1954 h 13"/>
                <a:gd name="T16" fmla="*/ 20637 w 11"/>
                <a:gd name="T17" fmla="*/ 1954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9" name="Freeform 318"/>
            <p:cNvSpPr>
              <a:spLocks noChangeAspect="1"/>
            </p:cNvSpPr>
            <p:nvPr/>
          </p:nvSpPr>
          <p:spPr bwMode="auto">
            <a:xfrm>
              <a:off x="4788231" y="1047044"/>
              <a:ext cx="32034" cy="14187"/>
            </a:xfrm>
            <a:custGeom>
              <a:avLst/>
              <a:gdLst>
                <a:gd name="T0" fmla="*/ 29882 w 17"/>
                <a:gd name="T1" fmla="*/ 1940 h 9"/>
                <a:gd name="T2" fmla="*/ 18676 w 17"/>
                <a:gd name="T3" fmla="*/ 13582 h 9"/>
                <a:gd name="T4" fmla="*/ 1868 w 17"/>
                <a:gd name="T5" fmla="*/ 13582 h 9"/>
                <a:gd name="T6" fmla="*/ 11206 w 17"/>
                <a:gd name="T7" fmla="*/ 5821 h 9"/>
                <a:gd name="T8" fmla="*/ 22412 w 17"/>
                <a:gd name="T9" fmla="*/ 3881 h 9"/>
                <a:gd name="T10" fmla="*/ 29882 w 17"/>
                <a:gd name="T11" fmla="*/ 194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0" name="Freeform 319"/>
            <p:cNvSpPr>
              <a:spLocks noChangeAspect="1"/>
            </p:cNvSpPr>
            <p:nvPr/>
          </p:nvSpPr>
          <p:spPr bwMode="auto">
            <a:xfrm>
              <a:off x="4807452" y="1054782"/>
              <a:ext cx="14415" cy="12897"/>
            </a:xfrm>
            <a:custGeom>
              <a:avLst/>
              <a:gdLst>
                <a:gd name="T0" fmla="*/ 5358 w 8"/>
                <a:gd name="T1" fmla="*/ 3969 h 8"/>
                <a:gd name="T2" fmla="*/ 0 w 8"/>
                <a:gd name="T3" fmla="*/ 7938 h 8"/>
                <a:gd name="T4" fmla="*/ 3572 w 8"/>
                <a:gd name="T5" fmla="*/ 15875 h 8"/>
                <a:gd name="T6" fmla="*/ 12501 w 8"/>
                <a:gd name="T7" fmla="*/ 5953 h 8"/>
                <a:gd name="T8" fmla="*/ 12501 w 8"/>
                <a:gd name="T9" fmla="*/ 0 h 8"/>
                <a:gd name="T10" fmla="*/ 5358 w 8"/>
                <a:gd name="T11" fmla="*/ 3969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1" name="Freeform 320"/>
            <p:cNvSpPr>
              <a:spLocks noChangeAspect="1"/>
            </p:cNvSpPr>
            <p:nvPr/>
          </p:nvSpPr>
          <p:spPr bwMode="auto">
            <a:xfrm>
              <a:off x="4653688" y="1800217"/>
              <a:ext cx="4805" cy="20635"/>
            </a:xfrm>
            <a:custGeom>
              <a:avLst/>
              <a:gdLst>
                <a:gd name="T0" fmla="*/ 3175 w 3"/>
                <a:gd name="T1" fmla="*/ 1954 h 13"/>
                <a:gd name="T2" fmla="*/ 3175 w 3"/>
                <a:gd name="T3" fmla="*/ 25400 h 13"/>
                <a:gd name="T4" fmla="*/ 1587 w 3"/>
                <a:gd name="T5" fmla="*/ 13677 h 13"/>
                <a:gd name="T6" fmla="*/ 3175 w 3"/>
                <a:gd name="T7" fmla="*/ 1954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2" name="Freeform 321"/>
            <p:cNvSpPr>
              <a:spLocks noChangeAspect="1"/>
            </p:cNvSpPr>
            <p:nvPr/>
          </p:nvSpPr>
          <p:spPr bwMode="auto">
            <a:xfrm>
              <a:off x="4664899" y="1827301"/>
              <a:ext cx="14416" cy="11607"/>
            </a:xfrm>
            <a:custGeom>
              <a:avLst/>
              <a:gdLst>
                <a:gd name="T0" fmla="*/ 1786 w 8"/>
                <a:gd name="T1" fmla="*/ 1786 h 8"/>
                <a:gd name="T2" fmla="*/ 14288 w 8"/>
                <a:gd name="T3" fmla="*/ 14287 h 8"/>
                <a:gd name="T4" fmla="*/ 7144 w 8"/>
                <a:gd name="T5" fmla="*/ 8929 h 8"/>
                <a:gd name="T6" fmla="*/ 1786 w 8"/>
                <a:gd name="T7" fmla="*/ 1786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3" name="Freeform 322"/>
            <p:cNvSpPr>
              <a:spLocks noChangeAspect="1"/>
            </p:cNvSpPr>
            <p:nvPr/>
          </p:nvSpPr>
          <p:spPr bwMode="auto">
            <a:xfrm>
              <a:off x="4660094" y="1813113"/>
              <a:ext cx="12814" cy="9029"/>
            </a:xfrm>
            <a:custGeom>
              <a:avLst/>
              <a:gdLst>
                <a:gd name="T0" fmla="*/ 2117 w 6"/>
                <a:gd name="T1" fmla="*/ 1852 h 6"/>
                <a:gd name="T2" fmla="*/ 12700 w 6"/>
                <a:gd name="T3" fmla="*/ 11113 h 6"/>
                <a:gd name="T4" fmla="*/ 6350 w 6"/>
                <a:gd name="T5" fmla="*/ 7409 h 6"/>
                <a:gd name="T6" fmla="*/ 2117 w 6"/>
                <a:gd name="T7" fmla="*/ 1852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4" name="Freeform 323"/>
            <p:cNvSpPr>
              <a:spLocks noChangeAspect="1"/>
            </p:cNvSpPr>
            <p:nvPr/>
          </p:nvSpPr>
          <p:spPr bwMode="auto">
            <a:xfrm>
              <a:off x="4704942" y="1853094"/>
              <a:ext cx="16017" cy="3868"/>
            </a:xfrm>
            <a:custGeom>
              <a:avLst/>
              <a:gdLst>
                <a:gd name="T0" fmla="*/ 0 w 8"/>
                <a:gd name="T1" fmla="*/ 0 h 2"/>
                <a:gd name="T2" fmla="*/ 15875 w 8"/>
                <a:gd name="T3" fmla="*/ 4762 h 2"/>
                <a:gd name="T4" fmla="*/ 7938 w 8"/>
                <a:gd name="T5" fmla="*/ 4762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5" name="Freeform 324"/>
            <p:cNvSpPr>
              <a:spLocks noChangeAspect="1"/>
            </p:cNvSpPr>
            <p:nvPr/>
          </p:nvSpPr>
          <p:spPr bwMode="auto">
            <a:xfrm>
              <a:off x="4711349" y="1859542"/>
              <a:ext cx="16017" cy="2579"/>
            </a:xfrm>
            <a:custGeom>
              <a:avLst/>
              <a:gdLst>
                <a:gd name="T0" fmla="*/ 1764 w 9"/>
                <a:gd name="T1" fmla="*/ 1588 h 2"/>
                <a:gd name="T2" fmla="*/ 15875 w 9"/>
                <a:gd name="T3" fmla="*/ 1588 h 2"/>
                <a:gd name="T4" fmla="*/ 8819 w 9"/>
                <a:gd name="T5" fmla="*/ 0 h 2"/>
                <a:gd name="T6" fmla="*/ 1764 w 9"/>
                <a:gd name="T7" fmla="*/ 1588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6" name="Freeform 325"/>
            <p:cNvSpPr>
              <a:spLocks noChangeAspect="1"/>
            </p:cNvSpPr>
            <p:nvPr/>
          </p:nvSpPr>
          <p:spPr bwMode="auto">
            <a:xfrm>
              <a:off x="4791434" y="1524225"/>
              <a:ext cx="8008" cy="10318"/>
            </a:xfrm>
            <a:custGeom>
              <a:avLst/>
              <a:gdLst>
                <a:gd name="T0" fmla="*/ 5953 w 4"/>
                <a:gd name="T1" fmla="*/ 1814 h 7"/>
                <a:gd name="T2" fmla="*/ 1984 w 4"/>
                <a:gd name="T3" fmla="*/ 5443 h 7"/>
                <a:gd name="T4" fmla="*/ 1984 w 4"/>
                <a:gd name="T5" fmla="*/ 10886 h 7"/>
                <a:gd name="T6" fmla="*/ 5953 w 4"/>
                <a:gd name="T7" fmla="*/ 7257 h 7"/>
                <a:gd name="T8" fmla="*/ 5953 w 4"/>
                <a:gd name="T9" fmla="*/ 1814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7" name="Freeform 326"/>
            <p:cNvSpPr>
              <a:spLocks noChangeAspect="1"/>
            </p:cNvSpPr>
            <p:nvPr/>
          </p:nvSpPr>
          <p:spPr bwMode="auto">
            <a:xfrm>
              <a:off x="4861910" y="1960137"/>
              <a:ext cx="41645" cy="29663"/>
            </a:xfrm>
            <a:custGeom>
              <a:avLst/>
              <a:gdLst>
                <a:gd name="T0" fmla="*/ 0 w 21"/>
                <a:gd name="T1" fmla="*/ 3843 h 19"/>
                <a:gd name="T2" fmla="*/ 7862 w 21"/>
                <a:gd name="T3" fmla="*/ 1922 h 19"/>
                <a:gd name="T4" fmla="*/ 17689 w 21"/>
                <a:gd name="T5" fmla="*/ 7687 h 19"/>
                <a:gd name="T6" fmla="*/ 27517 w 21"/>
                <a:gd name="T7" fmla="*/ 13452 h 19"/>
                <a:gd name="T8" fmla="*/ 33413 w 21"/>
                <a:gd name="T9" fmla="*/ 26904 h 19"/>
                <a:gd name="T10" fmla="*/ 39310 w 21"/>
                <a:gd name="T11" fmla="*/ 28826 h 19"/>
                <a:gd name="T12" fmla="*/ 37344 w 21"/>
                <a:gd name="T13" fmla="*/ 34591 h 19"/>
                <a:gd name="T14" fmla="*/ 31448 w 21"/>
                <a:gd name="T15" fmla="*/ 30748 h 19"/>
                <a:gd name="T16" fmla="*/ 29482 w 21"/>
                <a:gd name="T17" fmla="*/ 26904 h 19"/>
                <a:gd name="T18" fmla="*/ 25551 w 21"/>
                <a:gd name="T19" fmla="*/ 21139 h 19"/>
                <a:gd name="T20" fmla="*/ 17689 w 21"/>
                <a:gd name="T21" fmla="*/ 21139 h 19"/>
                <a:gd name="T22" fmla="*/ 13758 w 21"/>
                <a:gd name="T23" fmla="*/ 13452 h 19"/>
                <a:gd name="T24" fmla="*/ 7862 w 21"/>
                <a:gd name="T25" fmla="*/ 7687 h 19"/>
                <a:gd name="T26" fmla="*/ 0 w 21"/>
                <a:gd name="T27" fmla="*/ 384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8" name="Freeform 327"/>
            <p:cNvSpPr>
              <a:spLocks noChangeAspect="1"/>
            </p:cNvSpPr>
            <p:nvPr/>
          </p:nvSpPr>
          <p:spPr bwMode="auto">
            <a:xfrm>
              <a:off x="4801045" y="1974323"/>
              <a:ext cx="11212" cy="12897"/>
            </a:xfrm>
            <a:custGeom>
              <a:avLst/>
              <a:gdLst>
                <a:gd name="T0" fmla="*/ 7408 w 6"/>
                <a:gd name="T1" fmla="*/ 0 h 8"/>
                <a:gd name="T2" fmla="*/ 11112 w 6"/>
                <a:gd name="T3" fmla="*/ 13891 h 8"/>
                <a:gd name="T4" fmla="*/ 0 w 6"/>
                <a:gd name="T5" fmla="*/ 9922 h 8"/>
                <a:gd name="T6" fmla="*/ 7408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9" name="Freeform 328"/>
            <p:cNvSpPr>
              <a:spLocks noChangeAspect="1"/>
            </p:cNvSpPr>
            <p:nvPr/>
          </p:nvSpPr>
          <p:spPr bwMode="auto">
            <a:xfrm>
              <a:off x="4785028" y="1942082"/>
              <a:ext cx="12814" cy="11608"/>
            </a:xfrm>
            <a:custGeom>
              <a:avLst/>
              <a:gdLst>
                <a:gd name="T0" fmla="*/ 4233 w 6"/>
                <a:gd name="T1" fmla="*/ 0 h 8"/>
                <a:gd name="T2" fmla="*/ 6350 w 6"/>
                <a:gd name="T3" fmla="*/ 8930 h 8"/>
                <a:gd name="T4" fmla="*/ 10583 w 6"/>
                <a:gd name="T5" fmla="*/ 12502 h 8"/>
                <a:gd name="T6" fmla="*/ 4233 w 6"/>
                <a:gd name="T7" fmla="*/ 10716 h 8"/>
                <a:gd name="T8" fmla="*/ 0 w 6"/>
                <a:gd name="T9" fmla="*/ 0 h 8"/>
                <a:gd name="T10" fmla="*/ 423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0" name="Freeform 329"/>
            <p:cNvSpPr>
              <a:spLocks noChangeAspect="1"/>
            </p:cNvSpPr>
            <p:nvPr/>
          </p:nvSpPr>
          <p:spPr bwMode="auto">
            <a:xfrm>
              <a:off x="4919572" y="2006565"/>
              <a:ext cx="8008" cy="7738"/>
            </a:xfrm>
            <a:custGeom>
              <a:avLst/>
              <a:gdLst>
                <a:gd name="T0" fmla="*/ 3969 w 4"/>
                <a:gd name="T1" fmla="*/ 0 h 5"/>
                <a:gd name="T2" fmla="*/ 7937 w 4"/>
                <a:gd name="T3" fmla="*/ 5715 h 5"/>
                <a:gd name="T4" fmla="*/ 3969 w 4"/>
                <a:gd name="T5" fmla="*/ 9525 h 5"/>
                <a:gd name="T6" fmla="*/ 0 w 4"/>
                <a:gd name="T7" fmla="*/ 5715 h 5"/>
                <a:gd name="T8" fmla="*/ 3969 w 4"/>
                <a:gd name="T9" fmla="*/ 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0"/>
                  </a:moveTo>
                  <a:cubicBezTo>
                    <a:pt x="3" y="0"/>
                    <a:pt x="4" y="2"/>
                    <a:pt x="4" y="3"/>
                  </a:cubicBezTo>
                  <a:cubicBezTo>
                    <a:pt x="4" y="4"/>
                    <a:pt x="3" y="5"/>
                    <a:pt x="2" y="5"/>
                  </a:cubicBezTo>
                  <a:cubicBezTo>
                    <a:pt x="1" y="5"/>
                    <a:pt x="0" y="4"/>
                    <a:pt x="0" y="3"/>
                  </a:cubicBezTo>
                  <a:cubicBezTo>
                    <a:pt x="1"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1" name="Freeform 330"/>
            <p:cNvSpPr>
              <a:spLocks noChangeAspect="1"/>
            </p:cNvSpPr>
            <p:nvPr/>
          </p:nvSpPr>
          <p:spPr bwMode="auto">
            <a:xfrm>
              <a:off x="4919572" y="2025911"/>
              <a:ext cx="6407" cy="3868"/>
            </a:xfrm>
            <a:custGeom>
              <a:avLst/>
              <a:gdLst>
                <a:gd name="T0" fmla="*/ 4233 w 3"/>
                <a:gd name="T1" fmla="*/ 0 h 3"/>
                <a:gd name="T2" fmla="*/ 6350 w 3"/>
                <a:gd name="T3" fmla="*/ 3175 h 3"/>
                <a:gd name="T4" fmla="*/ 4233 w 3"/>
                <a:gd name="T5" fmla="*/ 4762 h 3"/>
                <a:gd name="T6" fmla="*/ 0 w 3"/>
                <a:gd name="T7" fmla="*/ 1587 h 3"/>
                <a:gd name="T8" fmla="*/ 4233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0"/>
                  </a:moveTo>
                  <a:cubicBezTo>
                    <a:pt x="2" y="0"/>
                    <a:pt x="3" y="1"/>
                    <a:pt x="3" y="2"/>
                  </a:cubicBezTo>
                  <a:cubicBezTo>
                    <a:pt x="3" y="2"/>
                    <a:pt x="2" y="3"/>
                    <a:pt x="2" y="3"/>
                  </a:cubicBezTo>
                  <a:cubicBezTo>
                    <a:pt x="1" y="3"/>
                    <a:pt x="0" y="2"/>
                    <a:pt x="0" y="1"/>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2" name="Oval 331"/>
            <p:cNvSpPr>
              <a:spLocks noChangeAspect="1" noChangeArrowheads="1"/>
            </p:cNvSpPr>
            <p:nvPr/>
          </p:nvSpPr>
          <p:spPr bwMode="auto">
            <a:xfrm>
              <a:off x="4903555" y="2011724"/>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3" name="Freeform 332"/>
            <p:cNvSpPr>
              <a:spLocks noChangeAspect="1"/>
            </p:cNvSpPr>
            <p:nvPr/>
          </p:nvSpPr>
          <p:spPr bwMode="auto">
            <a:xfrm>
              <a:off x="4932386" y="2027200"/>
              <a:ext cx="3203" cy="2579"/>
            </a:xfrm>
            <a:custGeom>
              <a:avLst/>
              <a:gdLst>
                <a:gd name="T0" fmla="*/ 1588 w 2"/>
                <a:gd name="T1" fmla="*/ 0 h 2"/>
                <a:gd name="T2" fmla="*/ 3175 w 2"/>
                <a:gd name="T3" fmla="*/ 1588 h 2"/>
                <a:gd name="T4" fmla="*/ 1588 w 2"/>
                <a:gd name="T5" fmla="*/ 3175 h 2"/>
                <a:gd name="T6" fmla="*/ 0 w 2"/>
                <a:gd name="T7" fmla="*/ 1588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1"/>
                  </a:cubicBezTo>
                  <a:cubicBezTo>
                    <a:pt x="2" y="2"/>
                    <a:pt x="1" y="2"/>
                    <a:pt x="1" y="2"/>
                  </a:cubicBezTo>
                  <a:cubicBezTo>
                    <a:pt x="1" y="2"/>
                    <a:pt x="0" y="1"/>
                    <a:pt x="0" y="1"/>
                  </a:cubicBezTo>
                  <a:cubicBezTo>
                    <a:pt x="0" y="0"/>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4" name="Oval 333"/>
            <p:cNvSpPr>
              <a:spLocks noChangeAspect="1" noChangeArrowheads="1"/>
            </p:cNvSpPr>
            <p:nvPr/>
          </p:nvSpPr>
          <p:spPr bwMode="auto">
            <a:xfrm>
              <a:off x="4897147" y="2006565"/>
              <a:ext cx="3203" cy="386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5" name="Freeform 334"/>
            <p:cNvSpPr>
              <a:spLocks noChangeAspect="1"/>
            </p:cNvSpPr>
            <p:nvPr/>
          </p:nvSpPr>
          <p:spPr bwMode="auto">
            <a:xfrm>
              <a:off x="4914766" y="1996248"/>
              <a:ext cx="3203" cy="2579"/>
            </a:xfrm>
            <a:custGeom>
              <a:avLst/>
              <a:gdLst>
                <a:gd name="T0" fmla="*/ 1588 w 2"/>
                <a:gd name="T1" fmla="*/ 0 h 2"/>
                <a:gd name="T2" fmla="*/ 3175 w 2"/>
                <a:gd name="T3" fmla="*/ 3175 h 2"/>
                <a:gd name="T4" fmla="*/ 1588 w 2"/>
                <a:gd name="T5" fmla="*/ 3175 h 2"/>
                <a:gd name="T6" fmla="*/ 0 w 2"/>
                <a:gd name="T7" fmla="*/ 0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6" name="Freeform 335"/>
            <p:cNvSpPr>
              <a:spLocks noChangeAspect="1"/>
            </p:cNvSpPr>
            <p:nvPr/>
          </p:nvSpPr>
          <p:spPr bwMode="auto">
            <a:xfrm>
              <a:off x="4898749" y="1997538"/>
              <a:ext cx="6407" cy="2579"/>
            </a:xfrm>
            <a:custGeom>
              <a:avLst/>
              <a:gdLst>
                <a:gd name="T0" fmla="*/ 4233 w 3"/>
                <a:gd name="T1" fmla="*/ 0 h 2"/>
                <a:gd name="T2" fmla="*/ 6350 w 3"/>
                <a:gd name="T3" fmla="*/ 1588 h 2"/>
                <a:gd name="T4" fmla="*/ 2117 w 3"/>
                <a:gd name="T5" fmla="*/ 3175 h 2"/>
                <a:gd name="T6" fmla="*/ 2117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2"/>
                  </a:cubicBezTo>
                  <a:cubicBezTo>
                    <a:pt x="1" y="1"/>
                    <a:pt x="0" y="1"/>
                    <a:pt x="1" y="0"/>
                  </a:cubicBezTo>
                  <a:cubicBezTo>
                    <a:pt x="1"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7" name="Freeform 336"/>
            <p:cNvSpPr>
              <a:spLocks noChangeAspect="1"/>
            </p:cNvSpPr>
            <p:nvPr/>
          </p:nvSpPr>
          <p:spPr bwMode="auto">
            <a:xfrm>
              <a:off x="4893944" y="1994959"/>
              <a:ext cx="3203" cy="2579"/>
            </a:xfrm>
            <a:custGeom>
              <a:avLst/>
              <a:gdLst>
                <a:gd name="T0" fmla="*/ 1588 w 2"/>
                <a:gd name="T1" fmla="*/ 0 h 2"/>
                <a:gd name="T2" fmla="*/ 3175 w 2"/>
                <a:gd name="T3" fmla="*/ 3175 h 2"/>
                <a:gd name="T4" fmla="*/ 1588 w 2"/>
                <a:gd name="T5" fmla="*/ 3175 h 2"/>
                <a:gd name="T6" fmla="*/ 0 w 2"/>
                <a:gd name="T7" fmla="*/ 0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8" name="Freeform 337"/>
            <p:cNvSpPr>
              <a:spLocks noChangeAspect="1"/>
            </p:cNvSpPr>
            <p:nvPr/>
          </p:nvSpPr>
          <p:spPr bwMode="auto">
            <a:xfrm>
              <a:off x="4917969" y="2018173"/>
              <a:ext cx="6407" cy="2579"/>
            </a:xfrm>
            <a:custGeom>
              <a:avLst/>
              <a:gdLst>
                <a:gd name="T0" fmla="*/ 4233 w 3"/>
                <a:gd name="T1" fmla="*/ 0 h 2"/>
                <a:gd name="T2" fmla="*/ 6350 w 3"/>
                <a:gd name="T3" fmla="*/ 3175 h 2"/>
                <a:gd name="T4" fmla="*/ 2117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2"/>
                  </a:cubicBezTo>
                  <a:cubicBezTo>
                    <a:pt x="3"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9" name="Freeform 338"/>
            <p:cNvSpPr>
              <a:spLocks noChangeAspect="1"/>
            </p:cNvSpPr>
            <p:nvPr/>
          </p:nvSpPr>
          <p:spPr bwMode="auto">
            <a:xfrm>
              <a:off x="4908360" y="2019462"/>
              <a:ext cx="4806" cy="2579"/>
            </a:xfrm>
            <a:custGeom>
              <a:avLst/>
              <a:gdLst>
                <a:gd name="T0" fmla="*/ 2382 w 2"/>
                <a:gd name="T1" fmla="*/ 1588 h 2"/>
                <a:gd name="T2" fmla="*/ 4763 w 2"/>
                <a:gd name="T3" fmla="*/ 3175 h 2"/>
                <a:gd name="T4" fmla="*/ 2382 w 2"/>
                <a:gd name="T5" fmla="*/ 3175 h 2"/>
                <a:gd name="T6" fmla="*/ 0 w 2"/>
                <a:gd name="T7" fmla="*/ 1588 h 2"/>
                <a:gd name="T8" fmla="*/ 238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1"/>
                    <a:pt x="2" y="2"/>
                  </a:cubicBezTo>
                  <a:cubicBezTo>
                    <a:pt x="2" y="2"/>
                    <a:pt x="1" y="2"/>
                    <a:pt x="1" y="2"/>
                  </a:cubicBezTo>
                  <a:cubicBezTo>
                    <a:pt x="1" y="2"/>
                    <a:pt x="0" y="1"/>
                    <a:pt x="0" y="1"/>
                  </a:cubicBezTo>
                  <a:cubicBezTo>
                    <a:pt x="0" y="0"/>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0" name="Freeform 339"/>
            <p:cNvSpPr>
              <a:spLocks noChangeAspect="1"/>
            </p:cNvSpPr>
            <p:nvPr/>
          </p:nvSpPr>
          <p:spPr bwMode="auto">
            <a:xfrm>
              <a:off x="4922775" y="1998827"/>
              <a:ext cx="3203" cy="1290"/>
            </a:xfrm>
            <a:custGeom>
              <a:avLst/>
              <a:gdLst>
                <a:gd name="T0" fmla="*/ 1588 w 2"/>
                <a:gd name="T1" fmla="*/ 0 h 1"/>
                <a:gd name="T2" fmla="*/ 3175 w 2"/>
                <a:gd name="T3" fmla="*/ 1588 h 1"/>
                <a:gd name="T4" fmla="*/ 1588 w 2"/>
                <a:gd name="T5" fmla="*/ 1588 h 1"/>
                <a:gd name="T6" fmla="*/ 0 w 2"/>
                <a:gd name="T7" fmla="*/ 0 h 1"/>
                <a:gd name="T8" fmla="*/ 1588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2" y="0"/>
                    <a:pt x="2" y="0"/>
                    <a:pt x="2" y="1"/>
                  </a:cubicBezTo>
                  <a:cubicBezTo>
                    <a:pt x="2" y="1"/>
                    <a:pt x="1" y="1"/>
                    <a:pt x="1" y="1"/>
                  </a:cubicBezTo>
                  <a:cubicBezTo>
                    <a:pt x="1" y="1"/>
                    <a:pt x="0" y="0"/>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1" name="Freeform 340"/>
            <p:cNvSpPr>
              <a:spLocks noChangeAspect="1"/>
            </p:cNvSpPr>
            <p:nvPr/>
          </p:nvSpPr>
          <p:spPr bwMode="auto">
            <a:xfrm>
              <a:off x="4913164" y="2007855"/>
              <a:ext cx="6407" cy="5158"/>
            </a:xfrm>
            <a:custGeom>
              <a:avLst/>
              <a:gdLst>
                <a:gd name="T0" fmla="*/ 1588 w 4"/>
                <a:gd name="T1" fmla="*/ 2117 h 3"/>
                <a:gd name="T2" fmla="*/ 4762 w 4"/>
                <a:gd name="T3" fmla="*/ 2117 h 3"/>
                <a:gd name="T4" fmla="*/ 3175 w 4"/>
                <a:gd name="T5" fmla="*/ 4233 h 3"/>
                <a:gd name="T6" fmla="*/ 0 w 4"/>
                <a:gd name="T7" fmla="*/ 6350 h 3"/>
                <a:gd name="T8" fmla="*/ 1588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2" y="0"/>
                    <a:pt x="3" y="0"/>
                    <a:pt x="3" y="1"/>
                  </a:cubicBezTo>
                  <a:cubicBezTo>
                    <a:pt x="4" y="1"/>
                    <a:pt x="3" y="2"/>
                    <a:pt x="2" y="2"/>
                  </a:cubicBezTo>
                  <a:cubicBezTo>
                    <a:pt x="2" y="3"/>
                    <a:pt x="1" y="3"/>
                    <a:pt x="0" y="3"/>
                  </a:cubicBezTo>
                  <a:cubicBezTo>
                    <a:pt x="0" y="2"/>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2" name="Freeform 341"/>
            <p:cNvSpPr>
              <a:spLocks noChangeAspect="1"/>
            </p:cNvSpPr>
            <p:nvPr/>
          </p:nvSpPr>
          <p:spPr bwMode="auto">
            <a:xfrm>
              <a:off x="4941995" y="2020752"/>
              <a:ext cx="4805" cy="5158"/>
            </a:xfrm>
            <a:custGeom>
              <a:avLst/>
              <a:gdLst>
                <a:gd name="T0" fmla="*/ 1587 w 3"/>
                <a:gd name="T1" fmla="*/ 2117 h 3"/>
                <a:gd name="T2" fmla="*/ 4762 w 3"/>
                <a:gd name="T3" fmla="*/ 2117 h 3"/>
                <a:gd name="T4" fmla="*/ 3175 w 3"/>
                <a:gd name="T5" fmla="*/ 4233 h 3"/>
                <a:gd name="T6" fmla="*/ 0 w 3"/>
                <a:gd name="T7" fmla="*/ 4233 h 3"/>
                <a:gd name="T8" fmla="*/ 1587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1"/>
                  </a:moveTo>
                  <a:cubicBezTo>
                    <a:pt x="2" y="1"/>
                    <a:pt x="2" y="0"/>
                    <a:pt x="3" y="1"/>
                  </a:cubicBezTo>
                  <a:cubicBezTo>
                    <a:pt x="3" y="1"/>
                    <a:pt x="3" y="2"/>
                    <a:pt x="2" y="2"/>
                  </a:cubicBezTo>
                  <a:cubicBezTo>
                    <a:pt x="2" y="2"/>
                    <a:pt x="1" y="3"/>
                    <a:pt x="0" y="2"/>
                  </a:cubicBezTo>
                  <a:cubicBezTo>
                    <a:pt x="0" y="2"/>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3" name="Freeform 342"/>
            <p:cNvSpPr>
              <a:spLocks noChangeAspect="1"/>
            </p:cNvSpPr>
            <p:nvPr/>
          </p:nvSpPr>
          <p:spPr bwMode="auto">
            <a:xfrm>
              <a:off x="4958012" y="2015594"/>
              <a:ext cx="6407" cy="3868"/>
            </a:xfrm>
            <a:custGeom>
              <a:avLst/>
              <a:gdLst>
                <a:gd name="T0" fmla="*/ 2117 w 3"/>
                <a:gd name="T1" fmla="*/ 0 h 2"/>
                <a:gd name="T2" fmla="*/ 6350 w 3"/>
                <a:gd name="T3" fmla="*/ 0 h 2"/>
                <a:gd name="T4" fmla="*/ 4233 w 3"/>
                <a:gd name="T5" fmla="*/ 2381 h 2"/>
                <a:gd name="T6" fmla="*/ 0 w 3"/>
                <a:gd name="T7" fmla="*/ 4762 h 2"/>
                <a:gd name="T8" fmla="*/ 2117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1" y="0"/>
                    <a:pt x="2" y="0"/>
                    <a:pt x="3" y="0"/>
                  </a:cubicBezTo>
                  <a:cubicBezTo>
                    <a:pt x="3" y="0"/>
                    <a:pt x="2" y="1"/>
                    <a:pt x="2" y="1"/>
                  </a:cubicBezTo>
                  <a:cubicBezTo>
                    <a:pt x="1" y="2"/>
                    <a:pt x="1"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4" name="Freeform 343"/>
            <p:cNvSpPr>
              <a:spLocks noChangeAspect="1"/>
            </p:cNvSpPr>
            <p:nvPr/>
          </p:nvSpPr>
          <p:spPr bwMode="auto">
            <a:xfrm>
              <a:off x="4929182" y="1951109"/>
              <a:ext cx="17618" cy="10318"/>
            </a:xfrm>
            <a:custGeom>
              <a:avLst/>
              <a:gdLst>
                <a:gd name="T0" fmla="*/ 11641 w 9"/>
                <a:gd name="T1" fmla="*/ 1814 h 7"/>
                <a:gd name="T2" fmla="*/ 17462 w 9"/>
                <a:gd name="T3" fmla="*/ 10886 h 7"/>
                <a:gd name="T4" fmla="*/ 15522 w 9"/>
                <a:gd name="T5" fmla="*/ 12700 h 7"/>
                <a:gd name="T6" fmla="*/ 7761 w 9"/>
                <a:gd name="T7" fmla="*/ 10886 h 7"/>
                <a:gd name="T8" fmla="*/ 9701 w 9"/>
                <a:gd name="T9" fmla="*/ 7257 h 7"/>
                <a:gd name="T10" fmla="*/ 3880 w 9"/>
                <a:gd name="T11" fmla="*/ 9071 h 7"/>
                <a:gd name="T12" fmla="*/ 1940 w 9"/>
                <a:gd name="T13" fmla="*/ 3629 h 7"/>
                <a:gd name="T14" fmla="*/ 11641 w 9"/>
                <a:gd name="T15" fmla="*/ 1814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5" name="Freeform 344"/>
            <p:cNvSpPr>
              <a:spLocks noChangeAspect="1"/>
            </p:cNvSpPr>
            <p:nvPr/>
          </p:nvSpPr>
          <p:spPr bwMode="auto">
            <a:xfrm>
              <a:off x="4929182" y="1969165"/>
              <a:ext cx="9610" cy="15476"/>
            </a:xfrm>
            <a:custGeom>
              <a:avLst/>
              <a:gdLst>
                <a:gd name="T0" fmla="*/ 0 w 5"/>
                <a:gd name="T1" fmla="*/ 1905 h 10"/>
                <a:gd name="T2" fmla="*/ 7620 w 5"/>
                <a:gd name="T3" fmla="*/ 3810 h 10"/>
                <a:gd name="T4" fmla="*/ 7620 w 5"/>
                <a:gd name="T5" fmla="*/ 17145 h 10"/>
                <a:gd name="T6" fmla="*/ 1905 w 5"/>
                <a:gd name="T7" fmla="*/ 13335 h 10"/>
                <a:gd name="T8" fmla="*/ 5715 w 5"/>
                <a:gd name="T9" fmla="*/ 9525 h 10"/>
                <a:gd name="T10" fmla="*/ 0 w 5"/>
                <a:gd name="T11" fmla="*/ 1905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6" name="Freeform 345"/>
            <p:cNvSpPr>
              <a:spLocks noChangeAspect="1"/>
            </p:cNvSpPr>
            <p:nvPr/>
          </p:nvSpPr>
          <p:spPr bwMode="auto">
            <a:xfrm>
              <a:off x="4922775" y="1969165"/>
              <a:ext cx="4805" cy="5158"/>
            </a:xfrm>
            <a:custGeom>
              <a:avLst/>
              <a:gdLst>
                <a:gd name="T0" fmla="*/ 0 w 3"/>
                <a:gd name="T1" fmla="*/ 0 h 3"/>
                <a:gd name="T2" fmla="*/ 3175 w 3"/>
                <a:gd name="T3" fmla="*/ 4233 h 3"/>
                <a:gd name="T4" fmla="*/ 1587 w 3"/>
                <a:gd name="T5" fmla="*/ 6350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7" name="Freeform 346"/>
            <p:cNvSpPr>
              <a:spLocks noChangeAspect="1"/>
            </p:cNvSpPr>
            <p:nvPr/>
          </p:nvSpPr>
          <p:spPr bwMode="auto">
            <a:xfrm>
              <a:off x="4877928" y="2045256"/>
              <a:ext cx="68873" cy="20635"/>
            </a:xfrm>
            <a:custGeom>
              <a:avLst/>
              <a:gdLst>
                <a:gd name="T0" fmla="*/ 5688 w 36"/>
                <a:gd name="T1" fmla="*/ 0 h 13"/>
                <a:gd name="T2" fmla="*/ 1896 w 36"/>
                <a:gd name="T3" fmla="*/ 7815 h 13"/>
                <a:gd name="T4" fmla="*/ 1896 w 36"/>
                <a:gd name="T5" fmla="*/ 13677 h 13"/>
                <a:gd name="T6" fmla="*/ 22754 w 36"/>
                <a:gd name="T7" fmla="*/ 15631 h 13"/>
                <a:gd name="T8" fmla="*/ 30339 w 36"/>
                <a:gd name="T9" fmla="*/ 19538 h 13"/>
                <a:gd name="T10" fmla="*/ 32235 w 36"/>
                <a:gd name="T11" fmla="*/ 25400 h 13"/>
                <a:gd name="T12" fmla="*/ 64470 w 36"/>
                <a:gd name="T13" fmla="*/ 21492 h 13"/>
                <a:gd name="T14" fmla="*/ 66366 w 36"/>
                <a:gd name="T15" fmla="*/ 15631 h 13"/>
                <a:gd name="T16" fmla="*/ 54989 w 36"/>
                <a:gd name="T17" fmla="*/ 17585 h 13"/>
                <a:gd name="T18" fmla="*/ 54989 w 36"/>
                <a:gd name="T19" fmla="*/ 11723 h 13"/>
                <a:gd name="T20" fmla="*/ 41716 w 36"/>
                <a:gd name="T21" fmla="*/ 11723 h 13"/>
                <a:gd name="T22" fmla="*/ 32235 w 36"/>
                <a:gd name="T23" fmla="*/ 7815 h 13"/>
                <a:gd name="T24" fmla="*/ 20858 w 36"/>
                <a:gd name="T25" fmla="*/ 9769 h 13"/>
                <a:gd name="T26" fmla="*/ 13273 w 36"/>
                <a:gd name="T27" fmla="*/ 3908 h 13"/>
                <a:gd name="T28" fmla="*/ 5688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8" name="Freeform 347"/>
            <p:cNvSpPr>
              <a:spLocks noChangeAspect="1"/>
            </p:cNvSpPr>
            <p:nvPr/>
          </p:nvSpPr>
          <p:spPr bwMode="auto">
            <a:xfrm>
              <a:off x="4977233" y="2022042"/>
              <a:ext cx="14415" cy="20635"/>
            </a:xfrm>
            <a:custGeom>
              <a:avLst/>
              <a:gdLst>
                <a:gd name="T0" fmla="*/ 14287 w 7"/>
                <a:gd name="T1" fmla="*/ 3908 h 13"/>
                <a:gd name="T2" fmla="*/ 0 w 7"/>
                <a:gd name="T3" fmla="*/ 23446 h 13"/>
                <a:gd name="T4" fmla="*/ 0 w 7"/>
                <a:gd name="T5" fmla="*/ 17585 h 13"/>
                <a:gd name="T6" fmla="*/ 2041 w 7"/>
                <a:gd name="T7" fmla="*/ 9769 h 13"/>
                <a:gd name="T8" fmla="*/ 14287 w 7"/>
                <a:gd name="T9" fmla="*/ 3908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9" name="Freeform 348"/>
            <p:cNvSpPr>
              <a:spLocks noChangeAspect="1"/>
            </p:cNvSpPr>
            <p:nvPr/>
          </p:nvSpPr>
          <p:spPr bwMode="auto">
            <a:xfrm>
              <a:off x="4962817" y="2043966"/>
              <a:ext cx="9610" cy="10318"/>
            </a:xfrm>
            <a:custGeom>
              <a:avLst/>
              <a:gdLst>
                <a:gd name="T0" fmla="*/ 3810 w 5"/>
                <a:gd name="T1" fmla="*/ 1814 h 7"/>
                <a:gd name="T2" fmla="*/ 9525 w 5"/>
                <a:gd name="T3" fmla="*/ 10886 h 7"/>
                <a:gd name="T4" fmla="*/ 1905 w 5"/>
                <a:gd name="T5" fmla="*/ 9071 h 7"/>
                <a:gd name="T6" fmla="*/ 3810 w 5"/>
                <a:gd name="T7" fmla="*/ 1814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0" name="Freeform 349"/>
            <p:cNvSpPr>
              <a:spLocks noChangeAspect="1"/>
            </p:cNvSpPr>
            <p:nvPr/>
          </p:nvSpPr>
          <p:spPr bwMode="auto">
            <a:xfrm>
              <a:off x="4964419" y="2025911"/>
              <a:ext cx="6407" cy="2579"/>
            </a:xfrm>
            <a:custGeom>
              <a:avLst/>
              <a:gdLst>
                <a:gd name="T0" fmla="*/ 4233 w 3"/>
                <a:gd name="T1" fmla="*/ 0 h 2"/>
                <a:gd name="T2" fmla="*/ 6350 w 3"/>
                <a:gd name="T3" fmla="*/ 1588 h 2"/>
                <a:gd name="T4" fmla="*/ 2117 w 3"/>
                <a:gd name="T5" fmla="*/ 1588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1"/>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1" name="Freeform 350"/>
            <p:cNvSpPr>
              <a:spLocks noChangeAspect="1"/>
            </p:cNvSpPr>
            <p:nvPr/>
          </p:nvSpPr>
          <p:spPr bwMode="auto">
            <a:xfrm>
              <a:off x="4953207" y="2006565"/>
              <a:ext cx="4806" cy="3869"/>
            </a:xfrm>
            <a:custGeom>
              <a:avLst/>
              <a:gdLst>
                <a:gd name="T0" fmla="*/ 3175 w 3"/>
                <a:gd name="T1" fmla="*/ 2382 h 2"/>
                <a:gd name="T2" fmla="*/ 4763 w 3"/>
                <a:gd name="T3" fmla="*/ 4763 h 2"/>
                <a:gd name="T4" fmla="*/ 1588 w 3"/>
                <a:gd name="T5" fmla="*/ 4763 h 2"/>
                <a:gd name="T6" fmla="*/ 0 w 3"/>
                <a:gd name="T7" fmla="*/ 2382 h 2"/>
                <a:gd name="T8" fmla="*/ 3175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1" y="2"/>
                  </a:cubicBezTo>
                  <a:cubicBezTo>
                    <a:pt x="1" y="2"/>
                    <a:pt x="0" y="1"/>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2" name="Freeform 351"/>
            <p:cNvSpPr>
              <a:spLocks noChangeAspect="1"/>
            </p:cNvSpPr>
            <p:nvPr/>
          </p:nvSpPr>
          <p:spPr bwMode="auto">
            <a:xfrm>
              <a:off x="4925978" y="1929185"/>
              <a:ext cx="8008" cy="5158"/>
            </a:xfrm>
            <a:custGeom>
              <a:avLst/>
              <a:gdLst>
                <a:gd name="T0" fmla="*/ 3969 w 4"/>
                <a:gd name="T1" fmla="*/ 2117 h 3"/>
                <a:gd name="T2" fmla="*/ 7937 w 4"/>
                <a:gd name="T3" fmla="*/ 4233 h 3"/>
                <a:gd name="T4" fmla="*/ 3969 w 4"/>
                <a:gd name="T5" fmla="*/ 4233 h 3"/>
                <a:gd name="T6" fmla="*/ 0 w 4"/>
                <a:gd name="T7" fmla="*/ 2117 h 3"/>
                <a:gd name="T8" fmla="*/ 3969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3" y="1"/>
                    <a:pt x="4" y="1"/>
                    <a:pt x="4" y="2"/>
                  </a:cubicBezTo>
                  <a:cubicBezTo>
                    <a:pt x="4" y="3"/>
                    <a:pt x="3" y="3"/>
                    <a:pt x="2" y="2"/>
                  </a:cubicBezTo>
                  <a:cubicBezTo>
                    <a:pt x="1" y="2"/>
                    <a:pt x="0" y="2"/>
                    <a:pt x="0" y="1"/>
                  </a:cubicBezTo>
                  <a:cubicBezTo>
                    <a:pt x="0"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3" name="Freeform 352"/>
            <p:cNvSpPr>
              <a:spLocks noChangeAspect="1"/>
            </p:cNvSpPr>
            <p:nvPr/>
          </p:nvSpPr>
          <p:spPr bwMode="auto">
            <a:xfrm>
              <a:off x="4935588" y="1924026"/>
              <a:ext cx="9610" cy="7738"/>
            </a:xfrm>
            <a:custGeom>
              <a:avLst/>
              <a:gdLst>
                <a:gd name="T0" fmla="*/ 7620 w 5"/>
                <a:gd name="T1" fmla="*/ 0 h 5"/>
                <a:gd name="T2" fmla="*/ 3810 w 5"/>
                <a:gd name="T3" fmla="*/ 1905 h 5"/>
                <a:gd name="T4" fmla="*/ 1905 w 5"/>
                <a:gd name="T5" fmla="*/ 7620 h 5"/>
                <a:gd name="T6" fmla="*/ 5715 w 5"/>
                <a:gd name="T7" fmla="*/ 3810 h 5"/>
                <a:gd name="T8" fmla="*/ 762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4" name="Freeform 353"/>
            <p:cNvSpPr>
              <a:spLocks noChangeAspect="1"/>
            </p:cNvSpPr>
            <p:nvPr/>
          </p:nvSpPr>
          <p:spPr bwMode="auto">
            <a:xfrm>
              <a:off x="4809052" y="1432659"/>
              <a:ext cx="32034" cy="19345"/>
            </a:xfrm>
            <a:custGeom>
              <a:avLst/>
              <a:gdLst>
                <a:gd name="T0" fmla="*/ 29882 w 17"/>
                <a:gd name="T1" fmla="*/ 3663 h 13"/>
                <a:gd name="T2" fmla="*/ 11206 w 17"/>
                <a:gd name="T3" fmla="*/ 14654 h 13"/>
                <a:gd name="T4" fmla="*/ 7471 w 17"/>
                <a:gd name="T5" fmla="*/ 23812 h 13"/>
                <a:gd name="T6" fmla="*/ 3735 w 17"/>
                <a:gd name="T7" fmla="*/ 21980 h 13"/>
                <a:gd name="T8" fmla="*/ 7471 w 17"/>
                <a:gd name="T9" fmla="*/ 14654 h 13"/>
                <a:gd name="T10" fmla="*/ 0 w 17"/>
                <a:gd name="T11" fmla="*/ 9158 h 13"/>
                <a:gd name="T12" fmla="*/ 5603 w 17"/>
                <a:gd name="T13" fmla="*/ 3663 h 13"/>
                <a:gd name="T14" fmla="*/ 22412 w 17"/>
                <a:gd name="T15" fmla="*/ 0 h 13"/>
                <a:gd name="T16" fmla="*/ 29882 w 17"/>
                <a:gd name="T17" fmla="*/ 1832 h 13"/>
                <a:gd name="T18" fmla="*/ 29882 w 17"/>
                <a:gd name="T19" fmla="*/ 366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5" name="Freeform 354"/>
            <p:cNvSpPr>
              <a:spLocks noChangeAspect="1"/>
            </p:cNvSpPr>
            <p:nvPr/>
          </p:nvSpPr>
          <p:spPr bwMode="auto">
            <a:xfrm>
              <a:off x="4810656" y="1417182"/>
              <a:ext cx="22424" cy="11607"/>
            </a:xfrm>
            <a:custGeom>
              <a:avLst/>
              <a:gdLst>
                <a:gd name="T0" fmla="*/ 12965 w 12"/>
                <a:gd name="T1" fmla="*/ 0 h 8"/>
                <a:gd name="T2" fmla="*/ 22225 w 12"/>
                <a:gd name="T3" fmla="*/ 8929 h 8"/>
                <a:gd name="T4" fmla="*/ 14817 w 12"/>
                <a:gd name="T5" fmla="*/ 8929 h 8"/>
                <a:gd name="T6" fmla="*/ 12965 w 12"/>
                <a:gd name="T7" fmla="*/ 14287 h 8"/>
                <a:gd name="T8" fmla="*/ 5556 w 12"/>
                <a:gd name="T9" fmla="*/ 8929 h 8"/>
                <a:gd name="T10" fmla="*/ 1852 w 12"/>
                <a:gd name="T11" fmla="*/ 5358 h 8"/>
                <a:gd name="T12" fmla="*/ 11113 w 12"/>
                <a:gd name="T13" fmla="*/ 3572 h 8"/>
                <a:gd name="T14" fmla="*/ 12965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6" name="Freeform 355"/>
            <p:cNvSpPr>
              <a:spLocks noChangeAspect="1"/>
            </p:cNvSpPr>
            <p:nvPr/>
          </p:nvSpPr>
          <p:spPr bwMode="auto">
            <a:xfrm>
              <a:off x="5082946" y="2045256"/>
              <a:ext cx="60865" cy="29663"/>
            </a:xfrm>
            <a:custGeom>
              <a:avLst/>
              <a:gdLst>
                <a:gd name="T0" fmla="*/ 40865 w 31"/>
                <a:gd name="T1" fmla="*/ 13452 h 19"/>
                <a:gd name="T2" fmla="*/ 58379 w 31"/>
                <a:gd name="T3" fmla="*/ 1922 h 19"/>
                <a:gd name="T4" fmla="*/ 56433 w 31"/>
                <a:gd name="T5" fmla="*/ 0 h 19"/>
                <a:gd name="T6" fmla="*/ 36973 w 31"/>
                <a:gd name="T7" fmla="*/ 9609 h 19"/>
                <a:gd name="T8" fmla="*/ 31135 w 31"/>
                <a:gd name="T9" fmla="*/ 11530 h 19"/>
                <a:gd name="T10" fmla="*/ 19460 w 31"/>
                <a:gd name="T11" fmla="*/ 9609 h 19"/>
                <a:gd name="T12" fmla="*/ 13622 w 31"/>
                <a:gd name="T13" fmla="*/ 7687 h 19"/>
                <a:gd name="T14" fmla="*/ 13622 w 31"/>
                <a:gd name="T15" fmla="*/ 13452 h 19"/>
                <a:gd name="T16" fmla="*/ 1946 w 31"/>
                <a:gd name="T17" fmla="*/ 15374 h 19"/>
                <a:gd name="T18" fmla="*/ 0 w 31"/>
                <a:gd name="T19" fmla="*/ 26904 h 19"/>
                <a:gd name="T20" fmla="*/ 9730 w 31"/>
                <a:gd name="T21" fmla="*/ 30748 h 19"/>
                <a:gd name="T22" fmla="*/ 17514 w 31"/>
                <a:gd name="T23" fmla="*/ 30748 h 19"/>
                <a:gd name="T24" fmla="*/ 23352 w 31"/>
                <a:gd name="T25" fmla="*/ 34591 h 19"/>
                <a:gd name="T26" fmla="*/ 31135 w 31"/>
                <a:gd name="T27" fmla="*/ 26904 h 19"/>
                <a:gd name="T28" fmla="*/ 36973 w 31"/>
                <a:gd name="T29" fmla="*/ 21139 h 19"/>
                <a:gd name="T30" fmla="*/ 44757 w 31"/>
                <a:gd name="T31" fmla="*/ 21139 h 19"/>
                <a:gd name="T32" fmla="*/ 44757 w 31"/>
                <a:gd name="T33" fmla="*/ 19217 h 19"/>
                <a:gd name="T34" fmla="*/ 40865 w 31"/>
                <a:gd name="T35" fmla="*/ 13452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7" name="Freeform 356"/>
            <p:cNvSpPr>
              <a:spLocks noChangeAspect="1"/>
            </p:cNvSpPr>
            <p:nvPr/>
          </p:nvSpPr>
          <p:spPr bwMode="auto">
            <a:xfrm>
              <a:off x="5352034" y="2441187"/>
              <a:ext cx="257876" cy="145734"/>
            </a:xfrm>
            <a:custGeom>
              <a:avLst/>
              <a:gdLst>
                <a:gd name="T0" fmla="*/ 255587 w 134"/>
                <a:gd name="T1" fmla="*/ 66793 h 94"/>
                <a:gd name="T2" fmla="*/ 232699 w 134"/>
                <a:gd name="T3" fmla="*/ 80152 h 94"/>
                <a:gd name="T4" fmla="*/ 232699 w 134"/>
                <a:gd name="T5" fmla="*/ 95419 h 94"/>
                <a:gd name="T6" fmla="*/ 192644 w 134"/>
                <a:gd name="T7" fmla="*/ 110686 h 94"/>
                <a:gd name="T8" fmla="*/ 164033 w 134"/>
                <a:gd name="T9" fmla="*/ 125953 h 94"/>
                <a:gd name="T10" fmla="*/ 150682 w 134"/>
                <a:gd name="T11" fmla="*/ 139311 h 94"/>
                <a:gd name="T12" fmla="*/ 135423 w 134"/>
                <a:gd name="T13" fmla="*/ 139311 h 94"/>
                <a:gd name="T14" fmla="*/ 112535 w 134"/>
                <a:gd name="T15" fmla="*/ 150761 h 94"/>
                <a:gd name="T16" fmla="*/ 91554 w 134"/>
                <a:gd name="T17" fmla="*/ 150761 h 94"/>
                <a:gd name="T18" fmla="*/ 72480 w 134"/>
                <a:gd name="T19" fmla="*/ 158395 h 94"/>
                <a:gd name="T20" fmla="*/ 59128 w 134"/>
                <a:gd name="T21" fmla="*/ 175570 h 94"/>
                <a:gd name="T22" fmla="*/ 26703 w 134"/>
                <a:gd name="T23" fmla="*/ 175570 h 94"/>
                <a:gd name="T24" fmla="*/ 19074 w 134"/>
                <a:gd name="T25" fmla="*/ 160303 h 94"/>
                <a:gd name="T26" fmla="*/ 17166 w 134"/>
                <a:gd name="T27" fmla="*/ 137403 h 94"/>
                <a:gd name="T28" fmla="*/ 7629 w 134"/>
                <a:gd name="T29" fmla="*/ 112594 h 94"/>
                <a:gd name="T30" fmla="*/ 0 w 134"/>
                <a:gd name="T31" fmla="*/ 110686 h 94"/>
                <a:gd name="T32" fmla="*/ 7629 w 134"/>
                <a:gd name="T33" fmla="*/ 103052 h 94"/>
                <a:gd name="T34" fmla="*/ 9537 w 134"/>
                <a:gd name="T35" fmla="*/ 85877 h 94"/>
                <a:gd name="T36" fmla="*/ 7629 w 134"/>
                <a:gd name="T37" fmla="*/ 76335 h 94"/>
                <a:gd name="T38" fmla="*/ 15259 w 134"/>
                <a:gd name="T39" fmla="*/ 66793 h 94"/>
                <a:gd name="T40" fmla="*/ 15259 w 134"/>
                <a:gd name="T41" fmla="*/ 51526 h 94"/>
                <a:gd name="T42" fmla="*/ 20981 w 134"/>
                <a:gd name="T43" fmla="*/ 45801 h 94"/>
                <a:gd name="T44" fmla="*/ 28610 w 134"/>
                <a:gd name="T45" fmla="*/ 49618 h 94"/>
                <a:gd name="T46" fmla="*/ 95368 w 134"/>
                <a:gd name="T47" fmla="*/ 45801 h 94"/>
                <a:gd name="T48" fmla="*/ 108720 w 134"/>
                <a:gd name="T49" fmla="*/ 55343 h 94"/>
                <a:gd name="T50" fmla="*/ 122071 w 134"/>
                <a:gd name="T51" fmla="*/ 53434 h 94"/>
                <a:gd name="T52" fmla="*/ 143052 w 134"/>
                <a:gd name="T53" fmla="*/ 24809 h 94"/>
                <a:gd name="T54" fmla="*/ 223162 w 134"/>
                <a:gd name="T55" fmla="*/ 0 h 94"/>
                <a:gd name="T56" fmla="*/ 255587 w 134"/>
                <a:gd name="T57" fmla="*/ 66793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8" name="Freeform 357"/>
            <p:cNvSpPr>
              <a:spLocks noChangeAspect="1"/>
            </p:cNvSpPr>
            <p:nvPr/>
          </p:nvSpPr>
          <p:spPr bwMode="auto">
            <a:xfrm>
              <a:off x="5670775" y="2265791"/>
              <a:ext cx="12814" cy="27083"/>
            </a:xfrm>
            <a:custGeom>
              <a:avLst/>
              <a:gdLst>
                <a:gd name="T0" fmla="*/ 5443 w 7"/>
                <a:gd name="T1" fmla="*/ 31485 h 18"/>
                <a:gd name="T2" fmla="*/ 9071 w 7"/>
                <a:gd name="T3" fmla="*/ 22225 h 18"/>
                <a:gd name="T4" fmla="*/ 9071 w 7"/>
                <a:gd name="T5" fmla="*/ 3704 h 18"/>
                <a:gd name="T6" fmla="*/ 0 w 7"/>
                <a:gd name="T7" fmla="*/ 12964 h 18"/>
                <a:gd name="T8" fmla="*/ 1814 w 7"/>
                <a:gd name="T9" fmla="*/ 22225 h 18"/>
                <a:gd name="T10" fmla="*/ 1814 w 7"/>
                <a:gd name="T11" fmla="*/ 33337 h 18"/>
                <a:gd name="T12" fmla="*/ 5443 w 7"/>
                <a:gd name="T13" fmla="*/ 31485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9" name="Freeform 358"/>
            <p:cNvSpPr>
              <a:spLocks noChangeAspect="1"/>
            </p:cNvSpPr>
            <p:nvPr/>
          </p:nvSpPr>
          <p:spPr bwMode="auto">
            <a:xfrm>
              <a:off x="5544239" y="2274818"/>
              <a:ext cx="24025" cy="41270"/>
            </a:xfrm>
            <a:custGeom>
              <a:avLst/>
              <a:gdLst>
                <a:gd name="T0" fmla="*/ 9922 w 12"/>
                <a:gd name="T1" fmla="*/ 47037 h 27"/>
                <a:gd name="T2" fmla="*/ 19843 w 12"/>
                <a:gd name="T3" fmla="*/ 43274 h 27"/>
                <a:gd name="T4" fmla="*/ 21828 w 12"/>
                <a:gd name="T5" fmla="*/ 33867 h 27"/>
                <a:gd name="T6" fmla="*/ 13890 w 12"/>
                <a:gd name="T7" fmla="*/ 22578 h 27"/>
                <a:gd name="T8" fmla="*/ 17859 w 12"/>
                <a:gd name="T9" fmla="*/ 13170 h 27"/>
                <a:gd name="T10" fmla="*/ 9922 w 12"/>
                <a:gd name="T11" fmla="*/ 0 h 27"/>
                <a:gd name="T12" fmla="*/ 1984 w 12"/>
                <a:gd name="T13" fmla="*/ 9407 h 27"/>
                <a:gd name="T14" fmla="*/ 1984 w 12"/>
                <a:gd name="T15" fmla="*/ 20696 h 27"/>
                <a:gd name="T16" fmla="*/ 1984 w 12"/>
                <a:gd name="T17" fmla="*/ 30104 h 27"/>
                <a:gd name="T18" fmla="*/ 1984 w 12"/>
                <a:gd name="T19" fmla="*/ 39511 h 27"/>
                <a:gd name="T20" fmla="*/ 0 w 12"/>
                <a:gd name="T21" fmla="*/ 43274 h 27"/>
                <a:gd name="T22" fmla="*/ 3969 w 12"/>
                <a:gd name="T23" fmla="*/ 50800 h 27"/>
                <a:gd name="T24" fmla="*/ 9922 w 12"/>
                <a:gd name="T25" fmla="*/ 4703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0" name="Freeform 359"/>
            <p:cNvSpPr>
              <a:spLocks noChangeAspect="1"/>
            </p:cNvSpPr>
            <p:nvPr/>
          </p:nvSpPr>
          <p:spPr bwMode="auto">
            <a:xfrm>
              <a:off x="5472162" y="2185831"/>
              <a:ext cx="9610" cy="10318"/>
            </a:xfrm>
            <a:custGeom>
              <a:avLst/>
              <a:gdLst>
                <a:gd name="T0" fmla="*/ 0 w 5"/>
                <a:gd name="T1" fmla="*/ 2117 h 6"/>
                <a:gd name="T2" fmla="*/ 1905 w 5"/>
                <a:gd name="T3" fmla="*/ 10583 h 6"/>
                <a:gd name="T4" fmla="*/ 5715 w 5"/>
                <a:gd name="T5" fmla="*/ 10583 h 6"/>
                <a:gd name="T6" fmla="*/ 9525 w 5"/>
                <a:gd name="T7" fmla="*/ 6350 h 6"/>
                <a:gd name="T8" fmla="*/ 5715 w 5"/>
                <a:gd name="T9" fmla="*/ 2117 h 6"/>
                <a:gd name="T10" fmla="*/ 0 w 5"/>
                <a:gd name="T11" fmla="*/ 2117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1" name="Freeform 360"/>
            <p:cNvSpPr>
              <a:spLocks noChangeAspect="1"/>
            </p:cNvSpPr>
            <p:nvPr/>
          </p:nvSpPr>
          <p:spPr bwMode="auto">
            <a:xfrm>
              <a:off x="5329610" y="2491484"/>
              <a:ext cx="17618" cy="15476"/>
            </a:xfrm>
            <a:custGeom>
              <a:avLst/>
              <a:gdLst>
                <a:gd name="T0" fmla="*/ 0 w 9"/>
                <a:gd name="T1" fmla="*/ 3810 h 10"/>
                <a:gd name="T2" fmla="*/ 5821 w 9"/>
                <a:gd name="T3" fmla="*/ 1905 h 10"/>
                <a:gd name="T4" fmla="*/ 7761 w 9"/>
                <a:gd name="T5" fmla="*/ 9525 h 10"/>
                <a:gd name="T6" fmla="*/ 13582 w 9"/>
                <a:gd name="T7" fmla="*/ 7620 h 10"/>
                <a:gd name="T8" fmla="*/ 15522 w 9"/>
                <a:gd name="T9" fmla="*/ 17145 h 10"/>
                <a:gd name="T10" fmla="*/ 7761 w 9"/>
                <a:gd name="T11" fmla="*/ 11430 h 10"/>
                <a:gd name="T12" fmla="*/ 1940 w 9"/>
                <a:gd name="T13" fmla="*/ 9525 h 10"/>
                <a:gd name="T14" fmla="*/ 0 w 9"/>
                <a:gd name="T15" fmla="*/ 3810 h 1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0"/>
                <a:gd name="T26" fmla="*/ 9 w 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0">
                  <a:moveTo>
                    <a:pt x="0" y="2"/>
                  </a:moveTo>
                  <a:cubicBezTo>
                    <a:pt x="0" y="1"/>
                    <a:pt x="2" y="0"/>
                    <a:pt x="3" y="1"/>
                  </a:cubicBezTo>
                  <a:cubicBezTo>
                    <a:pt x="4" y="1"/>
                    <a:pt x="3" y="4"/>
                    <a:pt x="4" y="5"/>
                  </a:cubicBezTo>
                  <a:cubicBezTo>
                    <a:pt x="5" y="6"/>
                    <a:pt x="6" y="3"/>
                    <a:pt x="7" y="4"/>
                  </a:cubicBezTo>
                  <a:cubicBezTo>
                    <a:pt x="8" y="5"/>
                    <a:pt x="9" y="8"/>
                    <a:pt x="8" y="9"/>
                  </a:cubicBezTo>
                  <a:cubicBezTo>
                    <a:pt x="7" y="10"/>
                    <a:pt x="6" y="7"/>
                    <a:pt x="4" y="6"/>
                  </a:cubicBezTo>
                  <a:cubicBezTo>
                    <a:pt x="3" y="6"/>
                    <a:pt x="2" y="6"/>
                    <a:pt x="1" y="5"/>
                  </a:cubicBezTo>
                  <a:cubicBezTo>
                    <a:pt x="0" y="4"/>
                    <a:pt x="0" y="3"/>
                    <a:pt x="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2" name="Freeform 361"/>
            <p:cNvSpPr>
              <a:spLocks noChangeAspect="1"/>
            </p:cNvSpPr>
            <p:nvPr/>
          </p:nvSpPr>
          <p:spPr bwMode="auto">
            <a:xfrm>
              <a:off x="5646748" y="2259342"/>
              <a:ext cx="25627" cy="11608"/>
            </a:xfrm>
            <a:custGeom>
              <a:avLst/>
              <a:gdLst>
                <a:gd name="T0" fmla="*/ 1954 w 13"/>
                <a:gd name="T1" fmla="*/ 10716 h 8"/>
                <a:gd name="T2" fmla="*/ 1954 w 13"/>
                <a:gd name="T3" fmla="*/ 12502 h 8"/>
                <a:gd name="T4" fmla="*/ 13677 w 13"/>
                <a:gd name="T5" fmla="*/ 7144 h 8"/>
                <a:gd name="T6" fmla="*/ 21492 w 13"/>
                <a:gd name="T7" fmla="*/ 7144 h 8"/>
                <a:gd name="T8" fmla="*/ 25400 w 13"/>
                <a:gd name="T9" fmla="*/ 1786 h 8"/>
                <a:gd name="T10" fmla="*/ 21492 w 13"/>
                <a:gd name="T11" fmla="*/ 0 h 8"/>
                <a:gd name="T12" fmla="*/ 11723 w 13"/>
                <a:gd name="T13" fmla="*/ 3572 h 8"/>
                <a:gd name="T14" fmla="*/ 9769 w 13"/>
                <a:gd name="T15" fmla="*/ 7144 h 8"/>
                <a:gd name="T16" fmla="*/ 1954 w 13"/>
                <a:gd name="T17" fmla="*/ 1071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3" name="Freeform 362"/>
            <p:cNvSpPr>
              <a:spLocks noChangeAspect="1"/>
            </p:cNvSpPr>
            <p:nvPr/>
          </p:nvSpPr>
          <p:spPr bwMode="auto">
            <a:xfrm>
              <a:off x="6844830" y="2637219"/>
              <a:ext cx="8008" cy="10318"/>
            </a:xfrm>
            <a:custGeom>
              <a:avLst/>
              <a:gdLst>
                <a:gd name="T0" fmla="*/ 0 w 4"/>
                <a:gd name="T1" fmla="*/ 3629 h 7"/>
                <a:gd name="T2" fmla="*/ 3969 w 4"/>
                <a:gd name="T3" fmla="*/ 0 h 7"/>
                <a:gd name="T4" fmla="*/ 7937 w 4"/>
                <a:gd name="T5" fmla="*/ 5443 h 7"/>
                <a:gd name="T6" fmla="*/ 5953 w 4"/>
                <a:gd name="T7" fmla="*/ 12700 h 7"/>
                <a:gd name="T8" fmla="*/ 3969 w 4"/>
                <a:gd name="T9" fmla="*/ 9071 h 7"/>
                <a:gd name="T10" fmla="*/ 0 w 4"/>
                <a:gd name="T11" fmla="*/ 3629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4" name="Freeform 363"/>
            <p:cNvSpPr>
              <a:spLocks noChangeAspect="1"/>
            </p:cNvSpPr>
            <p:nvPr/>
          </p:nvSpPr>
          <p:spPr bwMode="auto">
            <a:xfrm>
              <a:off x="6940932" y="2416683"/>
              <a:ext cx="59263" cy="47719"/>
            </a:xfrm>
            <a:custGeom>
              <a:avLst/>
              <a:gdLst>
                <a:gd name="T0" fmla="*/ 54948 w 31"/>
                <a:gd name="T1" fmla="*/ 0 h 31"/>
                <a:gd name="T2" fmla="*/ 58737 w 31"/>
                <a:gd name="T3" fmla="*/ 11369 h 31"/>
                <a:gd name="T4" fmla="*/ 53053 w 31"/>
                <a:gd name="T5" fmla="*/ 20843 h 31"/>
                <a:gd name="T6" fmla="*/ 51158 w 31"/>
                <a:gd name="T7" fmla="*/ 39790 h 31"/>
                <a:gd name="T8" fmla="*/ 41684 w 31"/>
                <a:gd name="T9" fmla="*/ 49264 h 31"/>
                <a:gd name="T10" fmla="*/ 30316 w 31"/>
                <a:gd name="T11" fmla="*/ 51159 h 31"/>
                <a:gd name="T12" fmla="*/ 30316 w 31"/>
                <a:gd name="T13" fmla="*/ 56843 h 31"/>
                <a:gd name="T14" fmla="*/ 22737 w 31"/>
                <a:gd name="T15" fmla="*/ 54948 h 31"/>
                <a:gd name="T16" fmla="*/ 7579 w 31"/>
                <a:gd name="T17" fmla="*/ 49264 h 31"/>
                <a:gd name="T18" fmla="*/ 3789 w 31"/>
                <a:gd name="T19" fmla="*/ 37895 h 31"/>
                <a:gd name="T20" fmla="*/ 3789 w 31"/>
                <a:gd name="T21" fmla="*/ 20843 h 31"/>
                <a:gd name="T22" fmla="*/ 17053 w 31"/>
                <a:gd name="T23" fmla="*/ 11369 h 31"/>
                <a:gd name="T24" fmla="*/ 15158 w 31"/>
                <a:gd name="T25" fmla="*/ 9474 h 31"/>
                <a:gd name="T26" fmla="*/ 18947 w 31"/>
                <a:gd name="T27" fmla="*/ 5684 h 31"/>
                <a:gd name="T28" fmla="*/ 20842 w 31"/>
                <a:gd name="T29" fmla="*/ 7579 h 31"/>
                <a:gd name="T30" fmla="*/ 30316 w 31"/>
                <a:gd name="T31" fmla="*/ 5684 h 31"/>
                <a:gd name="T32" fmla="*/ 37895 w 31"/>
                <a:gd name="T33" fmla="*/ 5684 h 31"/>
                <a:gd name="T34" fmla="*/ 45474 w 31"/>
                <a:gd name="T35" fmla="*/ 3790 h 31"/>
                <a:gd name="T36" fmla="*/ 49263 w 31"/>
                <a:gd name="T37" fmla="*/ 5684 h 31"/>
                <a:gd name="T38" fmla="*/ 54948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5" name="Freeform 364"/>
            <p:cNvSpPr>
              <a:spLocks noChangeAspect="1"/>
            </p:cNvSpPr>
            <p:nvPr/>
          </p:nvSpPr>
          <p:spPr bwMode="auto">
            <a:xfrm>
              <a:off x="7210020" y="2298032"/>
              <a:ext cx="40042" cy="78671"/>
            </a:xfrm>
            <a:custGeom>
              <a:avLst/>
              <a:gdLst>
                <a:gd name="T0" fmla="*/ 39687 w 21"/>
                <a:gd name="T1" fmla="*/ 11393 h 51"/>
                <a:gd name="T2" fmla="*/ 34017 w 21"/>
                <a:gd name="T3" fmla="*/ 37976 h 51"/>
                <a:gd name="T4" fmla="*/ 32128 w 21"/>
                <a:gd name="T5" fmla="*/ 62660 h 51"/>
                <a:gd name="T6" fmla="*/ 22678 w 21"/>
                <a:gd name="T7" fmla="*/ 79749 h 51"/>
                <a:gd name="T8" fmla="*/ 22678 w 21"/>
                <a:gd name="T9" fmla="*/ 96838 h 51"/>
                <a:gd name="T10" fmla="*/ 7559 w 21"/>
                <a:gd name="T11" fmla="*/ 77850 h 51"/>
                <a:gd name="T12" fmla="*/ 1890 w 21"/>
                <a:gd name="T13" fmla="*/ 66457 h 51"/>
                <a:gd name="T14" fmla="*/ 5670 w 21"/>
                <a:gd name="T15" fmla="*/ 37976 h 51"/>
                <a:gd name="T16" fmla="*/ 15119 w 21"/>
                <a:gd name="T17" fmla="*/ 15190 h 51"/>
                <a:gd name="T18" fmla="*/ 17009 w 21"/>
                <a:gd name="T19" fmla="*/ 5696 h 51"/>
                <a:gd name="T20" fmla="*/ 26458 w 21"/>
                <a:gd name="T21" fmla="*/ 0 h 51"/>
                <a:gd name="T22" fmla="*/ 37797 w 21"/>
                <a:gd name="T23" fmla="*/ 5696 h 51"/>
                <a:gd name="T24" fmla="*/ 39687 w 21"/>
                <a:gd name="T25" fmla="*/ 11393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6" name="Freeform 365"/>
            <p:cNvSpPr>
              <a:spLocks noChangeAspect="1"/>
            </p:cNvSpPr>
            <p:nvPr/>
          </p:nvSpPr>
          <p:spPr bwMode="auto">
            <a:xfrm>
              <a:off x="7302918" y="2319958"/>
              <a:ext cx="6407" cy="7738"/>
            </a:xfrm>
            <a:custGeom>
              <a:avLst/>
              <a:gdLst>
                <a:gd name="T0" fmla="*/ 4762 w 4"/>
                <a:gd name="T1" fmla="*/ 0 h 5"/>
                <a:gd name="T2" fmla="*/ 4762 w 4"/>
                <a:gd name="T3" fmla="*/ 7620 h 5"/>
                <a:gd name="T4" fmla="*/ 0 w 4"/>
                <a:gd name="T5" fmla="*/ 3810 h 5"/>
                <a:gd name="T6" fmla="*/ 4762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3" y="0"/>
                  </a:moveTo>
                  <a:cubicBezTo>
                    <a:pt x="4" y="1"/>
                    <a:pt x="4" y="4"/>
                    <a:pt x="3" y="4"/>
                  </a:cubicBezTo>
                  <a:cubicBezTo>
                    <a:pt x="2" y="5"/>
                    <a:pt x="0" y="3"/>
                    <a:pt x="0" y="2"/>
                  </a:cubicBezTo>
                  <a:cubicBezTo>
                    <a:pt x="0" y="1"/>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7" name="Freeform 366"/>
            <p:cNvSpPr>
              <a:spLocks noChangeAspect="1"/>
            </p:cNvSpPr>
            <p:nvPr/>
          </p:nvSpPr>
          <p:spPr bwMode="auto">
            <a:xfrm>
              <a:off x="7328546" y="2308350"/>
              <a:ext cx="6407" cy="6449"/>
            </a:xfrm>
            <a:custGeom>
              <a:avLst/>
              <a:gdLst>
                <a:gd name="T0" fmla="*/ 4233 w 3"/>
                <a:gd name="T1" fmla="*/ 0 h 4"/>
                <a:gd name="T2" fmla="*/ 4233 w 3"/>
                <a:gd name="T3" fmla="*/ 7938 h 4"/>
                <a:gd name="T4" fmla="*/ 0 w 3"/>
                <a:gd name="T5" fmla="*/ 3969 h 4"/>
                <a:gd name="T6" fmla="*/ 4233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2" y="0"/>
                  </a:moveTo>
                  <a:cubicBezTo>
                    <a:pt x="3" y="1"/>
                    <a:pt x="3" y="3"/>
                    <a:pt x="2" y="4"/>
                  </a:cubicBezTo>
                  <a:cubicBezTo>
                    <a:pt x="1" y="4"/>
                    <a:pt x="0" y="3"/>
                    <a:pt x="0" y="2"/>
                  </a:cubicBezTo>
                  <a:cubicBezTo>
                    <a:pt x="0" y="1"/>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8" name="Freeform 367"/>
            <p:cNvSpPr>
              <a:spLocks noChangeAspect="1"/>
            </p:cNvSpPr>
            <p:nvPr/>
          </p:nvSpPr>
          <p:spPr bwMode="auto">
            <a:xfrm>
              <a:off x="7288503" y="2319958"/>
              <a:ext cx="8009" cy="7738"/>
            </a:xfrm>
            <a:custGeom>
              <a:avLst/>
              <a:gdLst>
                <a:gd name="T0" fmla="*/ 7938 w 4"/>
                <a:gd name="T1" fmla="*/ 3810 h 5"/>
                <a:gd name="T2" fmla="*/ 1985 w 4"/>
                <a:gd name="T3" fmla="*/ 9525 h 5"/>
                <a:gd name="T4" fmla="*/ 1985 w 4"/>
                <a:gd name="T5" fmla="*/ 1905 h 5"/>
                <a:gd name="T6" fmla="*/ 7938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9" name="Freeform 368"/>
            <p:cNvSpPr>
              <a:spLocks noChangeAspect="1"/>
            </p:cNvSpPr>
            <p:nvPr/>
          </p:nvSpPr>
          <p:spPr bwMode="auto">
            <a:xfrm>
              <a:off x="7288503" y="2319958"/>
              <a:ext cx="8009" cy="7738"/>
            </a:xfrm>
            <a:custGeom>
              <a:avLst/>
              <a:gdLst>
                <a:gd name="T0" fmla="*/ 7938 w 4"/>
                <a:gd name="T1" fmla="*/ 3810 h 5"/>
                <a:gd name="T2" fmla="*/ 1985 w 4"/>
                <a:gd name="T3" fmla="*/ 9525 h 5"/>
                <a:gd name="T4" fmla="*/ 1985 w 4"/>
                <a:gd name="T5" fmla="*/ 1905 h 5"/>
                <a:gd name="T6" fmla="*/ 7938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0" name="Freeform 369"/>
            <p:cNvSpPr>
              <a:spLocks noChangeAspect="1"/>
            </p:cNvSpPr>
            <p:nvPr/>
          </p:nvSpPr>
          <p:spPr bwMode="auto">
            <a:xfrm>
              <a:off x="7317333" y="2100712"/>
              <a:ext cx="19221" cy="10318"/>
            </a:xfrm>
            <a:custGeom>
              <a:avLst/>
              <a:gdLst>
                <a:gd name="T0" fmla="*/ 13335 w 10"/>
                <a:gd name="T1" fmla="*/ 0 h 6"/>
                <a:gd name="T2" fmla="*/ 19050 w 10"/>
                <a:gd name="T3" fmla="*/ 6350 h 6"/>
                <a:gd name="T4" fmla="*/ 11430 w 10"/>
                <a:gd name="T5" fmla="*/ 10583 h 6"/>
                <a:gd name="T6" fmla="*/ 3810 w 10"/>
                <a:gd name="T7" fmla="*/ 12700 h 6"/>
                <a:gd name="T8" fmla="*/ 1905 w 10"/>
                <a:gd name="T9" fmla="*/ 8467 h 6"/>
                <a:gd name="T10" fmla="*/ 13335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1" name="Freeform 370"/>
            <p:cNvSpPr>
              <a:spLocks noChangeAspect="1"/>
            </p:cNvSpPr>
            <p:nvPr/>
          </p:nvSpPr>
          <p:spPr bwMode="auto">
            <a:xfrm>
              <a:off x="4929182" y="800716"/>
              <a:ext cx="3501343" cy="1106545"/>
            </a:xfrm>
            <a:custGeom>
              <a:avLst/>
              <a:gdLst>
                <a:gd name="T0" fmla="*/ 2505992 w 1821"/>
                <a:gd name="T1" fmla="*/ 950595 h 715"/>
                <a:gd name="T2" fmla="*/ 2711808 w 1821"/>
                <a:gd name="T3" fmla="*/ 748665 h 715"/>
                <a:gd name="T4" fmla="*/ 2910000 w 1821"/>
                <a:gd name="T5" fmla="*/ 708660 h 715"/>
                <a:gd name="T6" fmla="*/ 2877603 w 1821"/>
                <a:gd name="T7" fmla="*/ 830580 h 715"/>
                <a:gd name="T8" fmla="*/ 3024342 w 1821"/>
                <a:gd name="T9" fmla="*/ 868680 h 715"/>
                <a:gd name="T10" fmla="*/ 3085324 w 1821"/>
                <a:gd name="T11" fmla="*/ 706755 h 715"/>
                <a:gd name="T12" fmla="*/ 3266365 w 1821"/>
                <a:gd name="T13" fmla="*/ 541020 h 715"/>
                <a:gd name="T14" fmla="*/ 3435972 w 1821"/>
                <a:gd name="T15" fmla="*/ 483870 h 715"/>
                <a:gd name="T16" fmla="*/ 2974794 w 1821"/>
                <a:gd name="T17" fmla="*/ 381000 h 715"/>
                <a:gd name="T18" fmla="*/ 2589843 w 1821"/>
                <a:gd name="T19" fmla="*/ 295275 h 715"/>
                <a:gd name="T20" fmla="*/ 2412613 w 1821"/>
                <a:gd name="T21" fmla="*/ 240030 h 715"/>
                <a:gd name="T22" fmla="*/ 2229666 w 1821"/>
                <a:gd name="T23" fmla="*/ 270510 h 715"/>
                <a:gd name="T24" fmla="*/ 1951435 w 1821"/>
                <a:gd name="T25" fmla="*/ 190500 h 715"/>
                <a:gd name="T26" fmla="*/ 1684637 w 1821"/>
                <a:gd name="T27" fmla="*/ 186690 h 715"/>
                <a:gd name="T28" fmla="*/ 1705599 w 1821"/>
                <a:gd name="T29" fmla="*/ 72390 h 715"/>
                <a:gd name="T30" fmla="*/ 1455953 w 1821"/>
                <a:gd name="T31" fmla="*/ 36195 h 715"/>
                <a:gd name="T32" fmla="*/ 1290157 w 1821"/>
                <a:gd name="T33" fmla="*/ 97155 h 715"/>
                <a:gd name="T34" fmla="*/ 1160570 w 1821"/>
                <a:gd name="T35" fmla="*/ 184785 h 715"/>
                <a:gd name="T36" fmla="*/ 1133890 w 1821"/>
                <a:gd name="T37" fmla="*/ 329565 h 715"/>
                <a:gd name="T38" fmla="*/ 998586 w 1821"/>
                <a:gd name="T39" fmla="*/ 249555 h 715"/>
                <a:gd name="T40" fmla="*/ 949037 w 1821"/>
                <a:gd name="T41" fmla="*/ 259080 h 715"/>
                <a:gd name="T42" fmla="*/ 1080531 w 1821"/>
                <a:gd name="T43" fmla="*/ 436245 h 715"/>
                <a:gd name="T44" fmla="*/ 949037 w 1821"/>
                <a:gd name="T45" fmla="*/ 489585 h 715"/>
                <a:gd name="T46" fmla="*/ 838507 w 1821"/>
                <a:gd name="T47" fmla="*/ 215265 h 715"/>
                <a:gd name="T48" fmla="*/ 687957 w 1821"/>
                <a:gd name="T49" fmla="*/ 388620 h 715"/>
                <a:gd name="T50" fmla="*/ 461179 w 1821"/>
                <a:gd name="T51" fmla="*/ 415290 h 715"/>
                <a:gd name="T52" fmla="*/ 335403 w 1821"/>
                <a:gd name="T53" fmla="*/ 419100 h 715"/>
                <a:gd name="T54" fmla="*/ 209627 w 1821"/>
                <a:gd name="T55" fmla="*/ 542925 h 715"/>
                <a:gd name="T56" fmla="*/ 89568 w 1821"/>
                <a:gd name="T57" fmla="*/ 462915 h 715"/>
                <a:gd name="T58" fmla="*/ 76228 w 1821"/>
                <a:gd name="T59" fmla="*/ 352425 h 715"/>
                <a:gd name="T60" fmla="*/ 1906 w 1821"/>
                <a:gd name="T61" fmla="*/ 400050 h 715"/>
                <a:gd name="T62" fmla="*/ 45737 w 1821"/>
                <a:gd name="T63" fmla="*/ 558165 h 715"/>
                <a:gd name="T64" fmla="*/ 28585 w 1821"/>
                <a:gd name="T65" fmla="*/ 714375 h 715"/>
                <a:gd name="T66" fmla="*/ 13340 w 1821"/>
                <a:gd name="T67" fmla="*/ 758190 h 715"/>
                <a:gd name="T68" fmla="*/ 26680 w 1821"/>
                <a:gd name="T69" fmla="*/ 857250 h 715"/>
                <a:gd name="T70" fmla="*/ 112436 w 1821"/>
                <a:gd name="T71" fmla="*/ 946785 h 715"/>
                <a:gd name="T72" fmla="*/ 165796 w 1821"/>
                <a:gd name="T73" fmla="*/ 994410 h 715"/>
                <a:gd name="T74" fmla="*/ 270609 w 1821"/>
                <a:gd name="T75" fmla="*/ 1070610 h 715"/>
                <a:gd name="T76" fmla="*/ 280138 w 1821"/>
                <a:gd name="T77" fmla="*/ 1144905 h 715"/>
                <a:gd name="T78" fmla="*/ 259175 w 1821"/>
                <a:gd name="T79" fmla="*/ 1219200 h 715"/>
                <a:gd name="T80" fmla="*/ 377328 w 1821"/>
                <a:gd name="T81" fmla="*/ 1293495 h 715"/>
                <a:gd name="T82" fmla="*/ 506916 w 1821"/>
                <a:gd name="T83" fmla="*/ 1360170 h 715"/>
                <a:gd name="T84" fmla="*/ 497387 w 1821"/>
                <a:gd name="T85" fmla="*/ 1215390 h 715"/>
                <a:gd name="T86" fmla="*/ 468802 w 1821"/>
                <a:gd name="T87" fmla="*/ 1146810 h 715"/>
                <a:gd name="T88" fmla="*/ 501199 w 1821"/>
                <a:gd name="T89" fmla="*/ 1068705 h 715"/>
                <a:gd name="T90" fmla="*/ 598389 w 1821"/>
                <a:gd name="T91" fmla="*/ 1021080 h 715"/>
                <a:gd name="T92" fmla="*/ 720354 w 1821"/>
                <a:gd name="T93" fmla="*/ 1047750 h 715"/>
                <a:gd name="T94" fmla="*/ 781336 w 1821"/>
                <a:gd name="T95" fmla="*/ 967740 h 715"/>
                <a:gd name="T96" fmla="*/ 924263 w 1821"/>
                <a:gd name="T97" fmla="*/ 893445 h 715"/>
                <a:gd name="T98" fmla="*/ 1029077 w 1821"/>
                <a:gd name="T99" fmla="*/ 941070 h 715"/>
                <a:gd name="T100" fmla="*/ 1210118 w 1821"/>
                <a:gd name="T101" fmla="*/ 1047750 h 715"/>
                <a:gd name="T102" fmla="*/ 1326366 w 1821"/>
                <a:gd name="T103" fmla="*/ 1070610 h 715"/>
                <a:gd name="T104" fmla="*/ 1469293 w 1821"/>
                <a:gd name="T105" fmla="*/ 1061085 h 715"/>
                <a:gd name="T106" fmla="*/ 1598880 w 1821"/>
                <a:gd name="T107" fmla="*/ 1078230 h 715"/>
                <a:gd name="T108" fmla="*/ 1699882 w 1821"/>
                <a:gd name="T109" fmla="*/ 1022985 h 715"/>
                <a:gd name="T110" fmla="*/ 1852338 w 1821"/>
                <a:gd name="T111" fmla="*/ 1087755 h 715"/>
                <a:gd name="T112" fmla="*/ 2041002 w 1821"/>
                <a:gd name="T113" fmla="*/ 1078230 h 715"/>
                <a:gd name="T114" fmla="*/ 2128664 w 1821"/>
                <a:gd name="T115" fmla="*/ 973455 h 715"/>
                <a:gd name="T116" fmla="*/ 2271592 w 1821"/>
                <a:gd name="T117" fmla="*/ 1043940 h 715"/>
                <a:gd name="T118" fmla="*/ 2384028 w 1821"/>
                <a:gd name="T119" fmla="*/ 1152525 h 715"/>
                <a:gd name="T120" fmla="*/ 2446916 w 1821"/>
                <a:gd name="T121" fmla="*/ 123825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2" name="Freeform 371"/>
            <p:cNvSpPr>
              <a:spLocks noChangeAspect="1"/>
            </p:cNvSpPr>
            <p:nvPr/>
          </p:nvSpPr>
          <p:spPr bwMode="auto">
            <a:xfrm>
              <a:off x="7584820" y="1796348"/>
              <a:ext cx="136145" cy="104464"/>
            </a:xfrm>
            <a:custGeom>
              <a:avLst/>
              <a:gdLst>
                <a:gd name="T0" fmla="*/ 28508 w 71"/>
                <a:gd name="T1" fmla="*/ 1891 h 68"/>
                <a:gd name="T2" fmla="*/ 66518 w 71"/>
                <a:gd name="T3" fmla="*/ 35929 h 68"/>
                <a:gd name="T4" fmla="*/ 91225 w 71"/>
                <a:gd name="T5" fmla="*/ 45384 h 68"/>
                <a:gd name="T6" fmla="*/ 104529 w 71"/>
                <a:gd name="T7" fmla="*/ 49166 h 68"/>
                <a:gd name="T8" fmla="*/ 114031 w 71"/>
                <a:gd name="T9" fmla="*/ 39711 h 68"/>
                <a:gd name="T10" fmla="*/ 112131 w 71"/>
                <a:gd name="T11" fmla="*/ 54839 h 68"/>
                <a:gd name="T12" fmla="*/ 119733 w 71"/>
                <a:gd name="T13" fmla="*/ 71857 h 68"/>
                <a:gd name="T14" fmla="*/ 133036 w 71"/>
                <a:gd name="T15" fmla="*/ 68075 h 68"/>
                <a:gd name="T16" fmla="*/ 115932 w 71"/>
                <a:gd name="T17" fmla="*/ 81312 h 68"/>
                <a:gd name="T18" fmla="*/ 106429 w 71"/>
                <a:gd name="T19" fmla="*/ 83203 h 68"/>
                <a:gd name="T20" fmla="*/ 96927 w 71"/>
                <a:gd name="T21" fmla="*/ 83203 h 68"/>
                <a:gd name="T22" fmla="*/ 85523 w 71"/>
                <a:gd name="T23" fmla="*/ 100222 h 68"/>
                <a:gd name="T24" fmla="*/ 81722 w 71"/>
                <a:gd name="T25" fmla="*/ 115350 h 68"/>
                <a:gd name="T26" fmla="*/ 41811 w 71"/>
                <a:gd name="T27" fmla="*/ 92658 h 68"/>
                <a:gd name="T28" fmla="*/ 30408 w 71"/>
                <a:gd name="T29" fmla="*/ 102113 h 68"/>
                <a:gd name="T30" fmla="*/ 15204 w 71"/>
                <a:gd name="T31" fmla="*/ 94549 h 68"/>
                <a:gd name="T32" fmla="*/ 15204 w 71"/>
                <a:gd name="T33" fmla="*/ 100222 h 68"/>
                <a:gd name="T34" fmla="*/ 28508 w 71"/>
                <a:gd name="T35" fmla="*/ 113459 h 68"/>
                <a:gd name="T36" fmla="*/ 36110 w 71"/>
                <a:gd name="T37" fmla="*/ 119132 h 68"/>
                <a:gd name="T38" fmla="*/ 22806 w 71"/>
                <a:gd name="T39" fmla="*/ 119132 h 68"/>
                <a:gd name="T40" fmla="*/ 17105 w 71"/>
                <a:gd name="T41" fmla="*/ 128587 h 68"/>
                <a:gd name="T42" fmla="*/ 13304 w 71"/>
                <a:gd name="T43" fmla="*/ 122914 h 68"/>
                <a:gd name="T44" fmla="*/ 13304 w 71"/>
                <a:gd name="T45" fmla="*/ 113459 h 68"/>
                <a:gd name="T46" fmla="*/ 3801 w 71"/>
                <a:gd name="T47" fmla="*/ 107786 h 68"/>
                <a:gd name="T48" fmla="*/ 1901 w 71"/>
                <a:gd name="T49" fmla="*/ 92658 h 68"/>
                <a:gd name="T50" fmla="*/ 11403 w 71"/>
                <a:gd name="T51" fmla="*/ 83203 h 68"/>
                <a:gd name="T52" fmla="*/ 3801 w 71"/>
                <a:gd name="T53" fmla="*/ 73748 h 68"/>
                <a:gd name="T54" fmla="*/ 7602 w 71"/>
                <a:gd name="T55" fmla="*/ 69966 h 68"/>
                <a:gd name="T56" fmla="*/ 26607 w 71"/>
                <a:gd name="T57" fmla="*/ 73748 h 68"/>
                <a:gd name="T58" fmla="*/ 22806 w 71"/>
                <a:gd name="T59" fmla="*/ 60512 h 68"/>
                <a:gd name="T60" fmla="*/ 32309 w 71"/>
                <a:gd name="T61" fmla="*/ 47275 h 68"/>
                <a:gd name="T62" fmla="*/ 28508 w 71"/>
                <a:gd name="T63" fmla="*/ 34038 h 68"/>
                <a:gd name="T64" fmla="*/ 28508 w 71"/>
                <a:gd name="T65" fmla="*/ 20801 h 68"/>
                <a:gd name="T66" fmla="*/ 19005 w 71"/>
                <a:gd name="T67" fmla="*/ 9455 h 68"/>
                <a:gd name="T68" fmla="*/ 28508 w 71"/>
                <a:gd name="T69" fmla="*/ 189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3" name="Freeform 372"/>
            <p:cNvSpPr>
              <a:spLocks noChangeAspect="1"/>
            </p:cNvSpPr>
            <p:nvPr/>
          </p:nvSpPr>
          <p:spPr bwMode="auto">
            <a:xfrm>
              <a:off x="7423047" y="1899522"/>
              <a:ext cx="237053" cy="205058"/>
            </a:xfrm>
            <a:custGeom>
              <a:avLst/>
              <a:gdLst>
                <a:gd name="T0" fmla="*/ 194837 w 123"/>
                <a:gd name="T1" fmla="*/ 9561 h 132"/>
                <a:gd name="T2" fmla="*/ 206298 w 123"/>
                <a:gd name="T3" fmla="*/ 22947 h 132"/>
                <a:gd name="T4" fmla="*/ 189106 w 123"/>
                <a:gd name="T5" fmla="*/ 11473 h 132"/>
                <a:gd name="T6" fmla="*/ 183376 w 123"/>
                <a:gd name="T7" fmla="*/ 22947 h 132"/>
                <a:gd name="T8" fmla="*/ 179555 w 123"/>
                <a:gd name="T9" fmla="*/ 43981 h 132"/>
                <a:gd name="T10" fmla="*/ 185286 w 123"/>
                <a:gd name="T11" fmla="*/ 49718 h 132"/>
                <a:gd name="T12" fmla="*/ 183376 w 123"/>
                <a:gd name="T13" fmla="*/ 95611 h 132"/>
                <a:gd name="T14" fmla="*/ 168094 w 123"/>
                <a:gd name="T15" fmla="*/ 120469 h 132"/>
                <a:gd name="T16" fmla="*/ 137532 w 123"/>
                <a:gd name="T17" fmla="*/ 149153 h 132"/>
                <a:gd name="T18" fmla="*/ 135622 w 123"/>
                <a:gd name="T19" fmla="*/ 131943 h 132"/>
                <a:gd name="T20" fmla="*/ 124161 w 123"/>
                <a:gd name="T21" fmla="*/ 137679 h 132"/>
                <a:gd name="T22" fmla="*/ 116520 w 123"/>
                <a:gd name="T23" fmla="*/ 170187 h 132"/>
                <a:gd name="T24" fmla="*/ 105059 w 123"/>
                <a:gd name="T25" fmla="*/ 185485 h 132"/>
                <a:gd name="T26" fmla="*/ 47754 w 123"/>
                <a:gd name="T27" fmla="*/ 189309 h 132"/>
                <a:gd name="T28" fmla="*/ 36293 w 123"/>
                <a:gd name="T29" fmla="*/ 191221 h 132"/>
                <a:gd name="T30" fmla="*/ 19102 w 123"/>
                <a:gd name="T31" fmla="*/ 214168 h 132"/>
                <a:gd name="T32" fmla="*/ 1910 w 123"/>
                <a:gd name="T33" fmla="*/ 229465 h 132"/>
                <a:gd name="T34" fmla="*/ 15281 w 123"/>
                <a:gd name="T35" fmla="*/ 235202 h 132"/>
                <a:gd name="T36" fmla="*/ 34383 w 123"/>
                <a:gd name="T37" fmla="*/ 239026 h 132"/>
                <a:gd name="T38" fmla="*/ 42024 w 123"/>
                <a:gd name="T39" fmla="*/ 229465 h 132"/>
                <a:gd name="T40" fmla="*/ 64946 w 123"/>
                <a:gd name="T41" fmla="*/ 219904 h 132"/>
                <a:gd name="T42" fmla="*/ 74496 w 123"/>
                <a:gd name="T43" fmla="*/ 214168 h 132"/>
                <a:gd name="T44" fmla="*/ 105059 w 123"/>
                <a:gd name="T45" fmla="*/ 212256 h 132"/>
                <a:gd name="T46" fmla="*/ 99328 w 123"/>
                <a:gd name="T47" fmla="*/ 227553 h 132"/>
                <a:gd name="T48" fmla="*/ 116520 w 123"/>
                <a:gd name="T49" fmla="*/ 250500 h 132"/>
                <a:gd name="T50" fmla="*/ 127981 w 123"/>
                <a:gd name="T51" fmla="*/ 227553 h 132"/>
                <a:gd name="T52" fmla="*/ 133711 w 123"/>
                <a:gd name="T53" fmla="*/ 216080 h 132"/>
                <a:gd name="T54" fmla="*/ 137532 w 123"/>
                <a:gd name="T55" fmla="*/ 204607 h 132"/>
                <a:gd name="T56" fmla="*/ 143262 w 123"/>
                <a:gd name="T57" fmla="*/ 210343 h 132"/>
                <a:gd name="T58" fmla="*/ 147083 w 123"/>
                <a:gd name="T59" fmla="*/ 216080 h 132"/>
                <a:gd name="T60" fmla="*/ 164274 w 123"/>
                <a:gd name="T61" fmla="*/ 216080 h 132"/>
                <a:gd name="T62" fmla="*/ 175735 w 123"/>
                <a:gd name="T63" fmla="*/ 202694 h 132"/>
                <a:gd name="T64" fmla="*/ 183376 w 123"/>
                <a:gd name="T65" fmla="*/ 214168 h 132"/>
                <a:gd name="T66" fmla="*/ 194837 w 123"/>
                <a:gd name="T67" fmla="*/ 198870 h 132"/>
                <a:gd name="T68" fmla="*/ 196747 w 123"/>
                <a:gd name="T69" fmla="*/ 187397 h 132"/>
                <a:gd name="T70" fmla="*/ 210118 w 123"/>
                <a:gd name="T71" fmla="*/ 187397 h 132"/>
                <a:gd name="T72" fmla="*/ 208208 w 123"/>
                <a:gd name="T73" fmla="*/ 202694 h 132"/>
                <a:gd name="T74" fmla="*/ 221579 w 123"/>
                <a:gd name="T75" fmla="*/ 200782 h 132"/>
                <a:gd name="T76" fmla="*/ 229220 w 123"/>
                <a:gd name="T77" fmla="*/ 181660 h 132"/>
                <a:gd name="T78" fmla="*/ 219669 w 123"/>
                <a:gd name="T79" fmla="*/ 151065 h 132"/>
                <a:gd name="T80" fmla="*/ 223489 w 123"/>
                <a:gd name="T81" fmla="*/ 130030 h 132"/>
                <a:gd name="T82" fmla="*/ 221579 w 123"/>
                <a:gd name="T83" fmla="*/ 97523 h 132"/>
                <a:gd name="T84" fmla="*/ 229220 w 123"/>
                <a:gd name="T85" fmla="*/ 89874 h 132"/>
                <a:gd name="T86" fmla="*/ 233040 w 123"/>
                <a:gd name="T87" fmla="*/ 66927 h 132"/>
                <a:gd name="T88" fmla="*/ 221579 w 123"/>
                <a:gd name="T89" fmla="*/ 43981 h 132"/>
                <a:gd name="T90" fmla="*/ 212028 w 123"/>
                <a:gd name="T91" fmla="*/ 22947 h 132"/>
                <a:gd name="T92" fmla="*/ 194837 w 123"/>
                <a:gd name="T93" fmla="*/ 1912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4" name="Freeform 373"/>
            <p:cNvSpPr>
              <a:spLocks noChangeAspect="1"/>
            </p:cNvSpPr>
            <p:nvPr/>
          </p:nvSpPr>
          <p:spPr bwMode="auto">
            <a:xfrm>
              <a:off x="7463090" y="2082657"/>
              <a:ext cx="54458" cy="38690"/>
            </a:xfrm>
            <a:custGeom>
              <a:avLst/>
              <a:gdLst>
                <a:gd name="T0" fmla="*/ 0 w 28"/>
                <a:gd name="T1" fmla="*/ 24765 h 25"/>
                <a:gd name="T2" fmla="*/ 3855 w 28"/>
                <a:gd name="T3" fmla="*/ 41910 h 25"/>
                <a:gd name="T4" fmla="*/ 15421 w 28"/>
                <a:gd name="T5" fmla="*/ 45720 h 25"/>
                <a:gd name="T6" fmla="*/ 21204 w 28"/>
                <a:gd name="T7" fmla="*/ 45720 h 25"/>
                <a:gd name="T8" fmla="*/ 21204 w 28"/>
                <a:gd name="T9" fmla="*/ 38100 h 25"/>
                <a:gd name="T10" fmla="*/ 26988 w 28"/>
                <a:gd name="T11" fmla="*/ 26670 h 25"/>
                <a:gd name="T12" fmla="*/ 36626 w 28"/>
                <a:gd name="T13" fmla="*/ 28575 h 25"/>
                <a:gd name="T14" fmla="*/ 42409 w 28"/>
                <a:gd name="T15" fmla="*/ 32385 h 25"/>
                <a:gd name="T16" fmla="*/ 46264 w 28"/>
                <a:gd name="T17" fmla="*/ 20955 h 25"/>
                <a:gd name="T18" fmla="*/ 52047 w 28"/>
                <a:gd name="T19" fmla="*/ 13335 h 25"/>
                <a:gd name="T20" fmla="*/ 50120 w 28"/>
                <a:gd name="T21" fmla="*/ 9525 h 25"/>
                <a:gd name="T22" fmla="*/ 48192 w 28"/>
                <a:gd name="T23" fmla="*/ 1905 h 25"/>
                <a:gd name="T24" fmla="*/ 36626 w 28"/>
                <a:gd name="T25" fmla="*/ 1905 h 25"/>
                <a:gd name="T26" fmla="*/ 30843 w 28"/>
                <a:gd name="T27" fmla="*/ 1905 h 25"/>
                <a:gd name="T28" fmla="*/ 25060 w 28"/>
                <a:gd name="T29" fmla="*/ 13335 h 25"/>
                <a:gd name="T30" fmla="*/ 17349 w 28"/>
                <a:gd name="T31" fmla="*/ 13335 h 25"/>
                <a:gd name="T32" fmla="*/ 11566 w 28"/>
                <a:gd name="T33" fmla="*/ 9525 h 25"/>
                <a:gd name="T34" fmla="*/ 5783 w 28"/>
                <a:gd name="T35" fmla="*/ 15240 h 25"/>
                <a:gd name="T36" fmla="*/ 0 w 28"/>
                <a:gd name="T37" fmla="*/ 2476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5" name="Freeform 374"/>
            <p:cNvSpPr>
              <a:spLocks noChangeAspect="1"/>
            </p:cNvSpPr>
            <p:nvPr/>
          </p:nvSpPr>
          <p:spPr bwMode="auto">
            <a:xfrm>
              <a:off x="7514345" y="2074919"/>
              <a:ext cx="4805" cy="7738"/>
            </a:xfrm>
            <a:custGeom>
              <a:avLst/>
              <a:gdLst>
                <a:gd name="T0" fmla="*/ 0 w 3"/>
                <a:gd name="T1" fmla="*/ 5715 h 5"/>
                <a:gd name="T2" fmla="*/ 3175 w 3"/>
                <a:gd name="T3" fmla="*/ 1905 h 5"/>
                <a:gd name="T4" fmla="*/ 3175 w 3"/>
                <a:gd name="T5" fmla="*/ 9525 h 5"/>
                <a:gd name="T6" fmla="*/ 0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4"/>
                    <a:pt x="2" y="5"/>
                  </a:cubicBezTo>
                  <a:cubicBezTo>
                    <a:pt x="1" y="5"/>
                    <a:pt x="0" y="4"/>
                    <a:pt x="0" y="4"/>
                  </a:cubicBezTo>
                  <a:cubicBezTo>
                    <a:pt x="0" y="4"/>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6" name="Freeform 375"/>
            <p:cNvSpPr>
              <a:spLocks noChangeAspect="1"/>
            </p:cNvSpPr>
            <p:nvPr/>
          </p:nvSpPr>
          <p:spPr bwMode="auto">
            <a:xfrm>
              <a:off x="7469497" y="2034939"/>
              <a:ext cx="6407" cy="3869"/>
            </a:xfrm>
            <a:custGeom>
              <a:avLst/>
              <a:gdLst>
                <a:gd name="T0" fmla="*/ 0 w 3"/>
                <a:gd name="T1" fmla="*/ 3175 h 3"/>
                <a:gd name="T2" fmla="*/ 4233 w 3"/>
                <a:gd name="T3" fmla="*/ 1588 h 3"/>
                <a:gd name="T4" fmla="*/ 4233 w 3"/>
                <a:gd name="T5" fmla="*/ 4763 h 3"/>
                <a:gd name="T6" fmla="*/ 0 w 3"/>
                <a:gd name="T7" fmla="*/ 3175 h 3"/>
                <a:gd name="T8" fmla="*/ 0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0" y="2"/>
                  </a:moveTo>
                  <a:cubicBezTo>
                    <a:pt x="1" y="1"/>
                    <a:pt x="2" y="0"/>
                    <a:pt x="2" y="1"/>
                  </a:cubicBezTo>
                  <a:cubicBezTo>
                    <a:pt x="3" y="1"/>
                    <a:pt x="2" y="2"/>
                    <a:pt x="2" y="3"/>
                  </a:cubicBezTo>
                  <a:cubicBezTo>
                    <a:pt x="1" y="3"/>
                    <a:pt x="1" y="2"/>
                    <a:pt x="0" y="2"/>
                  </a:cubicBezTo>
                  <a:cubicBezTo>
                    <a:pt x="0" y="2"/>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7" name="Freeform 376"/>
            <p:cNvSpPr>
              <a:spLocks noChangeAspect="1"/>
            </p:cNvSpPr>
            <p:nvPr/>
          </p:nvSpPr>
          <p:spPr bwMode="auto">
            <a:xfrm>
              <a:off x="7394217" y="2092975"/>
              <a:ext cx="6407" cy="5158"/>
            </a:xfrm>
            <a:custGeom>
              <a:avLst/>
              <a:gdLst>
                <a:gd name="T0" fmla="*/ 2117 w 3"/>
                <a:gd name="T1" fmla="*/ 4233 h 3"/>
                <a:gd name="T2" fmla="*/ 4233 w 3"/>
                <a:gd name="T3" fmla="*/ 2117 h 3"/>
                <a:gd name="T4" fmla="*/ 4233 w 3"/>
                <a:gd name="T5" fmla="*/ 6350 h 3"/>
                <a:gd name="T6" fmla="*/ 0 w 3"/>
                <a:gd name="T7" fmla="*/ 4233 h 3"/>
                <a:gd name="T8" fmla="*/ 2117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1"/>
                    <a:pt x="2" y="0"/>
                    <a:pt x="2" y="1"/>
                  </a:cubicBezTo>
                  <a:cubicBezTo>
                    <a:pt x="3" y="1"/>
                    <a:pt x="3" y="2"/>
                    <a:pt x="2" y="3"/>
                  </a:cubicBezTo>
                  <a:cubicBezTo>
                    <a:pt x="2" y="3"/>
                    <a:pt x="1" y="2"/>
                    <a:pt x="0" y="2"/>
                  </a:cubicBezTo>
                  <a:cubicBezTo>
                    <a:pt x="0" y="2"/>
                    <a:pt x="0"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8" name="Freeform 377"/>
            <p:cNvSpPr>
              <a:spLocks noChangeAspect="1"/>
            </p:cNvSpPr>
            <p:nvPr/>
          </p:nvSpPr>
          <p:spPr bwMode="auto">
            <a:xfrm>
              <a:off x="7431057" y="2176803"/>
              <a:ext cx="6407" cy="7738"/>
            </a:xfrm>
            <a:custGeom>
              <a:avLst/>
              <a:gdLst>
                <a:gd name="T0" fmla="*/ 0 w 3"/>
                <a:gd name="T1" fmla="*/ 5715 h 5"/>
                <a:gd name="T2" fmla="*/ 4233 w 3"/>
                <a:gd name="T3" fmla="*/ 1905 h 5"/>
                <a:gd name="T4" fmla="*/ 4233 w 3"/>
                <a:gd name="T5" fmla="*/ 7620 h 5"/>
                <a:gd name="T6" fmla="*/ 0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3"/>
                    <a:pt x="2" y="4"/>
                  </a:cubicBezTo>
                  <a:cubicBezTo>
                    <a:pt x="1" y="5"/>
                    <a:pt x="0" y="4"/>
                    <a:pt x="0" y="4"/>
                  </a:cubicBezTo>
                  <a:cubicBezTo>
                    <a:pt x="0" y="3"/>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9" name="Freeform 378"/>
            <p:cNvSpPr>
              <a:spLocks noChangeAspect="1"/>
            </p:cNvSpPr>
            <p:nvPr/>
          </p:nvSpPr>
          <p:spPr bwMode="auto">
            <a:xfrm>
              <a:off x="7376598" y="2118767"/>
              <a:ext cx="8008" cy="7738"/>
            </a:xfrm>
            <a:custGeom>
              <a:avLst/>
              <a:gdLst>
                <a:gd name="T0" fmla="*/ 0 w 4"/>
                <a:gd name="T1" fmla="*/ 3810 h 5"/>
                <a:gd name="T2" fmla="*/ 5953 w 4"/>
                <a:gd name="T3" fmla="*/ 1905 h 5"/>
                <a:gd name="T4" fmla="*/ 3969 w 4"/>
                <a:gd name="T5" fmla="*/ 7620 h 5"/>
                <a:gd name="T6" fmla="*/ 0 w 4"/>
                <a:gd name="T7" fmla="*/ 7620 h 5"/>
                <a:gd name="T8" fmla="*/ 0 w 4"/>
                <a:gd name="T9" fmla="*/ 381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0" y="2"/>
                  </a:moveTo>
                  <a:cubicBezTo>
                    <a:pt x="1" y="2"/>
                    <a:pt x="2" y="0"/>
                    <a:pt x="3" y="1"/>
                  </a:cubicBezTo>
                  <a:cubicBezTo>
                    <a:pt x="4" y="2"/>
                    <a:pt x="3" y="3"/>
                    <a:pt x="2" y="4"/>
                  </a:cubicBezTo>
                  <a:cubicBezTo>
                    <a:pt x="2" y="5"/>
                    <a:pt x="0" y="4"/>
                    <a:pt x="0" y="4"/>
                  </a:cubicBezTo>
                  <a:cubicBezTo>
                    <a:pt x="0" y="3"/>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0" name="Freeform 379"/>
            <p:cNvSpPr>
              <a:spLocks noChangeAspect="1"/>
            </p:cNvSpPr>
            <p:nvPr/>
          </p:nvSpPr>
          <p:spPr bwMode="auto">
            <a:xfrm>
              <a:off x="7384605" y="2112319"/>
              <a:ext cx="6407" cy="7738"/>
            </a:xfrm>
            <a:custGeom>
              <a:avLst/>
              <a:gdLst>
                <a:gd name="T0" fmla="*/ 0 w 3"/>
                <a:gd name="T1" fmla="*/ 5715 h 5"/>
                <a:gd name="T2" fmla="*/ 4233 w 3"/>
                <a:gd name="T3" fmla="*/ 1905 h 5"/>
                <a:gd name="T4" fmla="*/ 4233 w 3"/>
                <a:gd name="T5" fmla="*/ 9525 h 5"/>
                <a:gd name="T6" fmla="*/ 2117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1" y="0"/>
                    <a:pt x="2" y="1"/>
                  </a:cubicBezTo>
                  <a:cubicBezTo>
                    <a:pt x="3" y="2"/>
                    <a:pt x="2" y="4"/>
                    <a:pt x="2" y="5"/>
                  </a:cubicBezTo>
                  <a:cubicBezTo>
                    <a:pt x="2" y="5"/>
                    <a:pt x="1" y="5"/>
                    <a:pt x="1" y="4"/>
                  </a:cubicBezTo>
                  <a:cubicBezTo>
                    <a:pt x="0" y="4"/>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1" name="Freeform 380"/>
            <p:cNvSpPr>
              <a:spLocks noChangeAspect="1"/>
            </p:cNvSpPr>
            <p:nvPr/>
          </p:nvSpPr>
          <p:spPr bwMode="auto">
            <a:xfrm>
              <a:off x="7399021" y="2095554"/>
              <a:ext cx="59263" cy="67064"/>
            </a:xfrm>
            <a:custGeom>
              <a:avLst/>
              <a:gdLst>
                <a:gd name="T0" fmla="*/ 51158 w 31"/>
                <a:gd name="T1" fmla="*/ 71293 h 44"/>
                <a:gd name="T2" fmla="*/ 53053 w 31"/>
                <a:gd name="T3" fmla="*/ 60036 h 44"/>
                <a:gd name="T4" fmla="*/ 49263 w 31"/>
                <a:gd name="T5" fmla="*/ 52532 h 44"/>
                <a:gd name="T6" fmla="*/ 53053 w 31"/>
                <a:gd name="T7" fmla="*/ 41275 h 44"/>
                <a:gd name="T8" fmla="*/ 58737 w 31"/>
                <a:gd name="T9" fmla="*/ 31894 h 44"/>
                <a:gd name="T10" fmla="*/ 58737 w 31"/>
                <a:gd name="T11" fmla="*/ 22514 h 44"/>
                <a:gd name="T12" fmla="*/ 53053 w 31"/>
                <a:gd name="T13" fmla="*/ 18761 h 44"/>
                <a:gd name="T14" fmla="*/ 47369 w 31"/>
                <a:gd name="T15" fmla="*/ 18761 h 44"/>
                <a:gd name="T16" fmla="*/ 49263 w 31"/>
                <a:gd name="T17" fmla="*/ 15009 h 44"/>
                <a:gd name="T18" fmla="*/ 51158 w 31"/>
                <a:gd name="T19" fmla="*/ 9381 h 44"/>
                <a:gd name="T20" fmla="*/ 45474 w 31"/>
                <a:gd name="T21" fmla="*/ 7505 h 44"/>
                <a:gd name="T22" fmla="*/ 41684 w 31"/>
                <a:gd name="T23" fmla="*/ 11257 h 44"/>
                <a:gd name="T24" fmla="*/ 34105 w 31"/>
                <a:gd name="T25" fmla="*/ 7505 h 44"/>
                <a:gd name="T26" fmla="*/ 32211 w 31"/>
                <a:gd name="T27" fmla="*/ 1876 h 44"/>
                <a:gd name="T28" fmla="*/ 24632 w 31"/>
                <a:gd name="T29" fmla="*/ 1876 h 44"/>
                <a:gd name="T30" fmla="*/ 20842 w 31"/>
                <a:gd name="T31" fmla="*/ 1876 h 44"/>
                <a:gd name="T32" fmla="*/ 17053 w 31"/>
                <a:gd name="T33" fmla="*/ 9381 h 44"/>
                <a:gd name="T34" fmla="*/ 11368 w 31"/>
                <a:gd name="T35" fmla="*/ 11257 h 44"/>
                <a:gd name="T36" fmla="*/ 7579 w 31"/>
                <a:gd name="T37" fmla="*/ 7505 h 44"/>
                <a:gd name="T38" fmla="*/ 0 w 31"/>
                <a:gd name="T39" fmla="*/ 13133 h 44"/>
                <a:gd name="T40" fmla="*/ 1895 w 31"/>
                <a:gd name="T41" fmla="*/ 18761 h 44"/>
                <a:gd name="T42" fmla="*/ 11368 w 31"/>
                <a:gd name="T43" fmla="*/ 24390 h 44"/>
                <a:gd name="T44" fmla="*/ 11368 w 31"/>
                <a:gd name="T45" fmla="*/ 28142 h 44"/>
                <a:gd name="T46" fmla="*/ 3789 w 31"/>
                <a:gd name="T47" fmla="*/ 24390 h 44"/>
                <a:gd name="T48" fmla="*/ 5684 w 31"/>
                <a:gd name="T49" fmla="*/ 31894 h 44"/>
                <a:gd name="T50" fmla="*/ 9474 w 31"/>
                <a:gd name="T51" fmla="*/ 35647 h 44"/>
                <a:gd name="T52" fmla="*/ 13263 w 31"/>
                <a:gd name="T53" fmla="*/ 33770 h 44"/>
                <a:gd name="T54" fmla="*/ 18947 w 31"/>
                <a:gd name="T55" fmla="*/ 35647 h 44"/>
                <a:gd name="T56" fmla="*/ 15158 w 31"/>
                <a:gd name="T57" fmla="*/ 45027 h 44"/>
                <a:gd name="T58" fmla="*/ 20842 w 31"/>
                <a:gd name="T59" fmla="*/ 41275 h 44"/>
                <a:gd name="T60" fmla="*/ 20842 w 31"/>
                <a:gd name="T61" fmla="*/ 33770 h 44"/>
                <a:gd name="T62" fmla="*/ 17053 w 31"/>
                <a:gd name="T63" fmla="*/ 31894 h 44"/>
                <a:gd name="T64" fmla="*/ 17053 w 31"/>
                <a:gd name="T65" fmla="*/ 28142 h 44"/>
                <a:gd name="T66" fmla="*/ 15158 w 31"/>
                <a:gd name="T67" fmla="*/ 20638 h 44"/>
                <a:gd name="T68" fmla="*/ 22737 w 31"/>
                <a:gd name="T69" fmla="*/ 24390 h 44"/>
                <a:gd name="T70" fmla="*/ 26526 w 31"/>
                <a:gd name="T71" fmla="*/ 35647 h 44"/>
                <a:gd name="T72" fmla="*/ 28421 w 31"/>
                <a:gd name="T73" fmla="*/ 39399 h 44"/>
                <a:gd name="T74" fmla="*/ 22737 w 31"/>
                <a:gd name="T75" fmla="*/ 50656 h 44"/>
                <a:gd name="T76" fmla="*/ 20842 w 31"/>
                <a:gd name="T77" fmla="*/ 61913 h 44"/>
                <a:gd name="T78" fmla="*/ 26526 w 31"/>
                <a:gd name="T79" fmla="*/ 69417 h 44"/>
                <a:gd name="T80" fmla="*/ 24632 w 31"/>
                <a:gd name="T81" fmla="*/ 75045 h 44"/>
                <a:gd name="T82" fmla="*/ 34105 w 31"/>
                <a:gd name="T83" fmla="*/ 76922 h 44"/>
                <a:gd name="T84" fmla="*/ 30316 w 31"/>
                <a:gd name="T85" fmla="*/ 65665 h 44"/>
                <a:gd name="T86" fmla="*/ 37895 w 31"/>
                <a:gd name="T87" fmla="*/ 67541 h 44"/>
                <a:gd name="T88" fmla="*/ 36000 w 31"/>
                <a:gd name="T89" fmla="*/ 76922 h 44"/>
                <a:gd name="T90" fmla="*/ 36000 w 31"/>
                <a:gd name="T91" fmla="*/ 82550 h 44"/>
                <a:gd name="T92" fmla="*/ 45474 w 31"/>
                <a:gd name="T93" fmla="*/ 78798 h 44"/>
                <a:gd name="T94" fmla="*/ 45474 w 31"/>
                <a:gd name="T95" fmla="*/ 71293 h 44"/>
                <a:gd name="T96" fmla="*/ 51158 w 31"/>
                <a:gd name="T97" fmla="*/ 71293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2" name="Freeform 381"/>
            <p:cNvSpPr>
              <a:spLocks noChangeAspect="1"/>
            </p:cNvSpPr>
            <p:nvPr/>
          </p:nvSpPr>
          <p:spPr bwMode="auto">
            <a:xfrm>
              <a:off x="7440666" y="2167775"/>
              <a:ext cx="8008" cy="12897"/>
            </a:xfrm>
            <a:custGeom>
              <a:avLst/>
              <a:gdLst>
                <a:gd name="T0" fmla="*/ 5953 w 4"/>
                <a:gd name="T1" fmla="*/ 0 h 8"/>
                <a:gd name="T2" fmla="*/ 3969 w 4"/>
                <a:gd name="T3" fmla="*/ 15875 h 8"/>
                <a:gd name="T4" fmla="*/ 0 w 4"/>
                <a:gd name="T5" fmla="*/ 13891 h 8"/>
                <a:gd name="T6" fmla="*/ 1984 w 4"/>
                <a:gd name="T7" fmla="*/ 1984 h 8"/>
                <a:gd name="T8" fmla="*/ 5953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0"/>
                  </a:moveTo>
                  <a:cubicBezTo>
                    <a:pt x="4" y="3"/>
                    <a:pt x="3" y="5"/>
                    <a:pt x="2" y="8"/>
                  </a:cubicBezTo>
                  <a:cubicBezTo>
                    <a:pt x="2" y="8"/>
                    <a:pt x="1" y="8"/>
                    <a:pt x="0" y="7"/>
                  </a:cubicBezTo>
                  <a:cubicBezTo>
                    <a:pt x="0" y="5"/>
                    <a:pt x="0" y="3"/>
                    <a:pt x="1" y="1"/>
                  </a:cubicBezTo>
                  <a:cubicBezTo>
                    <a:pt x="1" y="0"/>
                    <a:pt x="3"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3" name="Freeform 382"/>
            <p:cNvSpPr>
              <a:spLocks noChangeAspect="1"/>
            </p:cNvSpPr>
            <p:nvPr/>
          </p:nvSpPr>
          <p:spPr bwMode="auto">
            <a:xfrm>
              <a:off x="7383004" y="2072340"/>
              <a:ext cx="6407" cy="9027"/>
            </a:xfrm>
            <a:custGeom>
              <a:avLst/>
              <a:gdLst>
                <a:gd name="T0" fmla="*/ 6350 w 3"/>
                <a:gd name="T1" fmla="*/ 0 h 6"/>
                <a:gd name="T2" fmla="*/ 4233 w 3"/>
                <a:gd name="T3" fmla="*/ 11112 h 6"/>
                <a:gd name="T4" fmla="*/ 0 w 3"/>
                <a:gd name="T5" fmla="*/ 11112 h 6"/>
                <a:gd name="T6" fmla="*/ 2117 w 3"/>
                <a:gd name="T7" fmla="*/ 1852 h 6"/>
                <a:gd name="T8" fmla="*/ 6350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3" y="0"/>
                  </a:moveTo>
                  <a:cubicBezTo>
                    <a:pt x="3" y="2"/>
                    <a:pt x="3" y="4"/>
                    <a:pt x="2" y="6"/>
                  </a:cubicBezTo>
                  <a:cubicBezTo>
                    <a:pt x="2" y="6"/>
                    <a:pt x="0" y="6"/>
                    <a:pt x="0" y="6"/>
                  </a:cubicBezTo>
                  <a:cubicBezTo>
                    <a:pt x="0" y="4"/>
                    <a:pt x="0" y="2"/>
                    <a:pt x="1" y="1"/>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4" name="Freeform 383"/>
            <p:cNvSpPr>
              <a:spLocks noChangeAspect="1"/>
            </p:cNvSpPr>
            <p:nvPr/>
          </p:nvSpPr>
          <p:spPr bwMode="auto">
            <a:xfrm>
              <a:off x="7578414" y="1984641"/>
              <a:ext cx="9610" cy="12897"/>
            </a:xfrm>
            <a:custGeom>
              <a:avLst/>
              <a:gdLst>
                <a:gd name="T0" fmla="*/ 3810 w 5"/>
                <a:gd name="T1" fmla="*/ 1984 h 8"/>
                <a:gd name="T2" fmla="*/ 0 w 5"/>
                <a:gd name="T3" fmla="*/ 9922 h 8"/>
                <a:gd name="T4" fmla="*/ 3810 w 5"/>
                <a:gd name="T5" fmla="*/ 9922 h 8"/>
                <a:gd name="T6" fmla="*/ 3810 w 5"/>
                <a:gd name="T7" fmla="*/ 15875 h 8"/>
                <a:gd name="T8" fmla="*/ 9525 w 5"/>
                <a:gd name="T9" fmla="*/ 7938 h 8"/>
                <a:gd name="T10" fmla="*/ 5715 w 5"/>
                <a:gd name="T11" fmla="*/ 7938 h 8"/>
                <a:gd name="T12" fmla="*/ 3810 w 5"/>
                <a:gd name="T13" fmla="*/ 1984 h 8"/>
                <a:gd name="T14" fmla="*/ 0 60000 65536"/>
                <a:gd name="T15" fmla="*/ 0 60000 65536"/>
                <a:gd name="T16" fmla="*/ 0 60000 65536"/>
                <a:gd name="T17" fmla="*/ 0 60000 65536"/>
                <a:gd name="T18" fmla="*/ 0 60000 65536"/>
                <a:gd name="T19" fmla="*/ 0 60000 65536"/>
                <a:gd name="T20" fmla="*/ 0 60000 65536"/>
                <a:gd name="T21" fmla="*/ 0 w 5"/>
                <a:gd name="T22" fmla="*/ 0 h 8"/>
                <a:gd name="T23" fmla="*/ 5 w 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8">
                  <a:moveTo>
                    <a:pt x="2" y="1"/>
                  </a:moveTo>
                  <a:cubicBezTo>
                    <a:pt x="0" y="1"/>
                    <a:pt x="0" y="4"/>
                    <a:pt x="0" y="5"/>
                  </a:cubicBezTo>
                  <a:cubicBezTo>
                    <a:pt x="0" y="6"/>
                    <a:pt x="1" y="5"/>
                    <a:pt x="2" y="5"/>
                  </a:cubicBezTo>
                  <a:cubicBezTo>
                    <a:pt x="2" y="6"/>
                    <a:pt x="1" y="8"/>
                    <a:pt x="2" y="8"/>
                  </a:cubicBezTo>
                  <a:cubicBezTo>
                    <a:pt x="3" y="8"/>
                    <a:pt x="4" y="6"/>
                    <a:pt x="5" y="4"/>
                  </a:cubicBezTo>
                  <a:cubicBezTo>
                    <a:pt x="5" y="4"/>
                    <a:pt x="4" y="4"/>
                    <a:pt x="3" y="4"/>
                  </a:cubicBezTo>
                  <a:cubicBezTo>
                    <a:pt x="3" y="3"/>
                    <a:pt x="3"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5" name="Freeform 384"/>
            <p:cNvSpPr>
              <a:spLocks noChangeAspect="1"/>
            </p:cNvSpPr>
            <p:nvPr/>
          </p:nvSpPr>
          <p:spPr bwMode="auto">
            <a:xfrm>
              <a:off x="6257001" y="2650116"/>
              <a:ext cx="59264" cy="85119"/>
            </a:xfrm>
            <a:custGeom>
              <a:avLst/>
              <a:gdLst>
                <a:gd name="T0" fmla="*/ 18948 w 31"/>
                <a:gd name="T1" fmla="*/ 1905 h 55"/>
                <a:gd name="T2" fmla="*/ 41685 w 31"/>
                <a:gd name="T3" fmla="*/ 38100 h 55"/>
                <a:gd name="T4" fmla="*/ 56843 w 31"/>
                <a:gd name="T5" fmla="*/ 70485 h 55"/>
                <a:gd name="T6" fmla="*/ 51159 w 31"/>
                <a:gd name="T7" fmla="*/ 93345 h 55"/>
                <a:gd name="T8" fmla="*/ 36001 w 31"/>
                <a:gd name="T9" fmla="*/ 100965 h 55"/>
                <a:gd name="T10" fmla="*/ 26527 w 31"/>
                <a:gd name="T11" fmla="*/ 104775 h 55"/>
                <a:gd name="T12" fmla="*/ 11369 w 31"/>
                <a:gd name="T13" fmla="*/ 89535 h 55"/>
                <a:gd name="T14" fmla="*/ 9474 w 31"/>
                <a:gd name="T15" fmla="*/ 74295 h 55"/>
                <a:gd name="T16" fmla="*/ 5684 w 31"/>
                <a:gd name="T17" fmla="*/ 59055 h 55"/>
                <a:gd name="T18" fmla="*/ 3790 w 31"/>
                <a:gd name="T19" fmla="*/ 49530 h 55"/>
                <a:gd name="T20" fmla="*/ 1895 w 31"/>
                <a:gd name="T21" fmla="*/ 38100 h 55"/>
                <a:gd name="T22" fmla="*/ 7579 w 31"/>
                <a:gd name="T23" fmla="*/ 49530 h 55"/>
                <a:gd name="T24" fmla="*/ 9474 w 31"/>
                <a:gd name="T25" fmla="*/ 30480 h 55"/>
                <a:gd name="T26" fmla="*/ 11369 w 31"/>
                <a:gd name="T27" fmla="*/ 15240 h 55"/>
                <a:gd name="T28" fmla="*/ 13263 w 31"/>
                <a:gd name="T29" fmla="*/ 9525 h 55"/>
                <a:gd name="T30" fmla="*/ 20843 w 31"/>
                <a:gd name="T31" fmla="*/ 13335 h 55"/>
                <a:gd name="T32" fmla="*/ 17053 w 31"/>
                <a:gd name="T33" fmla="*/ 5715 h 55"/>
                <a:gd name="T34" fmla="*/ 7579 w 31"/>
                <a:gd name="T35" fmla="*/ 1905 h 55"/>
                <a:gd name="T36" fmla="*/ 18948 w 31"/>
                <a:gd name="T37" fmla="*/ 1905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6" name="Freeform 385"/>
            <p:cNvSpPr>
              <a:spLocks noChangeAspect="1"/>
            </p:cNvSpPr>
            <p:nvPr/>
          </p:nvSpPr>
          <p:spPr bwMode="auto">
            <a:xfrm>
              <a:off x="6598165" y="2709440"/>
              <a:ext cx="9610" cy="12897"/>
            </a:xfrm>
            <a:custGeom>
              <a:avLst/>
              <a:gdLst>
                <a:gd name="T0" fmla="*/ 0 w 5"/>
                <a:gd name="T1" fmla="*/ 1984 h 8"/>
                <a:gd name="T2" fmla="*/ 5715 w 5"/>
                <a:gd name="T3" fmla="*/ 1984 h 8"/>
                <a:gd name="T4" fmla="*/ 7620 w 5"/>
                <a:gd name="T5" fmla="*/ 13891 h 8"/>
                <a:gd name="T6" fmla="*/ 0 w 5"/>
                <a:gd name="T7" fmla="*/ 9922 h 8"/>
                <a:gd name="T8" fmla="*/ 0 w 5"/>
                <a:gd name="T9" fmla="*/ 1984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7" name="Freeform 386"/>
            <p:cNvSpPr>
              <a:spLocks noChangeAspect="1"/>
            </p:cNvSpPr>
            <p:nvPr/>
          </p:nvSpPr>
          <p:spPr bwMode="auto">
            <a:xfrm>
              <a:off x="6636607" y="2740393"/>
              <a:ext cx="275494" cy="260515"/>
            </a:xfrm>
            <a:custGeom>
              <a:avLst/>
              <a:gdLst>
                <a:gd name="T0" fmla="*/ 17185 w 143"/>
                <a:gd name="T1" fmla="*/ 1909 h 168"/>
                <a:gd name="T2" fmla="*/ 59193 w 143"/>
                <a:gd name="T3" fmla="*/ 17179 h 168"/>
                <a:gd name="T4" fmla="*/ 70649 w 143"/>
                <a:gd name="T5" fmla="*/ 34358 h 168"/>
                <a:gd name="T6" fmla="*/ 76378 w 143"/>
                <a:gd name="T7" fmla="*/ 45811 h 168"/>
                <a:gd name="T8" fmla="*/ 93563 w 143"/>
                <a:gd name="T9" fmla="*/ 57263 h 168"/>
                <a:gd name="T10" fmla="*/ 126023 w 143"/>
                <a:gd name="T11" fmla="*/ 87804 h 168"/>
                <a:gd name="T12" fmla="*/ 139389 w 143"/>
                <a:gd name="T13" fmla="*/ 97348 h 168"/>
                <a:gd name="T14" fmla="*/ 143208 w 143"/>
                <a:gd name="T15" fmla="*/ 93530 h 168"/>
                <a:gd name="T16" fmla="*/ 158484 w 143"/>
                <a:gd name="T17" fmla="*/ 103074 h 168"/>
                <a:gd name="T18" fmla="*/ 169940 w 143"/>
                <a:gd name="T19" fmla="*/ 114527 h 168"/>
                <a:gd name="T20" fmla="*/ 179487 w 143"/>
                <a:gd name="T21" fmla="*/ 129797 h 168"/>
                <a:gd name="T22" fmla="*/ 196672 w 143"/>
                <a:gd name="T23" fmla="*/ 143158 h 168"/>
                <a:gd name="T24" fmla="*/ 217676 w 143"/>
                <a:gd name="T25" fmla="*/ 154611 h 168"/>
                <a:gd name="T26" fmla="*/ 215767 w 143"/>
                <a:gd name="T27" fmla="*/ 164155 h 168"/>
                <a:gd name="T28" fmla="*/ 215767 w 143"/>
                <a:gd name="T29" fmla="*/ 183243 h 168"/>
                <a:gd name="T30" fmla="*/ 234861 w 143"/>
                <a:gd name="T31" fmla="*/ 206148 h 168"/>
                <a:gd name="T32" fmla="*/ 238680 w 143"/>
                <a:gd name="T33" fmla="*/ 221418 h 168"/>
                <a:gd name="T34" fmla="*/ 271141 w 143"/>
                <a:gd name="T35" fmla="*/ 240506 h 168"/>
                <a:gd name="T36" fmla="*/ 263503 w 143"/>
                <a:gd name="T37" fmla="*/ 293952 h 168"/>
                <a:gd name="T38" fmla="*/ 250137 w 143"/>
                <a:gd name="T39" fmla="*/ 305405 h 168"/>
                <a:gd name="T40" fmla="*/ 234861 w 143"/>
                <a:gd name="T41" fmla="*/ 307314 h 168"/>
                <a:gd name="T42" fmla="*/ 223405 w 143"/>
                <a:gd name="T43" fmla="*/ 307314 h 168"/>
                <a:gd name="T44" fmla="*/ 173759 w 143"/>
                <a:gd name="T45" fmla="*/ 253868 h 168"/>
                <a:gd name="T46" fmla="*/ 152755 w 143"/>
                <a:gd name="T47" fmla="*/ 229054 h 168"/>
                <a:gd name="T48" fmla="*/ 143208 w 143"/>
                <a:gd name="T49" fmla="*/ 208057 h 168"/>
                <a:gd name="T50" fmla="*/ 124114 w 143"/>
                <a:gd name="T51" fmla="*/ 167973 h 168"/>
                <a:gd name="T52" fmla="*/ 118385 w 143"/>
                <a:gd name="T53" fmla="*/ 156520 h 168"/>
                <a:gd name="T54" fmla="*/ 103110 w 143"/>
                <a:gd name="T55" fmla="*/ 150794 h 168"/>
                <a:gd name="T56" fmla="*/ 91653 w 143"/>
                <a:gd name="T57" fmla="*/ 114527 h 168"/>
                <a:gd name="T58" fmla="*/ 87834 w 143"/>
                <a:gd name="T59" fmla="*/ 106892 h 168"/>
                <a:gd name="T60" fmla="*/ 68740 w 143"/>
                <a:gd name="T61" fmla="*/ 93530 h 168"/>
                <a:gd name="T62" fmla="*/ 47736 w 143"/>
                <a:gd name="T63" fmla="*/ 57263 h 168"/>
                <a:gd name="T64" fmla="*/ 11457 w 143"/>
                <a:gd name="T65" fmla="*/ 28632 h 168"/>
                <a:gd name="T66" fmla="*/ 1909 w 143"/>
                <a:gd name="T67" fmla="*/ 1909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8" name="Freeform 387"/>
            <p:cNvSpPr>
              <a:spLocks noChangeAspect="1"/>
            </p:cNvSpPr>
            <p:nvPr/>
          </p:nvSpPr>
          <p:spPr bwMode="auto">
            <a:xfrm>
              <a:off x="6806389" y="2826801"/>
              <a:ext cx="32034" cy="20635"/>
            </a:xfrm>
            <a:custGeom>
              <a:avLst/>
              <a:gdLst>
                <a:gd name="T0" fmla="*/ 3735 w 17"/>
                <a:gd name="T1" fmla="*/ 1954 h 13"/>
                <a:gd name="T2" fmla="*/ 20544 w 17"/>
                <a:gd name="T3" fmla="*/ 7815 h 13"/>
                <a:gd name="T4" fmla="*/ 20544 w 17"/>
                <a:gd name="T5" fmla="*/ 17585 h 13"/>
                <a:gd name="T6" fmla="*/ 31750 w 17"/>
                <a:gd name="T7" fmla="*/ 21492 h 13"/>
                <a:gd name="T8" fmla="*/ 28015 w 17"/>
                <a:gd name="T9" fmla="*/ 25400 h 13"/>
                <a:gd name="T10" fmla="*/ 13074 w 17"/>
                <a:gd name="T11" fmla="*/ 21492 h 13"/>
                <a:gd name="T12" fmla="*/ 11206 w 17"/>
                <a:gd name="T13" fmla="*/ 9769 h 13"/>
                <a:gd name="T14" fmla="*/ 3735 w 17"/>
                <a:gd name="T15" fmla="*/ 1954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9" name="Freeform 388"/>
            <p:cNvSpPr>
              <a:spLocks noChangeAspect="1"/>
            </p:cNvSpPr>
            <p:nvPr/>
          </p:nvSpPr>
          <p:spPr bwMode="auto">
            <a:xfrm>
              <a:off x="6798379" y="2820353"/>
              <a:ext cx="8009" cy="10318"/>
            </a:xfrm>
            <a:custGeom>
              <a:avLst/>
              <a:gdLst>
                <a:gd name="T0" fmla="*/ 3969 w 4"/>
                <a:gd name="T1" fmla="*/ 0 h 6"/>
                <a:gd name="T2" fmla="*/ 7938 w 4"/>
                <a:gd name="T3" fmla="*/ 4233 h 6"/>
                <a:gd name="T4" fmla="*/ 3969 w 4"/>
                <a:gd name="T5" fmla="*/ 10583 h 6"/>
                <a:gd name="T6" fmla="*/ 0 w 4"/>
                <a:gd name="T7" fmla="*/ 6350 h 6"/>
                <a:gd name="T8" fmla="*/ 3969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0" name="Freeform 389"/>
            <p:cNvSpPr>
              <a:spLocks noChangeAspect="1"/>
            </p:cNvSpPr>
            <p:nvPr/>
          </p:nvSpPr>
          <p:spPr bwMode="auto">
            <a:xfrm>
              <a:off x="6886473" y="2897734"/>
              <a:ext cx="44848" cy="37400"/>
            </a:xfrm>
            <a:custGeom>
              <a:avLst/>
              <a:gdLst>
                <a:gd name="T0" fmla="*/ 21259 w 23"/>
                <a:gd name="T1" fmla="*/ 1918 h 24"/>
                <a:gd name="T2" fmla="*/ 28989 w 23"/>
                <a:gd name="T3" fmla="*/ 26855 h 24"/>
                <a:gd name="T4" fmla="*/ 38652 w 23"/>
                <a:gd name="T5" fmla="*/ 32610 h 24"/>
                <a:gd name="T6" fmla="*/ 40585 w 23"/>
                <a:gd name="T7" fmla="*/ 46037 h 24"/>
                <a:gd name="T8" fmla="*/ 19326 w 23"/>
                <a:gd name="T9" fmla="*/ 32610 h 24"/>
                <a:gd name="T10" fmla="*/ 15461 w 23"/>
                <a:gd name="T11" fmla="*/ 19182 h 24"/>
                <a:gd name="T12" fmla="*/ 0 w 23"/>
                <a:gd name="T13" fmla="*/ 17264 h 24"/>
                <a:gd name="T14" fmla="*/ 9663 w 23"/>
                <a:gd name="T15" fmla="*/ 5755 h 24"/>
                <a:gd name="T16" fmla="*/ 17393 w 23"/>
                <a:gd name="T17" fmla="*/ 5755 h 24"/>
                <a:gd name="T18" fmla="*/ 21259 w 23"/>
                <a:gd name="T19" fmla="*/ 191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1" name="Freeform 390"/>
            <p:cNvSpPr>
              <a:spLocks noChangeAspect="1"/>
            </p:cNvSpPr>
            <p:nvPr/>
          </p:nvSpPr>
          <p:spPr bwMode="auto">
            <a:xfrm>
              <a:off x="6947340" y="2919658"/>
              <a:ext cx="20822" cy="20635"/>
            </a:xfrm>
            <a:custGeom>
              <a:avLst/>
              <a:gdLst>
                <a:gd name="T0" fmla="*/ 5628 w 11"/>
                <a:gd name="T1" fmla="*/ 3908 h 13"/>
                <a:gd name="T2" fmla="*/ 18761 w 11"/>
                <a:gd name="T3" fmla="*/ 11723 h 13"/>
                <a:gd name="T4" fmla="*/ 9380 w 11"/>
                <a:gd name="T5" fmla="*/ 23446 h 13"/>
                <a:gd name="T6" fmla="*/ 7504 w 11"/>
                <a:gd name="T7" fmla="*/ 17585 h 13"/>
                <a:gd name="T8" fmla="*/ 1876 w 11"/>
                <a:gd name="T9" fmla="*/ 23446 h 13"/>
                <a:gd name="T10" fmla="*/ 5628 w 11"/>
                <a:gd name="T11" fmla="*/ 3908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2" name="Freeform 391"/>
            <p:cNvSpPr>
              <a:spLocks noChangeAspect="1"/>
            </p:cNvSpPr>
            <p:nvPr/>
          </p:nvSpPr>
          <p:spPr bwMode="auto">
            <a:xfrm>
              <a:off x="6651022" y="2802298"/>
              <a:ext cx="24026" cy="14186"/>
            </a:xfrm>
            <a:custGeom>
              <a:avLst/>
              <a:gdLst>
                <a:gd name="T0" fmla="*/ 7327 w 13"/>
                <a:gd name="T1" fmla="*/ 0 h 9"/>
                <a:gd name="T2" fmla="*/ 16486 w 13"/>
                <a:gd name="T3" fmla="*/ 9701 h 9"/>
                <a:gd name="T4" fmla="*/ 23813 w 13"/>
                <a:gd name="T5" fmla="*/ 11641 h 9"/>
                <a:gd name="T6" fmla="*/ 18318 w 13"/>
                <a:gd name="T7" fmla="*/ 17462 h 9"/>
                <a:gd name="T8" fmla="*/ 10991 w 13"/>
                <a:gd name="T9" fmla="*/ 11641 h 9"/>
                <a:gd name="T10" fmla="*/ 0 w 13"/>
                <a:gd name="T11" fmla="*/ 7761 h 9"/>
                <a:gd name="T12" fmla="*/ 7327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3" name="Freeform 392"/>
            <p:cNvSpPr>
              <a:spLocks noChangeAspect="1"/>
            </p:cNvSpPr>
            <p:nvPr/>
          </p:nvSpPr>
          <p:spPr bwMode="auto">
            <a:xfrm>
              <a:off x="6686259" y="2831960"/>
              <a:ext cx="25627" cy="25793"/>
            </a:xfrm>
            <a:custGeom>
              <a:avLst/>
              <a:gdLst>
                <a:gd name="T0" fmla="*/ 11723 w 13"/>
                <a:gd name="T1" fmla="*/ 1868 h 17"/>
                <a:gd name="T2" fmla="*/ 21492 w 13"/>
                <a:gd name="T3" fmla="*/ 14941 h 17"/>
                <a:gd name="T4" fmla="*/ 19538 w 13"/>
                <a:gd name="T5" fmla="*/ 29882 h 17"/>
                <a:gd name="T6" fmla="*/ 11723 w 13"/>
                <a:gd name="T7" fmla="*/ 18676 h 17"/>
                <a:gd name="T8" fmla="*/ 0 w 13"/>
                <a:gd name="T9" fmla="*/ 3735 h 17"/>
                <a:gd name="T10" fmla="*/ 9769 w 13"/>
                <a:gd name="T11" fmla="*/ 3735 h 17"/>
                <a:gd name="T12" fmla="*/ 11723 w 13"/>
                <a:gd name="T13" fmla="*/ 1868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4" name="Freeform 393"/>
            <p:cNvSpPr>
              <a:spLocks noChangeAspect="1"/>
            </p:cNvSpPr>
            <p:nvPr/>
          </p:nvSpPr>
          <p:spPr bwMode="auto">
            <a:xfrm>
              <a:off x="6727904" y="2887416"/>
              <a:ext cx="16017" cy="20635"/>
            </a:xfrm>
            <a:custGeom>
              <a:avLst/>
              <a:gdLst>
                <a:gd name="T0" fmla="*/ 1764 w 9"/>
                <a:gd name="T1" fmla="*/ 1954 h 13"/>
                <a:gd name="T2" fmla="*/ 14111 w 9"/>
                <a:gd name="T3" fmla="*/ 19538 h 13"/>
                <a:gd name="T4" fmla="*/ 12347 w 9"/>
                <a:gd name="T5" fmla="*/ 23446 h 13"/>
                <a:gd name="T6" fmla="*/ 3528 w 9"/>
                <a:gd name="T7" fmla="*/ 15631 h 13"/>
                <a:gd name="T8" fmla="*/ 1764 w 9"/>
                <a:gd name="T9" fmla="*/ 5862 h 13"/>
                <a:gd name="T10" fmla="*/ 1764 w 9"/>
                <a:gd name="T11" fmla="*/ 1954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5" name="Oval 394"/>
            <p:cNvSpPr>
              <a:spLocks noChangeAspect="1" noChangeArrowheads="1"/>
            </p:cNvSpPr>
            <p:nvPr/>
          </p:nvSpPr>
          <p:spPr bwMode="auto">
            <a:xfrm>
              <a:off x="6867254" y="2874520"/>
              <a:ext cx="8008" cy="644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6" name="Freeform 395"/>
            <p:cNvSpPr>
              <a:spLocks noChangeAspect="1"/>
            </p:cNvSpPr>
            <p:nvPr/>
          </p:nvSpPr>
          <p:spPr bwMode="auto">
            <a:xfrm>
              <a:off x="6766345" y="2931266"/>
              <a:ext cx="9610" cy="10318"/>
            </a:xfrm>
            <a:custGeom>
              <a:avLst/>
              <a:gdLst>
                <a:gd name="T0" fmla="*/ 7620 w 5"/>
                <a:gd name="T1" fmla="*/ 5443 h 7"/>
                <a:gd name="T2" fmla="*/ 7620 w 5"/>
                <a:gd name="T3" fmla="*/ 10886 h 7"/>
                <a:gd name="T4" fmla="*/ 1905 w 5"/>
                <a:gd name="T5" fmla="*/ 7257 h 7"/>
                <a:gd name="T6" fmla="*/ 1905 w 5"/>
                <a:gd name="T7" fmla="*/ 0 h 7"/>
                <a:gd name="T8" fmla="*/ 7620 w 5"/>
                <a:gd name="T9" fmla="*/ 544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7" name="Freeform 396"/>
            <p:cNvSpPr>
              <a:spLocks noChangeAspect="1"/>
            </p:cNvSpPr>
            <p:nvPr/>
          </p:nvSpPr>
          <p:spPr bwMode="auto">
            <a:xfrm>
              <a:off x="6756735" y="2919658"/>
              <a:ext cx="9610" cy="9029"/>
            </a:xfrm>
            <a:custGeom>
              <a:avLst/>
              <a:gdLst>
                <a:gd name="T0" fmla="*/ 7620 w 5"/>
                <a:gd name="T1" fmla="*/ 5557 h 6"/>
                <a:gd name="T2" fmla="*/ 7620 w 5"/>
                <a:gd name="T3" fmla="*/ 11113 h 6"/>
                <a:gd name="T4" fmla="*/ 3810 w 5"/>
                <a:gd name="T5" fmla="*/ 7409 h 6"/>
                <a:gd name="T6" fmla="*/ 1905 w 5"/>
                <a:gd name="T7" fmla="*/ 1852 h 6"/>
                <a:gd name="T8" fmla="*/ 7620 w 5"/>
                <a:gd name="T9" fmla="*/ 555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8" name="Freeform 397"/>
            <p:cNvSpPr>
              <a:spLocks noChangeAspect="1"/>
            </p:cNvSpPr>
            <p:nvPr/>
          </p:nvSpPr>
          <p:spPr bwMode="auto">
            <a:xfrm>
              <a:off x="6748727" y="2913210"/>
              <a:ext cx="8008" cy="6448"/>
            </a:xfrm>
            <a:custGeom>
              <a:avLst/>
              <a:gdLst>
                <a:gd name="T0" fmla="*/ 5953 w 4"/>
                <a:gd name="T1" fmla="*/ 3969 h 4"/>
                <a:gd name="T2" fmla="*/ 5953 w 4"/>
                <a:gd name="T3" fmla="*/ 7937 h 4"/>
                <a:gd name="T4" fmla="*/ 1984 w 4"/>
                <a:gd name="T5" fmla="*/ 5953 h 4"/>
                <a:gd name="T6" fmla="*/ 1984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9" name="Freeform 398"/>
            <p:cNvSpPr>
              <a:spLocks noChangeAspect="1"/>
            </p:cNvSpPr>
            <p:nvPr/>
          </p:nvSpPr>
          <p:spPr bwMode="auto">
            <a:xfrm>
              <a:off x="6692666" y="2816483"/>
              <a:ext cx="6407" cy="3869"/>
            </a:xfrm>
            <a:custGeom>
              <a:avLst/>
              <a:gdLst>
                <a:gd name="T0" fmla="*/ 4233 w 3"/>
                <a:gd name="T1" fmla="*/ 1588 h 3"/>
                <a:gd name="T2" fmla="*/ 6350 w 3"/>
                <a:gd name="T3" fmla="*/ 4763 h 3"/>
                <a:gd name="T4" fmla="*/ 2117 w 3"/>
                <a:gd name="T5" fmla="*/ 3175 h 3"/>
                <a:gd name="T6" fmla="*/ 0 w 3"/>
                <a:gd name="T7" fmla="*/ 0 h 3"/>
                <a:gd name="T8" fmla="*/ 4233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3"/>
                    <a:pt x="3" y="3"/>
                  </a:cubicBezTo>
                  <a:cubicBezTo>
                    <a:pt x="2" y="3"/>
                    <a:pt x="1" y="3"/>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0" name="Freeform 399"/>
            <p:cNvSpPr>
              <a:spLocks noChangeAspect="1"/>
            </p:cNvSpPr>
            <p:nvPr/>
          </p:nvSpPr>
          <p:spPr bwMode="auto">
            <a:xfrm>
              <a:off x="6875262" y="2865491"/>
              <a:ext cx="1602" cy="5158"/>
            </a:xfrm>
            <a:custGeom>
              <a:avLst/>
              <a:gdLst>
                <a:gd name="T0" fmla="*/ 1588 w 1"/>
                <a:gd name="T1" fmla="*/ 4233 h 3"/>
                <a:gd name="T2" fmla="*/ 0 w 1"/>
                <a:gd name="T3" fmla="*/ 6350 h 3"/>
                <a:gd name="T4" fmla="*/ 0 w 1"/>
                <a:gd name="T5" fmla="*/ 4233 h 3"/>
                <a:gd name="T6" fmla="*/ 1588 w 1"/>
                <a:gd name="T7" fmla="*/ 2117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1" name="Freeform 400"/>
            <p:cNvSpPr>
              <a:spLocks noChangeAspect="1"/>
            </p:cNvSpPr>
            <p:nvPr/>
          </p:nvSpPr>
          <p:spPr bwMode="auto">
            <a:xfrm>
              <a:off x="6873660" y="2842277"/>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2" name="Freeform 401"/>
            <p:cNvSpPr>
              <a:spLocks noChangeAspect="1"/>
            </p:cNvSpPr>
            <p:nvPr/>
          </p:nvSpPr>
          <p:spPr bwMode="auto">
            <a:xfrm>
              <a:off x="6864049" y="2839698"/>
              <a:ext cx="4805" cy="2579"/>
            </a:xfrm>
            <a:custGeom>
              <a:avLst/>
              <a:gdLst>
                <a:gd name="T0" fmla="*/ 1587 w 3"/>
                <a:gd name="T1" fmla="*/ 3175 h 2"/>
                <a:gd name="T2" fmla="*/ 0 w 3"/>
                <a:gd name="T3" fmla="*/ 3175 h 2"/>
                <a:gd name="T4" fmla="*/ 1587 w 3"/>
                <a:gd name="T5" fmla="*/ 1588 h 2"/>
                <a:gd name="T6" fmla="*/ 3175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1" y="2"/>
                    <a:pt x="0" y="2"/>
                  </a:cubicBezTo>
                  <a:cubicBezTo>
                    <a:pt x="0" y="1"/>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3" name="Freeform 402"/>
            <p:cNvSpPr>
              <a:spLocks noChangeAspect="1"/>
            </p:cNvSpPr>
            <p:nvPr/>
          </p:nvSpPr>
          <p:spPr bwMode="auto">
            <a:xfrm>
              <a:off x="6862447" y="2846147"/>
              <a:ext cx="4806" cy="2579"/>
            </a:xfrm>
            <a:custGeom>
              <a:avLst/>
              <a:gdLst>
                <a:gd name="T0" fmla="*/ 3175 w 3"/>
                <a:gd name="T1" fmla="*/ 3175 h 2"/>
                <a:gd name="T2" fmla="*/ 1588 w 3"/>
                <a:gd name="T3" fmla="*/ 3175 h 2"/>
                <a:gd name="T4" fmla="*/ 1588 w 3"/>
                <a:gd name="T5" fmla="*/ 1588 h 2"/>
                <a:gd name="T6" fmla="*/ 4763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2" y="0"/>
                    <a:pt x="3"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4" name="Freeform 403"/>
            <p:cNvSpPr>
              <a:spLocks noChangeAspect="1"/>
            </p:cNvSpPr>
            <p:nvPr/>
          </p:nvSpPr>
          <p:spPr bwMode="auto">
            <a:xfrm>
              <a:off x="6721497" y="2828091"/>
              <a:ext cx="3203" cy="5158"/>
            </a:xfrm>
            <a:custGeom>
              <a:avLst/>
              <a:gdLst>
                <a:gd name="T0" fmla="*/ 3175 w 2"/>
                <a:gd name="T1" fmla="*/ 2117 h 3"/>
                <a:gd name="T2" fmla="*/ 3175 w 2"/>
                <a:gd name="T3" fmla="*/ 6350 h 3"/>
                <a:gd name="T4" fmla="*/ 1588 w 2"/>
                <a:gd name="T5" fmla="*/ 4233 h 3"/>
                <a:gd name="T6" fmla="*/ 0 w 2"/>
                <a:gd name="T7" fmla="*/ 2117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2"/>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5" name="Freeform 404"/>
            <p:cNvSpPr>
              <a:spLocks noChangeAspect="1"/>
            </p:cNvSpPr>
            <p:nvPr/>
          </p:nvSpPr>
          <p:spPr bwMode="auto">
            <a:xfrm>
              <a:off x="6689463" y="2817774"/>
              <a:ext cx="1602" cy="2579"/>
            </a:xfrm>
            <a:custGeom>
              <a:avLst/>
              <a:gdLst>
                <a:gd name="T0" fmla="*/ 1588 w 1"/>
                <a:gd name="T1" fmla="*/ 1588 h 2"/>
                <a:gd name="T2" fmla="*/ 1588 w 1"/>
                <a:gd name="T3" fmla="*/ 3175 h 2"/>
                <a:gd name="T4" fmla="*/ 0 w 1"/>
                <a:gd name="T5" fmla="*/ 3175 h 2"/>
                <a:gd name="T6" fmla="*/ 0 w 1"/>
                <a:gd name="T7" fmla="*/ 1588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1" y="2"/>
                    <a:pt x="0" y="2"/>
                    <a:pt x="0" y="2"/>
                  </a:cubicBezTo>
                  <a:cubicBezTo>
                    <a:pt x="0" y="1"/>
                    <a:pt x="0" y="1"/>
                    <a:pt x="0" y="1"/>
                  </a:cubicBezTo>
                  <a:cubicBezTo>
                    <a:pt x="0"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6" name="Freeform 405"/>
            <p:cNvSpPr>
              <a:spLocks noChangeAspect="1"/>
            </p:cNvSpPr>
            <p:nvPr/>
          </p:nvSpPr>
          <p:spPr bwMode="auto">
            <a:xfrm>
              <a:off x="6675048" y="2819063"/>
              <a:ext cx="4805" cy="3869"/>
            </a:xfrm>
            <a:custGeom>
              <a:avLst/>
              <a:gdLst>
                <a:gd name="T0" fmla="*/ 2381 w 2"/>
                <a:gd name="T1" fmla="*/ 2382 h 2"/>
                <a:gd name="T2" fmla="*/ 2381 w 2"/>
                <a:gd name="T3" fmla="*/ 4763 h 2"/>
                <a:gd name="T4" fmla="*/ 0 w 2"/>
                <a:gd name="T5" fmla="*/ 4763 h 2"/>
                <a:gd name="T6" fmla="*/ 0 w 2"/>
                <a:gd name="T7" fmla="*/ 2382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1"/>
                    <a:pt x="2" y="2"/>
                    <a:pt x="1" y="2"/>
                  </a:cubicBezTo>
                  <a:cubicBezTo>
                    <a:pt x="1" y="2"/>
                    <a:pt x="1" y="2"/>
                    <a:pt x="0" y="2"/>
                  </a:cubicBezTo>
                  <a:cubicBezTo>
                    <a:pt x="0" y="1"/>
                    <a:pt x="0" y="1"/>
                    <a:pt x="0" y="1"/>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7" name="Freeform 406"/>
            <p:cNvSpPr>
              <a:spLocks noChangeAspect="1"/>
            </p:cNvSpPr>
            <p:nvPr/>
          </p:nvSpPr>
          <p:spPr bwMode="auto">
            <a:xfrm>
              <a:off x="6721497" y="2874520"/>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1" y="1"/>
                    <a:pt x="1"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8" name="Freeform 407"/>
            <p:cNvSpPr>
              <a:spLocks noChangeAspect="1"/>
            </p:cNvSpPr>
            <p:nvPr/>
          </p:nvSpPr>
          <p:spPr bwMode="auto">
            <a:xfrm>
              <a:off x="6723099" y="2869361"/>
              <a:ext cx="6407" cy="3868"/>
            </a:xfrm>
            <a:custGeom>
              <a:avLst/>
              <a:gdLst>
                <a:gd name="T0" fmla="*/ 4233 w 3"/>
                <a:gd name="T1" fmla="*/ 1587 h 3"/>
                <a:gd name="T2" fmla="*/ 4233 w 3"/>
                <a:gd name="T3" fmla="*/ 3175 h 3"/>
                <a:gd name="T4" fmla="*/ 2117 w 3"/>
                <a:gd name="T5" fmla="*/ 3175 h 3"/>
                <a:gd name="T6" fmla="*/ 0 w 3"/>
                <a:gd name="T7" fmla="*/ 1587 h 3"/>
                <a:gd name="T8" fmla="*/ 4233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9" name="Freeform 408"/>
            <p:cNvSpPr>
              <a:spLocks noChangeAspect="1"/>
            </p:cNvSpPr>
            <p:nvPr/>
          </p:nvSpPr>
          <p:spPr bwMode="auto">
            <a:xfrm>
              <a:off x="6723099" y="2862912"/>
              <a:ext cx="8008" cy="2579"/>
            </a:xfrm>
            <a:custGeom>
              <a:avLst/>
              <a:gdLst>
                <a:gd name="T0" fmla="*/ 5953 w 4"/>
                <a:gd name="T1" fmla="*/ 1588 h 2"/>
                <a:gd name="T2" fmla="*/ 7937 w 4"/>
                <a:gd name="T3" fmla="*/ 1588 h 2"/>
                <a:gd name="T4" fmla="*/ 3969 w 4"/>
                <a:gd name="T5" fmla="*/ 3175 h 2"/>
                <a:gd name="T6" fmla="*/ 1984 w 4"/>
                <a:gd name="T7" fmla="*/ 1588 h 2"/>
                <a:gd name="T8" fmla="*/ 5953 w 4"/>
                <a:gd name="T9" fmla="*/ 1588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3" y="1"/>
                  </a:moveTo>
                  <a:cubicBezTo>
                    <a:pt x="3" y="1"/>
                    <a:pt x="4" y="1"/>
                    <a:pt x="4" y="1"/>
                  </a:cubicBezTo>
                  <a:cubicBezTo>
                    <a:pt x="4" y="2"/>
                    <a:pt x="3" y="2"/>
                    <a:pt x="2" y="2"/>
                  </a:cubicBezTo>
                  <a:cubicBezTo>
                    <a:pt x="2" y="2"/>
                    <a:pt x="0" y="2"/>
                    <a:pt x="1" y="1"/>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0" name="Freeform 409"/>
            <p:cNvSpPr>
              <a:spLocks noChangeAspect="1"/>
            </p:cNvSpPr>
            <p:nvPr/>
          </p:nvSpPr>
          <p:spPr bwMode="auto">
            <a:xfrm>
              <a:off x="6848032" y="2831960"/>
              <a:ext cx="16017" cy="6449"/>
            </a:xfrm>
            <a:custGeom>
              <a:avLst/>
              <a:gdLst>
                <a:gd name="T0" fmla="*/ 7938 w 8"/>
                <a:gd name="T1" fmla="*/ 7938 h 4"/>
                <a:gd name="T2" fmla="*/ 0 w 8"/>
                <a:gd name="T3" fmla="*/ 3969 h 4"/>
                <a:gd name="T4" fmla="*/ 9922 w 8"/>
                <a:gd name="T5" fmla="*/ 0 h 4"/>
                <a:gd name="T6" fmla="*/ 15875 w 8"/>
                <a:gd name="T7" fmla="*/ 3969 h 4"/>
                <a:gd name="T8" fmla="*/ 7938 w 8"/>
                <a:gd name="T9" fmla="*/ 7938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1" name="Freeform 410"/>
            <p:cNvSpPr>
              <a:spLocks noChangeAspect="1"/>
            </p:cNvSpPr>
            <p:nvPr/>
          </p:nvSpPr>
          <p:spPr bwMode="auto">
            <a:xfrm>
              <a:off x="6886473" y="2997038"/>
              <a:ext cx="229044" cy="67064"/>
            </a:xfrm>
            <a:custGeom>
              <a:avLst/>
              <a:gdLst>
                <a:gd name="T0" fmla="*/ 17169 w 119"/>
                <a:gd name="T1" fmla="*/ 3840 h 43"/>
                <a:gd name="T2" fmla="*/ 40061 w 119"/>
                <a:gd name="T3" fmla="*/ 5759 h 43"/>
                <a:gd name="T4" fmla="*/ 40061 w 119"/>
                <a:gd name="T5" fmla="*/ 1920 h 43"/>
                <a:gd name="T6" fmla="*/ 51507 w 119"/>
                <a:gd name="T7" fmla="*/ 3840 h 43"/>
                <a:gd name="T8" fmla="*/ 61045 w 119"/>
                <a:gd name="T9" fmla="*/ 11519 h 43"/>
                <a:gd name="T10" fmla="*/ 76307 w 119"/>
                <a:gd name="T11" fmla="*/ 13438 h 43"/>
                <a:gd name="T12" fmla="*/ 83937 w 119"/>
                <a:gd name="T13" fmla="*/ 26877 h 43"/>
                <a:gd name="T14" fmla="*/ 131629 w 119"/>
                <a:gd name="T15" fmla="*/ 30716 h 43"/>
                <a:gd name="T16" fmla="*/ 135444 w 119"/>
                <a:gd name="T17" fmla="*/ 19198 h 43"/>
                <a:gd name="T18" fmla="*/ 154521 w 119"/>
                <a:gd name="T19" fmla="*/ 24957 h 43"/>
                <a:gd name="T20" fmla="*/ 175505 w 119"/>
                <a:gd name="T21" fmla="*/ 32636 h 43"/>
                <a:gd name="T22" fmla="*/ 179320 w 119"/>
                <a:gd name="T23" fmla="*/ 47994 h 43"/>
                <a:gd name="T24" fmla="*/ 200305 w 119"/>
                <a:gd name="T25" fmla="*/ 53753 h 43"/>
                <a:gd name="T26" fmla="*/ 217474 w 119"/>
                <a:gd name="T27" fmla="*/ 53753 h 43"/>
                <a:gd name="T28" fmla="*/ 217474 w 119"/>
                <a:gd name="T29" fmla="*/ 72951 h 43"/>
                <a:gd name="T30" fmla="*/ 223197 w 119"/>
                <a:gd name="T31" fmla="*/ 82550 h 43"/>
                <a:gd name="T32" fmla="*/ 190766 w 119"/>
                <a:gd name="T33" fmla="*/ 72951 h 43"/>
                <a:gd name="T34" fmla="*/ 179320 w 119"/>
                <a:gd name="T35" fmla="*/ 74871 h 43"/>
                <a:gd name="T36" fmla="*/ 148798 w 119"/>
                <a:gd name="T37" fmla="*/ 69112 h 43"/>
                <a:gd name="T38" fmla="*/ 141167 w 119"/>
                <a:gd name="T39" fmla="*/ 71031 h 43"/>
                <a:gd name="T40" fmla="*/ 112552 w 119"/>
                <a:gd name="T41" fmla="*/ 57593 h 43"/>
                <a:gd name="T42" fmla="*/ 89660 w 119"/>
                <a:gd name="T43" fmla="*/ 53753 h 43"/>
                <a:gd name="T44" fmla="*/ 66768 w 119"/>
                <a:gd name="T45" fmla="*/ 55673 h 43"/>
                <a:gd name="T46" fmla="*/ 43876 w 119"/>
                <a:gd name="T47" fmla="*/ 44155 h 43"/>
                <a:gd name="T48" fmla="*/ 26707 w 119"/>
                <a:gd name="T49" fmla="*/ 42235 h 43"/>
                <a:gd name="T50" fmla="*/ 26707 w 119"/>
                <a:gd name="T51" fmla="*/ 32636 h 43"/>
                <a:gd name="T52" fmla="*/ 1908 w 119"/>
                <a:gd name="T53" fmla="*/ 23037 h 43"/>
                <a:gd name="T54" fmla="*/ 15261 w 119"/>
                <a:gd name="T55" fmla="*/ 9599 h 43"/>
                <a:gd name="T56" fmla="*/ 17169 w 119"/>
                <a:gd name="T57" fmla="*/ 3840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2" name="Freeform 411"/>
            <p:cNvSpPr>
              <a:spLocks noChangeAspect="1"/>
            </p:cNvSpPr>
            <p:nvPr/>
          </p:nvSpPr>
          <p:spPr bwMode="auto">
            <a:xfrm>
              <a:off x="6976170" y="2771345"/>
              <a:ext cx="254671" cy="188293"/>
            </a:xfrm>
            <a:custGeom>
              <a:avLst/>
              <a:gdLst>
                <a:gd name="T0" fmla="*/ 216353 w 133"/>
                <a:gd name="T1" fmla="*/ 17098 h 122"/>
                <a:gd name="T2" fmla="*/ 214455 w 133"/>
                <a:gd name="T3" fmla="*/ 30397 h 122"/>
                <a:gd name="T4" fmla="*/ 212557 w 133"/>
                <a:gd name="T5" fmla="*/ 56994 h 122"/>
                <a:gd name="T6" fmla="*/ 242923 w 133"/>
                <a:gd name="T7" fmla="*/ 85491 h 122"/>
                <a:gd name="T8" fmla="*/ 239127 w 133"/>
                <a:gd name="T9" fmla="*/ 94990 h 122"/>
                <a:gd name="T10" fmla="*/ 222047 w 133"/>
                <a:gd name="T11" fmla="*/ 96890 h 122"/>
                <a:gd name="T12" fmla="*/ 210660 w 133"/>
                <a:gd name="T13" fmla="*/ 110188 h 122"/>
                <a:gd name="T14" fmla="*/ 208762 w 133"/>
                <a:gd name="T15" fmla="*/ 138685 h 122"/>
                <a:gd name="T16" fmla="*/ 182192 w 133"/>
                <a:gd name="T17" fmla="*/ 161483 h 122"/>
                <a:gd name="T18" fmla="*/ 187886 w 133"/>
                <a:gd name="T19" fmla="*/ 188080 h 122"/>
                <a:gd name="T20" fmla="*/ 182192 w 133"/>
                <a:gd name="T21" fmla="*/ 199478 h 122"/>
                <a:gd name="T22" fmla="*/ 168907 w 133"/>
                <a:gd name="T23" fmla="*/ 216577 h 122"/>
                <a:gd name="T24" fmla="*/ 138542 w 133"/>
                <a:gd name="T25" fmla="*/ 212777 h 122"/>
                <a:gd name="T26" fmla="*/ 117666 w 133"/>
                <a:gd name="T27" fmla="*/ 212777 h 122"/>
                <a:gd name="T28" fmla="*/ 110074 w 133"/>
                <a:gd name="T29" fmla="*/ 208977 h 122"/>
                <a:gd name="T30" fmla="*/ 100585 w 133"/>
                <a:gd name="T31" fmla="*/ 208977 h 122"/>
                <a:gd name="T32" fmla="*/ 72118 w 133"/>
                <a:gd name="T33" fmla="*/ 214677 h 122"/>
                <a:gd name="T34" fmla="*/ 72118 w 133"/>
                <a:gd name="T35" fmla="*/ 195679 h 122"/>
                <a:gd name="T36" fmla="*/ 45548 w 133"/>
                <a:gd name="T37" fmla="*/ 197579 h 122"/>
                <a:gd name="T38" fmla="*/ 34161 w 133"/>
                <a:gd name="T39" fmla="*/ 178581 h 122"/>
                <a:gd name="T40" fmla="*/ 28468 w 133"/>
                <a:gd name="T41" fmla="*/ 151984 h 122"/>
                <a:gd name="T42" fmla="*/ 18978 w 133"/>
                <a:gd name="T43" fmla="*/ 138685 h 122"/>
                <a:gd name="T44" fmla="*/ 11387 w 133"/>
                <a:gd name="T45" fmla="*/ 125387 h 122"/>
                <a:gd name="T46" fmla="*/ 1898 w 133"/>
                <a:gd name="T47" fmla="*/ 104489 h 122"/>
                <a:gd name="T48" fmla="*/ 15183 w 133"/>
                <a:gd name="T49" fmla="*/ 60793 h 122"/>
                <a:gd name="T50" fmla="*/ 26570 w 133"/>
                <a:gd name="T51" fmla="*/ 75992 h 122"/>
                <a:gd name="T52" fmla="*/ 47446 w 133"/>
                <a:gd name="T53" fmla="*/ 93090 h 122"/>
                <a:gd name="T54" fmla="*/ 75913 w 133"/>
                <a:gd name="T55" fmla="*/ 91190 h 122"/>
                <a:gd name="T56" fmla="*/ 85403 w 133"/>
                <a:gd name="T57" fmla="*/ 77892 h 122"/>
                <a:gd name="T58" fmla="*/ 100585 w 133"/>
                <a:gd name="T59" fmla="*/ 79791 h 122"/>
                <a:gd name="T60" fmla="*/ 117666 w 133"/>
                <a:gd name="T61" fmla="*/ 85491 h 122"/>
                <a:gd name="T62" fmla="*/ 140440 w 133"/>
                <a:gd name="T63" fmla="*/ 77892 h 122"/>
                <a:gd name="T64" fmla="*/ 153725 w 133"/>
                <a:gd name="T65" fmla="*/ 45595 h 122"/>
                <a:gd name="T66" fmla="*/ 165112 w 133"/>
                <a:gd name="T67" fmla="*/ 7599 h 122"/>
                <a:gd name="T68" fmla="*/ 191681 w 133"/>
                <a:gd name="T69" fmla="*/ 7599 h 122"/>
                <a:gd name="T70" fmla="*/ 218251 w 133"/>
                <a:gd name="T71" fmla="*/ 9499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3" name="Freeform 412"/>
            <p:cNvSpPr>
              <a:spLocks noChangeAspect="1"/>
            </p:cNvSpPr>
            <p:nvPr/>
          </p:nvSpPr>
          <p:spPr bwMode="auto">
            <a:xfrm>
              <a:off x="7072272" y="3020253"/>
              <a:ext cx="30432" cy="10318"/>
            </a:xfrm>
            <a:custGeom>
              <a:avLst/>
              <a:gdLst>
                <a:gd name="T0" fmla="*/ 1885 w 16"/>
                <a:gd name="T1" fmla="*/ 2117 h 6"/>
                <a:gd name="T2" fmla="*/ 28277 w 16"/>
                <a:gd name="T3" fmla="*/ 2117 h 6"/>
                <a:gd name="T4" fmla="*/ 22621 w 16"/>
                <a:gd name="T5" fmla="*/ 8467 h 6"/>
                <a:gd name="T6" fmla="*/ 5655 w 16"/>
                <a:gd name="T7" fmla="*/ 10583 h 6"/>
                <a:gd name="T8" fmla="*/ 1885 w 16"/>
                <a:gd name="T9" fmla="*/ 2117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4" name="Freeform 413"/>
            <p:cNvSpPr>
              <a:spLocks noChangeAspect="1"/>
            </p:cNvSpPr>
            <p:nvPr/>
          </p:nvSpPr>
          <p:spPr bwMode="auto">
            <a:xfrm>
              <a:off x="7216427" y="2830670"/>
              <a:ext cx="163375" cy="163788"/>
            </a:xfrm>
            <a:custGeom>
              <a:avLst/>
              <a:gdLst>
                <a:gd name="T0" fmla="*/ 154305 w 85"/>
                <a:gd name="T1" fmla="*/ 5706 h 106"/>
                <a:gd name="T2" fmla="*/ 140970 w 85"/>
                <a:gd name="T3" fmla="*/ 26628 h 106"/>
                <a:gd name="T4" fmla="*/ 114300 w 85"/>
                <a:gd name="T5" fmla="*/ 38040 h 106"/>
                <a:gd name="T6" fmla="*/ 76200 w 85"/>
                <a:gd name="T7" fmla="*/ 34236 h 106"/>
                <a:gd name="T8" fmla="*/ 55245 w 85"/>
                <a:gd name="T9" fmla="*/ 36138 h 106"/>
                <a:gd name="T10" fmla="*/ 36195 w 85"/>
                <a:gd name="T11" fmla="*/ 36138 h 106"/>
                <a:gd name="T12" fmla="*/ 49530 w 85"/>
                <a:gd name="T13" fmla="*/ 85590 h 106"/>
                <a:gd name="T14" fmla="*/ 70485 w 85"/>
                <a:gd name="T15" fmla="*/ 68472 h 106"/>
                <a:gd name="T16" fmla="*/ 100965 w 85"/>
                <a:gd name="T17" fmla="*/ 62766 h 106"/>
                <a:gd name="T18" fmla="*/ 110490 w 85"/>
                <a:gd name="T19" fmla="*/ 72276 h 106"/>
                <a:gd name="T20" fmla="*/ 87630 w 85"/>
                <a:gd name="T21" fmla="*/ 87492 h 106"/>
                <a:gd name="T22" fmla="*/ 62865 w 85"/>
                <a:gd name="T23" fmla="*/ 95100 h 106"/>
                <a:gd name="T24" fmla="*/ 85725 w 85"/>
                <a:gd name="T25" fmla="*/ 125532 h 106"/>
                <a:gd name="T26" fmla="*/ 89535 w 85"/>
                <a:gd name="T27" fmla="*/ 150258 h 106"/>
                <a:gd name="T28" fmla="*/ 80010 w 85"/>
                <a:gd name="T29" fmla="*/ 165474 h 106"/>
                <a:gd name="T30" fmla="*/ 64770 w 85"/>
                <a:gd name="T31" fmla="*/ 178788 h 106"/>
                <a:gd name="T32" fmla="*/ 55245 w 85"/>
                <a:gd name="T33" fmla="*/ 148356 h 106"/>
                <a:gd name="T34" fmla="*/ 59055 w 85"/>
                <a:gd name="T35" fmla="*/ 125532 h 106"/>
                <a:gd name="T36" fmla="*/ 36195 w 85"/>
                <a:gd name="T37" fmla="*/ 125532 h 106"/>
                <a:gd name="T38" fmla="*/ 38100 w 85"/>
                <a:gd name="T39" fmla="*/ 155964 h 106"/>
                <a:gd name="T40" fmla="*/ 34290 w 85"/>
                <a:gd name="T41" fmla="*/ 178788 h 106"/>
                <a:gd name="T42" fmla="*/ 34290 w 85"/>
                <a:gd name="T43" fmla="*/ 201612 h 106"/>
                <a:gd name="T44" fmla="*/ 11430 w 85"/>
                <a:gd name="T45" fmla="*/ 190200 h 106"/>
                <a:gd name="T46" fmla="*/ 17145 w 85"/>
                <a:gd name="T47" fmla="*/ 138846 h 106"/>
                <a:gd name="T48" fmla="*/ 3810 w 85"/>
                <a:gd name="T49" fmla="*/ 136944 h 106"/>
                <a:gd name="T50" fmla="*/ 15240 w 85"/>
                <a:gd name="T51" fmla="*/ 106512 h 106"/>
                <a:gd name="T52" fmla="*/ 22860 w 85"/>
                <a:gd name="T53" fmla="*/ 64668 h 106"/>
                <a:gd name="T54" fmla="*/ 26670 w 85"/>
                <a:gd name="T55" fmla="*/ 47550 h 106"/>
                <a:gd name="T56" fmla="*/ 38100 w 85"/>
                <a:gd name="T57" fmla="*/ 19020 h 106"/>
                <a:gd name="T58" fmla="*/ 47625 w 85"/>
                <a:gd name="T59" fmla="*/ 9510 h 106"/>
                <a:gd name="T60" fmla="*/ 68580 w 85"/>
                <a:gd name="T61" fmla="*/ 15216 h 106"/>
                <a:gd name="T62" fmla="*/ 99060 w 85"/>
                <a:gd name="T63" fmla="*/ 20922 h 106"/>
                <a:gd name="T64" fmla="*/ 133350 w 85"/>
                <a:gd name="T65" fmla="*/ 17118 h 106"/>
                <a:gd name="T66" fmla="*/ 152400 w 85"/>
                <a:gd name="T67" fmla="*/ 1902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5" name="Freeform 414"/>
            <p:cNvSpPr>
              <a:spLocks noChangeAspect="1"/>
            </p:cNvSpPr>
            <p:nvPr/>
          </p:nvSpPr>
          <p:spPr bwMode="auto">
            <a:xfrm>
              <a:off x="7150756" y="2941583"/>
              <a:ext cx="9610" cy="16766"/>
            </a:xfrm>
            <a:custGeom>
              <a:avLst/>
              <a:gdLst>
                <a:gd name="T0" fmla="*/ 7620 w 5"/>
                <a:gd name="T1" fmla="*/ 0 h 11"/>
                <a:gd name="T2" fmla="*/ 9525 w 5"/>
                <a:gd name="T3" fmla="*/ 3752 h 11"/>
                <a:gd name="T4" fmla="*/ 7620 w 5"/>
                <a:gd name="T5" fmla="*/ 18761 h 11"/>
                <a:gd name="T6" fmla="*/ 1905 w 5"/>
                <a:gd name="T7" fmla="*/ 18761 h 11"/>
                <a:gd name="T8" fmla="*/ 3810 w 5"/>
                <a:gd name="T9" fmla="*/ 3752 h 11"/>
                <a:gd name="T10" fmla="*/ 7620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6" name="Freeform 415"/>
            <p:cNvSpPr>
              <a:spLocks noChangeAspect="1"/>
            </p:cNvSpPr>
            <p:nvPr/>
          </p:nvSpPr>
          <p:spPr bwMode="auto">
            <a:xfrm>
              <a:off x="7110714" y="3048625"/>
              <a:ext cx="30432" cy="18056"/>
            </a:xfrm>
            <a:custGeom>
              <a:avLst/>
              <a:gdLst>
                <a:gd name="T0" fmla="*/ 1885 w 16"/>
                <a:gd name="T1" fmla="*/ 1852 h 12"/>
                <a:gd name="T2" fmla="*/ 13196 w 16"/>
                <a:gd name="T3" fmla="*/ 3704 h 12"/>
                <a:gd name="T4" fmla="*/ 22621 w 16"/>
                <a:gd name="T5" fmla="*/ 3704 h 12"/>
                <a:gd name="T6" fmla="*/ 30162 w 16"/>
                <a:gd name="T7" fmla="*/ 9260 h 12"/>
                <a:gd name="T8" fmla="*/ 16966 w 16"/>
                <a:gd name="T9" fmla="*/ 16669 h 12"/>
                <a:gd name="T10" fmla="*/ 15081 w 16"/>
                <a:gd name="T11" fmla="*/ 22225 h 12"/>
                <a:gd name="T12" fmla="*/ 11311 w 16"/>
                <a:gd name="T13" fmla="*/ 11113 h 12"/>
                <a:gd name="T14" fmla="*/ 1885 w 16"/>
                <a:gd name="T15" fmla="*/ 9260 h 12"/>
                <a:gd name="T16" fmla="*/ 1885 w 16"/>
                <a:gd name="T17" fmla="*/ 185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7" name="Freeform 416"/>
            <p:cNvSpPr>
              <a:spLocks noChangeAspect="1"/>
            </p:cNvSpPr>
            <p:nvPr/>
          </p:nvSpPr>
          <p:spPr bwMode="auto">
            <a:xfrm>
              <a:off x="7136341" y="3051205"/>
              <a:ext cx="27229" cy="18056"/>
            </a:xfrm>
            <a:custGeom>
              <a:avLst/>
              <a:gdLst>
                <a:gd name="T0" fmla="*/ 15421 w 14"/>
                <a:gd name="T1" fmla="*/ 0 h 11"/>
                <a:gd name="T2" fmla="*/ 25059 w 14"/>
                <a:gd name="T3" fmla="*/ 6061 h 11"/>
                <a:gd name="T4" fmla="*/ 21204 w 14"/>
                <a:gd name="T5" fmla="*/ 22225 h 11"/>
                <a:gd name="T6" fmla="*/ 1928 w 14"/>
                <a:gd name="T7" fmla="*/ 16164 h 11"/>
                <a:gd name="T8" fmla="*/ 9638 w 14"/>
                <a:gd name="T9" fmla="*/ 14143 h 11"/>
                <a:gd name="T10" fmla="*/ 9638 w 14"/>
                <a:gd name="T11" fmla="*/ 6061 h 11"/>
                <a:gd name="T12" fmla="*/ 15421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8" name="Freeform 417"/>
            <p:cNvSpPr>
              <a:spLocks noChangeAspect="1"/>
            </p:cNvSpPr>
            <p:nvPr/>
          </p:nvSpPr>
          <p:spPr bwMode="auto">
            <a:xfrm>
              <a:off x="7161968" y="3048625"/>
              <a:ext cx="60865" cy="23214"/>
            </a:xfrm>
            <a:custGeom>
              <a:avLst/>
              <a:gdLst>
                <a:gd name="T0" fmla="*/ 3770 w 32"/>
                <a:gd name="T1" fmla="*/ 13335 h 15"/>
                <a:gd name="T2" fmla="*/ 1885 w 32"/>
                <a:gd name="T3" fmla="*/ 26670 h 15"/>
                <a:gd name="T4" fmla="*/ 11311 w 32"/>
                <a:gd name="T5" fmla="*/ 26670 h 15"/>
                <a:gd name="T6" fmla="*/ 30163 w 32"/>
                <a:gd name="T7" fmla="*/ 22860 h 15"/>
                <a:gd name="T8" fmla="*/ 45244 w 32"/>
                <a:gd name="T9" fmla="*/ 20955 h 15"/>
                <a:gd name="T10" fmla="*/ 56555 w 32"/>
                <a:gd name="T11" fmla="*/ 17145 h 15"/>
                <a:gd name="T12" fmla="*/ 60325 w 32"/>
                <a:gd name="T13" fmla="*/ 17145 h 15"/>
                <a:gd name="T14" fmla="*/ 54670 w 32"/>
                <a:gd name="T15" fmla="*/ 5715 h 15"/>
                <a:gd name="T16" fmla="*/ 41473 w 32"/>
                <a:gd name="T17" fmla="*/ 5715 h 15"/>
                <a:gd name="T18" fmla="*/ 33933 w 32"/>
                <a:gd name="T19" fmla="*/ 0 h 15"/>
                <a:gd name="T20" fmla="*/ 26392 w 32"/>
                <a:gd name="T21" fmla="*/ 1905 h 15"/>
                <a:gd name="T22" fmla="*/ 30163 w 32"/>
                <a:gd name="T23" fmla="*/ 9525 h 15"/>
                <a:gd name="T24" fmla="*/ 35818 w 32"/>
                <a:gd name="T25" fmla="*/ 13335 h 15"/>
                <a:gd name="T26" fmla="*/ 28277 w 32"/>
                <a:gd name="T27" fmla="*/ 15240 h 15"/>
                <a:gd name="T28" fmla="*/ 18852 w 32"/>
                <a:gd name="T29" fmla="*/ 9525 h 15"/>
                <a:gd name="T30" fmla="*/ 11311 w 32"/>
                <a:gd name="T31" fmla="*/ 9525 h 15"/>
                <a:gd name="T32" fmla="*/ 3770 w 32"/>
                <a:gd name="T33" fmla="*/ 13335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9" name="Freeform 418"/>
            <p:cNvSpPr>
              <a:spLocks noChangeAspect="1"/>
            </p:cNvSpPr>
            <p:nvPr/>
          </p:nvSpPr>
          <p:spPr bwMode="auto">
            <a:xfrm>
              <a:off x="7211620" y="3076999"/>
              <a:ext cx="52857" cy="24504"/>
            </a:xfrm>
            <a:custGeom>
              <a:avLst/>
              <a:gdLst>
                <a:gd name="T0" fmla="*/ 5821 w 27"/>
                <a:gd name="T1" fmla="*/ 3770 h 16"/>
                <a:gd name="T2" fmla="*/ 25224 w 27"/>
                <a:gd name="T3" fmla="*/ 1885 h 16"/>
                <a:gd name="T4" fmla="*/ 40746 w 27"/>
                <a:gd name="T5" fmla="*/ 11311 h 16"/>
                <a:gd name="T6" fmla="*/ 52388 w 27"/>
                <a:gd name="T7" fmla="*/ 22622 h 16"/>
                <a:gd name="T8" fmla="*/ 42687 w 27"/>
                <a:gd name="T9" fmla="*/ 30163 h 16"/>
                <a:gd name="T10" fmla="*/ 29104 w 27"/>
                <a:gd name="T11" fmla="*/ 22622 h 16"/>
                <a:gd name="T12" fmla="*/ 13582 w 27"/>
                <a:gd name="T13" fmla="*/ 15082 h 16"/>
                <a:gd name="T14" fmla="*/ 1940 w 27"/>
                <a:gd name="T15" fmla="*/ 11311 h 16"/>
                <a:gd name="T16" fmla="*/ 5821 w 27"/>
                <a:gd name="T17" fmla="*/ 377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0" name="Freeform 419"/>
            <p:cNvSpPr>
              <a:spLocks noChangeAspect="1"/>
            </p:cNvSpPr>
            <p:nvPr/>
          </p:nvSpPr>
          <p:spPr bwMode="auto">
            <a:xfrm>
              <a:off x="7235646" y="3051205"/>
              <a:ext cx="89695" cy="19346"/>
            </a:xfrm>
            <a:custGeom>
              <a:avLst/>
              <a:gdLst>
                <a:gd name="T0" fmla="*/ 18915 w 47"/>
                <a:gd name="T1" fmla="*/ 0 h 12"/>
                <a:gd name="T2" fmla="*/ 35938 w 47"/>
                <a:gd name="T3" fmla="*/ 5953 h 12"/>
                <a:gd name="T4" fmla="*/ 43504 w 47"/>
                <a:gd name="T5" fmla="*/ 11907 h 12"/>
                <a:gd name="T6" fmla="*/ 52962 w 47"/>
                <a:gd name="T7" fmla="*/ 5953 h 12"/>
                <a:gd name="T8" fmla="*/ 64311 w 47"/>
                <a:gd name="T9" fmla="*/ 11907 h 12"/>
                <a:gd name="T10" fmla="*/ 71877 w 47"/>
                <a:gd name="T11" fmla="*/ 5953 h 12"/>
                <a:gd name="T12" fmla="*/ 79443 w 47"/>
                <a:gd name="T13" fmla="*/ 1984 h 12"/>
                <a:gd name="T14" fmla="*/ 83226 w 47"/>
                <a:gd name="T15" fmla="*/ 3969 h 12"/>
                <a:gd name="T16" fmla="*/ 88900 w 47"/>
                <a:gd name="T17" fmla="*/ 1984 h 12"/>
                <a:gd name="T18" fmla="*/ 81334 w 47"/>
                <a:gd name="T19" fmla="*/ 7938 h 12"/>
                <a:gd name="T20" fmla="*/ 73768 w 47"/>
                <a:gd name="T21" fmla="*/ 9922 h 12"/>
                <a:gd name="T22" fmla="*/ 66202 w 47"/>
                <a:gd name="T23" fmla="*/ 13891 h 12"/>
                <a:gd name="T24" fmla="*/ 51070 w 47"/>
                <a:gd name="T25" fmla="*/ 17860 h 12"/>
                <a:gd name="T26" fmla="*/ 43504 w 47"/>
                <a:gd name="T27" fmla="*/ 17860 h 12"/>
                <a:gd name="T28" fmla="*/ 30264 w 47"/>
                <a:gd name="T29" fmla="*/ 23813 h 12"/>
                <a:gd name="T30" fmla="*/ 1891 w 47"/>
                <a:gd name="T31" fmla="*/ 13891 h 12"/>
                <a:gd name="T32" fmla="*/ 7566 w 47"/>
                <a:gd name="T33" fmla="*/ 5953 h 12"/>
                <a:gd name="T34" fmla="*/ 18915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1" name="Freeform 420"/>
            <p:cNvSpPr>
              <a:spLocks noChangeAspect="1"/>
            </p:cNvSpPr>
            <p:nvPr/>
          </p:nvSpPr>
          <p:spPr bwMode="auto">
            <a:xfrm>
              <a:off x="7696941" y="3239499"/>
              <a:ext cx="9610" cy="7738"/>
            </a:xfrm>
            <a:custGeom>
              <a:avLst/>
              <a:gdLst>
                <a:gd name="T0" fmla="*/ 7620 w 5"/>
                <a:gd name="T1" fmla="*/ 7620 h 5"/>
                <a:gd name="T2" fmla="*/ 1905 w 5"/>
                <a:gd name="T3" fmla="*/ 7620 h 5"/>
                <a:gd name="T4" fmla="*/ 0 w 5"/>
                <a:gd name="T5" fmla="*/ 3810 h 5"/>
                <a:gd name="T6" fmla="*/ 5715 w 5"/>
                <a:gd name="T7" fmla="*/ 0 h 5"/>
                <a:gd name="T8" fmla="*/ 7620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2" name="Freeform 421"/>
            <p:cNvSpPr>
              <a:spLocks noChangeAspect="1"/>
            </p:cNvSpPr>
            <p:nvPr/>
          </p:nvSpPr>
          <p:spPr bwMode="auto">
            <a:xfrm>
              <a:off x="7037035" y="3449717"/>
              <a:ext cx="6407" cy="14186"/>
            </a:xfrm>
            <a:custGeom>
              <a:avLst/>
              <a:gdLst>
                <a:gd name="T0" fmla="*/ 6350 w 3"/>
                <a:gd name="T1" fmla="*/ 9701 h 9"/>
                <a:gd name="T2" fmla="*/ 4233 w 3"/>
                <a:gd name="T3" fmla="*/ 17462 h 9"/>
                <a:gd name="T4" fmla="*/ 2117 w 3"/>
                <a:gd name="T5" fmla="*/ 9701 h 9"/>
                <a:gd name="T6" fmla="*/ 2117 w 3"/>
                <a:gd name="T7" fmla="*/ 0 h 9"/>
                <a:gd name="T8" fmla="*/ 6350 w 3"/>
                <a:gd name="T9" fmla="*/ 9701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3" name="Freeform 422"/>
            <p:cNvSpPr>
              <a:spLocks noChangeAspect="1"/>
            </p:cNvSpPr>
            <p:nvPr/>
          </p:nvSpPr>
          <p:spPr bwMode="auto">
            <a:xfrm>
              <a:off x="7048246" y="3448427"/>
              <a:ext cx="6407" cy="15476"/>
            </a:xfrm>
            <a:custGeom>
              <a:avLst/>
              <a:gdLst>
                <a:gd name="T0" fmla="*/ 6350 w 3"/>
                <a:gd name="T1" fmla="*/ 11430 h 10"/>
                <a:gd name="T2" fmla="*/ 6350 w 3"/>
                <a:gd name="T3" fmla="*/ 19050 h 10"/>
                <a:gd name="T4" fmla="*/ 2117 w 3"/>
                <a:gd name="T5" fmla="*/ 11430 h 10"/>
                <a:gd name="T6" fmla="*/ 2117 w 3"/>
                <a:gd name="T7" fmla="*/ 1905 h 10"/>
                <a:gd name="T8" fmla="*/ 6350 w 3"/>
                <a:gd name="T9" fmla="*/ 11430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4" name="Freeform 423"/>
            <p:cNvSpPr>
              <a:spLocks noChangeAspect="1"/>
            </p:cNvSpPr>
            <p:nvPr/>
          </p:nvSpPr>
          <p:spPr bwMode="auto">
            <a:xfrm>
              <a:off x="7794645" y="3809536"/>
              <a:ext cx="9610" cy="3869"/>
            </a:xfrm>
            <a:custGeom>
              <a:avLst/>
              <a:gdLst>
                <a:gd name="T0" fmla="*/ 3810 w 5"/>
                <a:gd name="T1" fmla="*/ 4763 h 2"/>
                <a:gd name="T2" fmla="*/ 1905 w 5"/>
                <a:gd name="T3" fmla="*/ 2382 h 2"/>
                <a:gd name="T4" fmla="*/ 5715 w 5"/>
                <a:gd name="T5" fmla="*/ 0 h 2"/>
                <a:gd name="T6" fmla="*/ 9525 w 5"/>
                <a:gd name="T7" fmla="*/ 2382 h 2"/>
                <a:gd name="T8" fmla="*/ 3810 w 5"/>
                <a:gd name="T9" fmla="*/ 476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5" name="Freeform 424"/>
            <p:cNvSpPr>
              <a:spLocks noChangeAspect="1"/>
            </p:cNvSpPr>
            <p:nvPr/>
          </p:nvSpPr>
          <p:spPr bwMode="auto">
            <a:xfrm>
              <a:off x="7698542" y="3790191"/>
              <a:ext cx="11213" cy="14186"/>
            </a:xfrm>
            <a:custGeom>
              <a:avLst/>
              <a:gdLst>
                <a:gd name="T0" fmla="*/ 7409 w 6"/>
                <a:gd name="T1" fmla="*/ 11641 h 9"/>
                <a:gd name="T2" fmla="*/ 1852 w 6"/>
                <a:gd name="T3" fmla="*/ 17462 h 9"/>
                <a:gd name="T4" fmla="*/ 1852 w 6"/>
                <a:gd name="T5" fmla="*/ 7761 h 9"/>
                <a:gd name="T6" fmla="*/ 7409 w 6"/>
                <a:gd name="T7" fmla="*/ 1940 h 9"/>
                <a:gd name="T8" fmla="*/ 7409 w 6"/>
                <a:gd name="T9" fmla="*/ 1164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6" name="Freeform 425"/>
            <p:cNvSpPr>
              <a:spLocks noChangeAspect="1"/>
            </p:cNvSpPr>
            <p:nvPr/>
          </p:nvSpPr>
          <p:spPr bwMode="auto">
            <a:xfrm>
              <a:off x="7996460" y="3490986"/>
              <a:ext cx="4806" cy="9027"/>
            </a:xfrm>
            <a:custGeom>
              <a:avLst/>
              <a:gdLst>
                <a:gd name="T0" fmla="*/ 3175 w 3"/>
                <a:gd name="T1" fmla="*/ 7408 h 6"/>
                <a:gd name="T2" fmla="*/ 1588 w 3"/>
                <a:gd name="T3" fmla="*/ 11112 h 6"/>
                <a:gd name="T4" fmla="*/ 1588 w 3"/>
                <a:gd name="T5" fmla="*/ 5556 h 6"/>
                <a:gd name="T6" fmla="*/ 3175 w 3"/>
                <a:gd name="T7" fmla="*/ 1852 h 6"/>
                <a:gd name="T8" fmla="*/ 3175 w 3"/>
                <a:gd name="T9" fmla="*/ 7408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4"/>
                  </a:moveTo>
                  <a:cubicBezTo>
                    <a:pt x="2" y="5"/>
                    <a:pt x="1" y="6"/>
                    <a:pt x="1" y="6"/>
                  </a:cubicBezTo>
                  <a:cubicBezTo>
                    <a:pt x="0" y="6"/>
                    <a:pt x="0" y="4"/>
                    <a:pt x="1" y="3"/>
                  </a:cubicBezTo>
                  <a:cubicBezTo>
                    <a:pt x="1" y="2"/>
                    <a:pt x="2" y="0"/>
                    <a:pt x="2"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7" name="Freeform 426"/>
            <p:cNvSpPr>
              <a:spLocks noChangeAspect="1"/>
            </p:cNvSpPr>
            <p:nvPr/>
          </p:nvSpPr>
          <p:spPr bwMode="auto">
            <a:xfrm>
              <a:off x="7639279" y="3119558"/>
              <a:ext cx="6407" cy="6448"/>
            </a:xfrm>
            <a:custGeom>
              <a:avLst/>
              <a:gdLst>
                <a:gd name="T0" fmla="*/ 3175 w 4"/>
                <a:gd name="T1" fmla="*/ 5953 h 4"/>
                <a:gd name="T2" fmla="*/ 0 w 4"/>
                <a:gd name="T3" fmla="*/ 7937 h 4"/>
                <a:gd name="T4" fmla="*/ 1588 w 4"/>
                <a:gd name="T5" fmla="*/ 3969 h 4"/>
                <a:gd name="T6" fmla="*/ 4762 w 4"/>
                <a:gd name="T7" fmla="*/ 0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4"/>
                  </a:cubicBezTo>
                  <a:cubicBezTo>
                    <a:pt x="0" y="3"/>
                    <a:pt x="0" y="2"/>
                    <a:pt x="1" y="2"/>
                  </a:cubicBezTo>
                  <a:cubicBezTo>
                    <a:pt x="2" y="1"/>
                    <a:pt x="3" y="0"/>
                    <a:pt x="3"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8" name="Freeform 427"/>
            <p:cNvSpPr>
              <a:spLocks noChangeAspect="1"/>
            </p:cNvSpPr>
            <p:nvPr/>
          </p:nvSpPr>
          <p:spPr bwMode="auto">
            <a:xfrm>
              <a:off x="7629668" y="3127297"/>
              <a:ext cx="6407" cy="6448"/>
            </a:xfrm>
            <a:custGeom>
              <a:avLst/>
              <a:gdLst>
                <a:gd name="T0" fmla="*/ 3175 w 4"/>
                <a:gd name="T1" fmla="*/ 5953 h 4"/>
                <a:gd name="T2" fmla="*/ 0 w 4"/>
                <a:gd name="T3" fmla="*/ 7937 h 4"/>
                <a:gd name="T4" fmla="*/ 1588 w 4"/>
                <a:gd name="T5" fmla="*/ 3969 h 4"/>
                <a:gd name="T6" fmla="*/ 4762 w 4"/>
                <a:gd name="T7" fmla="*/ 0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2" y="3"/>
                    <a:pt x="1" y="4"/>
                    <a:pt x="0" y="4"/>
                  </a:cubicBezTo>
                  <a:cubicBezTo>
                    <a:pt x="0" y="3"/>
                    <a:pt x="1" y="2"/>
                    <a:pt x="1" y="2"/>
                  </a:cubicBezTo>
                  <a:cubicBezTo>
                    <a:pt x="2" y="1"/>
                    <a:pt x="3" y="0"/>
                    <a:pt x="3" y="0"/>
                  </a:cubicBezTo>
                  <a:cubicBezTo>
                    <a:pt x="4"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9" name="Freeform 428"/>
            <p:cNvSpPr>
              <a:spLocks noChangeAspect="1"/>
            </p:cNvSpPr>
            <p:nvPr/>
          </p:nvSpPr>
          <p:spPr bwMode="auto">
            <a:xfrm>
              <a:off x="7612048" y="3133745"/>
              <a:ext cx="8009" cy="7738"/>
            </a:xfrm>
            <a:custGeom>
              <a:avLst/>
              <a:gdLst>
                <a:gd name="T0" fmla="*/ 3969 w 4"/>
                <a:gd name="T1" fmla="*/ 7620 h 5"/>
                <a:gd name="T2" fmla="*/ 1985 w 4"/>
                <a:gd name="T3" fmla="*/ 7620 h 5"/>
                <a:gd name="T4" fmla="*/ 3969 w 4"/>
                <a:gd name="T5" fmla="*/ 3810 h 5"/>
                <a:gd name="T6" fmla="*/ 7938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4"/>
                  </a:cubicBezTo>
                  <a:cubicBezTo>
                    <a:pt x="0" y="4"/>
                    <a:pt x="1" y="3"/>
                    <a:pt x="2" y="2"/>
                  </a:cubicBezTo>
                  <a:cubicBezTo>
                    <a:pt x="2" y="2"/>
                    <a:pt x="3" y="0"/>
                    <a:pt x="4"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0" name="Freeform 429"/>
            <p:cNvSpPr>
              <a:spLocks noChangeAspect="1"/>
            </p:cNvSpPr>
            <p:nvPr/>
          </p:nvSpPr>
          <p:spPr bwMode="auto">
            <a:xfrm>
              <a:off x="8340828" y="3329776"/>
              <a:ext cx="3203" cy="7738"/>
            </a:xfrm>
            <a:custGeom>
              <a:avLst/>
              <a:gdLst>
                <a:gd name="T0" fmla="*/ 3175 w 2"/>
                <a:gd name="T1" fmla="*/ 5715 h 5"/>
                <a:gd name="T2" fmla="*/ 1588 w 2"/>
                <a:gd name="T3" fmla="*/ 9525 h 5"/>
                <a:gd name="T4" fmla="*/ 0 w 2"/>
                <a:gd name="T5" fmla="*/ 3810 h 5"/>
                <a:gd name="T6" fmla="*/ 3175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4"/>
                    <a:pt x="0" y="3"/>
                    <a:pt x="0" y="2"/>
                  </a:cubicBezTo>
                  <a:cubicBezTo>
                    <a:pt x="1" y="2"/>
                    <a:pt x="1" y="0"/>
                    <a:pt x="2"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1" name="Freeform 430"/>
            <p:cNvSpPr>
              <a:spLocks noChangeAspect="1"/>
            </p:cNvSpPr>
            <p:nvPr/>
          </p:nvSpPr>
          <p:spPr bwMode="auto">
            <a:xfrm>
              <a:off x="8396888" y="3205967"/>
              <a:ext cx="3203" cy="12897"/>
            </a:xfrm>
            <a:custGeom>
              <a:avLst/>
              <a:gdLst>
                <a:gd name="T0" fmla="*/ 3175 w 2"/>
                <a:gd name="T1" fmla="*/ 9922 h 8"/>
                <a:gd name="T2" fmla="*/ 1588 w 2"/>
                <a:gd name="T3" fmla="*/ 13891 h 8"/>
                <a:gd name="T4" fmla="*/ 0 w 2"/>
                <a:gd name="T5" fmla="*/ 7938 h 8"/>
                <a:gd name="T6" fmla="*/ 1588 w 2"/>
                <a:gd name="T7" fmla="*/ 0 h 8"/>
                <a:gd name="T8" fmla="*/ 3175 w 2"/>
                <a:gd name="T9" fmla="*/ 9922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2" name="Freeform 431"/>
            <p:cNvSpPr>
              <a:spLocks noChangeAspect="1"/>
            </p:cNvSpPr>
            <p:nvPr/>
          </p:nvSpPr>
          <p:spPr bwMode="auto">
            <a:xfrm>
              <a:off x="8396888" y="3221443"/>
              <a:ext cx="3203" cy="10318"/>
            </a:xfrm>
            <a:custGeom>
              <a:avLst/>
              <a:gdLst>
                <a:gd name="T0" fmla="*/ 3175 w 2"/>
                <a:gd name="T1" fmla="*/ 8467 h 6"/>
                <a:gd name="T2" fmla="*/ 1588 w 2"/>
                <a:gd name="T3" fmla="*/ 12700 h 6"/>
                <a:gd name="T4" fmla="*/ 0 w 2"/>
                <a:gd name="T5" fmla="*/ 6350 h 6"/>
                <a:gd name="T6" fmla="*/ 1588 w 2"/>
                <a:gd name="T7" fmla="*/ 0 h 6"/>
                <a:gd name="T8" fmla="*/ 3175 w 2"/>
                <a:gd name="T9" fmla="*/ 8467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3" name="Freeform 432"/>
            <p:cNvSpPr>
              <a:spLocks noChangeAspect="1"/>
            </p:cNvSpPr>
            <p:nvPr/>
          </p:nvSpPr>
          <p:spPr bwMode="auto">
            <a:xfrm>
              <a:off x="8622730" y="3296244"/>
              <a:ext cx="8008" cy="7738"/>
            </a:xfrm>
            <a:custGeom>
              <a:avLst/>
              <a:gdLst>
                <a:gd name="T0" fmla="*/ 3969 w 4"/>
                <a:gd name="T1" fmla="*/ 5715 h 5"/>
                <a:gd name="T2" fmla="*/ 1984 w 4"/>
                <a:gd name="T3" fmla="*/ 7620 h 5"/>
                <a:gd name="T4" fmla="*/ 3969 w 4"/>
                <a:gd name="T5" fmla="*/ 3810 h 5"/>
                <a:gd name="T6" fmla="*/ 7937 w 4"/>
                <a:gd name="T7" fmla="*/ 1905 h 5"/>
                <a:gd name="T8" fmla="*/ 3969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1" y="4"/>
                  </a:cubicBezTo>
                  <a:cubicBezTo>
                    <a:pt x="0" y="4"/>
                    <a:pt x="1" y="3"/>
                    <a:pt x="2" y="2"/>
                  </a:cubicBezTo>
                  <a:cubicBezTo>
                    <a:pt x="2" y="2"/>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4" name="Freeform 433"/>
            <p:cNvSpPr>
              <a:spLocks noChangeAspect="1"/>
            </p:cNvSpPr>
            <p:nvPr/>
          </p:nvSpPr>
          <p:spPr bwMode="auto">
            <a:xfrm>
              <a:off x="7374995" y="2637219"/>
              <a:ext cx="4806" cy="12897"/>
            </a:xfrm>
            <a:custGeom>
              <a:avLst/>
              <a:gdLst>
                <a:gd name="T0" fmla="*/ 4763 w 2"/>
                <a:gd name="T1" fmla="*/ 10583 h 9"/>
                <a:gd name="T2" fmla="*/ 2382 w 2"/>
                <a:gd name="T3" fmla="*/ 15875 h 9"/>
                <a:gd name="T4" fmla="*/ 0 w 2"/>
                <a:gd name="T5" fmla="*/ 8819 h 9"/>
                <a:gd name="T6" fmla="*/ 2382 w 2"/>
                <a:gd name="T7" fmla="*/ 1764 h 9"/>
                <a:gd name="T8" fmla="*/ 4763 w 2"/>
                <a:gd name="T9" fmla="*/ 10583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2" y="6"/>
                  </a:moveTo>
                  <a:cubicBezTo>
                    <a:pt x="2" y="7"/>
                    <a:pt x="2" y="9"/>
                    <a:pt x="1" y="9"/>
                  </a:cubicBezTo>
                  <a:cubicBezTo>
                    <a:pt x="0" y="8"/>
                    <a:pt x="0" y="6"/>
                    <a:pt x="0" y="5"/>
                  </a:cubicBezTo>
                  <a:cubicBezTo>
                    <a:pt x="0" y="3"/>
                    <a:pt x="0" y="0"/>
                    <a:pt x="1" y="1"/>
                  </a:cubicBezTo>
                  <a:cubicBezTo>
                    <a:pt x="2" y="1"/>
                    <a:pt x="2" y="4"/>
                    <a:pt x="2"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5" name="Freeform 434"/>
            <p:cNvSpPr>
              <a:spLocks noChangeAspect="1"/>
            </p:cNvSpPr>
            <p:nvPr/>
          </p:nvSpPr>
          <p:spPr bwMode="auto">
            <a:xfrm>
              <a:off x="7306122" y="2577894"/>
              <a:ext cx="6407" cy="6448"/>
            </a:xfrm>
            <a:custGeom>
              <a:avLst/>
              <a:gdLst>
                <a:gd name="T0" fmla="*/ 6350 w 3"/>
                <a:gd name="T1" fmla="*/ 3969 h 4"/>
                <a:gd name="T2" fmla="*/ 6350 w 3"/>
                <a:gd name="T3" fmla="*/ 7937 h 4"/>
                <a:gd name="T4" fmla="*/ 2117 w 3"/>
                <a:gd name="T5" fmla="*/ 3969 h 4"/>
                <a:gd name="T6" fmla="*/ 2117 w 3"/>
                <a:gd name="T7" fmla="*/ 0 h 4"/>
                <a:gd name="T8" fmla="*/ 6350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4"/>
                  </a:cubicBezTo>
                  <a:cubicBezTo>
                    <a:pt x="2" y="4"/>
                    <a:pt x="2" y="3"/>
                    <a:pt x="1" y="2"/>
                  </a:cubicBezTo>
                  <a:cubicBezTo>
                    <a:pt x="1" y="1"/>
                    <a:pt x="0" y="0"/>
                    <a:pt x="1"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6" name="Freeform 435"/>
            <p:cNvSpPr>
              <a:spLocks noChangeAspect="1"/>
            </p:cNvSpPr>
            <p:nvPr/>
          </p:nvSpPr>
          <p:spPr bwMode="auto">
            <a:xfrm>
              <a:off x="7283699" y="2590791"/>
              <a:ext cx="3203" cy="7738"/>
            </a:xfrm>
            <a:custGeom>
              <a:avLst/>
              <a:gdLst>
                <a:gd name="T0" fmla="*/ 1588 w 2"/>
                <a:gd name="T1" fmla="*/ 7620 h 5"/>
                <a:gd name="T2" fmla="*/ 0 w 2"/>
                <a:gd name="T3" fmla="*/ 9525 h 5"/>
                <a:gd name="T4" fmla="*/ 0 w 2"/>
                <a:gd name="T5" fmla="*/ 5715 h 5"/>
                <a:gd name="T6" fmla="*/ 1588 w 2"/>
                <a:gd name="T7" fmla="*/ 1905 h 5"/>
                <a:gd name="T8" fmla="*/ 1588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7" name="Freeform 436"/>
            <p:cNvSpPr>
              <a:spLocks noChangeAspect="1"/>
            </p:cNvSpPr>
            <p:nvPr/>
          </p:nvSpPr>
          <p:spPr bwMode="auto">
            <a:xfrm>
              <a:off x="8028494" y="3069261"/>
              <a:ext cx="9610" cy="5158"/>
            </a:xfrm>
            <a:custGeom>
              <a:avLst/>
              <a:gdLst>
                <a:gd name="T0" fmla="*/ 5715 w 5"/>
                <a:gd name="T1" fmla="*/ 3175 h 4"/>
                <a:gd name="T2" fmla="*/ 7620 w 5"/>
                <a:gd name="T3" fmla="*/ 4762 h 4"/>
                <a:gd name="T4" fmla="*/ 3810 w 5"/>
                <a:gd name="T5" fmla="*/ 3175 h 4"/>
                <a:gd name="T6" fmla="*/ 1905 w 5"/>
                <a:gd name="T7" fmla="*/ 0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8" name="Freeform 437"/>
            <p:cNvSpPr>
              <a:spLocks noChangeAspect="1"/>
            </p:cNvSpPr>
            <p:nvPr/>
          </p:nvSpPr>
          <p:spPr bwMode="auto">
            <a:xfrm>
              <a:off x="8028494" y="3069261"/>
              <a:ext cx="9610" cy="5158"/>
            </a:xfrm>
            <a:custGeom>
              <a:avLst/>
              <a:gdLst>
                <a:gd name="T0" fmla="*/ 5715 w 5"/>
                <a:gd name="T1" fmla="*/ 3175 h 4"/>
                <a:gd name="T2" fmla="*/ 7620 w 5"/>
                <a:gd name="T3" fmla="*/ 4762 h 4"/>
                <a:gd name="T4" fmla="*/ 3810 w 5"/>
                <a:gd name="T5" fmla="*/ 3175 h 4"/>
                <a:gd name="T6" fmla="*/ 1905 w 5"/>
                <a:gd name="T7" fmla="*/ 0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9" name="Freeform 438"/>
            <p:cNvSpPr>
              <a:spLocks noChangeAspect="1"/>
            </p:cNvSpPr>
            <p:nvPr/>
          </p:nvSpPr>
          <p:spPr bwMode="auto">
            <a:xfrm>
              <a:off x="8047715" y="3124718"/>
              <a:ext cx="9610" cy="3868"/>
            </a:xfrm>
            <a:custGeom>
              <a:avLst/>
              <a:gdLst>
                <a:gd name="T0" fmla="*/ 5715 w 5"/>
                <a:gd name="T1" fmla="*/ 1587 h 3"/>
                <a:gd name="T2" fmla="*/ 7620 w 5"/>
                <a:gd name="T3" fmla="*/ 4762 h 3"/>
                <a:gd name="T4" fmla="*/ 3810 w 5"/>
                <a:gd name="T5" fmla="*/ 3175 h 3"/>
                <a:gd name="T6" fmla="*/ 0 w 5"/>
                <a:gd name="T7" fmla="*/ 1587 h 3"/>
                <a:gd name="T8" fmla="*/ 5715 w 5"/>
                <a:gd name="T9" fmla="*/ 158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1"/>
                    <a:pt x="5" y="2"/>
                    <a:pt x="4" y="3"/>
                  </a:cubicBezTo>
                  <a:cubicBezTo>
                    <a:pt x="4" y="3"/>
                    <a:pt x="3" y="3"/>
                    <a:pt x="2" y="2"/>
                  </a:cubicBezTo>
                  <a:cubicBezTo>
                    <a:pt x="1" y="2"/>
                    <a:pt x="0" y="1"/>
                    <a:pt x="0" y="1"/>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0" name="Freeform 439"/>
            <p:cNvSpPr>
              <a:spLocks noChangeAspect="1"/>
            </p:cNvSpPr>
            <p:nvPr/>
          </p:nvSpPr>
          <p:spPr bwMode="auto">
            <a:xfrm>
              <a:off x="7986850" y="3088607"/>
              <a:ext cx="8009" cy="6448"/>
            </a:xfrm>
            <a:custGeom>
              <a:avLst/>
              <a:gdLst>
                <a:gd name="T0" fmla="*/ 5953 w 4"/>
                <a:gd name="T1" fmla="*/ 3969 h 4"/>
                <a:gd name="T2" fmla="*/ 7938 w 4"/>
                <a:gd name="T3" fmla="*/ 5953 h 4"/>
                <a:gd name="T4" fmla="*/ 1985 w 4"/>
                <a:gd name="T5" fmla="*/ 3969 h 4"/>
                <a:gd name="T6" fmla="*/ 0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4" y="3"/>
                  </a:cubicBezTo>
                  <a:cubicBezTo>
                    <a:pt x="3" y="4"/>
                    <a:pt x="2" y="3"/>
                    <a:pt x="1" y="2"/>
                  </a:cubicBezTo>
                  <a:cubicBezTo>
                    <a:pt x="1" y="2"/>
                    <a:pt x="0" y="0"/>
                    <a:pt x="0"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1" name="Freeform 440"/>
            <p:cNvSpPr>
              <a:spLocks noChangeAspect="1"/>
            </p:cNvSpPr>
            <p:nvPr/>
          </p:nvSpPr>
          <p:spPr bwMode="auto">
            <a:xfrm>
              <a:off x="8086156" y="2980273"/>
              <a:ext cx="4806" cy="7738"/>
            </a:xfrm>
            <a:custGeom>
              <a:avLst/>
              <a:gdLst>
                <a:gd name="T0" fmla="*/ 4763 w 2"/>
                <a:gd name="T1" fmla="*/ 7620 h 5"/>
                <a:gd name="T2" fmla="*/ 2382 w 2"/>
                <a:gd name="T3" fmla="*/ 9525 h 5"/>
                <a:gd name="T4" fmla="*/ 0 w 2"/>
                <a:gd name="T5" fmla="*/ 5715 h 5"/>
                <a:gd name="T6" fmla="*/ 2382 w 2"/>
                <a:gd name="T7" fmla="*/ 1905 h 5"/>
                <a:gd name="T8" fmla="*/ 4763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4"/>
                  </a:moveTo>
                  <a:cubicBezTo>
                    <a:pt x="2" y="4"/>
                    <a:pt x="1" y="5"/>
                    <a:pt x="1" y="5"/>
                  </a:cubicBezTo>
                  <a:cubicBezTo>
                    <a:pt x="0" y="5"/>
                    <a:pt x="0" y="4"/>
                    <a:pt x="0" y="3"/>
                  </a:cubicBezTo>
                  <a:cubicBezTo>
                    <a:pt x="0" y="2"/>
                    <a:pt x="0" y="0"/>
                    <a:pt x="1" y="1"/>
                  </a:cubicBezTo>
                  <a:cubicBezTo>
                    <a:pt x="2"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2" name="Freeform 441"/>
            <p:cNvSpPr>
              <a:spLocks noChangeAspect="1"/>
            </p:cNvSpPr>
            <p:nvPr/>
          </p:nvSpPr>
          <p:spPr bwMode="auto">
            <a:xfrm>
              <a:off x="7506336" y="3049915"/>
              <a:ext cx="8009" cy="7738"/>
            </a:xfrm>
            <a:custGeom>
              <a:avLst/>
              <a:gdLst>
                <a:gd name="T0" fmla="*/ 3969 w 4"/>
                <a:gd name="T1" fmla="*/ 7620 h 5"/>
                <a:gd name="T2" fmla="*/ 0 w 4"/>
                <a:gd name="T3" fmla="*/ 7620 h 5"/>
                <a:gd name="T4" fmla="*/ 1985 w 4"/>
                <a:gd name="T5" fmla="*/ 3810 h 5"/>
                <a:gd name="T6" fmla="*/ 5953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3" name="Freeform 442"/>
            <p:cNvSpPr>
              <a:spLocks noChangeAspect="1"/>
            </p:cNvSpPr>
            <p:nvPr/>
          </p:nvSpPr>
          <p:spPr bwMode="auto">
            <a:xfrm>
              <a:off x="7562396" y="2985432"/>
              <a:ext cx="4805" cy="10318"/>
            </a:xfrm>
            <a:custGeom>
              <a:avLst/>
              <a:gdLst>
                <a:gd name="T0" fmla="*/ 3175 w 3"/>
                <a:gd name="T1" fmla="*/ 9071 h 7"/>
                <a:gd name="T2" fmla="*/ 1587 w 3"/>
                <a:gd name="T3" fmla="*/ 12700 h 7"/>
                <a:gd name="T4" fmla="*/ 1587 w 3"/>
                <a:gd name="T5" fmla="*/ 7257 h 7"/>
                <a:gd name="T6" fmla="*/ 4762 w 3"/>
                <a:gd name="T7" fmla="*/ 1814 h 7"/>
                <a:gd name="T8" fmla="*/ 3175 w 3"/>
                <a:gd name="T9" fmla="*/ 9071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5"/>
                  </a:moveTo>
                  <a:cubicBezTo>
                    <a:pt x="2" y="6"/>
                    <a:pt x="1" y="7"/>
                    <a:pt x="1" y="7"/>
                  </a:cubicBezTo>
                  <a:cubicBezTo>
                    <a:pt x="0" y="7"/>
                    <a:pt x="1" y="5"/>
                    <a:pt x="1" y="4"/>
                  </a:cubicBezTo>
                  <a:cubicBezTo>
                    <a:pt x="1" y="3"/>
                    <a:pt x="2" y="0"/>
                    <a:pt x="3" y="1"/>
                  </a:cubicBezTo>
                  <a:cubicBezTo>
                    <a:pt x="3" y="1"/>
                    <a:pt x="3" y="4"/>
                    <a:pt x="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4" name="Freeform 443"/>
            <p:cNvSpPr>
              <a:spLocks noChangeAspect="1"/>
            </p:cNvSpPr>
            <p:nvPr/>
          </p:nvSpPr>
          <p:spPr bwMode="auto">
            <a:xfrm>
              <a:off x="7439064" y="2944162"/>
              <a:ext cx="8009" cy="6448"/>
            </a:xfrm>
            <a:custGeom>
              <a:avLst/>
              <a:gdLst>
                <a:gd name="T0" fmla="*/ 3969 w 4"/>
                <a:gd name="T1" fmla="*/ 5953 h 4"/>
                <a:gd name="T2" fmla="*/ 0 w 4"/>
                <a:gd name="T3" fmla="*/ 7937 h 4"/>
                <a:gd name="T4" fmla="*/ 1985 w 4"/>
                <a:gd name="T5" fmla="*/ 3969 h 4"/>
                <a:gd name="T6" fmla="*/ 7938 w 4"/>
                <a:gd name="T7" fmla="*/ 1984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1" y="2"/>
                    <a:pt x="1" y="2"/>
                  </a:cubicBezTo>
                  <a:cubicBezTo>
                    <a:pt x="2" y="1"/>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5" name="Freeform 444"/>
            <p:cNvSpPr>
              <a:spLocks noChangeAspect="1"/>
            </p:cNvSpPr>
            <p:nvPr/>
          </p:nvSpPr>
          <p:spPr bwMode="auto">
            <a:xfrm>
              <a:off x="7472700" y="2866781"/>
              <a:ext cx="9610" cy="5158"/>
            </a:xfrm>
            <a:custGeom>
              <a:avLst/>
              <a:gdLst>
                <a:gd name="T0" fmla="*/ 5715 w 5"/>
                <a:gd name="T1" fmla="*/ 2117 h 3"/>
                <a:gd name="T2" fmla="*/ 7620 w 5"/>
                <a:gd name="T3" fmla="*/ 6350 h 3"/>
                <a:gd name="T4" fmla="*/ 3810 w 5"/>
                <a:gd name="T5" fmla="*/ 4233 h 3"/>
                <a:gd name="T6" fmla="*/ 0 w 5"/>
                <a:gd name="T7" fmla="*/ 0 h 3"/>
                <a:gd name="T8" fmla="*/ 5715 w 5"/>
                <a:gd name="T9" fmla="*/ 211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2"/>
                    <a:pt x="5" y="2"/>
                    <a:pt x="4" y="3"/>
                  </a:cubicBezTo>
                  <a:cubicBezTo>
                    <a:pt x="4" y="3"/>
                    <a:pt x="3" y="3"/>
                    <a:pt x="2" y="2"/>
                  </a:cubicBezTo>
                  <a:cubicBezTo>
                    <a:pt x="1" y="2"/>
                    <a:pt x="0" y="1"/>
                    <a:pt x="0" y="0"/>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6" name="Freeform 445"/>
            <p:cNvSpPr>
              <a:spLocks noChangeAspect="1"/>
            </p:cNvSpPr>
            <p:nvPr/>
          </p:nvSpPr>
          <p:spPr bwMode="auto">
            <a:xfrm>
              <a:off x="7389412" y="2911920"/>
              <a:ext cx="3203" cy="7738"/>
            </a:xfrm>
            <a:custGeom>
              <a:avLst/>
              <a:gdLst>
                <a:gd name="T0" fmla="*/ 3175 w 2"/>
                <a:gd name="T1" fmla="*/ 5715 h 5"/>
                <a:gd name="T2" fmla="*/ 3175 w 2"/>
                <a:gd name="T3" fmla="*/ 9525 h 5"/>
                <a:gd name="T4" fmla="*/ 1588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1" y="3"/>
                    <a:pt x="1" y="3"/>
                  </a:cubicBezTo>
                  <a:cubicBezTo>
                    <a:pt x="0"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7" name="Freeform 446"/>
            <p:cNvSpPr>
              <a:spLocks noChangeAspect="1"/>
            </p:cNvSpPr>
            <p:nvPr/>
          </p:nvSpPr>
          <p:spPr bwMode="auto">
            <a:xfrm>
              <a:off x="7314131" y="3107951"/>
              <a:ext cx="8009" cy="5158"/>
            </a:xfrm>
            <a:custGeom>
              <a:avLst/>
              <a:gdLst>
                <a:gd name="T0" fmla="*/ 3969 w 4"/>
                <a:gd name="T1" fmla="*/ 4762 h 4"/>
                <a:gd name="T2" fmla="*/ 0 w 4"/>
                <a:gd name="T3" fmla="*/ 6350 h 4"/>
                <a:gd name="T4" fmla="*/ 1985 w 4"/>
                <a:gd name="T5" fmla="*/ 3175 h 4"/>
                <a:gd name="T6" fmla="*/ 7938 w 4"/>
                <a:gd name="T7" fmla="*/ 0 h 4"/>
                <a:gd name="T8" fmla="*/ 3969 w 4"/>
                <a:gd name="T9" fmla="*/ 476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0" y="2"/>
                    <a:pt x="1" y="2"/>
                  </a:cubicBezTo>
                  <a:cubicBezTo>
                    <a:pt x="2" y="1"/>
                    <a:pt x="3" y="0"/>
                    <a:pt x="4" y="0"/>
                  </a:cubicBezTo>
                  <a:cubicBezTo>
                    <a:pt x="4"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8" name="Freeform 447"/>
            <p:cNvSpPr>
              <a:spLocks noChangeAspect="1"/>
            </p:cNvSpPr>
            <p:nvPr/>
          </p:nvSpPr>
          <p:spPr bwMode="auto">
            <a:xfrm>
              <a:off x="8388880" y="3233050"/>
              <a:ext cx="8008" cy="3868"/>
            </a:xfrm>
            <a:custGeom>
              <a:avLst/>
              <a:gdLst>
                <a:gd name="T0" fmla="*/ 3969 w 4"/>
                <a:gd name="T1" fmla="*/ 4762 h 3"/>
                <a:gd name="T2" fmla="*/ 0 w 4"/>
                <a:gd name="T3" fmla="*/ 3175 h 3"/>
                <a:gd name="T4" fmla="*/ 3969 w 4"/>
                <a:gd name="T5" fmla="*/ 1587 h 3"/>
                <a:gd name="T6" fmla="*/ 5953 w 4"/>
                <a:gd name="T7" fmla="*/ 1587 h 3"/>
                <a:gd name="T8" fmla="*/ 3969 w 4"/>
                <a:gd name="T9" fmla="*/ 476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1" y="3"/>
                    <a:pt x="0" y="2"/>
                  </a:cubicBezTo>
                  <a:cubicBezTo>
                    <a:pt x="0" y="2"/>
                    <a:pt x="1" y="1"/>
                    <a:pt x="2" y="1"/>
                  </a:cubicBezTo>
                  <a:cubicBezTo>
                    <a:pt x="2" y="1"/>
                    <a:pt x="3" y="0"/>
                    <a:pt x="3"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9" name="Freeform 448"/>
            <p:cNvSpPr>
              <a:spLocks noChangeAspect="1"/>
            </p:cNvSpPr>
            <p:nvPr/>
          </p:nvSpPr>
          <p:spPr bwMode="auto">
            <a:xfrm>
              <a:off x="8406498" y="3288506"/>
              <a:ext cx="6407" cy="6449"/>
            </a:xfrm>
            <a:custGeom>
              <a:avLst/>
              <a:gdLst>
                <a:gd name="T0" fmla="*/ 3175 w 4"/>
                <a:gd name="T1" fmla="*/ 5953 h 4"/>
                <a:gd name="T2" fmla="*/ 0 w 4"/>
                <a:gd name="T3" fmla="*/ 5953 h 4"/>
                <a:gd name="T4" fmla="*/ 1588 w 4"/>
                <a:gd name="T5" fmla="*/ 0 h 4"/>
                <a:gd name="T6" fmla="*/ 4762 w 4"/>
                <a:gd name="T7" fmla="*/ 1985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3"/>
                  </a:cubicBezTo>
                  <a:cubicBezTo>
                    <a:pt x="0" y="2"/>
                    <a:pt x="1" y="1"/>
                    <a:pt x="1" y="0"/>
                  </a:cubicBezTo>
                  <a:cubicBezTo>
                    <a:pt x="2" y="0"/>
                    <a:pt x="3" y="0"/>
                    <a:pt x="3" y="1"/>
                  </a:cubicBezTo>
                  <a:cubicBezTo>
                    <a:pt x="4" y="3"/>
                    <a:pt x="2"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0" name="Freeform 449"/>
            <p:cNvSpPr>
              <a:spLocks noChangeAspect="1"/>
            </p:cNvSpPr>
            <p:nvPr/>
          </p:nvSpPr>
          <p:spPr bwMode="auto">
            <a:xfrm>
              <a:off x="8393684" y="3243367"/>
              <a:ext cx="6407" cy="5158"/>
            </a:xfrm>
            <a:custGeom>
              <a:avLst/>
              <a:gdLst>
                <a:gd name="T0" fmla="*/ 2117 w 3"/>
                <a:gd name="T1" fmla="*/ 6350 h 3"/>
                <a:gd name="T2" fmla="*/ 0 w 3"/>
                <a:gd name="T3" fmla="*/ 4233 h 3"/>
                <a:gd name="T4" fmla="*/ 2117 w 3"/>
                <a:gd name="T5" fmla="*/ 2117 h 3"/>
                <a:gd name="T6" fmla="*/ 6350 w 3"/>
                <a:gd name="T7" fmla="*/ 2117 h 3"/>
                <a:gd name="T8" fmla="*/ 2117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0" y="3"/>
                    <a:pt x="0" y="2"/>
                  </a:cubicBezTo>
                  <a:cubicBezTo>
                    <a:pt x="0" y="1"/>
                    <a:pt x="0" y="1"/>
                    <a:pt x="1" y="1"/>
                  </a:cubicBezTo>
                  <a:cubicBezTo>
                    <a:pt x="1" y="1"/>
                    <a:pt x="3" y="0"/>
                    <a:pt x="3" y="1"/>
                  </a:cubicBezTo>
                  <a:cubicBezTo>
                    <a:pt x="3" y="2"/>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1" name="Freeform 450"/>
            <p:cNvSpPr>
              <a:spLocks noChangeAspect="1"/>
            </p:cNvSpPr>
            <p:nvPr/>
          </p:nvSpPr>
          <p:spPr bwMode="auto">
            <a:xfrm>
              <a:off x="8393684" y="3266582"/>
              <a:ext cx="6407" cy="5158"/>
            </a:xfrm>
            <a:custGeom>
              <a:avLst/>
              <a:gdLst>
                <a:gd name="T0" fmla="*/ 2117 w 3"/>
                <a:gd name="T1" fmla="*/ 4233 h 3"/>
                <a:gd name="T2" fmla="*/ 0 w 3"/>
                <a:gd name="T3" fmla="*/ 4233 h 3"/>
                <a:gd name="T4" fmla="*/ 2117 w 3"/>
                <a:gd name="T5" fmla="*/ 0 h 3"/>
                <a:gd name="T6" fmla="*/ 6350 w 3"/>
                <a:gd name="T7" fmla="*/ 2117 h 3"/>
                <a:gd name="T8" fmla="*/ 2117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1"/>
                    <a:pt x="0" y="1"/>
                    <a:pt x="1" y="0"/>
                  </a:cubicBezTo>
                  <a:cubicBezTo>
                    <a:pt x="1"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2" name="Freeform 451"/>
            <p:cNvSpPr>
              <a:spLocks noChangeAspect="1"/>
            </p:cNvSpPr>
            <p:nvPr/>
          </p:nvSpPr>
          <p:spPr bwMode="auto">
            <a:xfrm>
              <a:off x="7264477" y="2445056"/>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3" name="Freeform 452"/>
            <p:cNvSpPr>
              <a:spLocks noChangeAspect="1"/>
            </p:cNvSpPr>
            <p:nvPr/>
          </p:nvSpPr>
          <p:spPr bwMode="auto">
            <a:xfrm>
              <a:off x="7325343" y="2663013"/>
              <a:ext cx="6407" cy="5158"/>
            </a:xfrm>
            <a:custGeom>
              <a:avLst/>
              <a:gdLst>
                <a:gd name="T0" fmla="*/ 6350 w 3"/>
                <a:gd name="T1" fmla="*/ 4233 h 3"/>
                <a:gd name="T2" fmla="*/ 2117 w 3"/>
                <a:gd name="T3" fmla="*/ 6350 h 3"/>
                <a:gd name="T4" fmla="*/ 0 w 3"/>
                <a:gd name="T5" fmla="*/ 2117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4" name="Freeform 453"/>
            <p:cNvSpPr>
              <a:spLocks noChangeAspect="1"/>
            </p:cNvSpPr>
            <p:nvPr/>
          </p:nvSpPr>
          <p:spPr bwMode="auto">
            <a:xfrm>
              <a:off x="7278892" y="2570156"/>
              <a:ext cx="8009" cy="6448"/>
            </a:xfrm>
            <a:custGeom>
              <a:avLst/>
              <a:gdLst>
                <a:gd name="T0" fmla="*/ 7938 w 4"/>
                <a:gd name="T1" fmla="*/ 3969 h 4"/>
                <a:gd name="T2" fmla="*/ 3969 w 4"/>
                <a:gd name="T3" fmla="*/ 7937 h 4"/>
                <a:gd name="T4" fmla="*/ 0 w 4"/>
                <a:gd name="T5" fmla="*/ 3969 h 4"/>
                <a:gd name="T6" fmla="*/ 3969 w 4"/>
                <a:gd name="T7" fmla="*/ 0 h 4"/>
                <a:gd name="T8" fmla="*/ 7938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2"/>
                  </a:moveTo>
                  <a:cubicBezTo>
                    <a:pt x="4" y="3"/>
                    <a:pt x="3" y="4"/>
                    <a:pt x="2" y="4"/>
                  </a:cubicBezTo>
                  <a:cubicBezTo>
                    <a:pt x="0" y="3"/>
                    <a:pt x="0" y="3"/>
                    <a:pt x="0" y="2"/>
                  </a:cubicBezTo>
                  <a:cubicBezTo>
                    <a:pt x="0" y="1"/>
                    <a:pt x="0" y="0"/>
                    <a:pt x="2" y="0"/>
                  </a:cubicBezTo>
                  <a:cubicBezTo>
                    <a:pt x="4" y="1"/>
                    <a:pt x="4" y="2"/>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5" name="Freeform 454"/>
            <p:cNvSpPr>
              <a:spLocks noChangeAspect="1"/>
            </p:cNvSpPr>
            <p:nvPr/>
          </p:nvSpPr>
          <p:spPr bwMode="auto">
            <a:xfrm>
              <a:off x="8350439" y="3109241"/>
              <a:ext cx="8008" cy="3868"/>
            </a:xfrm>
            <a:custGeom>
              <a:avLst/>
              <a:gdLst>
                <a:gd name="T0" fmla="*/ 3969 w 4"/>
                <a:gd name="T1" fmla="*/ 3175 h 3"/>
                <a:gd name="T2" fmla="*/ 1984 w 4"/>
                <a:gd name="T3" fmla="*/ 3175 h 3"/>
                <a:gd name="T4" fmla="*/ 1984 w 4"/>
                <a:gd name="T5" fmla="*/ 1587 h 3"/>
                <a:gd name="T6" fmla="*/ 5953 w 4"/>
                <a:gd name="T7" fmla="*/ 0 h 3"/>
                <a:gd name="T8" fmla="*/ 3969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2"/>
                  </a:cubicBezTo>
                  <a:cubicBezTo>
                    <a:pt x="0" y="2"/>
                    <a:pt x="1" y="1"/>
                    <a:pt x="1" y="1"/>
                  </a:cubicBezTo>
                  <a:cubicBezTo>
                    <a:pt x="2" y="0"/>
                    <a:pt x="3" y="0"/>
                    <a:pt x="3" y="0"/>
                  </a:cubicBezTo>
                  <a:cubicBezTo>
                    <a:pt x="4" y="1"/>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6" name="Freeform 455"/>
            <p:cNvSpPr>
              <a:spLocks noChangeAspect="1"/>
            </p:cNvSpPr>
            <p:nvPr/>
          </p:nvSpPr>
          <p:spPr bwMode="auto">
            <a:xfrm>
              <a:off x="7982045" y="3079578"/>
              <a:ext cx="6407" cy="6449"/>
            </a:xfrm>
            <a:custGeom>
              <a:avLst/>
              <a:gdLst>
                <a:gd name="T0" fmla="*/ 4233 w 3"/>
                <a:gd name="T1" fmla="*/ 3969 h 4"/>
                <a:gd name="T2" fmla="*/ 6350 w 3"/>
                <a:gd name="T3" fmla="*/ 5953 h 4"/>
                <a:gd name="T4" fmla="*/ 2117 w 3"/>
                <a:gd name="T5" fmla="*/ 5953 h 4"/>
                <a:gd name="T6" fmla="*/ 0 w 3"/>
                <a:gd name="T7" fmla="*/ 1985 h 4"/>
                <a:gd name="T8" fmla="*/ 423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3" y="2"/>
                    <a:pt x="3" y="3"/>
                    <a:pt x="3" y="3"/>
                  </a:cubicBezTo>
                  <a:cubicBezTo>
                    <a:pt x="2" y="4"/>
                    <a:pt x="1" y="3"/>
                    <a:pt x="1" y="3"/>
                  </a:cubicBezTo>
                  <a:cubicBezTo>
                    <a:pt x="0" y="3"/>
                    <a:pt x="0" y="2"/>
                    <a:pt x="0" y="1"/>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7" name="Freeform 456"/>
            <p:cNvSpPr>
              <a:spLocks noChangeAspect="1"/>
            </p:cNvSpPr>
            <p:nvPr/>
          </p:nvSpPr>
          <p:spPr bwMode="auto">
            <a:xfrm>
              <a:off x="7975638" y="2919658"/>
              <a:ext cx="6407" cy="5158"/>
            </a:xfrm>
            <a:custGeom>
              <a:avLst/>
              <a:gdLst>
                <a:gd name="T0" fmla="*/ 3175 w 4"/>
                <a:gd name="T1" fmla="*/ 4233 h 3"/>
                <a:gd name="T2" fmla="*/ 0 w 4"/>
                <a:gd name="T3" fmla="*/ 4233 h 3"/>
                <a:gd name="T4" fmla="*/ 3175 w 4"/>
                <a:gd name="T5" fmla="*/ 0 h 3"/>
                <a:gd name="T6" fmla="*/ 6350 w 4"/>
                <a:gd name="T7" fmla="*/ 2117 h 3"/>
                <a:gd name="T8" fmla="*/ 3175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3"/>
                    <a:pt x="0" y="2"/>
                    <a:pt x="0" y="2"/>
                  </a:cubicBezTo>
                  <a:cubicBezTo>
                    <a:pt x="0" y="1"/>
                    <a:pt x="1" y="0"/>
                    <a:pt x="2" y="0"/>
                  </a:cubicBezTo>
                  <a:cubicBezTo>
                    <a:pt x="3" y="0"/>
                    <a:pt x="4" y="0"/>
                    <a:pt x="4" y="1"/>
                  </a:cubicBezTo>
                  <a:cubicBezTo>
                    <a:pt x="4"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8" name="Oval 457"/>
            <p:cNvSpPr>
              <a:spLocks noChangeAspect="1" noChangeArrowheads="1"/>
            </p:cNvSpPr>
            <p:nvPr/>
          </p:nvSpPr>
          <p:spPr bwMode="auto">
            <a:xfrm>
              <a:off x="7509539" y="2887416"/>
              <a:ext cx="6407" cy="773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9" name="Freeform 458"/>
            <p:cNvSpPr>
              <a:spLocks noChangeAspect="1"/>
            </p:cNvSpPr>
            <p:nvPr/>
          </p:nvSpPr>
          <p:spPr bwMode="auto">
            <a:xfrm>
              <a:off x="7318936" y="2957058"/>
              <a:ext cx="6407" cy="5158"/>
            </a:xfrm>
            <a:custGeom>
              <a:avLst/>
              <a:gdLst>
                <a:gd name="T0" fmla="*/ 4233 w 3"/>
                <a:gd name="T1" fmla="*/ 2117 h 3"/>
                <a:gd name="T2" fmla="*/ 6350 w 3"/>
                <a:gd name="T3" fmla="*/ 6350 h 3"/>
                <a:gd name="T4" fmla="*/ 2117 w 3"/>
                <a:gd name="T5" fmla="*/ 4233 h 3"/>
                <a:gd name="T6" fmla="*/ 0 w 3"/>
                <a:gd name="T7" fmla="*/ 0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1" y="3"/>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0" name="Freeform 459"/>
            <p:cNvSpPr>
              <a:spLocks noChangeAspect="1"/>
            </p:cNvSpPr>
            <p:nvPr/>
          </p:nvSpPr>
          <p:spPr bwMode="auto">
            <a:xfrm>
              <a:off x="7102704" y="3334934"/>
              <a:ext cx="3203" cy="6449"/>
            </a:xfrm>
            <a:custGeom>
              <a:avLst/>
              <a:gdLst>
                <a:gd name="T0" fmla="*/ 3175 w 2"/>
                <a:gd name="T1" fmla="*/ 3969 h 4"/>
                <a:gd name="T2" fmla="*/ 1588 w 2"/>
                <a:gd name="T3" fmla="*/ 5953 h 4"/>
                <a:gd name="T4" fmla="*/ 0 w 2"/>
                <a:gd name="T5" fmla="*/ 3969 h 4"/>
                <a:gd name="T6" fmla="*/ 3175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2"/>
                    <a:pt x="0" y="2"/>
                  </a:cubicBezTo>
                  <a:cubicBezTo>
                    <a:pt x="1" y="1"/>
                    <a:pt x="1" y="0"/>
                    <a:pt x="2" y="0"/>
                  </a:cubicBezTo>
                  <a:cubicBezTo>
                    <a:pt x="2" y="0"/>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1" name="Freeform 460"/>
            <p:cNvSpPr>
              <a:spLocks noChangeAspect="1"/>
            </p:cNvSpPr>
            <p:nvPr/>
          </p:nvSpPr>
          <p:spPr bwMode="auto">
            <a:xfrm>
              <a:off x="7765814" y="3773426"/>
              <a:ext cx="1602" cy="3869"/>
            </a:xfrm>
            <a:custGeom>
              <a:avLst/>
              <a:gdLst>
                <a:gd name="T0" fmla="*/ 1588 w 1"/>
                <a:gd name="T1" fmla="*/ 3175 h 3"/>
                <a:gd name="T2" fmla="*/ 0 w 1"/>
                <a:gd name="T3" fmla="*/ 3175 h 3"/>
                <a:gd name="T4" fmla="*/ 0 w 1"/>
                <a:gd name="T5" fmla="*/ 1588 h 3"/>
                <a:gd name="T6" fmla="*/ 0 w 1"/>
                <a:gd name="T7" fmla="*/ 0 h 3"/>
                <a:gd name="T8" fmla="*/ 1588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2" name="Freeform 461"/>
            <p:cNvSpPr>
              <a:spLocks noChangeAspect="1"/>
            </p:cNvSpPr>
            <p:nvPr/>
          </p:nvSpPr>
          <p:spPr bwMode="auto">
            <a:xfrm>
              <a:off x="7756203" y="3884338"/>
              <a:ext cx="3203" cy="5158"/>
            </a:xfrm>
            <a:custGeom>
              <a:avLst/>
              <a:gdLst>
                <a:gd name="T0" fmla="*/ 3175 w 2"/>
                <a:gd name="T1" fmla="*/ 4233 h 3"/>
                <a:gd name="T2" fmla="*/ 1588 w 2"/>
                <a:gd name="T3" fmla="*/ 4233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3" name="Freeform 462"/>
            <p:cNvSpPr>
              <a:spLocks noChangeAspect="1"/>
            </p:cNvSpPr>
            <p:nvPr/>
          </p:nvSpPr>
          <p:spPr bwMode="auto">
            <a:xfrm>
              <a:off x="7543176" y="3118268"/>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4" name="Freeform 463"/>
            <p:cNvSpPr>
              <a:spLocks noChangeAspect="1"/>
            </p:cNvSpPr>
            <p:nvPr/>
          </p:nvSpPr>
          <p:spPr bwMode="auto">
            <a:xfrm>
              <a:off x="8417711" y="3324617"/>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5" name="Freeform 464"/>
            <p:cNvSpPr>
              <a:spLocks noChangeAspect="1"/>
            </p:cNvSpPr>
            <p:nvPr/>
          </p:nvSpPr>
          <p:spPr bwMode="auto">
            <a:xfrm>
              <a:off x="8353642" y="3381363"/>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6" name="Oval 465"/>
            <p:cNvSpPr>
              <a:spLocks noChangeAspect="1" noChangeArrowheads="1"/>
            </p:cNvSpPr>
            <p:nvPr/>
          </p:nvSpPr>
          <p:spPr bwMode="auto">
            <a:xfrm>
              <a:off x="8382473" y="3180174"/>
              <a:ext cx="1601"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7" name="Freeform 466"/>
            <p:cNvSpPr>
              <a:spLocks noChangeAspect="1"/>
            </p:cNvSpPr>
            <p:nvPr/>
          </p:nvSpPr>
          <p:spPr bwMode="auto">
            <a:xfrm>
              <a:off x="8380871" y="3189201"/>
              <a:ext cx="1602" cy="5158"/>
            </a:xfrm>
            <a:custGeom>
              <a:avLst/>
              <a:gdLst>
                <a:gd name="T0" fmla="*/ 1588 w 1"/>
                <a:gd name="T1" fmla="*/ 4233 h 3"/>
                <a:gd name="T2" fmla="*/ 0 w 1"/>
                <a:gd name="T3" fmla="*/ 6350 h 3"/>
                <a:gd name="T4" fmla="*/ 0 w 1"/>
                <a:gd name="T5" fmla="*/ 4233 h 3"/>
                <a:gd name="T6" fmla="*/ 0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0" y="0"/>
                  </a:cubicBezTo>
                  <a:cubicBezTo>
                    <a:pt x="1" y="1"/>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8" name="Freeform 467"/>
            <p:cNvSpPr>
              <a:spLocks noChangeAspect="1"/>
            </p:cNvSpPr>
            <p:nvPr/>
          </p:nvSpPr>
          <p:spPr bwMode="auto">
            <a:xfrm>
              <a:off x="8408100" y="3306562"/>
              <a:ext cx="4805" cy="6449"/>
            </a:xfrm>
            <a:custGeom>
              <a:avLst/>
              <a:gdLst>
                <a:gd name="T0" fmla="*/ 3175 w 3"/>
                <a:gd name="T1" fmla="*/ 3969 h 4"/>
                <a:gd name="T2" fmla="*/ 1587 w 3"/>
                <a:gd name="T3" fmla="*/ 7938 h 4"/>
                <a:gd name="T4" fmla="*/ 0 w 3"/>
                <a:gd name="T5" fmla="*/ 3969 h 4"/>
                <a:gd name="T6" fmla="*/ 1587 w 3"/>
                <a:gd name="T7" fmla="*/ 0 h 4"/>
                <a:gd name="T8" fmla="*/ 3175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2" y="3"/>
                    <a:pt x="2" y="4"/>
                    <a:pt x="1" y="4"/>
                  </a:cubicBezTo>
                  <a:cubicBezTo>
                    <a:pt x="0" y="4"/>
                    <a:pt x="0" y="3"/>
                    <a:pt x="0" y="2"/>
                  </a:cubicBezTo>
                  <a:cubicBezTo>
                    <a:pt x="0" y="1"/>
                    <a:pt x="0" y="0"/>
                    <a:pt x="1"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9" name="Freeform 468"/>
            <p:cNvSpPr>
              <a:spLocks noChangeAspect="1"/>
            </p:cNvSpPr>
            <p:nvPr/>
          </p:nvSpPr>
          <p:spPr bwMode="auto">
            <a:xfrm>
              <a:off x="8387277" y="3216285"/>
              <a:ext cx="3203" cy="3869"/>
            </a:xfrm>
            <a:custGeom>
              <a:avLst/>
              <a:gdLst>
                <a:gd name="T0" fmla="*/ 1588 w 2"/>
                <a:gd name="T1" fmla="*/ 3175 h 3"/>
                <a:gd name="T2" fmla="*/ 0 w 2"/>
                <a:gd name="T3" fmla="*/ 3175 h 3"/>
                <a:gd name="T4" fmla="*/ 0 w 2"/>
                <a:gd name="T5" fmla="*/ 1588 h 3"/>
                <a:gd name="T6" fmla="*/ 3175 w 2"/>
                <a:gd name="T7" fmla="*/ 1588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2"/>
                  </a:cubicBezTo>
                  <a:cubicBezTo>
                    <a:pt x="0" y="2"/>
                    <a:pt x="0" y="1"/>
                    <a:pt x="0" y="1"/>
                  </a:cubicBezTo>
                  <a:cubicBezTo>
                    <a:pt x="1" y="1"/>
                    <a:pt x="2" y="0"/>
                    <a:pt x="2"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0" name="Freeform 469"/>
            <p:cNvSpPr>
              <a:spLocks noChangeAspect="1"/>
            </p:cNvSpPr>
            <p:nvPr/>
          </p:nvSpPr>
          <p:spPr bwMode="auto">
            <a:xfrm>
              <a:off x="8656365" y="3275609"/>
              <a:ext cx="1602" cy="3869"/>
            </a:xfrm>
            <a:custGeom>
              <a:avLst/>
              <a:gdLst>
                <a:gd name="T0" fmla="*/ 0 w 1"/>
                <a:gd name="T1" fmla="*/ 2382 h 2"/>
                <a:gd name="T2" fmla="*/ 0 w 1"/>
                <a:gd name="T3" fmla="*/ 4763 h 2"/>
                <a:gd name="T4" fmla="*/ 1588 w 1"/>
                <a:gd name="T5" fmla="*/ 2382 h 2"/>
                <a:gd name="T6" fmla="*/ 0 w 1"/>
                <a:gd name="T7" fmla="*/ 0 h 2"/>
                <a:gd name="T8" fmla="*/ 0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2"/>
                    <a:pt x="0" y="2"/>
                    <a:pt x="0" y="2"/>
                  </a:cubicBezTo>
                  <a:cubicBezTo>
                    <a:pt x="1" y="2"/>
                    <a:pt x="1" y="1"/>
                    <a:pt x="1" y="1"/>
                  </a:cubicBezTo>
                  <a:cubicBezTo>
                    <a:pt x="1" y="1"/>
                    <a:pt x="1" y="0"/>
                    <a:pt x="0" y="0"/>
                  </a:cubicBezTo>
                  <a:cubicBezTo>
                    <a:pt x="0" y="1"/>
                    <a:pt x="0"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1" name="Freeform 470"/>
            <p:cNvSpPr>
              <a:spLocks noChangeAspect="1"/>
            </p:cNvSpPr>
            <p:nvPr/>
          </p:nvSpPr>
          <p:spPr bwMode="auto">
            <a:xfrm>
              <a:off x="8661171" y="3257553"/>
              <a:ext cx="4805" cy="5158"/>
            </a:xfrm>
            <a:custGeom>
              <a:avLst/>
              <a:gdLst>
                <a:gd name="T0" fmla="*/ 4762 w 2"/>
                <a:gd name="T1" fmla="*/ 4233 h 3"/>
                <a:gd name="T2" fmla="*/ 2381 w 2"/>
                <a:gd name="T3" fmla="*/ 6350 h 3"/>
                <a:gd name="T4" fmla="*/ 0 w 2"/>
                <a:gd name="T5" fmla="*/ 4233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2" name="Freeform 471"/>
            <p:cNvSpPr>
              <a:spLocks noChangeAspect="1"/>
            </p:cNvSpPr>
            <p:nvPr/>
          </p:nvSpPr>
          <p:spPr bwMode="auto">
            <a:xfrm>
              <a:off x="8677189" y="3248526"/>
              <a:ext cx="3203" cy="2579"/>
            </a:xfrm>
            <a:custGeom>
              <a:avLst/>
              <a:gdLst>
                <a:gd name="T0" fmla="*/ 1588 w 2"/>
                <a:gd name="T1" fmla="*/ 3175 h 2"/>
                <a:gd name="T2" fmla="*/ 0 w 2"/>
                <a:gd name="T3" fmla="*/ 3175 h 2"/>
                <a:gd name="T4" fmla="*/ 0 w 2"/>
                <a:gd name="T5" fmla="*/ 1588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1" y="0"/>
                    <a:pt x="2" y="0"/>
                  </a:cubicBezTo>
                  <a:cubicBezTo>
                    <a:pt x="2" y="1"/>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3" name="Freeform 472"/>
            <p:cNvSpPr>
              <a:spLocks noChangeAspect="1"/>
            </p:cNvSpPr>
            <p:nvPr/>
          </p:nvSpPr>
          <p:spPr bwMode="auto">
            <a:xfrm>
              <a:off x="8670781" y="3243367"/>
              <a:ext cx="4805" cy="5158"/>
            </a:xfrm>
            <a:custGeom>
              <a:avLst/>
              <a:gdLst>
                <a:gd name="T0" fmla="*/ 2381 w 2"/>
                <a:gd name="T1" fmla="*/ 4233 h 3"/>
                <a:gd name="T2" fmla="*/ 0 w 2"/>
                <a:gd name="T3" fmla="*/ 4233 h 3"/>
                <a:gd name="T4" fmla="*/ 0 w 2"/>
                <a:gd name="T5" fmla="*/ 2117 h 3"/>
                <a:gd name="T6" fmla="*/ 4762 w 2"/>
                <a:gd name="T7" fmla="*/ 2117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2"/>
                    <a:pt x="0" y="1"/>
                    <a:pt x="0" y="1"/>
                  </a:cubicBezTo>
                  <a:cubicBezTo>
                    <a:pt x="1" y="1"/>
                    <a:pt x="1"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4" name="Freeform 473"/>
            <p:cNvSpPr>
              <a:spLocks noChangeAspect="1"/>
            </p:cNvSpPr>
            <p:nvPr/>
          </p:nvSpPr>
          <p:spPr bwMode="auto">
            <a:xfrm>
              <a:off x="7405429" y="2238707"/>
              <a:ext cx="3203" cy="5158"/>
            </a:xfrm>
            <a:custGeom>
              <a:avLst/>
              <a:gdLst>
                <a:gd name="T0" fmla="*/ 3175 w 1"/>
                <a:gd name="T1" fmla="*/ 4233 h 3"/>
                <a:gd name="T2" fmla="*/ 0 w 1"/>
                <a:gd name="T3" fmla="*/ 6350 h 3"/>
                <a:gd name="T4" fmla="*/ 0 w 1"/>
                <a:gd name="T5" fmla="*/ 4233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5" name="Freeform 474"/>
            <p:cNvSpPr>
              <a:spLocks noChangeAspect="1"/>
            </p:cNvSpPr>
            <p:nvPr/>
          </p:nvSpPr>
          <p:spPr bwMode="auto">
            <a:xfrm>
              <a:off x="7251665" y="2433449"/>
              <a:ext cx="4805" cy="3868"/>
            </a:xfrm>
            <a:custGeom>
              <a:avLst/>
              <a:gdLst>
                <a:gd name="T0" fmla="*/ 4762 w 2"/>
                <a:gd name="T1" fmla="*/ 4762 h 2"/>
                <a:gd name="T2" fmla="*/ 2381 w 2"/>
                <a:gd name="T3" fmla="*/ 4762 h 2"/>
                <a:gd name="T4" fmla="*/ 0 w 2"/>
                <a:gd name="T5" fmla="*/ 2381 h 2"/>
                <a:gd name="T6" fmla="*/ 2381 w 2"/>
                <a:gd name="T7" fmla="*/ 0 h 2"/>
                <a:gd name="T8" fmla="*/ 4762 w 2"/>
                <a:gd name="T9" fmla="*/ 476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1" y="2"/>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6" name="Freeform 475"/>
            <p:cNvSpPr>
              <a:spLocks noChangeAspect="1"/>
            </p:cNvSpPr>
            <p:nvPr/>
          </p:nvSpPr>
          <p:spPr bwMode="auto">
            <a:xfrm>
              <a:off x="7232444" y="2633349"/>
              <a:ext cx="4805" cy="5158"/>
            </a:xfrm>
            <a:custGeom>
              <a:avLst/>
              <a:gdLst>
                <a:gd name="T0" fmla="*/ 2381 w 2"/>
                <a:gd name="T1" fmla="*/ 6350 h 3"/>
                <a:gd name="T2" fmla="*/ 0 w 2"/>
                <a:gd name="T3" fmla="*/ 6350 h 3"/>
                <a:gd name="T4" fmla="*/ 0 w 2"/>
                <a:gd name="T5" fmla="*/ 4233 h 3"/>
                <a:gd name="T6" fmla="*/ 4762 w 2"/>
                <a:gd name="T7" fmla="*/ 2117 h 3"/>
                <a:gd name="T8" fmla="*/ 2381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3"/>
                    <a:pt x="0" y="2"/>
                    <a:pt x="0" y="2"/>
                  </a:cubicBezTo>
                  <a:cubicBezTo>
                    <a:pt x="1" y="1"/>
                    <a:pt x="1" y="0"/>
                    <a:pt x="2" y="1"/>
                  </a:cubicBezTo>
                  <a:cubicBezTo>
                    <a:pt x="2" y="1"/>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7" name="Freeform 476"/>
            <p:cNvSpPr>
              <a:spLocks noChangeAspect="1"/>
            </p:cNvSpPr>
            <p:nvPr/>
          </p:nvSpPr>
          <p:spPr bwMode="auto">
            <a:xfrm>
              <a:off x="7309326" y="2555969"/>
              <a:ext cx="6407" cy="3869"/>
            </a:xfrm>
            <a:custGeom>
              <a:avLst/>
              <a:gdLst>
                <a:gd name="T0" fmla="*/ 4233 w 3"/>
                <a:gd name="T1" fmla="*/ 2382 h 2"/>
                <a:gd name="T2" fmla="*/ 4233 w 3"/>
                <a:gd name="T3" fmla="*/ 4763 h 2"/>
                <a:gd name="T4" fmla="*/ 2117 w 3"/>
                <a:gd name="T5" fmla="*/ 4763 h 2"/>
                <a:gd name="T6" fmla="*/ 0 w 3"/>
                <a:gd name="T7" fmla="*/ 0 h 2"/>
                <a:gd name="T8" fmla="*/ 4233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1" y="2"/>
                    <a:pt x="1" y="2"/>
                  </a:cubicBezTo>
                  <a:cubicBezTo>
                    <a:pt x="1" y="1"/>
                    <a:pt x="0" y="1"/>
                    <a:pt x="0"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8" name="Freeform 477"/>
            <p:cNvSpPr>
              <a:spLocks noChangeAspect="1"/>
            </p:cNvSpPr>
            <p:nvPr/>
          </p:nvSpPr>
          <p:spPr bwMode="auto">
            <a:xfrm>
              <a:off x="7384606" y="2648826"/>
              <a:ext cx="4806" cy="6449"/>
            </a:xfrm>
            <a:custGeom>
              <a:avLst/>
              <a:gdLst>
                <a:gd name="T0" fmla="*/ 4763 w 2"/>
                <a:gd name="T1" fmla="*/ 3969 h 4"/>
                <a:gd name="T2" fmla="*/ 2382 w 2"/>
                <a:gd name="T3" fmla="*/ 5953 h 4"/>
                <a:gd name="T4" fmla="*/ 0 w 2"/>
                <a:gd name="T5" fmla="*/ 3969 h 4"/>
                <a:gd name="T6" fmla="*/ 2382 w 2"/>
                <a:gd name="T7" fmla="*/ 1985 h 4"/>
                <a:gd name="T8" fmla="*/ 4763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3"/>
                    <a:pt x="0" y="2"/>
                  </a:cubicBezTo>
                  <a:cubicBezTo>
                    <a:pt x="0" y="2"/>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9" name="Freeform 478"/>
            <p:cNvSpPr>
              <a:spLocks noChangeAspect="1"/>
            </p:cNvSpPr>
            <p:nvPr/>
          </p:nvSpPr>
          <p:spPr bwMode="auto">
            <a:xfrm>
              <a:off x="7318936" y="2586921"/>
              <a:ext cx="6407" cy="5158"/>
            </a:xfrm>
            <a:custGeom>
              <a:avLst/>
              <a:gdLst>
                <a:gd name="T0" fmla="*/ 4233 w 3"/>
                <a:gd name="T1" fmla="*/ 4233 h 3"/>
                <a:gd name="T2" fmla="*/ 4233 w 3"/>
                <a:gd name="T3" fmla="*/ 6350 h 3"/>
                <a:gd name="T4" fmla="*/ 2117 w 3"/>
                <a:gd name="T5" fmla="*/ 4233 h 3"/>
                <a:gd name="T6" fmla="*/ 2117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3"/>
                    <a:pt x="2" y="3"/>
                  </a:cubicBezTo>
                  <a:cubicBezTo>
                    <a:pt x="2" y="3"/>
                    <a:pt x="1" y="3"/>
                    <a:pt x="1" y="2"/>
                  </a:cubicBezTo>
                  <a:cubicBezTo>
                    <a:pt x="1" y="2"/>
                    <a:pt x="0" y="1"/>
                    <a:pt x="1" y="1"/>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0" name="Freeform 479"/>
            <p:cNvSpPr>
              <a:spLocks noChangeAspect="1"/>
            </p:cNvSpPr>
            <p:nvPr/>
          </p:nvSpPr>
          <p:spPr bwMode="auto">
            <a:xfrm>
              <a:off x="7235647" y="2561127"/>
              <a:ext cx="4805" cy="3869"/>
            </a:xfrm>
            <a:custGeom>
              <a:avLst/>
              <a:gdLst>
                <a:gd name="T0" fmla="*/ 3175 w 3"/>
                <a:gd name="T1" fmla="*/ 1588 h 3"/>
                <a:gd name="T2" fmla="*/ 4762 w 3"/>
                <a:gd name="T3" fmla="*/ 4763 h 3"/>
                <a:gd name="T4" fmla="*/ 1587 w 3"/>
                <a:gd name="T5" fmla="*/ 3175 h 3"/>
                <a:gd name="T6" fmla="*/ 1587 w 3"/>
                <a:gd name="T7" fmla="*/ 1588 h 3"/>
                <a:gd name="T8" fmla="*/ 3175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2" y="3"/>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1" name="Freeform 480"/>
            <p:cNvSpPr>
              <a:spLocks noChangeAspect="1"/>
            </p:cNvSpPr>
            <p:nvPr/>
          </p:nvSpPr>
          <p:spPr bwMode="auto">
            <a:xfrm>
              <a:off x="7347767" y="2663013"/>
              <a:ext cx="4805" cy="5158"/>
            </a:xfrm>
            <a:custGeom>
              <a:avLst/>
              <a:gdLst>
                <a:gd name="T0" fmla="*/ 4762 w 2"/>
                <a:gd name="T1" fmla="*/ 2117 h 3"/>
                <a:gd name="T2" fmla="*/ 4762 w 2"/>
                <a:gd name="T3" fmla="*/ 4233 h 3"/>
                <a:gd name="T4" fmla="*/ 2381 w 2"/>
                <a:gd name="T5" fmla="*/ 4233 h 3"/>
                <a:gd name="T6" fmla="*/ 0 w 2"/>
                <a:gd name="T7" fmla="*/ 0 h 3"/>
                <a:gd name="T8" fmla="*/ 4762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2" y="3"/>
                    <a:pt x="1" y="2"/>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2" name="Freeform 481"/>
            <p:cNvSpPr>
              <a:spLocks noChangeAspect="1"/>
            </p:cNvSpPr>
            <p:nvPr/>
          </p:nvSpPr>
          <p:spPr bwMode="auto">
            <a:xfrm>
              <a:off x="7227638" y="2610135"/>
              <a:ext cx="3203" cy="5158"/>
            </a:xfrm>
            <a:custGeom>
              <a:avLst/>
              <a:gdLst>
                <a:gd name="T0" fmla="*/ 3175 w 2"/>
                <a:gd name="T1" fmla="*/ 4233 h 3"/>
                <a:gd name="T2" fmla="*/ 1588 w 2"/>
                <a:gd name="T3" fmla="*/ 6350 h 3"/>
                <a:gd name="T4" fmla="*/ 0 w 2"/>
                <a:gd name="T5" fmla="*/ 2117 h 3"/>
                <a:gd name="T6" fmla="*/ 3175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2"/>
                    <a:pt x="0" y="2"/>
                    <a:pt x="0" y="1"/>
                  </a:cubicBezTo>
                  <a:cubicBezTo>
                    <a:pt x="1" y="1"/>
                    <a:pt x="1" y="0"/>
                    <a:pt x="2"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3" name="Freeform 482"/>
            <p:cNvSpPr>
              <a:spLocks noChangeAspect="1"/>
            </p:cNvSpPr>
            <p:nvPr/>
          </p:nvSpPr>
          <p:spPr bwMode="auto">
            <a:xfrm>
              <a:off x="7259673" y="2626902"/>
              <a:ext cx="4806" cy="5158"/>
            </a:xfrm>
            <a:custGeom>
              <a:avLst/>
              <a:gdLst>
                <a:gd name="T0" fmla="*/ 2382 w 2"/>
                <a:gd name="T1" fmla="*/ 4233 h 3"/>
                <a:gd name="T2" fmla="*/ 2382 w 2"/>
                <a:gd name="T3" fmla="*/ 6350 h 3"/>
                <a:gd name="T4" fmla="*/ 0 w 2"/>
                <a:gd name="T5" fmla="*/ 4233 h 3"/>
                <a:gd name="T6" fmla="*/ 2382 w 2"/>
                <a:gd name="T7" fmla="*/ 2117 h 3"/>
                <a:gd name="T8" fmla="*/ 238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4" name="Freeform 483"/>
            <p:cNvSpPr>
              <a:spLocks noChangeAspect="1"/>
            </p:cNvSpPr>
            <p:nvPr/>
          </p:nvSpPr>
          <p:spPr bwMode="auto">
            <a:xfrm>
              <a:off x="8369659" y="3131165"/>
              <a:ext cx="4805" cy="3869"/>
            </a:xfrm>
            <a:custGeom>
              <a:avLst/>
              <a:gdLst>
                <a:gd name="T0" fmla="*/ 3175 w 3"/>
                <a:gd name="T1" fmla="*/ 1588 h 3"/>
                <a:gd name="T2" fmla="*/ 3175 w 3"/>
                <a:gd name="T3" fmla="*/ 3175 h 3"/>
                <a:gd name="T4" fmla="*/ 1587 w 3"/>
                <a:gd name="T5" fmla="*/ 3175 h 3"/>
                <a:gd name="T6" fmla="*/ 1587 w 3"/>
                <a:gd name="T7" fmla="*/ 1588 h 3"/>
                <a:gd name="T8" fmla="*/ 3175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2" y="2"/>
                  </a:cubicBezTo>
                  <a:cubicBezTo>
                    <a:pt x="2" y="3"/>
                    <a:pt x="1" y="2"/>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5" name="Freeform 484"/>
            <p:cNvSpPr>
              <a:spLocks noChangeAspect="1"/>
            </p:cNvSpPr>
            <p:nvPr/>
          </p:nvSpPr>
          <p:spPr bwMode="auto">
            <a:xfrm>
              <a:off x="8363252" y="3120848"/>
              <a:ext cx="4805" cy="3869"/>
            </a:xfrm>
            <a:custGeom>
              <a:avLst/>
              <a:gdLst>
                <a:gd name="T0" fmla="*/ 4762 w 2"/>
                <a:gd name="T1" fmla="*/ 2382 h 2"/>
                <a:gd name="T2" fmla="*/ 2381 w 2"/>
                <a:gd name="T3" fmla="*/ 4763 h 2"/>
                <a:gd name="T4" fmla="*/ 0 w 2"/>
                <a:gd name="T5" fmla="*/ 2382 h 2"/>
                <a:gd name="T6" fmla="*/ 2381 w 2"/>
                <a:gd name="T7" fmla="*/ 0 h 2"/>
                <a:gd name="T8" fmla="*/ 4762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6" name="Freeform 485"/>
            <p:cNvSpPr>
              <a:spLocks noChangeAspect="1"/>
            </p:cNvSpPr>
            <p:nvPr/>
          </p:nvSpPr>
          <p:spPr bwMode="auto">
            <a:xfrm>
              <a:off x="8247930" y="3084737"/>
              <a:ext cx="4805" cy="3869"/>
            </a:xfrm>
            <a:custGeom>
              <a:avLst/>
              <a:gdLst>
                <a:gd name="T0" fmla="*/ 4762 w 2"/>
                <a:gd name="T1" fmla="*/ 3175 h 3"/>
                <a:gd name="T2" fmla="*/ 2381 w 2"/>
                <a:gd name="T3" fmla="*/ 4763 h 3"/>
                <a:gd name="T4" fmla="*/ 0 w 2"/>
                <a:gd name="T5" fmla="*/ 3175 h 3"/>
                <a:gd name="T6" fmla="*/ 2381 w 2"/>
                <a:gd name="T7" fmla="*/ 0 h 3"/>
                <a:gd name="T8" fmla="*/ 476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7" name="Freeform 486"/>
            <p:cNvSpPr>
              <a:spLocks noChangeAspect="1"/>
            </p:cNvSpPr>
            <p:nvPr/>
          </p:nvSpPr>
          <p:spPr bwMode="auto">
            <a:xfrm>
              <a:off x="8161436" y="3058943"/>
              <a:ext cx="4805" cy="5158"/>
            </a:xfrm>
            <a:custGeom>
              <a:avLst/>
              <a:gdLst>
                <a:gd name="T0" fmla="*/ 4762 w 2"/>
                <a:gd name="T1" fmla="*/ 4233 h 3"/>
                <a:gd name="T2" fmla="*/ 2381 w 2"/>
                <a:gd name="T3" fmla="*/ 6350 h 3"/>
                <a:gd name="T4" fmla="*/ 0 w 2"/>
                <a:gd name="T5" fmla="*/ 4233 h 3"/>
                <a:gd name="T6" fmla="*/ 4762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1" y="1"/>
                    <a:pt x="1" y="0"/>
                    <a:pt x="2"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8" name="Freeform 487"/>
            <p:cNvSpPr>
              <a:spLocks noChangeAspect="1"/>
            </p:cNvSpPr>
            <p:nvPr/>
          </p:nvSpPr>
          <p:spPr bwMode="auto">
            <a:xfrm>
              <a:off x="8142216" y="3061522"/>
              <a:ext cx="3203" cy="3869"/>
            </a:xfrm>
            <a:custGeom>
              <a:avLst/>
              <a:gdLst>
                <a:gd name="T0" fmla="*/ 3175 w 2"/>
                <a:gd name="T1" fmla="*/ 3175 h 3"/>
                <a:gd name="T2" fmla="*/ 1588 w 2"/>
                <a:gd name="T3" fmla="*/ 3175 h 3"/>
                <a:gd name="T4" fmla="*/ 0 w 2"/>
                <a:gd name="T5" fmla="*/ 1588 h 3"/>
                <a:gd name="T6" fmla="*/ 3175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1" y="1"/>
                    <a:pt x="1" y="0"/>
                    <a:pt x="2"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9" name="Freeform 488"/>
            <p:cNvSpPr>
              <a:spLocks noChangeAspect="1"/>
            </p:cNvSpPr>
            <p:nvPr/>
          </p:nvSpPr>
          <p:spPr bwMode="auto">
            <a:xfrm>
              <a:off x="8119792" y="3018964"/>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3"/>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0" name="Freeform 489"/>
            <p:cNvSpPr>
              <a:spLocks noChangeAspect="1"/>
            </p:cNvSpPr>
            <p:nvPr/>
          </p:nvSpPr>
          <p:spPr bwMode="auto">
            <a:xfrm>
              <a:off x="8106979" y="3025411"/>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1"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1" name="Freeform 490"/>
            <p:cNvSpPr>
              <a:spLocks noChangeAspect="1"/>
            </p:cNvSpPr>
            <p:nvPr/>
          </p:nvSpPr>
          <p:spPr bwMode="auto">
            <a:xfrm>
              <a:off x="8199878" y="3058943"/>
              <a:ext cx="6407" cy="5158"/>
            </a:xfrm>
            <a:custGeom>
              <a:avLst/>
              <a:gdLst>
                <a:gd name="T0" fmla="*/ 4233 w 3"/>
                <a:gd name="T1" fmla="*/ 2117 h 3"/>
                <a:gd name="T2" fmla="*/ 4233 w 3"/>
                <a:gd name="T3" fmla="*/ 4233 h 3"/>
                <a:gd name="T4" fmla="*/ 2117 w 3"/>
                <a:gd name="T5" fmla="*/ 4233 h 3"/>
                <a:gd name="T6" fmla="*/ 0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1"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2" name="Freeform 491"/>
            <p:cNvSpPr>
              <a:spLocks noChangeAspect="1"/>
            </p:cNvSpPr>
            <p:nvPr/>
          </p:nvSpPr>
          <p:spPr bwMode="auto">
            <a:xfrm>
              <a:off x="8150224" y="3062812"/>
              <a:ext cx="4806" cy="3868"/>
            </a:xfrm>
            <a:custGeom>
              <a:avLst/>
              <a:gdLst>
                <a:gd name="T0" fmla="*/ 3175 w 3"/>
                <a:gd name="T1" fmla="*/ 1587 h 3"/>
                <a:gd name="T2" fmla="*/ 4763 w 3"/>
                <a:gd name="T3" fmla="*/ 3175 h 3"/>
                <a:gd name="T4" fmla="*/ 1588 w 3"/>
                <a:gd name="T5" fmla="*/ 3175 h 3"/>
                <a:gd name="T6" fmla="*/ 1588 w 3"/>
                <a:gd name="T7" fmla="*/ 1587 h 3"/>
                <a:gd name="T8" fmla="*/ 3175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2"/>
                  </a:cubicBezTo>
                  <a:cubicBezTo>
                    <a:pt x="2" y="3"/>
                    <a:pt x="2" y="3"/>
                    <a:pt x="1" y="2"/>
                  </a:cubicBezTo>
                  <a:cubicBezTo>
                    <a:pt x="1" y="2"/>
                    <a:pt x="0" y="2"/>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3" name="Freeform 492"/>
            <p:cNvSpPr>
              <a:spLocks noChangeAspect="1"/>
            </p:cNvSpPr>
            <p:nvPr/>
          </p:nvSpPr>
          <p:spPr bwMode="auto">
            <a:xfrm>
              <a:off x="8131004" y="3040888"/>
              <a:ext cx="3203" cy="5158"/>
            </a:xfrm>
            <a:custGeom>
              <a:avLst/>
              <a:gdLst>
                <a:gd name="T0" fmla="*/ 1588 w 2"/>
                <a:gd name="T1" fmla="*/ 4233 h 3"/>
                <a:gd name="T2" fmla="*/ 1588 w 2"/>
                <a:gd name="T3" fmla="*/ 6350 h 3"/>
                <a:gd name="T4" fmla="*/ 0 w 2"/>
                <a:gd name="T5" fmla="*/ 4233 h 3"/>
                <a:gd name="T6" fmla="*/ 0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2" y="2"/>
                    <a:pt x="2" y="3"/>
                    <a:pt x="1" y="3"/>
                  </a:cubicBezTo>
                  <a:cubicBezTo>
                    <a:pt x="0" y="3"/>
                    <a:pt x="0" y="2"/>
                    <a:pt x="0" y="2"/>
                  </a:cubicBezTo>
                  <a:cubicBezTo>
                    <a:pt x="0" y="2"/>
                    <a:pt x="0" y="1"/>
                    <a:pt x="0" y="1"/>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4" name="Freeform 493"/>
            <p:cNvSpPr>
              <a:spLocks noChangeAspect="1"/>
            </p:cNvSpPr>
            <p:nvPr/>
          </p:nvSpPr>
          <p:spPr bwMode="auto">
            <a:xfrm>
              <a:off x="7975638" y="307442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5" name="Freeform 494"/>
            <p:cNvSpPr>
              <a:spLocks noChangeAspect="1"/>
            </p:cNvSpPr>
            <p:nvPr/>
          </p:nvSpPr>
          <p:spPr bwMode="auto">
            <a:xfrm>
              <a:off x="7966028" y="2893865"/>
              <a:ext cx="4805" cy="1290"/>
            </a:xfrm>
            <a:custGeom>
              <a:avLst/>
              <a:gdLst>
                <a:gd name="T0" fmla="*/ 1587 w 3"/>
                <a:gd name="T1" fmla="*/ 1588 h 1"/>
                <a:gd name="T2" fmla="*/ 0 w 3"/>
                <a:gd name="T3" fmla="*/ 1588 h 1"/>
                <a:gd name="T4" fmla="*/ 1587 w 3"/>
                <a:gd name="T5" fmla="*/ 0 h 1"/>
                <a:gd name="T6" fmla="*/ 4762 w 3"/>
                <a:gd name="T7" fmla="*/ 1588 h 1"/>
                <a:gd name="T8" fmla="*/ 1587 w 3"/>
                <a:gd name="T9" fmla="*/ 1588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1"/>
                  </a:cubicBezTo>
                  <a:cubicBezTo>
                    <a:pt x="2" y="1"/>
                    <a:pt x="2"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6" name="Freeform 495"/>
            <p:cNvSpPr>
              <a:spLocks noChangeAspect="1"/>
            </p:cNvSpPr>
            <p:nvPr/>
          </p:nvSpPr>
          <p:spPr bwMode="auto">
            <a:xfrm>
              <a:off x="8078148" y="2964797"/>
              <a:ext cx="3203" cy="2579"/>
            </a:xfrm>
            <a:custGeom>
              <a:avLst/>
              <a:gdLst>
                <a:gd name="T0" fmla="*/ 0 w 1"/>
                <a:gd name="T1" fmla="*/ 1588 h 2"/>
                <a:gd name="T2" fmla="*/ 0 w 1"/>
                <a:gd name="T3" fmla="*/ 0 h 2"/>
                <a:gd name="T4" fmla="*/ 3175 w 1"/>
                <a:gd name="T5" fmla="*/ 1588 h 2"/>
                <a:gd name="T6" fmla="*/ 3175 w 1"/>
                <a:gd name="T7" fmla="*/ 3175 h 2"/>
                <a:gd name="T8" fmla="*/ 0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1"/>
                    <a:pt x="0" y="0"/>
                    <a:pt x="0" y="0"/>
                  </a:cubicBezTo>
                  <a:cubicBezTo>
                    <a:pt x="1" y="0"/>
                    <a:pt x="1" y="1"/>
                    <a:pt x="1" y="1"/>
                  </a:cubicBezTo>
                  <a:cubicBezTo>
                    <a:pt x="1" y="1"/>
                    <a:pt x="1" y="2"/>
                    <a:pt x="1" y="2"/>
                  </a:cubicBezTo>
                  <a:cubicBezTo>
                    <a:pt x="0" y="2"/>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7" name="Freeform 496"/>
            <p:cNvSpPr>
              <a:spLocks noChangeAspect="1"/>
            </p:cNvSpPr>
            <p:nvPr/>
          </p:nvSpPr>
          <p:spPr bwMode="auto">
            <a:xfrm>
              <a:off x="7696941" y="3055075"/>
              <a:ext cx="3203" cy="2579"/>
            </a:xfrm>
            <a:custGeom>
              <a:avLst/>
              <a:gdLst>
                <a:gd name="T0" fmla="*/ 1588 w 2"/>
                <a:gd name="T1" fmla="*/ 3175 h 2"/>
                <a:gd name="T2" fmla="*/ 0 w 2"/>
                <a:gd name="T3" fmla="*/ 1588 h 2"/>
                <a:gd name="T4" fmla="*/ 1588 w 2"/>
                <a:gd name="T5" fmla="*/ 0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8" name="Freeform 497"/>
            <p:cNvSpPr>
              <a:spLocks noChangeAspect="1"/>
            </p:cNvSpPr>
            <p:nvPr/>
          </p:nvSpPr>
          <p:spPr bwMode="auto">
            <a:xfrm>
              <a:off x="7607244" y="2888706"/>
              <a:ext cx="4805" cy="5158"/>
            </a:xfrm>
            <a:custGeom>
              <a:avLst/>
              <a:gdLst>
                <a:gd name="T0" fmla="*/ 2381 w 2"/>
                <a:gd name="T1" fmla="*/ 4233 h 3"/>
                <a:gd name="T2" fmla="*/ 2381 w 2"/>
                <a:gd name="T3" fmla="*/ 6350 h 3"/>
                <a:gd name="T4" fmla="*/ 0 w 2"/>
                <a:gd name="T5" fmla="*/ 4233 h 3"/>
                <a:gd name="T6" fmla="*/ 2381 w 2"/>
                <a:gd name="T7" fmla="*/ 0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9" name="Freeform 498"/>
            <p:cNvSpPr>
              <a:spLocks noChangeAspect="1"/>
            </p:cNvSpPr>
            <p:nvPr/>
          </p:nvSpPr>
          <p:spPr bwMode="auto">
            <a:xfrm>
              <a:off x="7572007" y="2962218"/>
              <a:ext cx="4805" cy="2579"/>
            </a:xfrm>
            <a:custGeom>
              <a:avLst/>
              <a:gdLst>
                <a:gd name="T0" fmla="*/ 3175 w 3"/>
                <a:gd name="T1" fmla="*/ 0 h 2"/>
                <a:gd name="T2" fmla="*/ 3175 w 3"/>
                <a:gd name="T3" fmla="*/ 1588 h 2"/>
                <a:gd name="T4" fmla="*/ 1587 w 3"/>
                <a:gd name="T5" fmla="*/ 3175 h 2"/>
                <a:gd name="T6" fmla="*/ 0 w 3"/>
                <a:gd name="T7" fmla="*/ 0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0" name="Oval 499"/>
            <p:cNvSpPr>
              <a:spLocks noChangeAspect="1" noChangeArrowheads="1"/>
            </p:cNvSpPr>
            <p:nvPr/>
          </p:nvSpPr>
          <p:spPr bwMode="auto">
            <a:xfrm>
              <a:off x="7450277" y="3026701"/>
              <a:ext cx="3203"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1" name="Freeform 500"/>
            <p:cNvSpPr>
              <a:spLocks noChangeAspect="1"/>
            </p:cNvSpPr>
            <p:nvPr/>
          </p:nvSpPr>
          <p:spPr bwMode="auto">
            <a:xfrm>
              <a:off x="7418243" y="3048625"/>
              <a:ext cx="1601" cy="2579"/>
            </a:xfrm>
            <a:custGeom>
              <a:avLst/>
              <a:gdLst>
                <a:gd name="T0" fmla="*/ 1587 w 1"/>
                <a:gd name="T1" fmla="*/ 1588 h 2"/>
                <a:gd name="T2" fmla="*/ 0 w 1"/>
                <a:gd name="T3" fmla="*/ 3175 h 2"/>
                <a:gd name="T4" fmla="*/ 0 w 1"/>
                <a:gd name="T5" fmla="*/ 1588 h 2"/>
                <a:gd name="T6" fmla="*/ 0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0"/>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2" name="Freeform 501"/>
            <p:cNvSpPr>
              <a:spLocks noChangeAspect="1"/>
            </p:cNvSpPr>
            <p:nvPr/>
          </p:nvSpPr>
          <p:spPr bwMode="auto">
            <a:xfrm>
              <a:off x="7477506" y="3043467"/>
              <a:ext cx="3203" cy="5158"/>
            </a:xfrm>
            <a:custGeom>
              <a:avLst/>
              <a:gdLst>
                <a:gd name="T0" fmla="*/ 1588 w 2"/>
                <a:gd name="T1" fmla="*/ 4233 h 3"/>
                <a:gd name="T2" fmla="*/ 0 w 2"/>
                <a:gd name="T3" fmla="*/ 6350 h 3"/>
                <a:gd name="T4" fmla="*/ 0 w 2"/>
                <a:gd name="T5" fmla="*/ 2117 h 3"/>
                <a:gd name="T6" fmla="*/ 1588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3"/>
                  </a:cubicBezTo>
                  <a:cubicBezTo>
                    <a:pt x="0" y="2"/>
                    <a:pt x="0" y="2"/>
                    <a:pt x="0" y="1"/>
                  </a:cubicBezTo>
                  <a:cubicBezTo>
                    <a:pt x="0" y="1"/>
                    <a:pt x="1" y="0"/>
                    <a:pt x="1" y="1"/>
                  </a:cubicBezTo>
                  <a:cubicBezTo>
                    <a:pt x="2"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3" name="Freeform 502"/>
            <p:cNvSpPr>
              <a:spLocks noChangeAspect="1"/>
            </p:cNvSpPr>
            <p:nvPr/>
          </p:nvSpPr>
          <p:spPr bwMode="auto">
            <a:xfrm>
              <a:off x="7479107" y="3048625"/>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4" name="Freeform 503"/>
            <p:cNvSpPr>
              <a:spLocks noChangeAspect="1"/>
            </p:cNvSpPr>
            <p:nvPr/>
          </p:nvSpPr>
          <p:spPr bwMode="auto">
            <a:xfrm>
              <a:off x="7434260" y="2931266"/>
              <a:ext cx="6407" cy="3868"/>
            </a:xfrm>
            <a:custGeom>
              <a:avLst/>
              <a:gdLst>
                <a:gd name="T0" fmla="*/ 4233 w 3"/>
                <a:gd name="T1" fmla="*/ 3175 h 3"/>
                <a:gd name="T2" fmla="*/ 2117 w 3"/>
                <a:gd name="T3" fmla="*/ 4762 h 3"/>
                <a:gd name="T4" fmla="*/ 2117 w 3"/>
                <a:gd name="T5" fmla="*/ 1587 h 3"/>
                <a:gd name="T6" fmla="*/ 4233 w 3"/>
                <a:gd name="T7" fmla="*/ 1587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1" y="3"/>
                  </a:cubicBezTo>
                  <a:cubicBezTo>
                    <a:pt x="0" y="2"/>
                    <a:pt x="0" y="2"/>
                    <a:pt x="1" y="1"/>
                  </a:cubicBezTo>
                  <a:cubicBezTo>
                    <a:pt x="1" y="1"/>
                    <a:pt x="1" y="0"/>
                    <a:pt x="2"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5" name="Freeform 504"/>
            <p:cNvSpPr>
              <a:spLocks noChangeAspect="1"/>
            </p:cNvSpPr>
            <p:nvPr/>
          </p:nvSpPr>
          <p:spPr bwMode="auto">
            <a:xfrm>
              <a:off x="7487115" y="287452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6" name="Freeform 505"/>
            <p:cNvSpPr>
              <a:spLocks noChangeAspect="1"/>
            </p:cNvSpPr>
            <p:nvPr/>
          </p:nvSpPr>
          <p:spPr bwMode="auto">
            <a:xfrm>
              <a:off x="7341361" y="2997038"/>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7" name="Freeform 506"/>
            <p:cNvSpPr>
              <a:spLocks noChangeAspect="1"/>
            </p:cNvSpPr>
            <p:nvPr/>
          </p:nvSpPr>
          <p:spPr bwMode="auto">
            <a:xfrm>
              <a:off x="7333352" y="2986721"/>
              <a:ext cx="3203" cy="2579"/>
            </a:xfrm>
            <a:custGeom>
              <a:avLst/>
              <a:gdLst>
                <a:gd name="T0" fmla="*/ 1588 w 2"/>
                <a:gd name="T1" fmla="*/ 1588 h 2"/>
                <a:gd name="T2" fmla="*/ 1588 w 2"/>
                <a:gd name="T3" fmla="*/ 3175 h 2"/>
                <a:gd name="T4" fmla="*/ 0 w 2"/>
                <a:gd name="T5" fmla="*/ 1588 h 2"/>
                <a:gd name="T6" fmla="*/ 0 w 2"/>
                <a:gd name="T7" fmla="*/ 0 h 2"/>
                <a:gd name="T8" fmla="*/ 1588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2"/>
                    <a:pt x="1" y="2"/>
                  </a:cubicBezTo>
                  <a:cubicBezTo>
                    <a:pt x="0" y="2"/>
                    <a:pt x="0" y="2"/>
                    <a:pt x="0" y="1"/>
                  </a:cubicBezTo>
                  <a:cubicBezTo>
                    <a:pt x="0" y="1"/>
                    <a:pt x="0" y="0"/>
                    <a:pt x="0" y="0"/>
                  </a:cubicBezTo>
                  <a:cubicBezTo>
                    <a:pt x="1" y="0"/>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8" name="Freeform 507"/>
            <p:cNvSpPr>
              <a:spLocks noChangeAspect="1"/>
            </p:cNvSpPr>
            <p:nvPr/>
          </p:nvSpPr>
          <p:spPr bwMode="auto">
            <a:xfrm>
              <a:off x="7423048" y="2855174"/>
              <a:ext cx="4806" cy="3869"/>
            </a:xfrm>
            <a:custGeom>
              <a:avLst/>
              <a:gdLst>
                <a:gd name="T0" fmla="*/ 4763 w 2"/>
                <a:gd name="T1" fmla="*/ 3175 h 3"/>
                <a:gd name="T2" fmla="*/ 2382 w 2"/>
                <a:gd name="T3" fmla="*/ 4763 h 3"/>
                <a:gd name="T4" fmla="*/ 0 w 2"/>
                <a:gd name="T5" fmla="*/ 3175 h 3"/>
                <a:gd name="T6" fmla="*/ 2382 w 2"/>
                <a:gd name="T7" fmla="*/ 1588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9" name="Freeform 508"/>
            <p:cNvSpPr>
              <a:spLocks noChangeAspect="1"/>
            </p:cNvSpPr>
            <p:nvPr/>
          </p:nvSpPr>
          <p:spPr bwMode="auto">
            <a:xfrm>
              <a:off x="7421446" y="2848726"/>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0"/>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0" name="Freeform 509"/>
            <p:cNvSpPr>
              <a:spLocks noChangeAspect="1"/>
            </p:cNvSpPr>
            <p:nvPr/>
          </p:nvSpPr>
          <p:spPr bwMode="auto">
            <a:xfrm>
              <a:off x="7427852" y="2865491"/>
              <a:ext cx="3203" cy="5158"/>
            </a:xfrm>
            <a:custGeom>
              <a:avLst/>
              <a:gdLst>
                <a:gd name="T0" fmla="*/ 1588 w 2"/>
                <a:gd name="T1" fmla="*/ 4233 h 3"/>
                <a:gd name="T2" fmla="*/ 1588 w 2"/>
                <a:gd name="T3" fmla="*/ 6350 h 3"/>
                <a:gd name="T4" fmla="*/ 0 w 2"/>
                <a:gd name="T5" fmla="*/ 4233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1" name="Freeform 510"/>
            <p:cNvSpPr>
              <a:spLocks noChangeAspect="1"/>
            </p:cNvSpPr>
            <p:nvPr/>
          </p:nvSpPr>
          <p:spPr bwMode="auto">
            <a:xfrm>
              <a:off x="7322140" y="2905472"/>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2" name="Freeform 511"/>
            <p:cNvSpPr>
              <a:spLocks noChangeAspect="1"/>
            </p:cNvSpPr>
            <p:nvPr/>
          </p:nvSpPr>
          <p:spPr bwMode="auto">
            <a:xfrm>
              <a:off x="7336555" y="2908052"/>
              <a:ext cx="4806" cy="2579"/>
            </a:xfrm>
            <a:custGeom>
              <a:avLst/>
              <a:gdLst>
                <a:gd name="T0" fmla="*/ 4763 w 2"/>
                <a:gd name="T1" fmla="*/ 1588 h 2"/>
                <a:gd name="T2" fmla="*/ 2382 w 2"/>
                <a:gd name="T3" fmla="*/ 3175 h 2"/>
                <a:gd name="T4" fmla="*/ 2382 w 2"/>
                <a:gd name="T5" fmla="*/ 1588 h 2"/>
                <a:gd name="T6" fmla="*/ 2382 w 2"/>
                <a:gd name="T7" fmla="*/ 0 h 2"/>
                <a:gd name="T8" fmla="*/ 4763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1" y="2"/>
                    <a:pt x="0" y="1"/>
                    <a:pt x="1" y="1"/>
                  </a:cubicBezTo>
                  <a:cubicBezTo>
                    <a:pt x="1" y="1"/>
                    <a:pt x="1"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3" name="Freeform 512"/>
            <p:cNvSpPr>
              <a:spLocks noChangeAspect="1"/>
            </p:cNvSpPr>
            <p:nvPr/>
          </p:nvSpPr>
          <p:spPr bwMode="auto">
            <a:xfrm>
              <a:off x="7423048" y="2873230"/>
              <a:ext cx="1602" cy="3869"/>
            </a:xfrm>
            <a:custGeom>
              <a:avLst/>
              <a:gdLst>
                <a:gd name="T0" fmla="*/ 1588 w 1"/>
                <a:gd name="T1" fmla="*/ 2382 h 2"/>
                <a:gd name="T2" fmla="*/ 0 w 1"/>
                <a:gd name="T3" fmla="*/ 4763 h 2"/>
                <a:gd name="T4" fmla="*/ 0 w 1"/>
                <a:gd name="T5" fmla="*/ 2382 h 2"/>
                <a:gd name="T6" fmla="*/ 1588 w 1"/>
                <a:gd name="T7" fmla="*/ 0 h 2"/>
                <a:gd name="T8" fmla="*/ 1588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4" name="Freeform 513"/>
            <p:cNvSpPr>
              <a:spLocks noChangeAspect="1"/>
            </p:cNvSpPr>
            <p:nvPr/>
          </p:nvSpPr>
          <p:spPr bwMode="auto">
            <a:xfrm>
              <a:off x="7421446" y="2880968"/>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5" name="Oval 514"/>
            <p:cNvSpPr>
              <a:spLocks noChangeAspect="1" noChangeArrowheads="1"/>
            </p:cNvSpPr>
            <p:nvPr/>
          </p:nvSpPr>
          <p:spPr bwMode="auto">
            <a:xfrm>
              <a:off x="7318936" y="2944162"/>
              <a:ext cx="4805"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6" name="Freeform 515"/>
            <p:cNvSpPr>
              <a:spLocks noChangeAspect="1"/>
            </p:cNvSpPr>
            <p:nvPr/>
          </p:nvSpPr>
          <p:spPr bwMode="auto">
            <a:xfrm>
              <a:off x="7341361" y="3055075"/>
              <a:ext cx="3203" cy="3868"/>
            </a:xfrm>
            <a:custGeom>
              <a:avLst/>
              <a:gdLst>
                <a:gd name="T0" fmla="*/ 3175 w 2"/>
                <a:gd name="T1" fmla="*/ 3175 h 3"/>
                <a:gd name="T2" fmla="*/ 1588 w 2"/>
                <a:gd name="T3" fmla="*/ 4762 h 3"/>
                <a:gd name="T4" fmla="*/ 0 w 2"/>
                <a:gd name="T5" fmla="*/ 3175 h 3"/>
                <a:gd name="T6" fmla="*/ 1588 w 2"/>
                <a:gd name="T7" fmla="*/ 1587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7" name="Freeform 516"/>
            <p:cNvSpPr>
              <a:spLocks noChangeAspect="1"/>
            </p:cNvSpPr>
            <p:nvPr/>
          </p:nvSpPr>
          <p:spPr bwMode="auto">
            <a:xfrm>
              <a:off x="7283699" y="3102792"/>
              <a:ext cx="3203" cy="5158"/>
            </a:xfrm>
            <a:custGeom>
              <a:avLst/>
              <a:gdLst>
                <a:gd name="T0" fmla="*/ 3175 w 2"/>
                <a:gd name="T1" fmla="*/ 4233 h 3"/>
                <a:gd name="T2" fmla="*/ 0 w 2"/>
                <a:gd name="T3" fmla="*/ 6350 h 3"/>
                <a:gd name="T4" fmla="*/ 0 w 2"/>
                <a:gd name="T5" fmla="*/ 2117 h 3"/>
                <a:gd name="T6" fmla="*/ 3175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3"/>
                    <a:pt x="1" y="3"/>
                    <a:pt x="0" y="3"/>
                  </a:cubicBezTo>
                  <a:cubicBezTo>
                    <a:pt x="0" y="2"/>
                    <a:pt x="0" y="2"/>
                    <a:pt x="0" y="1"/>
                  </a:cubicBezTo>
                  <a:cubicBezTo>
                    <a:pt x="1" y="1"/>
                    <a:pt x="1" y="0"/>
                    <a:pt x="2"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8" name="Freeform 517"/>
            <p:cNvSpPr>
              <a:spLocks noChangeAspect="1"/>
            </p:cNvSpPr>
            <p:nvPr/>
          </p:nvSpPr>
          <p:spPr bwMode="auto">
            <a:xfrm>
              <a:off x="7323741" y="3051205"/>
              <a:ext cx="12814" cy="10318"/>
            </a:xfrm>
            <a:custGeom>
              <a:avLst/>
              <a:gdLst>
                <a:gd name="T0" fmla="*/ 10886 w 7"/>
                <a:gd name="T1" fmla="*/ 2117 h 6"/>
                <a:gd name="T2" fmla="*/ 7257 w 7"/>
                <a:gd name="T3" fmla="*/ 10583 h 6"/>
                <a:gd name="T4" fmla="*/ 1814 w 7"/>
                <a:gd name="T5" fmla="*/ 10583 h 6"/>
                <a:gd name="T6" fmla="*/ 5443 w 7"/>
                <a:gd name="T7" fmla="*/ 2117 h 6"/>
                <a:gd name="T8" fmla="*/ 10886 w 7"/>
                <a:gd name="T9" fmla="*/ 2117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9" name="Freeform 518"/>
            <p:cNvSpPr>
              <a:spLocks noChangeAspect="1"/>
            </p:cNvSpPr>
            <p:nvPr/>
          </p:nvSpPr>
          <p:spPr bwMode="auto">
            <a:xfrm>
              <a:off x="7350971" y="3049915"/>
              <a:ext cx="20822" cy="7738"/>
            </a:xfrm>
            <a:custGeom>
              <a:avLst/>
              <a:gdLst>
                <a:gd name="T0" fmla="*/ 1876 w 11"/>
                <a:gd name="T1" fmla="*/ 1905 h 5"/>
                <a:gd name="T2" fmla="*/ 18761 w 11"/>
                <a:gd name="T3" fmla="*/ 1905 h 5"/>
                <a:gd name="T4" fmla="*/ 18761 w 11"/>
                <a:gd name="T5" fmla="*/ 7620 h 5"/>
                <a:gd name="T6" fmla="*/ 3752 w 11"/>
                <a:gd name="T7" fmla="*/ 5715 h 5"/>
                <a:gd name="T8" fmla="*/ 1876 w 11"/>
                <a:gd name="T9" fmla="*/ 1905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0" name="Freeform 519"/>
            <p:cNvSpPr>
              <a:spLocks noChangeAspect="1"/>
            </p:cNvSpPr>
            <p:nvPr/>
          </p:nvSpPr>
          <p:spPr bwMode="auto">
            <a:xfrm>
              <a:off x="7381403" y="3038308"/>
              <a:ext cx="28831" cy="10318"/>
            </a:xfrm>
            <a:custGeom>
              <a:avLst/>
              <a:gdLst>
                <a:gd name="T0" fmla="*/ 5715 w 15"/>
                <a:gd name="T1" fmla="*/ 1814 h 7"/>
                <a:gd name="T2" fmla="*/ 1905 w 15"/>
                <a:gd name="T3" fmla="*/ 10886 h 7"/>
                <a:gd name="T4" fmla="*/ 9525 w 15"/>
                <a:gd name="T5" fmla="*/ 9071 h 7"/>
                <a:gd name="T6" fmla="*/ 20955 w 15"/>
                <a:gd name="T7" fmla="*/ 10886 h 7"/>
                <a:gd name="T8" fmla="*/ 28575 w 15"/>
                <a:gd name="T9" fmla="*/ 3629 h 7"/>
                <a:gd name="T10" fmla="*/ 20955 w 15"/>
                <a:gd name="T11" fmla="*/ 1814 h 7"/>
                <a:gd name="T12" fmla="*/ 11430 w 15"/>
                <a:gd name="T13" fmla="*/ 3629 h 7"/>
                <a:gd name="T14" fmla="*/ 5715 w 15"/>
                <a:gd name="T15" fmla="*/ 1814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1" name="Freeform 520"/>
            <p:cNvSpPr>
              <a:spLocks noChangeAspect="1"/>
            </p:cNvSpPr>
            <p:nvPr/>
          </p:nvSpPr>
          <p:spPr bwMode="auto">
            <a:xfrm>
              <a:off x="7299716" y="2969955"/>
              <a:ext cx="14415" cy="19345"/>
            </a:xfrm>
            <a:custGeom>
              <a:avLst/>
              <a:gdLst>
                <a:gd name="T0" fmla="*/ 10205 w 7"/>
                <a:gd name="T1" fmla="*/ 1832 h 13"/>
                <a:gd name="T2" fmla="*/ 12246 w 7"/>
                <a:gd name="T3" fmla="*/ 9158 h 13"/>
                <a:gd name="T4" fmla="*/ 8164 w 7"/>
                <a:gd name="T5" fmla="*/ 21980 h 13"/>
                <a:gd name="T6" fmla="*/ 2041 w 7"/>
                <a:gd name="T7" fmla="*/ 20149 h 13"/>
                <a:gd name="T8" fmla="*/ 2041 w 7"/>
                <a:gd name="T9" fmla="*/ 7327 h 13"/>
                <a:gd name="T10" fmla="*/ 10205 w 7"/>
                <a:gd name="T11" fmla="*/ 1832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2" name="Freeform 521"/>
            <p:cNvSpPr>
              <a:spLocks noChangeAspect="1"/>
            </p:cNvSpPr>
            <p:nvPr/>
          </p:nvSpPr>
          <p:spPr bwMode="auto">
            <a:xfrm>
              <a:off x="7288503" y="2982853"/>
              <a:ext cx="9610" cy="6448"/>
            </a:xfrm>
            <a:custGeom>
              <a:avLst/>
              <a:gdLst>
                <a:gd name="T0" fmla="*/ 5715 w 5"/>
                <a:gd name="T1" fmla="*/ 0 h 4"/>
                <a:gd name="T2" fmla="*/ 7620 w 5"/>
                <a:gd name="T3" fmla="*/ 5953 h 4"/>
                <a:gd name="T4" fmla="*/ 1905 w 5"/>
                <a:gd name="T5" fmla="*/ 7937 h 4"/>
                <a:gd name="T6" fmla="*/ 5715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3" name="Freeform 522"/>
            <p:cNvSpPr>
              <a:spLocks noChangeAspect="1"/>
            </p:cNvSpPr>
            <p:nvPr/>
          </p:nvSpPr>
          <p:spPr bwMode="auto">
            <a:xfrm>
              <a:off x="7309326" y="2964797"/>
              <a:ext cx="17618" cy="30953"/>
            </a:xfrm>
            <a:custGeom>
              <a:avLst/>
              <a:gdLst>
                <a:gd name="T0" fmla="*/ 15522 w 9"/>
                <a:gd name="T1" fmla="*/ 1905 h 20"/>
                <a:gd name="T2" fmla="*/ 15522 w 9"/>
                <a:gd name="T3" fmla="*/ 7620 h 20"/>
                <a:gd name="T4" fmla="*/ 9701 w 9"/>
                <a:gd name="T5" fmla="*/ 7620 h 20"/>
                <a:gd name="T6" fmla="*/ 7761 w 9"/>
                <a:gd name="T7" fmla="*/ 22860 h 20"/>
                <a:gd name="T8" fmla="*/ 13582 w 9"/>
                <a:gd name="T9" fmla="*/ 24765 h 20"/>
                <a:gd name="T10" fmla="*/ 11641 w 9"/>
                <a:gd name="T11" fmla="*/ 30480 h 20"/>
                <a:gd name="T12" fmla="*/ 5821 w 9"/>
                <a:gd name="T13" fmla="*/ 30480 h 20"/>
                <a:gd name="T14" fmla="*/ 1940 w 9"/>
                <a:gd name="T15" fmla="*/ 36195 h 20"/>
                <a:gd name="T16" fmla="*/ 1940 w 9"/>
                <a:gd name="T17" fmla="*/ 26670 h 20"/>
                <a:gd name="T18" fmla="*/ 5821 w 9"/>
                <a:gd name="T19" fmla="*/ 9525 h 20"/>
                <a:gd name="T20" fmla="*/ 7761 w 9"/>
                <a:gd name="T21" fmla="*/ 1905 h 20"/>
                <a:gd name="T22" fmla="*/ 15522 w 9"/>
                <a:gd name="T23" fmla="*/ 190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4" name="Freeform 523"/>
            <p:cNvSpPr>
              <a:spLocks noChangeAspect="1"/>
            </p:cNvSpPr>
            <p:nvPr/>
          </p:nvSpPr>
          <p:spPr bwMode="auto">
            <a:xfrm>
              <a:off x="7362181" y="3055075"/>
              <a:ext cx="56061" cy="25793"/>
            </a:xfrm>
            <a:custGeom>
              <a:avLst/>
              <a:gdLst>
                <a:gd name="T0" fmla="*/ 5748 w 29"/>
                <a:gd name="T1" fmla="*/ 31750 h 17"/>
                <a:gd name="T2" fmla="*/ 15328 w 29"/>
                <a:gd name="T3" fmla="*/ 28015 h 17"/>
                <a:gd name="T4" fmla="*/ 24908 w 29"/>
                <a:gd name="T5" fmla="*/ 22412 h 17"/>
                <a:gd name="T6" fmla="*/ 38319 w 29"/>
                <a:gd name="T7" fmla="*/ 16809 h 17"/>
                <a:gd name="T8" fmla="*/ 44067 w 29"/>
                <a:gd name="T9" fmla="*/ 13074 h 17"/>
                <a:gd name="T10" fmla="*/ 53647 w 29"/>
                <a:gd name="T11" fmla="*/ 5603 h 17"/>
                <a:gd name="T12" fmla="*/ 55563 w 29"/>
                <a:gd name="T13" fmla="*/ 1868 h 17"/>
                <a:gd name="T14" fmla="*/ 45983 w 29"/>
                <a:gd name="T15" fmla="*/ 1868 h 17"/>
                <a:gd name="T16" fmla="*/ 26824 w 29"/>
                <a:gd name="T17" fmla="*/ 3735 h 17"/>
                <a:gd name="T18" fmla="*/ 7664 w 29"/>
                <a:gd name="T19" fmla="*/ 7471 h 17"/>
                <a:gd name="T20" fmla="*/ 0 w 29"/>
                <a:gd name="T21" fmla="*/ 16809 h 17"/>
                <a:gd name="T22" fmla="*/ 5748 w 29"/>
                <a:gd name="T23" fmla="*/ 22412 h 17"/>
                <a:gd name="T24" fmla="*/ 5748 w 29"/>
                <a:gd name="T25" fmla="*/ 3175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5" name="Freeform 524"/>
            <p:cNvSpPr>
              <a:spLocks noChangeAspect="1"/>
            </p:cNvSpPr>
            <p:nvPr/>
          </p:nvSpPr>
          <p:spPr bwMode="auto">
            <a:xfrm>
              <a:off x="7352572" y="2902893"/>
              <a:ext cx="27230" cy="10318"/>
            </a:xfrm>
            <a:custGeom>
              <a:avLst/>
              <a:gdLst>
                <a:gd name="T0" fmla="*/ 5783 w 14"/>
                <a:gd name="T1" fmla="*/ 1814 h 7"/>
                <a:gd name="T2" fmla="*/ 21205 w 14"/>
                <a:gd name="T3" fmla="*/ 1814 h 7"/>
                <a:gd name="T4" fmla="*/ 26988 w 14"/>
                <a:gd name="T5" fmla="*/ 5443 h 7"/>
                <a:gd name="T6" fmla="*/ 21205 w 14"/>
                <a:gd name="T7" fmla="*/ 9071 h 7"/>
                <a:gd name="T8" fmla="*/ 9639 w 14"/>
                <a:gd name="T9" fmla="*/ 9071 h 7"/>
                <a:gd name="T10" fmla="*/ 1928 w 14"/>
                <a:gd name="T11" fmla="*/ 10886 h 7"/>
                <a:gd name="T12" fmla="*/ 5783 w 14"/>
                <a:gd name="T13" fmla="*/ 1814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6" name="Freeform 525"/>
            <p:cNvSpPr>
              <a:spLocks noChangeAspect="1"/>
            </p:cNvSpPr>
            <p:nvPr/>
          </p:nvSpPr>
          <p:spPr bwMode="auto">
            <a:xfrm>
              <a:off x="7315733" y="2892576"/>
              <a:ext cx="25627" cy="11607"/>
            </a:xfrm>
            <a:custGeom>
              <a:avLst/>
              <a:gdLst>
                <a:gd name="T0" fmla="*/ 13677 w 13"/>
                <a:gd name="T1" fmla="*/ 5358 h 8"/>
                <a:gd name="T2" fmla="*/ 19538 w 13"/>
                <a:gd name="T3" fmla="*/ 1786 h 8"/>
                <a:gd name="T4" fmla="*/ 23446 w 13"/>
                <a:gd name="T5" fmla="*/ 10715 h 8"/>
                <a:gd name="T6" fmla="*/ 15631 w 13"/>
                <a:gd name="T7" fmla="*/ 8929 h 8"/>
                <a:gd name="T8" fmla="*/ 9769 w 13"/>
                <a:gd name="T9" fmla="*/ 10715 h 8"/>
                <a:gd name="T10" fmla="*/ 7815 w 13"/>
                <a:gd name="T11" fmla="*/ 8929 h 8"/>
                <a:gd name="T12" fmla="*/ 1954 w 13"/>
                <a:gd name="T13" fmla="*/ 10715 h 8"/>
                <a:gd name="T14" fmla="*/ 1954 w 13"/>
                <a:gd name="T15" fmla="*/ 3572 h 8"/>
                <a:gd name="T16" fmla="*/ 13677 w 13"/>
                <a:gd name="T17" fmla="*/ 535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7" name="Freeform 526"/>
            <p:cNvSpPr>
              <a:spLocks noChangeAspect="1"/>
            </p:cNvSpPr>
            <p:nvPr/>
          </p:nvSpPr>
          <p:spPr bwMode="auto">
            <a:xfrm>
              <a:off x="7381403" y="2905472"/>
              <a:ext cx="24026" cy="3868"/>
            </a:xfrm>
            <a:custGeom>
              <a:avLst/>
              <a:gdLst>
                <a:gd name="T0" fmla="*/ 0 w 13"/>
                <a:gd name="T1" fmla="*/ 0 h 2"/>
                <a:gd name="T2" fmla="*/ 0 w 13"/>
                <a:gd name="T3" fmla="*/ 4762 h 2"/>
                <a:gd name="T4" fmla="*/ 23813 w 13"/>
                <a:gd name="T5" fmla="*/ 2381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8" name="Freeform 527"/>
            <p:cNvSpPr>
              <a:spLocks noChangeAspect="1"/>
            </p:cNvSpPr>
            <p:nvPr/>
          </p:nvSpPr>
          <p:spPr bwMode="auto">
            <a:xfrm>
              <a:off x="7392616" y="2935134"/>
              <a:ext cx="32034" cy="19346"/>
            </a:xfrm>
            <a:custGeom>
              <a:avLst/>
              <a:gdLst>
                <a:gd name="T0" fmla="*/ 3735 w 17"/>
                <a:gd name="T1" fmla="*/ 3969 h 12"/>
                <a:gd name="T2" fmla="*/ 20544 w 17"/>
                <a:gd name="T3" fmla="*/ 1984 h 12"/>
                <a:gd name="T4" fmla="*/ 28015 w 17"/>
                <a:gd name="T5" fmla="*/ 5953 h 12"/>
                <a:gd name="T6" fmla="*/ 24279 w 17"/>
                <a:gd name="T7" fmla="*/ 9922 h 12"/>
                <a:gd name="T8" fmla="*/ 29882 w 17"/>
                <a:gd name="T9" fmla="*/ 17860 h 12"/>
                <a:gd name="T10" fmla="*/ 18676 w 17"/>
                <a:gd name="T11" fmla="*/ 23813 h 12"/>
                <a:gd name="T12" fmla="*/ 1868 w 17"/>
                <a:gd name="T13" fmla="*/ 13891 h 12"/>
                <a:gd name="T14" fmla="*/ 3735 w 17"/>
                <a:gd name="T15" fmla="*/ 3969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9" name="Freeform 528"/>
            <p:cNvSpPr>
              <a:spLocks noChangeAspect="1"/>
            </p:cNvSpPr>
            <p:nvPr/>
          </p:nvSpPr>
          <p:spPr bwMode="auto">
            <a:xfrm>
              <a:off x="7424649" y="2896444"/>
              <a:ext cx="22424" cy="9029"/>
            </a:xfrm>
            <a:custGeom>
              <a:avLst/>
              <a:gdLst>
                <a:gd name="T0" fmla="*/ 10102 w 11"/>
                <a:gd name="T1" fmla="*/ 0 h 6"/>
                <a:gd name="T2" fmla="*/ 22225 w 11"/>
                <a:gd name="T3" fmla="*/ 7409 h 6"/>
                <a:gd name="T4" fmla="*/ 18184 w 11"/>
                <a:gd name="T5" fmla="*/ 11113 h 6"/>
                <a:gd name="T6" fmla="*/ 8082 w 11"/>
                <a:gd name="T7" fmla="*/ 11113 h 6"/>
                <a:gd name="T8" fmla="*/ 0 w 11"/>
                <a:gd name="T9" fmla="*/ 7409 h 6"/>
                <a:gd name="T10" fmla="*/ 10102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0" name="Freeform 529"/>
            <p:cNvSpPr>
              <a:spLocks noChangeAspect="1"/>
            </p:cNvSpPr>
            <p:nvPr/>
          </p:nvSpPr>
          <p:spPr bwMode="auto">
            <a:xfrm>
              <a:off x="7427852" y="2817774"/>
              <a:ext cx="35238" cy="68353"/>
            </a:xfrm>
            <a:custGeom>
              <a:avLst/>
              <a:gdLst>
                <a:gd name="T0" fmla="*/ 14705 w 19"/>
                <a:gd name="T1" fmla="*/ 1912 h 44"/>
                <a:gd name="T2" fmla="*/ 9191 w 19"/>
                <a:gd name="T3" fmla="*/ 9561 h 44"/>
                <a:gd name="T4" fmla="*/ 12867 w 19"/>
                <a:gd name="T5" fmla="*/ 21034 h 44"/>
                <a:gd name="T6" fmla="*/ 5514 w 19"/>
                <a:gd name="T7" fmla="*/ 34420 h 44"/>
                <a:gd name="T8" fmla="*/ 12867 w 19"/>
                <a:gd name="T9" fmla="*/ 38244 h 44"/>
                <a:gd name="T10" fmla="*/ 18382 w 19"/>
                <a:gd name="T11" fmla="*/ 26771 h 44"/>
                <a:gd name="T12" fmla="*/ 29411 w 19"/>
                <a:gd name="T13" fmla="*/ 19122 h 44"/>
                <a:gd name="T14" fmla="*/ 31249 w 19"/>
                <a:gd name="T15" fmla="*/ 32507 h 44"/>
                <a:gd name="T16" fmla="*/ 20220 w 19"/>
                <a:gd name="T17" fmla="*/ 36332 h 44"/>
                <a:gd name="T18" fmla="*/ 20220 w 19"/>
                <a:gd name="T19" fmla="*/ 40156 h 44"/>
                <a:gd name="T20" fmla="*/ 33087 w 19"/>
                <a:gd name="T21" fmla="*/ 49717 h 44"/>
                <a:gd name="T22" fmla="*/ 29411 w 19"/>
                <a:gd name="T23" fmla="*/ 49717 h 44"/>
                <a:gd name="T24" fmla="*/ 12867 w 19"/>
                <a:gd name="T25" fmla="*/ 47805 h 44"/>
                <a:gd name="T26" fmla="*/ 12867 w 19"/>
                <a:gd name="T27" fmla="*/ 55454 h 44"/>
                <a:gd name="T28" fmla="*/ 11029 w 19"/>
                <a:gd name="T29" fmla="*/ 66927 h 44"/>
                <a:gd name="T30" fmla="*/ 23896 w 19"/>
                <a:gd name="T31" fmla="*/ 84137 h 44"/>
                <a:gd name="T32" fmla="*/ 12867 w 19"/>
                <a:gd name="T33" fmla="*/ 80313 h 44"/>
                <a:gd name="T34" fmla="*/ 7353 w 19"/>
                <a:gd name="T35" fmla="*/ 63103 h 44"/>
                <a:gd name="T36" fmla="*/ 5514 w 19"/>
                <a:gd name="T37" fmla="*/ 51630 h 44"/>
                <a:gd name="T38" fmla="*/ 1838 w 19"/>
                <a:gd name="T39" fmla="*/ 36332 h 44"/>
                <a:gd name="T40" fmla="*/ 1838 w 19"/>
                <a:gd name="T41" fmla="*/ 13385 h 44"/>
                <a:gd name="T42" fmla="*/ 11029 w 19"/>
                <a:gd name="T43" fmla="*/ 0 h 44"/>
                <a:gd name="T44" fmla="*/ 14705 w 19"/>
                <a:gd name="T45" fmla="*/ 1912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1" name="Freeform 530"/>
            <p:cNvSpPr>
              <a:spLocks noChangeAspect="1"/>
            </p:cNvSpPr>
            <p:nvPr/>
          </p:nvSpPr>
          <p:spPr bwMode="auto">
            <a:xfrm>
              <a:off x="7447074" y="2808746"/>
              <a:ext cx="12814" cy="14187"/>
            </a:xfrm>
            <a:custGeom>
              <a:avLst/>
              <a:gdLst>
                <a:gd name="T0" fmla="*/ 9071 w 7"/>
                <a:gd name="T1" fmla="*/ 1940 h 9"/>
                <a:gd name="T2" fmla="*/ 10886 w 7"/>
                <a:gd name="T3" fmla="*/ 13582 h 9"/>
                <a:gd name="T4" fmla="*/ 3629 w 7"/>
                <a:gd name="T5" fmla="*/ 15523 h 9"/>
                <a:gd name="T6" fmla="*/ 3629 w 7"/>
                <a:gd name="T7" fmla="*/ 5821 h 9"/>
                <a:gd name="T8" fmla="*/ 9071 w 7"/>
                <a:gd name="T9" fmla="*/ 1940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2" name="Freeform 531"/>
            <p:cNvSpPr>
              <a:spLocks noChangeAspect="1"/>
            </p:cNvSpPr>
            <p:nvPr/>
          </p:nvSpPr>
          <p:spPr bwMode="auto">
            <a:xfrm>
              <a:off x="7427852" y="2874520"/>
              <a:ext cx="6407" cy="10318"/>
            </a:xfrm>
            <a:custGeom>
              <a:avLst/>
              <a:gdLst>
                <a:gd name="T0" fmla="*/ 6350 w 4"/>
                <a:gd name="T1" fmla="*/ 4233 h 6"/>
                <a:gd name="T2" fmla="*/ 6350 w 4"/>
                <a:gd name="T3" fmla="*/ 10583 h 6"/>
                <a:gd name="T4" fmla="*/ 1588 w 4"/>
                <a:gd name="T5" fmla="*/ 10583 h 6"/>
                <a:gd name="T6" fmla="*/ 1588 w 4"/>
                <a:gd name="T7" fmla="*/ 2117 h 6"/>
                <a:gd name="T8" fmla="*/ 6350 w 4"/>
                <a:gd name="T9" fmla="*/ 4233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2"/>
                  </a:moveTo>
                  <a:cubicBezTo>
                    <a:pt x="4" y="2"/>
                    <a:pt x="4" y="4"/>
                    <a:pt x="4" y="5"/>
                  </a:cubicBezTo>
                  <a:cubicBezTo>
                    <a:pt x="3" y="6"/>
                    <a:pt x="1" y="6"/>
                    <a:pt x="1" y="5"/>
                  </a:cubicBezTo>
                  <a:cubicBezTo>
                    <a:pt x="0" y="4"/>
                    <a:pt x="0" y="2"/>
                    <a:pt x="1" y="1"/>
                  </a:cubicBezTo>
                  <a:cubicBezTo>
                    <a:pt x="1"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3" name="Freeform 532"/>
            <p:cNvSpPr>
              <a:spLocks noChangeAspect="1"/>
            </p:cNvSpPr>
            <p:nvPr/>
          </p:nvSpPr>
          <p:spPr bwMode="auto">
            <a:xfrm>
              <a:off x="7443869" y="2927397"/>
              <a:ext cx="67272" cy="24504"/>
            </a:xfrm>
            <a:custGeom>
              <a:avLst/>
              <a:gdLst>
                <a:gd name="T0" fmla="*/ 1905 w 35"/>
                <a:gd name="T1" fmla="*/ 1885 h 16"/>
                <a:gd name="T2" fmla="*/ 20955 w 35"/>
                <a:gd name="T3" fmla="*/ 3770 h 16"/>
                <a:gd name="T4" fmla="*/ 28575 w 35"/>
                <a:gd name="T5" fmla="*/ 5656 h 16"/>
                <a:gd name="T6" fmla="*/ 34290 w 35"/>
                <a:gd name="T7" fmla="*/ 1885 h 16"/>
                <a:gd name="T8" fmla="*/ 49530 w 35"/>
                <a:gd name="T9" fmla="*/ 9426 h 16"/>
                <a:gd name="T10" fmla="*/ 59055 w 35"/>
                <a:gd name="T11" fmla="*/ 9426 h 16"/>
                <a:gd name="T12" fmla="*/ 64770 w 35"/>
                <a:gd name="T13" fmla="*/ 22622 h 16"/>
                <a:gd name="T14" fmla="*/ 62865 w 35"/>
                <a:gd name="T15" fmla="*/ 28278 h 16"/>
                <a:gd name="T16" fmla="*/ 53340 w 35"/>
                <a:gd name="T17" fmla="*/ 24507 h 16"/>
                <a:gd name="T18" fmla="*/ 38100 w 35"/>
                <a:gd name="T19" fmla="*/ 16967 h 16"/>
                <a:gd name="T20" fmla="*/ 30480 w 35"/>
                <a:gd name="T21" fmla="*/ 18852 h 16"/>
                <a:gd name="T22" fmla="*/ 17145 w 35"/>
                <a:gd name="T23" fmla="*/ 16967 h 16"/>
                <a:gd name="T24" fmla="*/ 11430 w 35"/>
                <a:gd name="T25" fmla="*/ 18852 h 16"/>
                <a:gd name="T26" fmla="*/ 0 w 35"/>
                <a:gd name="T27" fmla="*/ 9426 h 16"/>
                <a:gd name="T28" fmla="*/ 1905 w 35"/>
                <a:gd name="T29" fmla="*/ 1885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4" name="Freeform 533"/>
            <p:cNvSpPr>
              <a:spLocks noChangeAspect="1"/>
            </p:cNvSpPr>
            <p:nvPr/>
          </p:nvSpPr>
          <p:spPr bwMode="auto">
            <a:xfrm>
              <a:off x="7482311" y="2904182"/>
              <a:ext cx="19221" cy="7738"/>
            </a:xfrm>
            <a:custGeom>
              <a:avLst/>
              <a:gdLst>
                <a:gd name="T0" fmla="*/ 5715 w 10"/>
                <a:gd name="T1" fmla="*/ 1905 h 5"/>
                <a:gd name="T2" fmla="*/ 1905 w 10"/>
                <a:gd name="T3" fmla="*/ 3810 h 5"/>
                <a:gd name="T4" fmla="*/ 9525 w 10"/>
                <a:gd name="T5" fmla="*/ 7620 h 5"/>
                <a:gd name="T6" fmla="*/ 17145 w 10"/>
                <a:gd name="T7" fmla="*/ 7620 h 5"/>
                <a:gd name="T8" fmla="*/ 17145 w 10"/>
                <a:gd name="T9" fmla="*/ 1905 h 5"/>
                <a:gd name="T10" fmla="*/ 5715 w 10"/>
                <a:gd name="T11" fmla="*/ 1905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5" name="Freeform 534"/>
            <p:cNvSpPr>
              <a:spLocks noChangeAspect="1"/>
            </p:cNvSpPr>
            <p:nvPr/>
          </p:nvSpPr>
          <p:spPr bwMode="auto">
            <a:xfrm>
              <a:off x="7498328" y="2866781"/>
              <a:ext cx="28831" cy="11607"/>
            </a:xfrm>
            <a:custGeom>
              <a:avLst/>
              <a:gdLst>
                <a:gd name="T0" fmla="*/ 3810 w 15"/>
                <a:gd name="T1" fmla="*/ 0 h 7"/>
                <a:gd name="T2" fmla="*/ 24765 w 15"/>
                <a:gd name="T3" fmla="*/ 2041 h 7"/>
                <a:gd name="T4" fmla="*/ 26670 w 15"/>
                <a:gd name="T5" fmla="*/ 12246 h 7"/>
                <a:gd name="T6" fmla="*/ 5715 w 15"/>
                <a:gd name="T7" fmla="*/ 8164 h 7"/>
                <a:gd name="T8" fmla="*/ 1905 w 15"/>
                <a:gd name="T9" fmla="*/ 2041 h 7"/>
                <a:gd name="T10" fmla="*/ 3810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6" name="Freeform 535"/>
            <p:cNvSpPr>
              <a:spLocks noChangeAspect="1"/>
            </p:cNvSpPr>
            <p:nvPr/>
          </p:nvSpPr>
          <p:spPr bwMode="auto">
            <a:xfrm>
              <a:off x="7434260" y="2936424"/>
              <a:ext cx="9610" cy="10318"/>
            </a:xfrm>
            <a:custGeom>
              <a:avLst/>
              <a:gdLst>
                <a:gd name="T0" fmla="*/ 1905 w 5"/>
                <a:gd name="T1" fmla="*/ 2117 h 6"/>
                <a:gd name="T2" fmla="*/ 1905 w 5"/>
                <a:gd name="T3" fmla="*/ 12700 h 6"/>
                <a:gd name="T4" fmla="*/ 5715 w 5"/>
                <a:gd name="T5" fmla="*/ 10583 h 6"/>
                <a:gd name="T6" fmla="*/ 9525 w 5"/>
                <a:gd name="T7" fmla="*/ 2117 h 6"/>
                <a:gd name="T8" fmla="*/ 1905 w 5"/>
                <a:gd name="T9" fmla="*/ 211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2"/>
                    <a:pt x="1" y="4"/>
                    <a:pt x="1" y="6"/>
                  </a:cubicBezTo>
                  <a:cubicBezTo>
                    <a:pt x="1" y="6"/>
                    <a:pt x="3" y="5"/>
                    <a:pt x="3" y="5"/>
                  </a:cubicBezTo>
                  <a:cubicBezTo>
                    <a:pt x="4" y="4"/>
                    <a:pt x="5" y="3"/>
                    <a:pt x="5" y="1"/>
                  </a:cubicBezTo>
                  <a:cubicBezTo>
                    <a:pt x="4" y="0"/>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7" name="Freeform 536"/>
            <p:cNvSpPr>
              <a:spLocks noChangeAspect="1"/>
            </p:cNvSpPr>
            <p:nvPr/>
          </p:nvSpPr>
          <p:spPr bwMode="auto">
            <a:xfrm>
              <a:off x="7514346" y="3030570"/>
              <a:ext cx="14415" cy="19346"/>
            </a:xfrm>
            <a:custGeom>
              <a:avLst/>
              <a:gdLst>
                <a:gd name="T0" fmla="*/ 12501 w 8"/>
                <a:gd name="T1" fmla="*/ 1832 h 13"/>
                <a:gd name="T2" fmla="*/ 12501 w 8"/>
                <a:gd name="T3" fmla="*/ 10991 h 13"/>
                <a:gd name="T4" fmla="*/ 5358 w 8"/>
                <a:gd name="T5" fmla="*/ 21981 h 13"/>
                <a:gd name="T6" fmla="*/ 0 w 8"/>
                <a:gd name="T7" fmla="*/ 20149 h 13"/>
                <a:gd name="T8" fmla="*/ 5358 w 8"/>
                <a:gd name="T9" fmla="*/ 7327 h 13"/>
                <a:gd name="T10" fmla="*/ 12501 w 8"/>
                <a:gd name="T11" fmla="*/ 1832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8" name="Freeform 537"/>
            <p:cNvSpPr>
              <a:spLocks noChangeAspect="1"/>
            </p:cNvSpPr>
            <p:nvPr/>
          </p:nvSpPr>
          <p:spPr bwMode="auto">
            <a:xfrm>
              <a:off x="7623262" y="2880968"/>
              <a:ext cx="27229" cy="14187"/>
            </a:xfrm>
            <a:custGeom>
              <a:avLst/>
              <a:gdLst>
                <a:gd name="T0" fmla="*/ 3855 w 14"/>
                <a:gd name="T1" fmla="*/ 0 h 9"/>
                <a:gd name="T2" fmla="*/ 25059 w 14"/>
                <a:gd name="T3" fmla="*/ 13582 h 9"/>
                <a:gd name="T4" fmla="*/ 9638 w 14"/>
                <a:gd name="T5" fmla="*/ 15523 h 9"/>
                <a:gd name="T6" fmla="*/ 7711 w 14"/>
                <a:gd name="T7" fmla="*/ 5821 h 9"/>
                <a:gd name="T8" fmla="*/ 0 w 14"/>
                <a:gd name="T9" fmla="*/ 3881 h 9"/>
                <a:gd name="T10" fmla="*/ 3855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9" name="Freeform 538"/>
            <p:cNvSpPr>
              <a:spLocks noChangeAspect="1"/>
            </p:cNvSpPr>
            <p:nvPr/>
          </p:nvSpPr>
          <p:spPr bwMode="auto">
            <a:xfrm>
              <a:off x="7624863" y="2904182"/>
              <a:ext cx="27230" cy="5158"/>
            </a:xfrm>
            <a:custGeom>
              <a:avLst/>
              <a:gdLst>
                <a:gd name="T0" fmla="*/ 13494 w 14"/>
                <a:gd name="T1" fmla="*/ 0 h 3"/>
                <a:gd name="T2" fmla="*/ 26988 w 14"/>
                <a:gd name="T3" fmla="*/ 4233 h 3"/>
                <a:gd name="T4" fmla="*/ 13494 w 14"/>
                <a:gd name="T5" fmla="*/ 6350 h 3"/>
                <a:gd name="T6" fmla="*/ 0 w 14"/>
                <a:gd name="T7" fmla="*/ 2117 h 3"/>
                <a:gd name="T8" fmla="*/ 13494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0" name="Freeform 539"/>
            <p:cNvSpPr>
              <a:spLocks noChangeAspect="1"/>
            </p:cNvSpPr>
            <p:nvPr/>
          </p:nvSpPr>
          <p:spPr bwMode="auto">
            <a:xfrm>
              <a:off x="7671313" y="3033149"/>
              <a:ext cx="35238" cy="25793"/>
            </a:xfrm>
            <a:custGeom>
              <a:avLst/>
              <a:gdLst>
                <a:gd name="T0" fmla="*/ 19403 w 18"/>
                <a:gd name="T1" fmla="*/ 1868 h 17"/>
                <a:gd name="T2" fmla="*/ 31044 w 18"/>
                <a:gd name="T3" fmla="*/ 1868 h 17"/>
                <a:gd name="T4" fmla="*/ 32985 w 18"/>
                <a:gd name="T5" fmla="*/ 9338 h 17"/>
                <a:gd name="T6" fmla="*/ 25224 w 18"/>
                <a:gd name="T7" fmla="*/ 22412 h 17"/>
                <a:gd name="T8" fmla="*/ 19403 w 18"/>
                <a:gd name="T9" fmla="*/ 29882 h 17"/>
                <a:gd name="T10" fmla="*/ 5821 w 18"/>
                <a:gd name="T11" fmla="*/ 29882 h 17"/>
                <a:gd name="T12" fmla="*/ 0 w 18"/>
                <a:gd name="T13" fmla="*/ 28015 h 17"/>
                <a:gd name="T14" fmla="*/ 11642 w 18"/>
                <a:gd name="T15" fmla="*/ 9338 h 17"/>
                <a:gd name="T16" fmla="*/ 19403 w 18"/>
                <a:gd name="T17" fmla="*/ 1868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1" name="Freeform 540"/>
            <p:cNvSpPr>
              <a:spLocks noChangeAspect="1"/>
            </p:cNvSpPr>
            <p:nvPr/>
          </p:nvSpPr>
          <p:spPr bwMode="auto">
            <a:xfrm>
              <a:off x="7591227" y="2994459"/>
              <a:ext cx="14415" cy="9029"/>
            </a:xfrm>
            <a:custGeom>
              <a:avLst/>
              <a:gdLst>
                <a:gd name="T0" fmla="*/ 7144 w 8"/>
                <a:gd name="T1" fmla="*/ 0 h 6"/>
                <a:gd name="T2" fmla="*/ 12501 w 8"/>
                <a:gd name="T3" fmla="*/ 7409 h 6"/>
                <a:gd name="T4" fmla="*/ 1786 w 8"/>
                <a:gd name="T5" fmla="*/ 7409 h 6"/>
                <a:gd name="T6" fmla="*/ 7144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2" name="Freeform 541"/>
            <p:cNvSpPr>
              <a:spLocks noChangeAspect="1"/>
            </p:cNvSpPr>
            <p:nvPr/>
          </p:nvSpPr>
          <p:spPr bwMode="auto">
            <a:xfrm>
              <a:off x="7594431" y="3002197"/>
              <a:ext cx="9610" cy="7738"/>
            </a:xfrm>
            <a:custGeom>
              <a:avLst/>
              <a:gdLst>
                <a:gd name="T0" fmla="*/ 7620 w 5"/>
                <a:gd name="T1" fmla="*/ 9525 h 5"/>
                <a:gd name="T2" fmla="*/ 9525 w 5"/>
                <a:gd name="T3" fmla="*/ 5715 h 5"/>
                <a:gd name="T4" fmla="*/ 3810 w 5"/>
                <a:gd name="T5" fmla="*/ 0 h 5"/>
                <a:gd name="T6" fmla="*/ 0 w 5"/>
                <a:gd name="T7" fmla="*/ 5715 h 5"/>
                <a:gd name="T8" fmla="*/ 7620 w 5"/>
                <a:gd name="T9" fmla="*/ 952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3" name="Freeform 542"/>
            <p:cNvSpPr>
              <a:spLocks noChangeAspect="1"/>
            </p:cNvSpPr>
            <p:nvPr/>
          </p:nvSpPr>
          <p:spPr bwMode="auto">
            <a:xfrm>
              <a:off x="7586422" y="3003487"/>
              <a:ext cx="14416" cy="20635"/>
            </a:xfrm>
            <a:custGeom>
              <a:avLst/>
              <a:gdLst>
                <a:gd name="T0" fmla="*/ 2041 w 7"/>
                <a:gd name="T1" fmla="*/ 0 h 13"/>
                <a:gd name="T2" fmla="*/ 12247 w 7"/>
                <a:gd name="T3" fmla="*/ 9769 h 13"/>
                <a:gd name="T4" fmla="*/ 12247 w 7"/>
                <a:gd name="T5" fmla="*/ 13677 h 13"/>
                <a:gd name="T6" fmla="*/ 4082 w 7"/>
                <a:gd name="T7" fmla="*/ 23446 h 13"/>
                <a:gd name="T8" fmla="*/ 0 w 7"/>
                <a:gd name="T9" fmla="*/ 21492 h 13"/>
                <a:gd name="T10" fmla="*/ 204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4" name="Freeform 543"/>
            <p:cNvSpPr>
              <a:spLocks noChangeAspect="1"/>
            </p:cNvSpPr>
            <p:nvPr/>
          </p:nvSpPr>
          <p:spPr bwMode="auto">
            <a:xfrm>
              <a:off x="7751399" y="2926107"/>
              <a:ext cx="233850" cy="177975"/>
            </a:xfrm>
            <a:custGeom>
              <a:avLst/>
              <a:gdLst>
                <a:gd name="T0" fmla="*/ 0 w 121"/>
                <a:gd name="T1" fmla="*/ 180975 h 115"/>
                <a:gd name="T2" fmla="*/ 11493 w 121"/>
                <a:gd name="T3" fmla="*/ 184785 h 115"/>
                <a:gd name="T4" fmla="*/ 24901 w 121"/>
                <a:gd name="T5" fmla="*/ 182880 h 115"/>
                <a:gd name="T6" fmla="*/ 40225 w 121"/>
                <a:gd name="T7" fmla="*/ 184785 h 115"/>
                <a:gd name="T8" fmla="*/ 55549 w 121"/>
                <a:gd name="T9" fmla="*/ 180975 h 115"/>
                <a:gd name="T10" fmla="*/ 63211 w 121"/>
                <a:gd name="T11" fmla="*/ 171450 h 115"/>
                <a:gd name="T12" fmla="*/ 44056 w 121"/>
                <a:gd name="T13" fmla="*/ 161925 h 115"/>
                <a:gd name="T14" fmla="*/ 42141 w 121"/>
                <a:gd name="T15" fmla="*/ 158115 h 115"/>
                <a:gd name="T16" fmla="*/ 65127 w 121"/>
                <a:gd name="T17" fmla="*/ 156210 h 115"/>
                <a:gd name="T18" fmla="*/ 70873 w 121"/>
                <a:gd name="T19" fmla="*/ 142875 h 115"/>
                <a:gd name="T20" fmla="*/ 86197 w 121"/>
                <a:gd name="T21" fmla="*/ 137160 h 115"/>
                <a:gd name="T22" fmla="*/ 103437 w 121"/>
                <a:gd name="T23" fmla="*/ 144780 h 115"/>
                <a:gd name="T24" fmla="*/ 126423 w 121"/>
                <a:gd name="T25" fmla="*/ 160020 h 115"/>
                <a:gd name="T26" fmla="*/ 134085 w 121"/>
                <a:gd name="T27" fmla="*/ 177165 h 115"/>
                <a:gd name="T28" fmla="*/ 139831 w 121"/>
                <a:gd name="T29" fmla="*/ 182880 h 115"/>
                <a:gd name="T30" fmla="*/ 158986 w 121"/>
                <a:gd name="T31" fmla="*/ 205740 h 115"/>
                <a:gd name="T32" fmla="*/ 166648 w 121"/>
                <a:gd name="T33" fmla="*/ 209550 h 115"/>
                <a:gd name="T34" fmla="*/ 185803 w 121"/>
                <a:gd name="T35" fmla="*/ 211455 h 115"/>
                <a:gd name="T36" fmla="*/ 210705 w 121"/>
                <a:gd name="T37" fmla="*/ 215265 h 115"/>
                <a:gd name="T38" fmla="*/ 224113 w 121"/>
                <a:gd name="T39" fmla="*/ 217170 h 115"/>
                <a:gd name="T40" fmla="*/ 229860 w 121"/>
                <a:gd name="T41" fmla="*/ 211455 h 115"/>
                <a:gd name="T42" fmla="*/ 212620 w 121"/>
                <a:gd name="T43" fmla="*/ 203835 h 115"/>
                <a:gd name="T44" fmla="*/ 220282 w 121"/>
                <a:gd name="T45" fmla="*/ 196215 h 115"/>
                <a:gd name="T46" fmla="*/ 206874 w 121"/>
                <a:gd name="T47" fmla="*/ 196215 h 115"/>
                <a:gd name="T48" fmla="*/ 199212 w 121"/>
                <a:gd name="T49" fmla="*/ 188595 h 115"/>
                <a:gd name="T50" fmla="*/ 204958 w 121"/>
                <a:gd name="T51" fmla="*/ 180975 h 115"/>
                <a:gd name="T52" fmla="*/ 199212 w 121"/>
                <a:gd name="T53" fmla="*/ 179070 h 115"/>
                <a:gd name="T54" fmla="*/ 183888 w 121"/>
                <a:gd name="T55" fmla="*/ 179070 h 115"/>
                <a:gd name="T56" fmla="*/ 174310 w 121"/>
                <a:gd name="T57" fmla="*/ 169545 h 115"/>
                <a:gd name="T58" fmla="*/ 174310 w 121"/>
                <a:gd name="T59" fmla="*/ 150495 h 115"/>
                <a:gd name="T60" fmla="*/ 166648 w 121"/>
                <a:gd name="T61" fmla="*/ 148590 h 115"/>
                <a:gd name="T62" fmla="*/ 153240 w 121"/>
                <a:gd name="T63" fmla="*/ 135255 h 115"/>
                <a:gd name="T64" fmla="*/ 153240 w 121"/>
                <a:gd name="T65" fmla="*/ 125730 h 115"/>
                <a:gd name="T66" fmla="*/ 147493 w 121"/>
                <a:gd name="T67" fmla="*/ 118110 h 115"/>
                <a:gd name="T68" fmla="*/ 158986 w 121"/>
                <a:gd name="T69" fmla="*/ 112395 h 115"/>
                <a:gd name="T70" fmla="*/ 172395 w 121"/>
                <a:gd name="T71" fmla="*/ 112395 h 115"/>
                <a:gd name="T72" fmla="*/ 162817 w 121"/>
                <a:gd name="T73" fmla="*/ 93345 h 115"/>
                <a:gd name="T74" fmla="*/ 153240 w 121"/>
                <a:gd name="T75" fmla="*/ 93345 h 115"/>
                <a:gd name="T76" fmla="*/ 137916 w 121"/>
                <a:gd name="T77" fmla="*/ 85725 h 115"/>
                <a:gd name="T78" fmla="*/ 118761 w 121"/>
                <a:gd name="T79" fmla="*/ 78105 h 115"/>
                <a:gd name="T80" fmla="*/ 118761 w 121"/>
                <a:gd name="T81" fmla="*/ 68580 h 115"/>
                <a:gd name="T82" fmla="*/ 114930 w 121"/>
                <a:gd name="T83" fmla="*/ 55245 h 115"/>
                <a:gd name="T84" fmla="*/ 99606 w 121"/>
                <a:gd name="T85" fmla="*/ 45720 h 115"/>
                <a:gd name="T86" fmla="*/ 93859 w 121"/>
                <a:gd name="T87" fmla="*/ 34290 h 115"/>
                <a:gd name="T88" fmla="*/ 78535 w 121"/>
                <a:gd name="T89" fmla="*/ 32385 h 115"/>
                <a:gd name="T90" fmla="*/ 61296 w 121"/>
                <a:gd name="T91" fmla="*/ 22860 h 115"/>
                <a:gd name="T92" fmla="*/ 30648 w 121"/>
                <a:gd name="T93" fmla="*/ 11430 h 115"/>
                <a:gd name="T94" fmla="*/ 13408 w 121"/>
                <a:gd name="T95" fmla="*/ 1905 h 115"/>
                <a:gd name="T96" fmla="*/ 5746 w 121"/>
                <a:gd name="T97" fmla="*/ 1905 h 115"/>
                <a:gd name="T98" fmla="*/ 5746 w 121"/>
                <a:gd name="T99" fmla="*/ 102870 h 115"/>
                <a:gd name="T100" fmla="*/ 0 w 121"/>
                <a:gd name="T101" fmla="*/ 112395 h 115"/>
                <a:gd name="T102" fmla="*/ 3831 w 121"/>
                <a:gd name="T103" fmla="*/ 120015 h 115"/>
                <a:gd name="T104" fmla="*/ 0 w 121"/>
                <a:gd name="T105" fmla="*/ 180975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5" name="Freeform 544"/>
            <p:cNvSpPr>
              <a:spLocks noChangeAspect="1"/>
            </p:cNvSpPr>
            <p:nvPr/>
          </p:nvSpPr>
          <p:spPr bwMode="auto">
            <a:xfrm>
              <a:off x="7893951" y="2909341"/>
              <a:ext cx="19221" cy="9029"/>
            </a:xfrm>
            <a:custGeom>
              <a:avLst/>
              <a:gdLst>
                <a:gd name="T0" fmla="*/ 1905 w 10"/>
                <a:gd name="T1" fmla="*/ 1852 h 6"/>
                <a:gd name="T2" fmla="*/ 17145 w 10"/>
                <a:gd name="T3" fmla="*/ 1852 h 6"/>
                <a:gd name="T4" fmla="*/ 17145 w 10"/>
                <a:gd name="T5" fmla="*/ 7409 h 6"/>
                <a:gd name="T6" fmla="*/ 1905 w 10"/>
                <a:gd name="T7" fmla="*/ 9261 h 6"/>
                <a:gd name="T8" fmla="*/ 1905 w 10"/>
                <a:gd name="T9" fmla="*/ 1852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6" name="Freeform 545"/>
            <p:cNvSpPr>
              <a:spLocks noChangeAspect="1"/>
            </p:cNvSpPr>
            <p:nvPr/>
          </p:nvSpPr>
          <p:spPr bwMode="auto">
            <a:xfrm>
              <a:off x="7933993" y="2959638"/>
              <a:ext cx="99306" cy="49008"/>
            </a:xfrm>
            <a:custGeom>
              <a:avLst/>
              <a:gdLst>
                <a:gd name="T0" fmla="*/ 5790 w 51"/>
                <a:gd name="T1" fmla="*/ 36973 h 31"/>
                <a:gd name="T2" fmla="*/ 28949 w 51"/>
                <a:gd name="T3" fmla="*/ 38919 h 31"/>
                <a:gd name="T4" fmla="*/ 40528 w 51"/>
                <a:gd name="T5" fmla="*/ 36973 h 31"/>
                <a:gd name="T6" fmla="*/ 40528 w 51"/>
                <a:gd name="T7" fmla="*/ 29190 h 31"/>
                <a:gd name="T8" fmla="*/ 48248 w 51"/>
                <a:gd name="T9" fmla="*/ 36973 h 31"/>
                <a:gd name="T10" fmla="*/ 61757 w 51"/>
                <a:gd name="T11" fmla="*/ 35027 h 31"/>
                <a:gd name="T12" fmla="*/ 69476 w 51"/>
                <a:gd name="T13" fmla="*/ 21406 h 31"/>
                <a:gd name="T14" fmla="*/ 81056 w 51"/>
                <a:gd name="T15" fmla="*/ 21406 h 31"/>
                <a:gd name="T16" fmla="*/ 79126 w 51"/>
                <a:gd name="T17" fmla="*/ 5838 h 31"/>
                <a:gd name="T18" fmla="*/ 88775 w 51"/>
                <a:gd name="T19" fmla="*/ 3892 h 31"/>
                <a:gd name="T20" fmla="*/ 96495 w 51"/>
                <a:gd name="T21" fmla="*/ 1946 h 31"/>
                <a:gd name="T22" fmla="*/ 96495 w 51"/>
                <a:gd name="T23" fmla="*/ 17514 h 31"/>
                <a:gd name="T24" fmla="*/ 90705 w 51"/>
                <a:gd name="T25" fmla="*/ 23352 h 31"/>
                <a:gd name="T26" fmla="*/ 90705 w 51"/>
                <a:gd name="T27" fmla="*/ 33081 h 31"/>
                <a:gd name="T28" fmla="*/ 81056 w 51"/>
                <a:gd name="T29" fmla="*/ 42811 h 31"/>
                <a:gd name="T30" fmla="*/ 75266 w 51"/>
                <a:gd name="T31" fmla="*/ 42811 h 31"/>
                <a:gd name="T32" fmla="*/ 67547 w 51"/>
                <a:gd name="T33" fmla="*/ 50595 h 31"/>
                <a:gd name="T34" fmla="*/ 42458 w 51"/>
                <a:gd name="T35" fmla="*/ 58379 h 31"/>
                <a:gd name="T36" fmla="*/ 25089 w 51"/>
                <a:gd name="T37" fmla="*/ 58379 h 31"/>
                <a:gd name="T38" fmla="*/ 3860 w 51"/>
                <a:gd name="T39" fmla="*/ 46703 h 31"/>
                <a:gd name="T40" fmla="*/ 1930 w 51"/>
                <a:gd name="T41" fmla="*/ 40865 h 31"/>
                <a:gd name="T42" fmla="*/ 5790 w 51"/>
                <a:gd name="T43" fmla="*/ 3697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7" name="Freeform 546"/>
            <p:cNvSpPr>
              <a:spLocks noChangeAspect="1"/>
            </p:cNvSpPr>
            <p:nvPr/>
          </p:nvSpPr>
          <p:spPr bwMode="auto">
            <a:xfrm>
              <a:off x="7994859" y="2920948"/>
              <a:ext cx="54458" cy="54167"/>
            </a:xfrm>
            <a:custGeom>
              <a:avLst/>
              <a:gdLst>
                <a:gd name="T0" fmla="*/ 53975 w 29"/>
                <a:gd name="T1" fmla="*/ 55245 h 35"/>
                <a:gd name="T2" fmla="*/ 50253 w 29"/>
                <a:gd name="T3" fmla="*/ 66675 h 35"/>
                <a:gd name="T4" fmla="*/ 44669 w 29"/>
                <a:gd name="T5" fmla="*/ 64770 h 35"/>
                <a:gd name="T6" fmla="*/ 42808 w 29"/>
                <a:gd name="T7" fmla="*/ 47625 h 35"/>
                <a:gd name="T8" fmla="*/ 31641 w 29"/>
                <a:gd name="T9" fmla="*/ 32385 h 35"/>
                <a:gd name="T10" fmla="*/ 16751 w 29"/>
                <a:gd name="T11" fmla="*/ 20955 h 35"/>
                <a:gd name="T12" fmla="*/ 1861 w 29"/>
                <a:gd name="T13" fmla="*/ 5715 h 35"/>
                <a:gd name="T14" fmla="*/ 3722 w 29"/>
                <a:gd name="T15" fmla="*/ 1905 h 35"/>
                <a:gd name="T16" fmla="*/ 20473 w 29"/>
                <a:gd name="T17" fmla="*/ 15240 h 35"/>
                <a:gd name="T18" fmla="*/ 31641 w 29"/>
                <a:gd name="T19" fmla="*/ 26670 h 35"/>
                <a:gd name="T20" fmla="*/ 40947 w 29"/>
                <a:gd name="T21" fmla="*/ 41910 h 35"/>
                <a:gd name="T22" fmla="*/ 48391 w 29"/>
                <a:gd name="T23" fmla="*/ 43815 h 35"/>
                <a:gd name="T24" fmla="*/ 53975 w 29"/>
                <a:gd name="T25" fmla="*/ 5524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8" name="Freeform 547"/>
            <p:cNvSpPr>
              <a:spLocks noChangeAspect="1"/>
            </p:cNvSpPr>
            <p:nvPr/>
          </p:nvSpPr>
          <p:spPr bwMode="auto">
            <a:xfrm>
              <a:off x="8087758" y="2989300"/>
              <a:ext cx="28831" cy="30953"/>
            </a:xfrm>
            <a:custGeom>
              <a:avLst/>
              <a:gdLst>
                <a:gd name="T0" fmla="*/ 1905 w 15"/>
                <a:gd name="T1" fmla="*/ 3810 h 20"/>
                <a:gd name="T2" fmla="*/ 1905 w 15"/>
                <a:gd name="T3" fmla="*/ 13335 h 20"/>
                <a:gd name="T4" fmla="*/ 11430 w 15"/>
                <a:gd name="T5" fmla="*/ 24765 h 20"/>
                <a:gd name="T6" fmla="*/ 11430 w 15"/>
                <a:gd name="T7" fmla="*/ 34290 h 20"/>
                <a:gd name="T8" fmla="*/ 22860 w 15"/>
                <a:gd name="T9" fmla="*/ 36195 h 20"/>
                <a:gd name="T10" fmla="*/ 26670 w 15"/>
                <a:gd name="T11" fmla="*/ 26670 h 20"/>
                <a:gd name="T12" fmla="*/ 15240 w 15"/>
                <a:gd name="T13" fmla="*/ 17145 h 20"/>
                <a:gd name="T14" fmla="*/ 9525 w 15"/>
                <a:gd name="T15" fmla="*/ 7620 h 20"/>
                <a:gd name="T16" fmla="*/ 1905 w 15"/>
                <a:gd name="T17" fmla="*/ 381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9" name="Freeform 548"/>
            <p:cNvSpPr>
              <a:spLocks noChangeAspect="1"/>
            </p:cNvSpPr>
            <p:nvPr/>
          </p:nvSpPr>
          <p:spPr bwMode="auto">
            <a:xfrm>
              <a:off x="8129403" y="3017674"/>
              <a:ext cx="22424" cy="18056"/>
            </a:xfrm>
            <a:custGeom>
              <a:avLst/>
              <a:gdLst>
                <a:gd name="T0" fmla="*/ 3704 w 12"/>
                <a:gd name="T1" fmla="*/ 0 h 12"/>
                <a:gd name="T2" fmla="*/ 1852 w 12"/>
                <a:gd name="T3" fmla="*/ 1852 h 12"/>
                <a:gd name="T4" fmla="*/ 11113 w 12"/>
                <a:gd name="T5" fmla="*/ 16669 h 12"/>
                <a:gd name="T6" fmla="*/ 20373 w 12"/>
                <a:gd name="T7" fmla="*/ 20373 h 12"/>
                <a:gd name="T8" fmla="*/ 16669 w 12"/>
                <a:gd name="T9" fmla="*/ 9260 h 12"/>
                <a:gd name="T10" fmla="*/ 3704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0" name="Freeform 549"/>
            <p:cNvSpPr>
              <a:spLocks noChangeAspect="1"/>
            </p:cNvSpPr>
            <p:nvPr/>
          </p:nvSpPr>
          <p:spPr bwMode="auto">
            <a:xfrm>
              <a:off x="8175852" y="3039598"/>
              <a:ext cx="35238" cy="19345"/>
            </a:xfrm>
            <a:custGeom>
              <a:avLst/>
              <a:gdLst>
                <a:gd name="T0" fmla="*/ 5514 w 19"/>
                <a:gd name="T1" fmla="*/ 0 h 13"/>
                <a:gd name="T2" fmla="*/ 0 w 19"/>
                <a:gd name="T3" fmla="*/ 1832 h 13"/>
                <a:gd name="T4" fmla="*/ 5514 w 19"/>
                <a:gd name="T5" fmla="*/ 10990 h 13"/>
                <a:gd name="T6" fmla="*/ 20220 w 19"/>
                <a:gd name="T7" fmla="*/ 20149 h 13"/>
                <a:gd name="T8" fmla="*/ 31249 w 19"/>
                <a:gd name="T9" fmla="*/ 23812 h 13"/>
                <a:gd name="T10" fmla="*/ 33087 w 19"/>
                <a:gd name="T11" fmla="*/ 18317 h 13"/>
                <a:gd name="T12" fmla="*/ 23896 w 19"/>
                <a:gd name="T13" fmla="*/ 10990 h 13"/>
                <a:gd name="T14" fmla="*/ 11029 w 19"/>
                <a:gd name="T15" fmla="*/ 7327 h 13"/>
                <a:gd name="T16" fmla="*/ 5514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1" name="Freeform 550"/>
            <p:cNvSpPr>
              <a:spLocks noChangeAspect="1"/>
            </p:cNvSpPr>
            <p:nvPr/>
          </p:nvSpPr>
          <p:spPr bwMode="auto">
            <a:xfrm>
              <a:off x="8227107" y="3053785"/>
              <a:ext cx="20823" cy="32243"/>
            </a:xfrm>
            <a:custGeom>
              <a:avLst/>
              <a:gdLst>
                <a:gd name="T0" fmla="*/ 7505 w 11"/>
                <a:gd name="T1" fmla="*/ 1890 h 21"/>
                <a:gd name="T2" fmla="*/ 1876 w 11"/>
                <a:gd name="T3" fmla="*/ 1890 h 21"/>
                <a:gd name="T4" fmla="*/ 3752 w 11"/>
                <a:gd name="T5" fmla="*/ 9450 h 21"/>
                <a:gd name="T6" fmla="*/ 5629 w 11"/>
                <a:gd name="T7" fmla="*/ 24569 h 21"/>
                <a:gd name="T8" fmla="*/ 16886 w 11"/>
                <a:gd name="T9" fmla="*/ 39688 h 21"/>
                <a:gd name="T10" fmla="*/ 16886 w 11"/>
                <a:gd name="T11" fmla="*/ 26459 h 21"/>
                <a:gd name="T12" fmla="*/ 9381 w 11"/>
                <a:gd name="T13" fmla="*/ 15119 h 21"/>
                <a:gd name="T14" fmla="*/ 9381 w 11"/>
                <a:gd name="T15" fmla="*/ 7560 h 21"/>
                <a:gd name="T16" fmla="*/ 7505 w 11"/>
                <a:gd name="T17" fmla="*/ 189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2" name="Freeform 551"/>
            <p:cNvSpPr>
              <a:spLocks noChangeAspect="1"/>
            </p:cNvSpPr>
            <p:nvPr/>
          </p:nvSpPr>
          <p:spPr bwMode="auto">
            <a:xfrm>
              <a:off x="8243123" y="3100213"/>
              <a:ext cx="24026" cy="12897"/>
            </a:xfrm>
            <a:custGeom>
              <a:avLst/>
              <a:gdLst>
                <a:gd name="T0" fmla="*/ 5495 w 13"/>
                <a:gd name="T1" fmla="*/ 0 h 9"/>
                <a:gd name="T2" fmla="*/ 0 w 13"/>
                <a:gd name="T3" fmla="*/ 3528 h 9"/>
                <a:gd name="T4" fmla="*/ 5495 w 13"/>
                <a:gd name="T5" fmla="*/ 7056 h 9"/>
                <a:gd name="T6" fmla="*/ 12822 w 13"/>
                <a:gd name="T7" fmla="*/ 14111 h 9"/>
                <a:gd name="T8" fmla="*/ 20149 w 13"/>
                <a:gd name="T9" fmla="*/ 15875 h 9"/>
                <a:gd name="T10" fmla="*/ 23813 w 13"/>
                <a:gd name="T11" fmla="*/ 12347 h 9"/>
                <a:gd name="T12" fmla="*/ 20149 w 13"/>
                <a:gd name="T13" fmla="*/ 7056 h 9"/>
                <a:gd name="T14" fmla="*/ 10991 w 13"/>
                <a:gd name="T15" fmla="*/ 3528 h 9"/>
                <a:gd name="T16" fmla="*/ 5495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3" name="Freeform 552"/>
            <p:cNvSpPr>
              <a:spLocks noChangeAspect="1"/>
            </p:cNvSpPr>
            <p:nvPr/>
          </p:nvSpPr>
          <p:spPr bwMode="auto">
            <a:xfrm>
              <a:off x="8143818" y="3047336"/>
              <a:ext cx="16017" cy="11607"/>
            </a:xfrm>
            <a:custGeom>
              <a:avLst/>
              <a:gdLst>
                <a:gd name="T0" fmla="*/ 11906 w 8"/>
                <a:gd name="T1" fmla="*/ 1786 h 8"/>
                <a:gd name="T2" fmla="*/ 5953 w 8"/>
                <a:gd name="T3" fmla="*/ 1786 h 8"/>
                <a:gd name="T4" fmla="*/ 1984 w 8"/>
                <a:gd name="T5" fmla="*/ 8929 h 8"/>
                <a:gd name="T6" fmla="*/ 11906 w 8"/>
                <a:gd name="T7" fmla="*/ 14287 h 8"/>
                <a:gd name="T8" fmla="*/ 15875 w 8"/>
                <a:gd name="T9" fmla="*/ 12501 h 8"/>
                <a:gd name="T10" fmla="*/ 11906 w 8"/>
                <a:gd name="T11" fmla="*/ 5358 h 8"/>
                <a:gd name="T12" fmla="*/ 11906 w 8"/>
                <a:gd name="T13" fmla="*/ 1786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4" name="Freeform 553"/>
            <p:cNvSpPr>
              <a:spLocks noChangeAspect="1"/>
            </p:cNvSpPr>
            <p:nvPr/>
          </p:nvSpPr>
          <p:spPr bwMode="auto">
            <a:xfrm>
              <a:off x="8201479" y="3079578"/>
              <a:ext cx="32034" cy="14187"/>
            </a:xfrm>
            <a:custGeom>
              <a:avLst/>
              <a:gdLst>
                <a:gd name="T0" fmla="*/ 5953 w 16"/>
                <a:gd name="T1" fmla="*/ 0 h 9"/>
                <a:gd name="T2" fmla="*/ 0 w 16"/>
                <a:gd name="T3" fmla="*/ 1940 h 9"/>
                <a:gd name="T4" fmla="*/ 1984 w 16"/>
                <a:gd name="T5" fmla="*/ 11642 h 9"/>
                <a:gd name="T6" fmla="*/ 21828 w 16"/>
                <a:gd name="T7" fmla="*/ 15523 h 9"/>
                <a:gd name="T8" fmla="*/ 29766 w 16"/>
                <a:gd name="T9" fmla="*/ 15523 h 9"/>
                <a:gd name="T10" fmla="*/ 27781 w 16"/>
                <a:gd name="T11" fmla="*/ 9702 h 9"/>
                <a:gd name="T12" fmla="*/ 21828 w 16"/>
                <a:gd name="T13" fmla="*/ 1940 h 9"/>
                <a:gd name="T14" fmla="*/ 11906 w 16"/>
                <a:gd name="T15" fmla="*/ 1940 h 9"/>
                <a:gd name="T16" fmla="*/ 5953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5" name="Freeform 554"/>
            <p:cNvSpPr>
              <a:spLocks noChangeAspect="1"/>
            </p:cNvSpPr>
            <p:nvPr/>
          </p:nvSpPr>
          <p:spPr bwMode="auto">
            <a:xfrm>
              <a:off x="8204682" y="3131165"/>
              <a:ext cx="20823" cy="5158"/>
            </a:xfrm>
            <a:custGeom>
              <a:avLst/>
              <a:gdLst>
                <a:gd name="T0" fmla="*/ 3752 w 11"/>
                <a:gd name="T1" fmla="*/ 0 h 4"/>
                <a:gd name="T2" fmla="*/ 1876 w 11"/>
                <a:gd name="T3" fmla="*/ 3175 h 4"/>
                <a:gd name="T4" fmla="*/ 18762 w 11"/>
                <a:gd name="T5" fmla="*/ 6350 h 4"/>
                <a:gd name="T6" fmla="*/ 18762 w 11"/>
                <a:gd name="T7" fmla="*/ 3175 h 4"/>
                <a:gd name="T8" fmla="*/ 375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6" name="Freeform 555"/>
            <p:cNvSpPr>
              <a:spLocks noChangeAspect="1"/>
            </p:cNvSpPr>
            <p:nvPr/>
          </p:nvSpPr>
          <p:spPr bwMode="auto">
            <a:xfrm>
              <a:off x="7219630" y="2451505"/>
              <a:ext cx="115323" cy="135417"/>
            </a:xfrm>
            <a:custGeom>
              <a:avLst/>
              <a:gdLst>
                <a:gd name="T0" fmla="*/ 55245 w 60"/>
                <a:gd name="T1" fmla="*/ 1894 h 88"/>
                <a:gd name="T2" fmla="*/ 60960 w 60"/>
                <a:gd name="T3" fmla="*/ 9471 h 88"/>
                <a:gd name="T4" fmla="*/ 55245 w 60"/>
                <a:gd name="T5" fmla="*/ 26518 h 88"/>
                <a:gd name="T6" fmla="*/ 66675 w 60"/>
                <a:gd name="T7" fmla="*/ 43566 h 88"/>
                <a:gd name="T8" fmla="*/ 60960 w 60"/>
                <a:gd name="T9" fmla="*/ 68190 h 88"/>
                <a:gd name="T10" fmla="*/ 45720 w 60"/>
                <a:gd name="T11" fmla="*/ 85238 h 88"/>
                <a:gd name="T12" fmla="*/ 45720 w 60"/>
                <a:gd name="T13" fmla="*/ 96603 h 88"/>
                <a:gd name="T14" fmla="*/ 53340 w 60"/>
                <a:gd name="T15" fmla="*/ 111756 h 88"/>
                <a:gd name="T16" fmla="*/ 45720 w 60"/>
                <a:gd name="T17" fmla="*/ 121227 h 88"/>
                <a:gd name="T18" fmla="*/ 68580 w 60"/>
                <a:gd name="T19" fmla="*/ 134486 h 88"/>
                <a:gd name="T20" fmla="*/ 76200 w 60"/>
                <a:gd name="T21" fmla="*/ 125015 h 88"/>
                <a:gd name="T22" fmla="*/ 91440 w 60"/>
                <a:gd name="T23" fmla="*/ 142063 h 88"/>
                <a:gd name="T24" fmla="*/ 95250 w 60"/>
                <a:gd name="T25" fmla="*/ 130698 h 88"/>
                <a:gd name="T26" fmla="*/ 112395 w 60"/>
                <a:gd name="T27" fmla="*/ 136380 h 88"/>
                <a:gd name="T28" fmla="*/ 99060 w 60"/>
                <a:gd name="T29" fmla="*/ 142063 h 88"/>
                <a:gd name="T30" fmla="*/ 110490 w 60"/>
                <a:gd name="T31" fmla="*/ 157216 h 88"/>
                <a:gd name="T32" fmla="*/ 110490 w 60"/>
                <a:gd name="T33" fmla="*/ 166687 h 88"/>
                <a:gd name="T34" fmla="*/ 97155 w 60"/>
                <a:gd name="T35" fmla="*/ 157216 h 88"/>
                <a:gd name="T36" fmla="*/ 81915 w 60"/>
                <a:gd name="T37" fmla="*/ 143957 h 88"/>
                <a:gd name="T38" fmla="*/ 74295 w 60"/>
                <a:gd name="T39" fmla="*/ 136380 h 88"/>
                <a:gd name="T40" fmla="*/ 72390 w 60"/>
                <a:gd name="T41" fmla="*/ 140169 h 88"/>
                <a:gd name="T42" fmla="*/ 74295 w 60"/>
                <a:gd name="T43" fmla="*/ 149639 h 88"/>
                <a:gd name="T44" fmla="*/ 64770 w 60"/>
                <a:gd name="T45" fmla="*/ 140169 h 88"/>
                <a:gd name="T46" fmla="*/ 49530 w 60"/>
                <a:gd name="T47" fmla="*/ 134486 h 88"/>
                <a:gd name="T48" fmla="*/ 47625 w 60"/>
                <a:gd name="T49" fmla="*/ 138274 h 88"/>
                <a:gd name="T50" fmla="*/ 30480 w 60"/>
                <a:gd name="T51" fmla="*/ 134486 h 88"/>
                <a:gd name="T52" fmla="*/ 24765 w 60"/>
                <a:gd name="T53" fmla="*/ 126909 h 88"/>
                <a:gd name="T54" fmla="*/ 32385 w 60"/>
                <a:gd name="T55" fmla="*/ 123121 h 88"/>
                <a:gd name="T56" fmla="*/ 43815 w 60"/>
                <a:gd name="T57" fmla="*/ 123121 h 88"/>
                <a:gd name="T58" fmla="*/ 30480 w 60"/>
                <a:gd name="T59" fmla="*/ 113650 h 88"/>
                <a:gd name="T60" fmla="*/ 22860 w 60"/>
                <a:gd name="T61" fmla="*/ 111756 h 88"/>
                <a:gd name="T62" fmla="*/ 22860 w 60"/>
                <a:gd name="T63" fmla="*/ 121227 h 88"/>
                <a:gd name="T64" fmla="*/ 13335 w 60"/>
                <a:gd name="T65" fmla="*/ 113650 h 88"/>
                <a:gd name="T66" fmla="*/ 9525 w 60"/>
                <a:gd name="T67" fmla="*/ 100391 h 88"/>
                <a:gd name="T68" fmla="*/ 5715 w 60"/>
                <a:gd name="T69" fmla="*/ 92814 h 88"/>
                <a:gd name="T70" fmla="*/ 7620 w 60"/>
                <a:gd name="T71" fmla="*/ 81449 h 88"/>
                <a:gd name="T72" fmla="*/ 0 w 60"/>
                <a:gd name="T73" fmla="*/ 71978 h 88"/>
                <a:gd name="T74" fmla="*/ 3810 w 60"/>
                <a:gd name="T75" fmla="*/ 62508 h 88"/>
                <a:gd name="T76" fmla="*/ 13335 w 60"/>
                <a:gd name="T77" fmla="*/ 73873 h 88"/>
                <a:gd name="T78" fmla="*/ 13335 w 60"/>
                <a:gd name="T79" fmla="*/ 53037 h 88"/>
                <a:gd name="T80" fmla="*/ 7620 w 60"/>
                <a:gd name="T81" fmla="*/ 30307 h 88"/>
                <a:gd name="T82" fmla="*/ 15240 w 60"/>
                <a:gd name="T83" fmla="*/ 3788 h 88"/>
                <a:gd name="T84" fmla="*/ 32385 w 60"/>
                <a:gd name="T85" fmla="*/ 5683 h 88"/>
                <a:gd name="T86" fmla="*/ 49530 w 60"/>
                <a:gd name="T87" fmla="*/ 11365 h 88"/>
                <a:gd name="T88" fmla="*/ 55245 w 60"/>
                <a:gd name="T89" fmla="*/ 1894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7" name="Freeform 556"/>
            <p:cNvSpPr>
              <a:spLocks noChangeAspect="1"/>
            </p:cNvSpPr>
            <p:nvPr/>
          </p:nvSpPr>
          <p:spPr bwMode="auto">
            <a:xfrm>
              <a:off x="7237249" y="2567577"/>
              <a:ext cx="40043" cy="32242"/>
            </a:xfrm>
            <a:custGeom>
              <a:avLst/>
              <a:gdLst>
                <a:gd name="T0" fmla="*/ 17009 w 21"/>
                <a:gd name="T1" fmla="*/ 1890 h 21"/>
                <a:gd name="T2" fmla="*/ 35908 w 21"/>
                <a:gd name="T3" fmla="*/ 9449 h 21"/>
                <a:gd name="T4" fmla="*/ 35908 w 21"/>
                <a:gd name="T5" fmla="*/ 15119 h 21"/>
                <a:gd name="T6" fmla="*/ 35908 w 21"/>
                <a:gd name="T7" fmla="*/ 35907 h 21"/>
                <a:gd name="T8" fmla="*/ 22679 w 21"/>
                <a:gd name="T9" fmla="*/ 35907 h 21"/>
                <a:gd name="T10" fmla="*/ 13229 w 21"/>
                <a:gd name="T11" fmla="*/ 13229 h 21"/>
                <a:gd name="T12" fmla="*/ 0 w 21"/>
                <a:gd name="T13" fmla="*/ 7559 h 21"/>
                <a:gd name="T14" fmla="*/ 5670 w 21"/>
                <a:gd name="T15" fmla="*/ 1890 h 21"/>
                <a:gd name="T16" fmla="*/ 17009 w 21"/>
                <a:gd name="T17" fmla="*/ 189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8" name="Freeform 557"/>
            <p:cNvSpPr>
              <a:spLocks noChangeAspect="1"/>
            </p:cNvSpPr>
            <p:nvPr/>
          </p:nvSpPr>
          <p:spPr bwMode="auto">
            <a:xfrm>
              <a:off x="7338157" y="2590791"/>
              <a:ext cx="38441" cy="33532"/>
            </a:xfrm>
            <a:custGeom>
              <a:avLst/>
              <a:gdLst>
                <a:gd name="T0" fmla="*/ 3810 w 20"/>
                <a:gd name="T1" fmla="*/ 0 h 22"/>
                <a:gd name="T2" fmla="*/ 0 w 20"/>
                <a:gd name="T3" fmla="*/ 3752 h 22"/>
                <a:gd name="T4" fmla="*/ 9525 w 20"/>
                <a:gd name="T5" fmla="*/ 18761 h 22"/>
                <a:gd name="T6" fmla="*/ 15240 w 20"/>
                <a:gd name="T7" fmla="*/ 20638 h 22"/>
                <a:gd name="T8" fmla="*/ 17145 w 20"/>
                <a:gd name="T9" fmla="*/ 31894 h 22"/>
                <a:gd name="T10" fmla="*/ 28575 w 20"/>
                <a:gd name="T11" fmla="*/ 37523 h 22"/>
                <a:gd name="T12" fmla="*/ 36195 w 20"/>
                <a:gd name="T13" fmla="*/ 39399 h 22"/>
                <a:gd name="T14" fmla="*/ 32385 w 20"/>
                <a:gd name="T15" fmla="*/ 31894 h 22"/>
                <a:gd name="T16" fmla="*/ 36195 w 20"/>
                <a:gd name="T17" fmla="*/ 28142 h 22"/>
                <a:gd name="T18" fmla="*/ 30480 w 20"/>
                <a:gd name="T19" fmla="*/ 18761 h 22"/>
                <a:gd name="T20" fmla="*/ 30480 w 20"/>
                <a:gd name="T21" fmla="*/ 7505 h 22"/>
                <a:gd name="T22" fmla="*/ 22860 w 20"/>
                <a:gd name="T23" fmla="*/ 0 h 22"/>
                <a:gd name="T24" fmla="*/ 9525 w 20"/>
                <a:gd name="T25" fmla="*/ 0 h 22"/>
                <a:gd name="T26" fmla="*/ 3810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9" name="Freeform 558"/>
            <p:cNvSpPr>
              <a:spLocks noChangeAspect="1"/>
            </p:cNvSpPr>
            <p:nvPr/>
          </p:nvSpPr>
          <p:spPr bwMode="auto">
            <a:xfrm>
              <a:off x="7278893" y="2602397"/>
              <a:ext cx="36840" cy="36111"/>
            </a:xfrm>
            <a:custGeom>
              <a:avLst/>
              <a:gdLst>
                <a:gd name="T0" fmla="*/ 5765 w 19"/>
                <a:gd name="T1" fmla="*/ 1933 h 23"/>
                <a:gd name="T2" fmla="*/ 1922 w 19"/>
                <a:gd name="T3" fmla="*/ 5798 h 23"/>
                <a:gd name="T4" fmla="*/ 11530 w 19"/>
                <a:gd name="T5" fmla="*/ 15461 h 23"/>
                <a:gd name="T6" fmla="*/ 3843 w 19"/>
                <a:gd name="T7" fmla="*/ 36720 h 23"/>
                <a:gd name="T8" fmla="*/ 3843 w 19"/>
                <a:gd name="T9" fmla="*/ 44450 h 23"/>
                <a:gd name="T10" fmla="*/ 13452 w 19"/>
                <a:gd name="T11" fmla="*/ 36720 h 23"/>
                <a:gd name="T12" fmla="*/ 23061 w 19"/>
                <a:gd name="T13" fmla="*/ 32854 h 23"/>
                <a:gd name="T14" fmla="*/ 24983 w 19"/>
                <a:gd name="T15" fmla="*/ 28989 h 23"/>
                <a:gd name="T16" fmla="*/ 34591 w 19"/>
                <a:gd name="T17" fmla="*/ 13528 h 23"/>
                <a:gd name="T18" fmla="*/ 30748 w 19"/>
                <a:gd name="T19" fmla="*/ 7730 h 23"/>
                <a:gd name="T20" fmla="*/ 23061 w 19"/>
                <a:gd name="T21" fmla="*/ 11596 h 23"/>
                <a:gd name="T22" fmla="*/ 13452 w 19"/>
                <a:gd name="T23" fmla="*/ 5798 h 23"/>
                <a:gd name="T24" fmla="*/ 5765 w 19"/>
                <a:gd name="T25" fmla="*/ 1933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0" name="Freeform 559"/>
            <p:cNvSpPr>
              <a:spLocks noChangeAspect="1"/>
            </p:cNvSpPr>
            <p:nvPr/>
          </p:nvSpPr>
          <p:spPr bwMode="auto">
            <a:xfrm>
              <a:off x="7307723" y="2593370"/>
              <a:ext cx="27230" cy="14186"/>
            </a:xfrm>
            <a:custGeom>
              <a:avLst/>
              <a:gdLst>
                <a:gd name="T0" fmla="*/ 7711 w 14"/>
                <a:gd name="T1" fmla="*/ 3880 h 9"/>
                <a:gd name="T2" fmla="*/ 7711 w 14"/>
                <a:gd name="T3" fmla="*/ 3880 h 9"/>
                <a:gd name="T4" fmla="*/ 13494 w 14"/>
                <a:gd name="T5" fmla="*/ 7761 h 9"/>
                <a:gd name="T6" fmla="*/ 25060 w 14"/>
                <a:gd name="T7" fmla="*/ 17462 h 9"/>
                <a:gd name="T8" fmla="*/ 26988 w 14"/>
                <a:gd name="T9" fmla="*/ 15522 h 9"/>
                <a:gd name="T10" fmla="*/ 23133 w 14"/>
                <a:gd name="T11" fmla="*/ 5821 h 9"/>
                <a:gd name="T12" fmla="*/ 11566 w 14"/>
                <a:gd name="T13" fmla="*/ 0 h 9"/>
                <a:gd name="T14" fmla="*/ 5783 w 14"/>
                <a:gd name="T15" fmla="*/ 1940 h 9"/>
                <a:gd name="T16" fmla="*/ 1928 w 14"/>
                <a:gd name="T17" fmla="*/ 5821 h 9"/>
                <a:gd name="T18" fmla="*/ 7711 w 14"/>
                <a:gd name="T19" fmla="*/ 388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9"/>
                <a:gd name="T32" fmla="*/ 14 w 14"/>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9">
                  <a:moveTo>
                    <a:pt x="4" y="2"/>
                  </a:moveTo>
                  <a:cubicBezTo>
                    <a:pt x="4" y="2"/>
                    <a:pt x="4" y="2"/>
                    <a:pt x="4" y="2"/>
                  </a:cubicBezTo>
                  <a:cubicBezTo>
                    <a:pt x="5" y="3"/>
                    <a:pt x="6" y="3"/>
                    <a:pt x="7" y="4"/>
                  </a:cubicBezTo>
                  <a:cubicBezTo>
                    <a:pt x="9" y="6"/>
                    <a:pt x="10" y="8"/>
                    <a:pt x="13" y="9"/>
                  </a:cubicBezTo>
                  <a:cubicBezTo>
                    <a:pt x="13" y="9"/>
                    <a:pt x="14" y="8"/>
                    <a:pt x="14" y="8"/>
                  </a:cubicBezTo>
                  <a:cubicBezTo>
                    <a:pt x="13" y="6"/>
                    <a:pt x="13" y="5"/>
                    <a:pt x="12" y="3"/>
                  </a:cubicBezTo>
                  <a:cubicBezTo>
                    <a:pt x="10" y="2"/>
                    <a:pt x="8" y="1"/>
                    <a:pt x="6" y="0"/>
                  </a:cubicBezTo>
                  <a:cubicBezTo>
                    <a:pt x="5" y="0"/>
                    <a:pt x="4" y="0"/>
                    <a:pt x="3" y="1"/>
                  </a:cubicBezTo>
                  <a:cubicBezTo>
                    <a:pt x="2" y="1"/>
                    <a:pt x="0" y="2"/>
                    <a:pt x="1" y="3"/>
                  </a:cubicBezTo>
                  <a:cubicBezTo>
                    <a:pt x="1" y="4"/>
                    <a:pt x="3" y="3"/>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1" name="Freeform 560"/>
            <p:cNvSpPr>
              <a:spLocks noChangeAspect="1"/>
            </p:cNvSpPr>
            <p:nvPr/>
          </p:nvSpPr>
          <p:spPr bwMode="auto">
            <a:xfrm>
              <a:off x="7294910" y="2624322"/>
              <a:ext cx="27230" cy="43849"/>
            </a:xfrm>
            <a:custGeom>
              <a:avLst/>
              <a:gdLst>
                <a:gd name="T0" fmla="*/ 25060 w 14"/>
                <a:gd name="T1" fmla="*/ 3855 h 28"/>
                <a:gd name="T2" fmla="*/ 19277 w 14"/>
                <a:gd name="T3" fmla="*/ 0 h 28"/>
                <a:gd name="T4" fmla="*/ 13494 w 14"/>
                <a:gd name="T5" fmla="*/ 5783 h 28"/>
                <a:gd name="T6" fmla="*/ 13494 w 14"/>
                <a:gd name="T7" fmla="*/ 26988 h 28"/>
                <a:gd name="T8" fmla="*/ 1928 w 14"/>
                <a:gd name="T9" fmla="*/ 30843 h 28"/>
                <a:gd name="T10" fmla="*/ 5783 w 14"/>
                <a:gd name="T11" fmla="*/ 44337 h 28"/>
                <a:gd name="T12" fmla="*/ 15422 w 14"/>
                <a:gd name="T13" fmla="*/ 53975 h 28"/>
                <a:gd name="T14" fmla="*/ 23133 w 14"/>
                <a:gd name="T15" fmla="*/ 48192 h 28"/>
                <a:gd name="T16" fmla="*/ 17349 w 14"/>
                <a:gd name="T17" fmla="*/ 34698 h 28"/>
                <a:gd name="T18" fmla="*/ 25060 w 14"/>
                <a:gd name="T19" fmla="*/ 7711 h 28"/>
                <a:gd name="T20" fmla="*/ 25060 w 14"/>
                <a:gd name="T21" fmla="*/ 385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2" name="Freeform 561"/>
            <p:cNvSpPr>
              <a:spLocks noChangeAspect="1"/>
            </p:cNvSpPr>
            <p:nvPr/>
          </p:nvSpPr>
          <p:spPr bwMode="auto">
            <a:xfrm>
              <a:off x="7318936" y="2616584"/>
              <a:ext cx="17618" cy="43849"/>
            </a:xfrm>
            <a:custGeom>
              <a:avLst/>
              <a:gdLst>
                <a:gd name="T0" fmla="*/ 11641 w 9"/>
                <a:gd name="T1" fmla="*/ 1928 h 28"/>
                <a:gd name="T2" fmla="*/ 15522 w 9"/>
                <a:gd name="T3" fmla="*/ 3855 h 28"/>
                <a:gd name="T4" fmla="*/ 15522 w 9"/>
                <a:gd name="T5" fmla="*/ 28915 h 28"/>
                <a:gd name="T6" fmla="*/ 7761 w 9"/>
                <a:gd name="T7" fmla="*/ 36626 h 28"/>
                <a:gd name="T8" fmla="*/ 3880 w 9"/>
                <a:gd name="T9" fmla="*/ 52047 h 28"/>
                <a:gd name="T10" fmla="*/ 0 w 9"/>
                <a:gd name="T11" fmla="*/ 50120 h 28"/>
                <a:gd name="T12" fmla="*/ 9701 w 9"/>
                <a:gd name="T13" fmla="*/ 23132 h 28"/>
                <a:gd name="T14" fmla="*/ 11641 w 9"/>
                <a:gd name="T15" fmla="*/ 1928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3" name="Freeform 562"/>
            <p:cNvSpPr>
              <a:spLocks noChangeAspect="1"/>
            </p:cNvSpPr>
            <p:nvPr/>
          </p:nvSpPr>
          <p:spPr bwMode="auto">
            <a:xfrm>
              <a:off x="7338157" y="2615294"/>
              <a:ext cx="27229" cy="33532"/>
            </a:xfrm>
            <a:custGeom>
              <a:avLst/>
              <a:gdLst>
                <a:gd name="T0" fmla="*/ 3855 w 14"/>
                <a:gd name="T1" fmla="*/ 0 h 22"/>
                <a:gd name="T2" fmla="*/ 1928 w 14"/>
                <a:gd name="T3" fmla="*/ 1876 h 22"/>
                <a:gd name="T4" fmla="*/ 1928 w 14"/>
                <a:gd name="T5" fmla="*/ 15009 h 22"/>
                <a:gd name="T6" fmla="*/ 7711 w 14"/>
                <a:gd name="T7" fmla="*/ 16885 h 22"/>
                <a:gd name="T8" fmla="*/ 9638 w 14"/>
                <a:gd name="T9" fmla="*/ 11257 h 22"/>
                <a:gd name="T10" fmla="*/ 11566 w 14"/>
                <a:gd name="T11" fmla="*/ 15009 h 22"/>
                <a:gd name="T12" fmla="*/ 13494 w 14"/>
                <a:gd name="T13" fmla="*/ 33770 h 22"/>
                <a:gd name="T14" fmla="*/ 23132 w 14"/>
                <a:gd name="T15" fmla="*/ 39399 h 22"/>
                <a:gd name="T16" fmla="*/ 23132 w 14"/>
                <a:gd name="T17" fmla="*/ 30018 h 22"/>
                <a:gd name="T18" fmla="*/ 26987 w 14"/>
                <a:gd name="T19" fmla="*/ 28142 h 22"/>
                <a:gd name="T20" fmla="*/ 19276 w 14"/>
                <a:gd name="T21" fmla="*/ 18761 h 22"/>
                <a:gd name="T22" fmla="*/ 17349 w 14"/>
                <a:gd name="T23" fmla="*/ 5628 h 22"/>
                <a:gd name="T24" fmla="*/ 15421 w 14"/>
                <a:gd name="T25" fmla="*/ 0 h 22"/>
                <a:gd name="T26" fmla="*/ 3855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4" name="Freeform 563"/>
            <p:cNvSpPr>
              <a:spLocks noChangeAspect="1"/>
            </p:cNvSpPr>
            <p:nvPr/>
          </p:nvSpPr>
          <p:spPr bwMode="auto">
            <a:xfrm>
              <a:off x="7331749" y="2642378"/>
              <a:ext cx="16017" cy="14186"/>
            </a:xfrm>
            <a:custGeom>
              <a:avLst/>
              <a:gdLst>
                <a:gd name="T0" fmla="*/ 8819 w 9"/>
                <a:gd name="T1" fmla="*/ 1940 h 9"/>
                <a:gd name="T2" fmla="*/ 14111 w 9"/>
                <a:gd name="T3" fmla="*/ 3880 h 9"/>
                <a:gd name="T4" fmla="*/ 14111 w 9"/>
                <a:gd name="T5" fmla="*/ 13582 h 9"/>
                <a:gd name="T6" fmla="*/ 1764 w 9"/>
                <a:gd name="T7" fmla="*/ 17462 h 9"/>
                <a:gd name="T8" fmla="*/ 1764 w 9"/>
                <a:gd name="T9" fmla="*/ 13582 h 9"/>
                <a:gd name="T10" fmla="*/ 8819 w 9"/>
                <a:gd name="T11" fmla="*/ 1940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5" name="Freeform 564"/>
            <p:cNvSpPr>
              <a:spLocks noChangeAspect="1"/>
            </p:cNvSpPr>
            <p:nvPr/>
          </p:nvSpPr>
          <p:spPr bwMode="auto">
            <a:xfrm>
              <a:off x="7171579" y="2615294"/>
              <a:ext cx="59263" cy="69643"/>
            </a:xfrm>
            <a:custGeom>
              <a:avLst/>
              <a:gdLst>
                <a:gd name="T0" fmla="*/ 53053 w 31"/>
                <a:gd name="T1" fmla="*/ 1905 h 45"/>
                <a:gd name="T2" fmla="*/ 47369 w 31"/>
                <a:gd name="T3" fmla="*/ 1905 h 45"/>
                <a:gd name="T4" fmla="*/ 47369 w 31"/>
                <a:gd name="T5" fmla="*/ 11430 h 45"/>
                <a:gd name="T6" fmla="*/ 49263 w 31"/>
                <a:gd name="T7" fmla="*/ 20955 h 45"/>
                <a:gd name="T8" fmla="*/ 45474 w 31"/>
                <a:gd name="T9" fmla="*/ 19050 h 45"/>
                <a:gd name="T10" fmla="*/ 45474 w 31"/>
                <a:gd name="T11" fmla="*/ 24765 h 45"/>
                <a:gd name="T12" fmla="*/ 37895 w 31"/>
                <a:gd name="T13" fmla="*/ 32385 h 45"/>
                <a:gd name="T14" fmla="*/ 34105 w 31"/>
                <a:gd name="T15" fmla="*/ 36195 h 45"/>
                <a:gd name="T16" fmla="*/ 26526 w 31"/>
                <a:gd name="T17" fmla="*/ 49530 h 45"/>
                <a:gd name="T18" fmla="*/ 15158 w 31"/>
                <a:gd name="T19" fmla="*/ 60960 h 45"/>
                <a:gd name="T20" fmla="*/ 1895 w 31"/>
                <a:gd name="T21" fmla="*/ 78105 h 45"/>
                <a:gd name="T22" fmla="*/ 1895 w 31"/>
                <a:gd name="T23" fmla="*/ 83820 h 45"/>
                <a:gd name="T24" fmla="*/ 9474 w 31"/>
                <a:gd name="T25" fmla="*/ 80010 h 45"/>
                <a:gd name="T26" fmla="*/ 24632 w 31"/>
                <a:gd name="T27" fmla="*/ 64770 h 45"/>
                <a:gd name="T28" fmla="*/ 30316 w 31"/>
                <a:gd name="T29" fmla="*/ 51435 h 45"/>
                <a:gd name="T30" fmla="*/ 34105 w 31"/>
                <a:gd name="T31" fmla="*/ 43815 h 45"/>
                <a:gd name="T32" fmla="*/ 45474 w 31"/>
                <a:gd name="T33" fmla="*/ 38100 h 45"/>
                <a:gd name="T34" fmla="*/ 49263 w 31"/>
                <a:gd name="T35" fmla="*/ 32385 h 45"/>
                <a:gd name="T36" fmla="*/ 56842 w 31"/>
                <a:gd name="T37" fmla="*/ 32385 h 45"/>
                <a:gd name="T38" fmla="*/ 56842 w 31"/>
                <a:gd name="T39" fmla="*/ 24765 h 45"/>
                <a:gd name="T40" fmla="*/ 51158 w 31"/>
                <a:gd name="T41" fmla="*/ 15240 h 45"/>
                <a:gd name="T42" fmla="*/ 53053 w 31"/>
                <a:gd name="T43" fmla="*/ 7620 h 45"/>
                <a:gd name="T44" fmla="*/ 53053 w 31"/>
                <a:gd name="T45" fmla="*/ 1905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6" name="Freeform 565"/>
            <p:cNvSpPr>
              <a:spLocks noChangeAspect="1"/>
            </p:cNvSpPr>
            <p:nvPr/>
          </p:nvSpPr>
          <p:spPr bwMode="auto">
            <a:xfrm>
              <a:off x="7229240" y="2593370"/>
              <a:ext cx="16017" cy="10318"/>
            </a:xfrm>
            <a:custGeom>
              <a:avLst/>
              <a:gdLst>
                <a:gd name="T0" fmla="*/ 7938 w 8"/>
                <a:gd name="T1" fmla="*/ 3629 h 7"/>
                <a:gd name="T2" fmla="*/ 15875 w 8"/>
                <a:gd name="T3" fmla="*/ 10886 h 7"/>
                <a:gd name="T4" fmla="*/ 5953 w 8"/>
                <a:gd name="T5" fmla="*/ 10886 h 7"/>
                <a:gd name="T6" fmla="*/ 0 w 8"/>
                <a:gd name="T7" fmla="*/ 1814 h 7"/>
                <a:gd name="T8" fmla="*/ 7938 w 8"/>
                <a:gd name="T9" fmla="*/ 3629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7" name="Freeform 566"/>
            <p:cNvSpPr>
              <a:spLocks noChangeAspect="1"/>
            </p:cNvSpPr>
            <p:nvPr/>
          </p:nvSpPr>
          <p:spPr bwMode="auto">
            <a:xfrm>
              <a:off x="7275690" y="2532755"/>
              <a:ext cx="8009" cy="11608"/>
            </a:xfrm>
            <a:custGeom>
              <a:avLst/>
              <a:gdLst>
                <a:gd name="T0" fmla="*/ 1985 w 4"/>
                <a:gd name="T1" fmla="*/ 0 h 7"/>
                <a:gd name="T2" fmla="*/ 7938 w 4"/>
                <a:gd name="T3" fmla="*/ 4082 h 7"/>
                <a:gd name="T4" fmla="*/ 1985 w 4"/>
                <a:gd name="T5" fmla="*/ 8165 h 7"/>
                <a:gd name="T6" fmla="*/ 5953 w 4"/>
                <a:gd name="T7" fmla="*/ 12247 h 7"/>
                <a:gd name="T8" fmla="*/ 1985 w 4"/>
                <a:gd name="T9" fmla="*/ 14288 h 7"/>
                <a:gd name="T10" fmla="*/ 0 w 4"/>
                <a:gd name="T11" fmla="*/ 10206 h 7"/>
                <a:gd name="T12" fmla="*/ 1985 w 4"/>
                <a:gd name="T13" fmla="*/ 8165 h 7"/>
                <a:gd name="T14" fmla="*/ 0 w 4"/>
                <a:gd name="T15" fmla="*/ 4082 h 7"/>
                <a:gd name="T16" fmla="*/ 1985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8" name="Freeform 567"/>
            <p:cNvSpPr>
              <a:spLocks noChangeAspect="1"/>
            </p:cNvSpPr>
            <p:nvPr/>
          </p:nvSpPr>
          <p:spPr bwMode="auto">
            <a:xfrm>
              <a:off x="7333352" y="2554679"/>
              <a:ext cx="9610" cy="12897"/>
            </a:xfrm>
            <a:custGeom>
              <a:avLst/>
              <a:gdLst>
                <a:gd name="T0" fmla="*/ 1905 w 5"/>
                <a:gd name="T1" fmla="*/ 1984 h 8"/>
                <a:gd name="T2" fmla="*/ 5715 w 5"/>
                <a:gd name="T3" fmla="*/ 1984 h 8"/>
                <a:gd name="T4" fmla="*/ 7620 w 5"/>
                <a:gd name="T5" fmla="*/ 9922 h 8"/>
                <a:gd name="T6" fmla="*/ 1905 w 5"/>
                <a:gd name="T7" fmla="*/ 15875 h 8"/>
                <a:gd name="T8" fmla="*/ 1905 w 5"/>
                <a:gd name="T9" fmla="*/ 9922 h 8"/>
                <a:gd name="T10" fmla="*/ 1905 w 5"/>
                <a:gd name="T11" fmla="*/ 1984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9" name="Freeform 568"/>
            <p:cNvSpPr>
              <a:spLocks noChangeAspect="1"/>
            </p:cNvSpPr>
            <p:nvPr/>
          </p:nvSpPr>
          <p:spPr bwMode="auto">
            <a:xfrm>
              <a:off x="7381403" y="2261921"/>
              <a:ext cx="14416" cy="20635"/>
            </a:xfrm>
            <a:custGeom>
              <a:avLst/>
              <a:gdLst>
                <a:gd name="T0" fmla="*/ 8930 w 8"/>
                <a:gd name="T1" fmla="*/ 1954 h 13"/>
                <a:gd name="T2" fmla="*/ 12502 w 8"/>
                <a:gd name="T3" fmla="*/ 3908 h 13"/>
                <a:gd name="T4" fmla="*/ 1786 w 8"/>
                <a:gd name="T5" fmla="*/ 23446 h 13"/>
                <a:gd name="T6" fmla="*/ 0 w 8"/>
                <a:gd name="T7" fmla="*/ 21492 h 13"/>
                <a:gd name="T8" fmla="*/ 8930 w 8"/>
                <a:gd name="T9" fmla="*/ 1954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5" y="1"/>
                  </a:moveTo>
                  <a:cubicBezTo>
                    <a:pt x="6" y="0"/>
                    <a:pt x="8" y="1"/>
                    <a:pt x="7" y="2"/>
                  </a:cubicBezTo>
                  <a:cubicBezTo>
                    <a:pt x="6" y="5"/>
                    <a:pt x="4" y="9"/>
                    <a:pt x="1" y="12"/>
                  </a:cubicBezTo>
                  <a:cubicBezTo>
                    <a:pt x="1" y="13"/>
                    <a:pt x="0" y="12"/>
                    <a:pt x="0" y="11"/>
                  </a:cubicBezTo>
                  <a:cubicBezTo>
                    <a:pt x="1" y="7"/>
                    <a:pt x="3" y="4"/>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0" name="Freeform 569"/>
            <p:cNvSpPr>
              <a:spLocks noChangeAspect="1"/>
            </p:cNvSpPr>
            <p:nvPr/>
          </p:nvSpPr>
          <p:spPr bwMode="auto">
            <a:xfrm>
              <a:off x="7411835" y="2221942"/>
              <a:ext cx="16017" cy="10318"/>
            </a:xfrm>
            <a:custGeom>
              <a:avLst/>
              <a:gdLst>
                <a:gd name="T0" fmla="*/ 11906 w 8"/>
                <a:gd name="T1" fmla="*/ 0 h 7"/>
                <a:gd name="T2" fmla="*/ 13891 w 8"/>
                <a:gd name="T3" fmla="*/ 1814 h 7"/>
                <a:gd name="T4" fmla="*/ 5953 w 8"/>
                <a:gd name="T5" fmla="*/ 7257 h 7"/>
                <a:gd name="T6" fmla="*/ 7938 w 8"/>
                <a:gd name="T7" fmla="*/ 12700 h 7"/>
                <a:gd name="T8" fmla="*/ 0 w 8"/>
                <a:gd name="T9" fmla="*/ 7257 h 7"/>
                <a:gd name="T10" fmla="*/ 7938 w 8"/>
                <a:gd name="T11" fmla="*/ 1814 h 7"/>
                <a:gd name="T12" fmla="*/ 11906 w 8"/>
                <a:gd name="T13" fmla="*/ 0 h 7"/>
                <a:gd name="T14" fmla="*/ 0 60000 65536"/>
                <a:gd name="T15" fmla="*/ 0 60000 65536"/>
                <a:gd name="T16" fmla="*/ 0 60000 65536"/>
                <a:gd name="T17" fmla="*/ 0 60000 65536"/>
                <a:gd name="T18" fmla="*/ 0 60000 65536"/>
                <a:gd name="T19" fmla="*/ 0 60000 65536"/>
                <a:gd name="T20" fmla="*/ 0 60000 65536"/>
                <a:gd name="T21" fmla="*/ 0 w 8"/>
                <a:gd name="T22" fmla="*/ 0 h 7"/>
                <a:gd name="T23" fmla="*/ 8 w 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7">
                  <a:moveTo>
                    <a:pt x="6" y="0"/>
                  </a:moveTo>
                  <a:cubicBezTo>
                    <a:pt x="7" y="0"/>
                    <a:pt x="8" y="1"/>
                    <a:pt x="7" y="1"/>
                  </a:cubicBezTo>
                  <a:cubicBezTo>
                    <a:pt x="6" y="3"/>
                    <a:pt x="4" y="3"/>
                    <a:pt x="3" y="4"/>
                  </a:cubicBezTo>
                  <a:cubicBezTo>
                    <a:pt x="3" y="5"/>
                    <a:pt x="4" y="7"/>
                    <a:pt x="4" y="7"/>
                  </a:cubicBezTo>
                  <a:cubicBezTo>
                    <a:pt x="2" y="7"/>
                    <a:pt x="0" y="6"/>
                    <a:pt x="0" y="4"/>
                  </a:cubicBezTo>
                  <a:cubicBezTo>
                    <a:pt x="0" y="2"/>
                    <a:pt x="3" y="2"/>
                    <a:pt x="4" y="1"/>
                  </a:cubicBezTo>
                  <a:cubicBezTo>
                    <a:pt x="5" y="0"/>
                    <a:pt x="5" y="0"/>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1" name="Freeform 570"/>
            <p:cNvSpPr>
              <a:spLocks noChangeAspect="1"/>
            </p:cNvSpPr>
            <p:nvPr/>
          </p:nvSpPr>
          <p:spPr bwMode="auto">
            <a:xfrm>
              <a:off x="8605110" y="3260133"/>
              <a:ext cx="38441" cy="21925"/>
            </a:xfrm>
            <a:custGeom>
              <a:avLst/>
              <a:gdLst>
                <a:gd name="T0" fmla="*/ 28575 w 20"/>
                <a:gd name="T1" fmla="*/ 1928 h 14"/>
                <a:gd name="T2" fmla="*/ 19050 w 20"/>
                <a:gd name="T3" fmla="*/ 1928 h 14"/>
                <a:gd name="T4" fmla="*/ 7620 w 20"/>
                <a:gd name="T5" fmla="*/ 9639 h 14"/>
                <a:gd name="T6" fmla="*/ 7620 w 20"/>
                <a:gd name="T7" fmla="*/ 11566 h 14"/>
                <a:gd name="T8" fmla="*/ 1905 w 20"/>
                <a:gd name="T9" fmla="*/ 19277 h 14"/>
                <a:gd name="T10" fmla="*/ 5715 w 20"/>
                <a:gd name="T11" fmla="*/ 25060 h 14"/>
                <a:gd name="T12" fmla="*/ 30480 w 20"/>
                <a:gd name="T13" fmla="*/ 25060 h 14"/>
                <a:gd name="T14" fmla="*/ 38100 w 20"/>
                <a:gd name="T15" fmla="*/ 19277 h 14"/>
                <a:gd name="T16" fmla="*/ 34290 w 20"/>
                <a:gd name="T17" fmla="*/ 3855 h 14"/>
                <a:gd name="T18" fmla="*/ 28575 w 20"/>
                <a:gd name="T19" fmla="*/ 1928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2" name="Freeform 571"/>
            <p:cNvSpPr>
              <a:spLocks noChangeAspect="1"/>
            </p:cNvSpPr>
            <p:nvPr/>
          </p:nvSpPr>
          <p:spPr bwMode="auto">
            <a:xfrm>
              <a:off x="8643551" y="3234340"/>
              <a:ext cx="33637" cy="16766"/>
            </a:xfrm>
            <a:custGeom>
              <a:avLst/>
              <a:gdLst>
                <a:gd name="T0" fmla="*/ 27455 w 17"/>
                <a:gd name="T1" fmla="*/ 0 h 11"/>
                <a:gd name="T2" fmla="*/ 19611 w 17"/>
                <a:gd name="T3" fmla="*/ 7505 h 11"/>
                <a:gd name="T4" fmla="*/ 1961 w 17"/>
                <a:gd name="T5" fmla="*/ 13133 h 11"/>
                <a:gd name="T6" fmla="*/ 5883 w 17"/>
                <a:gd name="T7" fmla="*/ 20638 h 11"/>
                <a:gd name="T8" fmla="*/ 17650 w 17"/>
                <a:gd name="T9" fmla="*/ 16886 h 11"/>
                <a:gd name="T10" fmla="*/ 25494 w 17"/>
                <a:gd name="T11" fmla="*/ 16886 h 11"/>
                <a:gd name="T12" fmla="*/ 33338 w 17"/>
                <a:gd name="T13" fmla="*/ 3752 h 11"/>
                <a:gd name="T14" fmla="*/ 27455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3" name="Freeform 572"/>
            <p:cNvSpPr>
              <a:spLocks noChangeAspect="1"/>
            </p:cNvSpPr>
            <p:nvPr/>
          </p:nvSpPr>
          <p:spPr bwMode="auto">
            <a:xfrm>
              <a:off x="8358448" y="3198229"/>
              <a:ext cx="16017" cy="27084"/>
            </a:xfrm>
            <a:custGeom>
              <a:avLst/>
              <a:gdLst>
                <a:gd name="T0" fmla="*/ 0 w 9"/>
                <a:gd name="T1" fmla="*/ 1961 h 17"/>
                <a:gd name="T2" fmla="*/ 3528 w 9"/>
                <a:gd name="T3" fmla="*/ 1961 h 17"/>
                <a:gd name="T4" fmla="*/ 5292 w 9"/>
                <a:gd name="T5" fmla="*/ 15688 h 17"/>
                <a:gd name="T6" fmla="*/ 8819 w 9"/>
                <a:gd name="T7" fmla="*/ 13727 h 17"/>
                <a:gd name="T8" fmla="*/ 10583 w 9"/>
                <a:gd name="T9" fmla="*/ 5883 h 17"/>
                <a:gd name="T10" fmla="*/ 15875 w 9"/>
                <a:gd name="T11" fmla="*/ 7844 h 17"/>
                <a:gd name="T12" fmla="*/ 15875 w 9"/>
                <a:gd name="T13" fmla="*/ 19611 h 17"/>
                <a:gd name="T14" fmla="*/ 15875 w 9"/>
                <a:gd name="T15" fmla="*/ 27455 h 17"/>
                <a:gd name="T16" fmla="*/ 8819 w 9"/>
                <a:gd name="T17" fmla="*/ 29416 h 17"/>
                <a:gd name="T18" fmla="*/ 1764 w 9"/>
                <a:gd name="T19" fmla="*/ 31377 h 17"/>
                <a:gd name="T20" fmla="*/ 0 w 9"/>
                <a:gd name="T21" fmla="*/ 23533 h 17"/>
                <a:gd name="T22" fmla="*/ 0 w 9"/>
                <a:gd name="T23" fmla="*/ 196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4" name="Freeform 573"/>
            <p:cNvSpPr>
              <a:spLocks noChangeAspect="1"/>
            </p:cNvSpPr>
            <p:nvPr/>
          </p:nvSpPr>
          <p:spPr bwMode="auto">
            <a:xfrm>
              <a:off x="8369659" y="3227892"/>
              <a:ext cx="14415" cy="15476"/>
            </a:xfrm>
            <a:custGeom>
              <a:avLst/>
              <a:gdLst>
                <a:gd name="T0" fmla="*/ 5358 w 8"/>
                <a:gd name="T1" fmla="*/ 1905 h 10"/>
                <a:gd name="T2" fmla="*/ 14287 w 8"/>
                <a:gd name="T3" fmla="*/ 17145 h 10"/>
                <a:gd name="T4" fmla="*/ 5358 w 8"/>
                <a:gd name="T5" fmla="*/ 19050 h 10"/>
                <a:gd name="T6" fmla="*/ 3572 w 8"/>
                <a:gd name="T7" fmla="*/ 13335 h 10"/>
                <a:gd name="T8" fmla="*/ 0 w 8"/>
                <a:gd name="T9" fmla="*/ 3810 h 10"/>
                <a:gd name="T10" fmla="*/ 5358 w 8"/>
                <a:gd name="T11" fmla="*/ 1905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5" name="Freeform 574"/>
            <p:cNvSpPr>
              <a:spLocks noChangeAspect="1"/>
            </p:cNvSpPr>
            <p:nvPr/>
          </p:nvSpPr>
          <p:spPr bwMode="auto">
            <a:xfrm>
              <a:off x="8281564" y="3324617"/>
              <a:ext cx="64069" cy="54167"/>
            </a:xfrm>
            <a:custGeom>
              <a:avLst/>
              <a:gdLst>
                <a:gd name="T0" fmla="*/ 1868 w 34"/>
                <a:gd name="T1" fmla="*/ 0 h 35"/>
                <a:gd name="T2" fmla="*/ 0 w 34"/>
                <a:gd name="T3" fmla="*/ 3810 h 35"/>
                <a:gd name="T4" fmla="*/ 3735 w 34"/>
                <a:gd name="T5" fmla="*/ 15240 h 35"/>
                <a:gd name="T6" fmla="*/ 11206 w 34"/>
                <a:gd name="T7" fmla="*/ 22860 h 35"/>
                <a:gd name="T8" fmla="*/ 16809 w 34"/>
                <a:gd name="T9" fmla="*/ 34290 h 35"/>
                <a:gd name="T10" fmla="*/ 31750 w 34"/>
                <a:gd name="T11" fmla="*/ 47625 h 35"/>
                <a:gd name="T12" fmla="*/ 42956 w 34"/>
                <a:gd name="T13" fmla="*/ 51435 h 35"/>
                <a:gd name="T14" fmla="*/ 44824 w 34"/>
                <a:gd name="T15" fmla="*/ 62865 h 35"/>
                <a:gd name="T16" fmla="*/ 59765 w 34"/>
                <a:gd name="T17" fmla="*/ 64770 h 35"/>
                <a:gd name="T18" fmla="*/ 59765 w 34"/>
                <a:gd name="T19" fmla="*/ 53340 h 35"/>
                <a:gd name="T20" fmla="*/ 41088 w 34"/>
                <a:gd name="T21" fmla="*/ 40005 h 35"/>
                <a:gd name="T22" fmla="*/ 29882 w 34"/>
                <a:gd name="T23" fmla="*/ 22860 h 35"/>
                <a:gd name="T24" fmla="*/ 14941 w 34"/>
                <a:gd name="T25" fmla="*/ 7620 h 35"/>
                <a:gd name="T26" fmla="*/ 1868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6" name="Freeform 575"/>
            <p:cNvSpPr>
              <a:spLocks noChangeAspect="1"/>
            </p:cNvSpPr>
            <p:nvPr/>
          </p:nvSpPr>
          <p:spPr bwMode="auto">
            <a:xfrm>
              <a:off x="8350439" y="3336224"/>
              <a:ext cx="11212" cy="14186"/>
            </a:xfrm>
            <a:custGeom>
              <a:avLst/>
              <a:gdLst>
                <a:gd name="T0" fmla="*/ 7408 w 6"/>
                <a:gd name="T1" fmla="*/ 1940 h 9"/>
                <a:gd name="T2" fmla="*/ 9260 w 6"/>
                <a:gd name="T3" fmla="*/ 11641 h 9"/>
                <a:gd name="T4" fmla="*/ 9260 w 6"/>
                <a:gd name="T5" fmla="*/ 17462 h 9"/>
                <a:gd name="T6" fmla="*/ 1852 w 6"/>
                <a:gd name="T7" fmla="*/ 11641 h 9"/>
                <a:gd name="T8" fmla="*/ 3704 w 6"/>
                <a:gd name="T9" fmla="*/ 3880 h 9"/>
                <a:gd name="T10" fmla="*/ 7408 w 6"/>
                <a:gd name="T11" fmla="*/ 1940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7" name="Freeform 576"/>
            <p:cNvSpPr>
              <a:spLocks noChangeAspect="1"/>
            </p:cNvSpPr>
            <p:nvPr/>
          </p:nvSpPr>
          <p:spPr bwMode="auto">
            <a:xfrm>
              <a:off x="8368057" y="3351700"/>
              <a:ext cx="9610" cy="9027"/>
            </a:xfrm>
            <a:custGeom>
              <a:avLst/>
              <a:gdLst>
                <a:gd name="T0" fmla="*/ 3810 w 5"/>
                <a:gd name="T1" fmla="*/ 1852 h 6"/>
                <a:gd name="T2" fmla="*/ 9525 w 5"/>
                <a:gd name="T3" fmla="*/ 5556 h 6"/>
                <a:gd name="T4" fmla="*/ 3810 w 5"/>
                <a:gd name="T5" fmla="*/ 11112 h 6"/>
                <a:gd name="T6" fmla="*/ 0 w 5"/>
                <a:gd name="T7" fmla="*/ 9260 h 6"/>
                <a:gd name="T8" fmla="*/ 3810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8" name="Freeform 577"/>
            <p:cNvSpPr>
              <a:spLocks noChangeAspect="1"/>
            </p:cNvSpPr>
            <p:nvPr/>
          </p:nvSpPr>
          <p:spPr bwMode="auto">
            <a:xfrm>
              <a:off x="7043441" y="3111821"/>
              <a:ext cx="953018" cy="661605"/>
            </a:xfrm>
            <a:custGeom>
              <a:avLst/>
              <a:gdLst>
                <a:gd name="T0" fmla="*/ 137114 w 496"/>
                <a:gd name="T1" fmla="*/ 268919 h 427"/>
                <a:gd name="T2" fmla="*/ 205671 w 496"/>
                <a:gd name="T3" fmla="*/ 246033 h 427"/>
                <a:gd name="T4" fmla="*/ 236141 w 496"/>
                <a:gd name="T5" fmla="*/ 198352 h 427"/>
                <a:gd name="T6" fmla="*/ 258993 w 496"/>
                <a:gd name="T7" fmla="*/ 156393 h 427"/>
                <a:gd name="T8" fmla="*/ 272323 w 496"/>
                <a:gd name="T9" fmla="*/ 164022 h 427"/>
                <a:gd name="T10" fmla="*/ 300889 w 496"/>
                <a:gd name="T11" fmla="*/ 152578 h 427"/>
                <a:gd name="T12" fmla="*/ 297080 w 496"/>
                <a:gd name="T13" fmla="*/ 127784 h 427"/>
                <a:gd name="T14" fmla="*/ 312315 w 496"/>
                <a:gd name="T15" fmla="*/ 106805 h 427"/>
                <a:gd name="T16" fmla="*/ 344689 w 496"/>
                <a:gd name="T17" fmla="*/ 89640 h 427"/>
                <a:gd name="T18" fmla="*/ 382776 w 496"/>
                <a:gd name="T19" fmla="*/ 114434 h 427"/>
                <a:gd name="T20" fmla="*/ 403724 w 496"/>
                <a:gd name="T21" fmla="*/ 122063 h 427"/>
                <a:gd name="T22" fmla="*/ 432289 w 496"/>
                <a:gd name="T23" fmla="*/ 133506 h 427"/>
                <a:gd name="T24" fmla="*/ 415150 w 496"/>
                <a:gd name="T25" fmla="*/ 101083 h 427"/>
                <a:gd name="T26" fmla="*/ 457046 w 496"/>
                <a:gd name="T27" fmla="*/ 51495 h 427"/>
                <a:gd name="T28" fmla="*/ 500846 w 496"/>
                <a:gd name="T29" fmla="*/ 38145 h 427"/>
                <a:gd name="T30" fmla="*/ 491325 w 496"/>
                <a:gd name="T31" fmla="*/ 17165 h 427"/>
                <a:gd name="T32" fmla="*/ 533221 w 496"/>
                <a:gd name="T33" fmla="*/ 36237 h 427"/>
                <a:gd name="T34" fmla="*/ 578925 w 496"/>
                <a:gd name="T35" fmla="*/ 47681 h 427"/>
                <a:gd name="T36" fmla="*/ 567499 w 496"/>
                <a:gd name="T37" fmla="*/ 78196 h 427"/>
                <a:gd name="T38" fmla="*/ 609395 w 496"/>
                <a:gd name="T39" fmla="*/ 152578 h 427"/>
                <a:gd name="T40" fmla="*/ 679856 w 496"/>
                <a:gd name="T41" fmla="*/ 192630 h 427"/>
                <a:gd name="T42" fmla="*/ 710326 w 496"/>
                <a:gd name="T43" fmla="*/ 61031 h 427"/>
                <a:gd name="T44" fmla="*/ 735083 w 496"/>
                <a:gd name="T45" fmla="*/ 1907 h 427"/>
                <a:gd name="T46" fmla="*/ 750317 w 496"/>
                <a:gd name="T47" fmla="*/ 47681 h 427"/>
                <a:gd name="T48" fmla="*/ 778883 w 496"/>
                <a:gd name="T49" fmla="*/ 93454 h 427"/>
                <a:gd name="T50" fmla="*/ 803639 w 496"/>
                <a:gd name="T51" fmla="*/ 173558 h 427"/>
                <a:gd name="T52" fmla="*/ 824587 w 496"/>
                <a:gd name="T53" fmla="*/ 242218 h 427"/>
                <a:gd name="T54" fmla="*/ 858866 w 496"/>
                <a:gd name="T55" fmla="*/ 265105 h 427"/>
                <a:gd name="T56" fmla="*/ 874101 w 496"/>
                <a:gd name="T57" fmla="*/ 324229 h 427"/>
                <a:gd name="T58" fmla="*/ 902666 w 496"/>
                <a:gd name="T59" fmla="*/ 328043 h 427"/>
                <a:gd name="T60" fmla="*/ 925518 w 496"/>
                <a:gd name="T61" fmla="*/ 383353 h 427"/>
                <a:gd name="T62" fmla="*/ 944562 w 496"/>
                <a:gd name="T63" fmla="*/ 440570 h 427"/>
                <a:gd name="T64" fmla="*/ 927423 w 496"/>
                <a:gd name="T65" fmla="*/ 551189 h 427"/>
                <a:gd name="T66" fmla="*/ 868388 w 496"/>
                <a:gd name="T67" fmla="*/ 650365 h 427"/>
                <a:gd name="T68" fmla="*/ 830300 w 496"/>
                <a:gd name="T69" fmla="*/ 707582 h 427"/>
                <a:gd name="T70" fmla="*/ 757935 w 496"/>
                <a:gd name="T71" fmla="*/ 783871 h 427"/>
                <a:gd name="T72" fmla="*/ 696995 w 496"/>
                <a:gd name="T73" fmla="*/ 797222 h 427"/>
                <a:gd name="T74" fmla="*/ 670334 w 496"/>
                <a:gd name="T75" fmla="*/ 801036 h 427"/>
                <a:gd name="T76" fmla="*/ 611299 w 496"/>
                <a:gd name="T77" fmla="*/ 795315 h 427"/>
                <a:gd name="T78" fmla="*/ 578925 w 496"/>
                <a:gd name="T79" fmla="*/ 745727 h 427"/>
                <a:gd name="T80" fmla="*/ 546551 w 496"/>
                <a:gd name="T81" fmla="*/ 715211 h 427"/>
                <a:gd name="T82" fmla="*/ 546551 w 496"/>
                <a:gd name="T83" fmla="*/ 673252 h 427"/>
                <a:gd name="T84" fmla="*/ 523699 w 496"/>
                <a:gd name="T85" fmla="*/ 690417 h 427"/>
                <a:gd name="T86" fmla="*/ 552264 w 496"/>
                <a:gd name="T87" fmla="*/ 629386 h 427"/>
                <a:gd name="T88" fmla="*/ 498942 w 496"/>
                <a:gd name="T89" fmla="*/ 686603 h 427"/>
                <a:gd name="T90" fmla="*/ 476090 w 496"/>
                <a:gd name="T91" fmla="*/ 644644 h 427"/>
                <a:gd name="T92" fmla="*/ 428481 w 496"/>
                <a:gd name="T93" fmla="*/ 608406 h 427"/>
                <a:gd name="T94" fmla="*/ 281845 w 496"/>
                <a:gd name="T95" fmla="*/ 612221 h 427"/>
                <a:gd name="T96" fmla="*/ 177105 w 496"/>
                <a:gd name="T97" fmla="*/ 659901 h 427"/>
                <a:gd name="T98" fmla="*/ 79983 w 496"/>
                <a:gd name="T99" fmla="*/ 696139 h 427"/>
                <a:gd name="T100" fmla="*/ 13331 w 496"/>
                <a:gd name="T101" fmla="*/ 652273 h 427"/>
                <a:gd name="T102" fmla="*/ 28565 w 496"/>
                <a:gd name="T103" fmla="*/ 579798 h 427"/>
                <a:gd name="T104" fmla="*/ 0 w 496"/>
                <a:gd name="T105" fmla="*/ 440570 h 427"/>
                <a:gd name="T106" fmla="*/ 22852 w 496"/>
                <a:gd name="T107" fmla="*/ 444384 h 427"/>
                <a:gd name="T108" fmla="*/ 20948 w 496"/>
                <a:gd name="T109" fmla="*/ 343301 h 427"/>
                <a:gd name="T110" fmla="*/ 32374 w 496"/>
                <a:gd name="T111" fmla="*/ 326136 h 427"/>
                <a:gd name="T112" fmla="*/ 87601 w 496"/>
                <a:gd name="T113" fmla="*/ 282270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9" name="Freeform 578"/>
            <p:cNvSpPr>
              <a:spLocks noChangeAspect="1"/>
            </p:cNvSpPr>
            <p:nvPr/>
          </p:nvSpPr>
          <p:spPr bwMode="auto">
            <a:xfrm>
              <a:off x="7491921" y="3123428"/>
              <a:ext cx="27229" cy="11608"/>
            </a:xfrm>
            <a:custGeom>
              <a:avLst/>
              <a:gdLst>
                <a:gd name="T0" fmla="*/ 1928 w 14"/>
                <a:gd name="T1" fmla="*/ 0 h 8"/>
                <a:gd name="T2" fmla="*/ 7711 w 14"/>
                <a:gd name="T3" fmla="*/ 7144 h 8"/>
                <a:gd name="T4" fmla="*/ 21204 w 14"/>
                <a:gd name="T5" fmla="*/ 1786 h 8"/>
                <a:gd name="T6" fmla="*/ 25059 w 14"/>
                <a:gd name="T7" fmla="*/ 7144 h 8"/>
                <a:gd name="T8" fmla="*/ 11566 w 14"/>
                <a:gd name="T9" fmla="*/ 14288 h 8"/>
                <a:gd name="T10" fmla="*/ 1928 w 14"/>
                <a:gd name="T11" fmla="*/ 10716 h 8"/>
                <a:gd name="T12" fmla="*/ 0 w 14"/>
                <a:gd name="T13" fmla="*/ 1786 h 8"/>
                <a:gd name="T14" fmla="*/ 1928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0" name="Freeform 579"/>
            <p:cNvSpPr>
              <a:spLocks noChangeAspect="1"/>
            </p:cNvSpPr>
            <p:nvPr/>
          </p:nvSpPr>
          <p:spPr bwMode="auto">
            <a:xfrm>
              <a:off x="7482311" y="3126007"/>
              <a:ext cx="9610" cy="9029"/>
            </a:xfrm>
            <a:custGeom>
              <a:avLst/>
              <a:gdLst>
                <a:gd name="T0" fmla="*/ 5715 w 5"/>
                <a:gd name="T1" fmla="*/ 0 h 6"/>
                <a:gd name="T2" fmla="*/ 0 w 5"/>
                <a:gd name="T3" fmla="*/ 9261 h 6"/>
                <a:gd name="T4" fmla="*/ 9525 w 5"/>
                <a:gd name="T5" fmla="*/ 9261 h 6"/>
                <a:gd name="T6" fmla="*/ 5715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1" name="Freeform 580"/>
            <p:cNvSpPr>
              <a:spLocks noChangeAspect="1"/>
            </p:cNvSpPr>
            <p:nvPr/>
          </p:nvSpPr>
          <p:spPr bwMode="auto">
            <a:xfrm>
              <a:off x="7624863" y="3180174"/>
              <a:ext cx="19221" cy="12897"/>
            </a:xfrm>
            <a:custGeom>
              <a:avLst/>
              <a:gdLst>
                <a:gd name="T0" fmla="*/ 3810 w 10"/>
                <a:gd name="T1" fmla="*/ 1984 h 8"/>
                <a:gd name="T2" fmla="*/ 3810 w 10"/>
                <a:gd name="T3" fmla="*/ 11906 h 8"/>
                <a:gd name="T4" fmla="*/ 17145 w 10"/>
                <a:gd name="T5" fmla="*/ 13891 h 8"/>
                <a:gd name="T6" fmla="*/ 15240 w 10"/>
                <a:gd name="T7" fmla="*/ 7938 h 8"/>
                <a:gd name="T8" fmla="*/ 17145 w 10"/>
                <a:gd name="T9" fmla="*/ 1984 h 8"/>
                <a:gd name="T10" fmla="*/ 11430 w 10"/>
                <a:gd name="T11" fmla="*/ 3969 h 8"/>
                <a:gd name="T12" fmla="*/ 7620 w 10"/>
                <a:gd name="T13" fmla="*/ 0 h 8"/>
                <a:gd name="T14" fmla="*/ 7620 w 10"/>
                <a:gd name="T15" fmla="*/ 3969 h 8"/>
                <a:gd name="T16" fmla="*/ 3810 w 10"/>
                <a:gd name="T17" fmla="*/ 1984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2" name="Freeform 581"/>
            <p:cNvSpPr>
              <a:spLocks noChangeAspect="1"/>
            </p:cNvSpPr>
            <p:nvPr/>
          </p:nvSpPr>
          <p:spPr bwMode="auto">
            <a:xfrm>
              <a:off x="7640880" y="3217575"/>
              <a:ext cx="8009" cy="9027"/>
            </a:xfrm>
            <a:custGeom>
              <a:avLst/>
              <a:gdLst>
                <a:gd name="T0" fmla="*/ 5953 w 4"/>
                <a:gd name="T1" fmla="*/ 1852 h 6"/>
                <a:gd name="T2" fmla="*/ 5953 w 4"/>
                <a:gd name="T3" fmla="*/ 11112 h 6"/>
                <a:gd name="T4" fmla="*/ 0 w 4"/>
                <a:gd name="T5" fmla="*/ 9260 h 6"/>
                <a:gd name="T6" fmla="*/ 0 w 4"/>
                <a:gd name="T7" fmla="*/ 3704 h 6"/>
                <a:gd name="T8" fmla="*/ 5953 w 4"/>
                <a:gd name="T9" fmla="*/ 1852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3" name="Freeform 582"/>
            <p:cNvSpPr>
              <a:spLocks noChangeAspect="1"/>
            </p:cNvSpPr>
            <p:nvPr/>
          </p:nvSpPr>
          <p:spPr bwMode="auto">
            <a:xfrm>
              <a:off x="7996460" y="3435530"/>
              <a:ext cx="11213" cy="18056"/>
            </a:xfrm>
            <a:custGeom>
              <a:avLst/>
              <a:gdLst>
                <a:gd name="T0" fmla="*/ 9261 w 6"/>
                <a:gd name="T1" fmla="*/ 0 h 12"/>
                <a:gd name="T2" fmla="*/ 11113 w 6"/>
                <a:gd name="T3" fmla="*/ 3704 h 12"/>
                <a:gd name="T4" fmla="*/ 3704 w 6"/>
                <a:gd name="T5" fmla="*/ 22225 h 12"/>
                <a:gd name="T6" fmla="*/ 0 w 6"/>
                <a:gd name="T7" fmla="*/ 18521 h 12"/>
                <a:gd name="T8" fmla="*/ 1852 w 6"/>
                <a:gd name="T9" fmla="*/ 7408 h 12"/>
                <a:gd name="T10" fmla="*/ 9261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4" name="Freeform 583"/>
            <p:cNvSpPr>
              <a:spLocks noChangeAspect="1"/>
            </p:cNvSpPr>
            <p:nvPr/>
          </p:nvSpPr>
          <p:spPr bwMode="auto">
            <a:xfrm>
              <a:off x="7794645" y="3792771"/>
              <a:ext cx="9610" cy="15476"/>
            </a:xfrm>
            <a:custGeom>
              <a:avLst/>
              <a:gdLst>
                <a:gd name="T0" fmla="*/ 0 w 5"/>
                <a:gd name="T1" fmla="*/ 3810 h 10"/>
                <a:gd name="T2" fmla="*/ 5715 w 5"/>
                <a:gd name="T3" fmla="*/ 1905 h 10"/>
                <a:gd name="T4" fmla="*/ 9525 w 5"/>
                <a:gd name="T5" fmla="*/ 11430 h 10"/>
                <a:gd name="T6" fmla="*/ 7620 w 5"/>
                <a:gd name="T7" fmla="*/ 19050 h 10"/>
                <a:gd name="T8" fmla="*/ 1905 w 5"/>
                <a:gd name="T9" fmla="*/ 13335 h 10"/>
                <a:gd name="T10" fmla="*/ 0 w 5"/>
                <a:gd name="T11" fmla="*/ 381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5" name="Freeform 584"/>
            <p:cNvSpPr>
              <a:spLocks noChangeAspect="1"/>
            </p:cNvSpPr>
            <p:nvPr/>
          </p:nvSpPr>
          <p:spPr bwMode="auto">
            <a:xfrm>
              <a:off x="7712958" y="3815985"/>
              <a:ext cx="81687" cy="77381"/>
            </a:xfrm>
            <a:custGeom>
              <a:avLst/>
              <a:gdLst>
                <a:gd name="T0" fmla="*/ 30843 w 42"/>
                <a:gd name="T1" fmla="*/ 15240 h 50"/>
                <a:gd name="T2" fmla="*/ 46264 w 42"/>
                <a:gd name="T3" fmla="*/ 15240 h 50"/>
                <a:gd name="T4" fmla="*/ 63613 w 42"/>
                <a:gd name="T5" fmla="*/ 11430 h 50"/>
                <a:gd name="T6" fmla="*/ 77107 w 42"/>
                <a:gd name="T7" fmla="*/ 7620 h 50"/>
                <a:gd name="T8" fmla="*/ 80962 w 42"/>
                <a:gd name="T9" fmla="*/ 15240 h 50"/>
                <a:gd name="T10" fmla="*/ 75179 w 42"/>
                <a:gd name="T11" fmla="*/ 43815 h 50"/>
                <a:gd name="T12" fmla="*/ 69396 w 42"/>
                <a:gd name="T13" fmla="*/ 51435 h 50"/>
                <a:gd name="T14" fmla="*/ 61685 w 42"/>
                <a:gd name="T15" fmla="*/ 68580 h 50"/>
                <a:gd name="T16" fmla="*/ 59758 w 42"/>
                <a:gd name="T17" fmla="*/ 81915 h 50"/>
                <a:gd name="T18" fmla="*/ 55902 w 42"/>
                <a:gd name="T19" fmla="*/ 81915 h 50"/>
                <a:gd name="T20" fmla="*/ 53975 w 42"/>
                <a:gd name="T21" fmla="*/ 72390 h 50"/>
                <a:gd name="T22" fmla="*/ 48192 w 42"/>
                <a:gd name="T23" fmla="*/ 76200 h 50"/>
                <a:gd name="T24" fmla="*/ 44336 w 42"/>
                <a:gd name="T25" fmla="*/ 80010 h 50"/>
                <a:gd name="T26" fmla="*/ 36626 w 42"/>
                <a:gd name="T27" fmla="*/ 83820 h 50"/>
                <a:gd name="T28" fmla="*/ 28915 w 42"/>
                <a:gd name="T29" fmla="*/ 93345 h 50"/>
                <a:gd name="T30" fmla="*/ 25060 w 42"/>
                <a:gd name="T31" fmla="*/ 89535 h 50"/>
                <a:gd name="T32" fmla="*/ 15421 w 42"/>
                <a:gd name="T33" fmla="*/ 91440 h 50"/>
                <a:gd name="T34" fmla="*/ 9638 w 42"/>
                <a:gd name="T35" fmla="*/ 81915 h 50"/>
                <a:gd name="T36" fmla="*/ 3855 w 42"/>
                <a:gd name="T37" fmla="*/ 68580 h 50"/>
                <a:gd name="T38" fmla="*/ 3855 w 42"/>
                <a:gd name="T39" fmla="*/ 53340 h 50"/>
                <a:gd name="T40" fmla="*/ 9638 w 42"/>
                <a:gd name="T41" fmla="*/ 53340 h 50"/>
                <a:gd name="T42" fmla="*/ 0 w 42"/>
                <a:gd name="T43" fmla="*/ 28575 h 50"/>
                <a:gd name="T44" fmla="*/ 0 w 42"/>
                <a:gd name="T45" fmla="*/ 11430 h 50"/>
                <a:gd name="T46" fmla="*/ 5783 w 42"/>
                <a:gd name="T47" fmla="*/ 1905 h 50"/>
                <a:gd name="T48" fmla="*/ 15421 w 42"/>
                <a:gd name="T49" fmla="*/ 7620 h 50"/>
                <a:gd name="T50" fmla="*/ 30843 w 42"/>
                <a:gd name="T51" fmla="*/ 1524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6" name="Freeform 585"/>
            <p:cNvSpPr>
              <a:spLocks noChangeAspect="1"/>
            </p:cNvSpPr>
            <p:nvPr/>
          </p:nvSpPr>
          <p:spPr bwMode="auto">
            <a:xfrm>
              <a:off x="7554387" y="3690886"/>
              <a:ext cx="36840" cy="14187"/>
            </a:xfrm>
            <a:custGeom>
              <a:avLst/>
              <a:gdLst>
                <a:gd name="T0" fmla="*/ 1922 w 19"/>
                <a:gd name="T1" fmla="*/ 3881 h 9"/>
                <a:gd name="T2" fmla="*/ 0 w 19"/>
                <a:gd name="T3" fmla="*/ 9702 h 9"/>
                <a:gd name="T4" fmla="*/ 9609 w 19"/>
                <a:gd name="T5" fmla="*/ 15523 h 9"/>
                <a:gd name="T6" fmla="*/ 15374 w 19"/>
                <a:gd name="T7" fmla="*/ 13582 h 9"/>
                <a:gd name="T8" fmla="*/ 21139 w 19"/>
                <a:gd name="T9" fmla="*/ 15523 h 9"/>
                <a:gd name="T10" fmla="*/ 28826 w 19"/>
                <a:gd name="T11" fmla="*/ 7761 h 9"/>
                <a:gd name="T12" fmla="*/ 34591 w 19"/>
                <a:gd name="T13" fmla="*/ 9702 h 9"/>
                <a:gd name="T14" fmla="*/ 36513 w 19"/>
                <a:gd name="T15" fmla="*/ 5821 h 9"/>
                <a:gd name="T16" fmla="*/ 32670 w 19"/>
                <a:gd name="T17" fmla="*/ 5821 h 9"/>
                <a:gd name="T18" fmla="*/ 26904 w 19"/>
                <a:gd name="T19" fmla="*/ 5821 h 9"/>
                <a:gd name="T20" fmla="*/ 24983 w 19"/>
                <a:gd name="T21" fmla="*/ 3881 h 9"/>
                <a:gd name="T22" fmla="*/ 24983 w 19"/>
                <a:gd name="T23" fmla="*/ 0 h 9"/>
                <a:gd name="T24" fmla="*/ 1922 w 19"/>
                <a:gd name="T25" fmla="*/ 388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7" name="Freeform 586"/>
            <p:cNvSpPr>
              <a:spLocks noChangeAspect="1"/>
            </p:cNvSpPr>
            <p:nvPr/>
          </p:nvSpPr>
          <p:spPr bwMode="auto">
            <a:xfrm>
              <a:off x="7379802" y="318275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8" name="Freeform 587"/>
            <p:cNvSpPr>
              <a:spLocks noChangeAspect="1"/>
            </p:cNvSpPr>
            <p:nvPr/>
          </p:nvSpPr>
          <p:spPr bwMode="auto">
            <a:xfrm>
              <a:off x="4860307" y="763315"/>
              <a:ext cx="4806" cy="7738"/>
            </a:xfrm>
            <a:custGeom>
              <a:avLst/>
              <a:gdLst>
                <a:gd name="T0" fmla="*/ 4763 w 2"/>
                <a:gd name="T1" fmla="*/ 5715 h 5"/>
                <a:gd name="T2" fmla="*/ 2382 w 2"/>
                <a:gd name="T3" fmla="*/ 9525 h 5"/>
                <a:gd name="T4" fmla="*/ 0 w 2"/>
                <a:gd name="T5" fmla="*/ 5715 h 5"/>
                <a:gd name="T6" fmla="*/ 2382 w 2"/>
                <a:gd name="T7" fmla="*/ 1905 h 5"/>
                <a:gd name="T8" fmla="*/ 4763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9" name="Freeform 588"/>
            <p:cNvSpPr>
              <a:spLocks noChangeAspect="1"/>
            </p:cNvSpPr>
            <p:nvPr/>
          </p:nvSpPr>
          <p:spPr bwMode="auto">
            <a:xfrm>
              <a:off x="4730570" y="749128"/>
              <a:ext cx="6407" cy="3868"/>
            </a:xfrm>
            <a:custGeom>
              <a:avLst/>
              <a:gdLst>
                <a:gd name="T0" fmla="*/ 1588 w 4"/>
                <a:gd name="T1" fmla="*/ 4762 h 2"/>
                <a:gd name="T2" fmla="*/ 0 w 4"/>
                <a:gd name="T3" fmla="*/ 2381 h 2"/>
                <a:gd name="T4" fmla="*/ 3175 w 4"/>
                <a:gd name="T5" fmla="*/ 0 h 2"/>
                <a:gd name="T6" fmla="*/ 6350 w 4"/>
                <a:gd name="T7" fmla="*/ 2381 h 2"/>
                <a:gd name="T8" fmla="*/ 1588 w 4"/>
                <a:gd name="T9" fmla="*/ 476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2"/>
                  </a:moveTo>
                  <a:cubicBezTo>
                    <a:pt x="1" y="2"/>
                    <a:pt x="0" y="2"/>
                    <a:pt x="0" y="1"/>
                  </a:cubicBezTo>
                  <a:cubicBezTo>
                    <a:pt x="0" y="0"/>
                    <a:pt x="1" y="0"/>
                    <a:pt x="2" y="0"/>
                  </a:cubicBezTo>
                  <a:cubicBezTo>
                    <a:pt x="2" y="0"/>
                    <a:pt x="4" y="0"/>
                    <a:pt x="4" y="1"/>
                  </a:cubicBezTo>
                  <a:cubicBezTo>
                    <a:pt x="4"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0" name="Freeform 589"/>
            <p:cNvSpPr>
              <a:spLocks noChangeAspect="1"/>
            </p:cNvSpPr>
            <p:nvPr/>
          </p:nvSpPr>
          <p:spPr bwMode="auto">
            <a:xfrm>
              <a:off x="8592296" y="3893366"/>
              <a:ext cx="6407" cy="7738"/>
            </a:xfrm>
            <a:custGeom>
              <a:avLst/>
              <a:gdLst>
                <a:gd name="T0" fmla="*/ 6350 w 3"/>
                <a:gd name="T1" fmla="*/ 5715 h 5"/>
                <a:gd name="T2" fmla="*/ 2117 w 3"/>
                <a:gd name="T3" fmla="*/ 7620 h 5"/>
                <a:gd name="T4" fmla="*/ 0 w 3"/>
                <a:gd name="T5" fmla="*/ 3810 h 5"/>
                <a:gd name="T6" fmla="*/ 2117 w 3"/>
                <a:gd name="T7" fmla="*/ 0 h 5"/>
                <a:gd name="T8" fmla="*/ 635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3"/>
                    <a:pt x="2" y="5"/>
                    <a:pt x="1" y="4"/>
                  </a:cubicBezTo>
                  <a:cubicBezTo>
                    <a:pt x="0" y="4"/>
                    <a:pt x="0" y="3"/>
                    <a:pt x="0" y="2"/>
                  </a:cubicBezTo>
                  <a:cubicBezTo>
                    <a:pt x="0" y="1"/>
                    <a:pt x="0" y="0"/>
                    <a:pt x="1" y="0"/>
                  </a:cubicBezTo>
                  <a:cubicBezTo>
                    <a:pt x="3" y="0"/>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1" name="Freeform 590"/>
            <p:cNvSpPr>
              <a:spLocks noChangeAspect="1"/>
            </p:cNvSpPr>
            <p:nvPr/>
          </p:nvSpPr>
          <p:spPr bwMode="auto">
            <a:xfrm>
              <a:off x="5470561" y="1110239"/>
              <a:ext cx="14415" cy="1289"/>
            </a:xfrm>
            <a:custGeom>
              <a:avLst/>
              <a:gdLst>
                <a:gd name="T0" fmla="*/ 5358 w 8"/>
                <a:gd name="T1" fmla="*/ 1587 h 1"/>
                <a:gd name="T2" fmla="*/ 0 w 8"/>
                <a:gd name="T3" fmla="*/ 0 h 1"/>
                <a:gd name="T4" fmla="*/ 7144 w 8"/>
                <a:gd name="T5" fmla="*/ 0 h 1"/>
                <a:gd name="T6" fmla="*/ 12501 w 8"/>
                <a:gd name="T7" fmla="*/ 1587 h 1"/>
                <a:gd name="T8" fmla="*/ 5358 w 8"/>
                <a:gd name="T9" fmla="*/ 1587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3" y="1"/>
                  </a:moveTo>
                  <a:cubicBezTo>
                    <a:pt x="2" y="1"/>
                    <a:pt x="0" y="1"/>
                    <a:pt x="0" y="0"/>
                  </a:cubicBezTo>
                  <a:cubicBezTo>
                    <a:pt x="1" y="0"/>
                    <a:pt x="2" y="0"/>
                    <a:pt x="4" y="0"/>
                  </a:cubicBezTo>
                  <a:cubicBezTo>
                    <a:pt x="5" y="0"/>
                    <a:pt x="8" y="0"/>
                    <a:pt x="7" y="1"/>
                  </a:cubicBezTo>
                  <a:cubicBezTo>
                    <a:pt x="7" y="1"/>
                    <a:pt x="4"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2" name="Freeform 591"/>
            <p:cNvSpPr>
              <a:spLocks noChangeAspect="1"/>
            </p:cNvSpPr>
            <p:nvPr/>
          </p:nvSpPr>
          <p:spPr bwMode="auto">
            <a:xfrm>
              <a:off x="5539434" y="1115397"/>
              <a:ext cx="12814" cy="3868"/>
            </a:xfrm>
            <a:custGeom>
              <a:avLst/>
              <a:gdLst>
                <a:gd name="T0" fmla="*/ 3629 w 7"/>
                <a:gd name="T1" fmla="*/ 3175 h 3"/>
                <a:gd name="T2" fmla="*/ 0 w 7"/>
                <a:gd name="T3" fmla="*/ 3175 h 3"/>
                <a:gd name="T4" fmla="*/ 5443 w 7"/>
                <a:gd name="T5" fmla="*/ 1587 h 3"/>
                <a:gd name="T6" fmla="*/ 10886 w 7"/>
                <a:gd name="T7" fmla="*/ 1587 h 3"/>
                <a:gd name="T8" fmla="*/ 3629 w 7"/>
                <a:gd name="T9" fmla="*/ 3175 h 3"/>
                <a:gd name="T10" fmla="*/ 0 60000 65536"/>
                <a:gd name="T11" fmla="*/ 0 60000 65536"/>
                <a:gd name="T12" fmla="*/ 0 60000 65536"/>
                <a:gd name="T13" fmla="*/ 0 60000 65536"/>
                <a:gd name="T14" fmla="*/ 0 60000 65536"/>
                <a:gd name="T15" fmla="*/ 0 w 7"/>
                <a:gd name="T16" fmla="*/ 0 h 3"/>
                <a:gd name="T17" fmla="*/ 7 w 7"/>
                <a:gd name="T18" fmla="*/ 3 h 3"/>
              </a:gdLst>
              <a:ahLst/>
              <a:cxnLst>
                <a:cxn ang="T10">
                  <a:pos x="T0" y="T1"/>
                </a:cxn>
                <a:cxn ang="T11">
                  <a:pos x="T2" y="T3"/>
                </a:cxn>
                <a:cxn ang="T12">
                  <a:pos x="T4" y="T5"/>
                </a:cxn>
                <a:cxn ang="T13">
                  <a:pos x="T6" y="T7"/>
                </a:cxn>
                <a:cxn ang="T14">
                  <a:pos x="T8" y="T9"/>
                </a:cxn>
              </a:cxnLst>
              <a:rect l="T15" t="T16" r="T17" b="T18"/>
              <a:pathLst>
                <a:path w="7" h="3">
                  <a:moveTo>
                    <a:pt x="2" y="2"/>
                  </a:moveTo>
                  <a:cubicBezTo>
                    <a:pt x="2" y="3"/>
                    <a:pt x="0" y="3"/>
                    <a:pt x="0" y="2"/>
                  </a:cubicBezTo>
                  <a:cubicBezTo>
                    <a:pt x="0" y="2"/>
                    <a:pt x="2" y="1"/>
                    <a:pt x="3" y="1"/>
                  </a:cubicBezTo>
                  <a:cubicBezTo>
                    <a:pt x="4" y="0"/>
                    <a:pt x="7" y="0"/>
                    <a:pt x="6" y="1"/>
                  </a:cubicBezTo>
                  <a:cubicBezTo>
                    <a:pt x="6" y="1"/>
                    <a:pt x="4"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3" name="Freeform 592"/>
            <p:cNvSpPr>
              <a:spLocks noChangeAspect="1"/>
            </p:cNvSpPr>
            <p:nvPr/>
          </p:nvSpPr>
          <p:spPr bwMode="auto">
            <a:xfrm>
              <a:off x="5571468" y="1093472"/>
              <a:ext cx="14416" cy="10318"/>
            </a:xfrm>
            <a:custGeom>
              <a:avLst/>
              <a:gdLst>
                <a:gd name="T0" fmla="*/ 4082 w 7"/>
                <a:gd name="T1" fmla="*/ 5443 h 7"/>
                <a:gd name="T2" fmla="*/ 0 w 7"/>
                <a:gd name="T3" fmla="*/ 0 h 7"/>
                <a:gd name="T4" fmla="*/ 8165 w 7"/>
                <a:gd name="T5" fmla="*/ 5443 h 7"/>
                <a:gd name="T6" fmla="*/ 12247 w 7"/>
                <a:gd name="T7" fmla="*/ 12700 h 7"/>
                <a:gd name="T8" fmla="*/ 4082 w 7"/>
                <a:gd name="T9" fmla="*/ 5443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3"/>
                  </a:moveTo>
                  <a:cubicBezTo>
                    <a:pt x="1" y="2"/>
                    <a:pt x="0" y="0"/>
                    <a:pt x="0" y="0"/>
                  </a:cubicBezTo>
                  <a:cubicBezTo>
                    <a:pt x="1" y="0"/>
                    <a:pt x="3" y="2"/>
                    <a:pt x="4" y="3"/>
                  </a:cubicBezTo>
                  <a:cubicBezTo>
                    <a:pt x="5" y="4"/>
                    <a:pt x="7" y="7"/>
                    <a:pt x="6" y="7"/>
                  </a:cubicBezTo>
                  <a:cubicBezTo>
                    <a:pt x="5" y="7"/>
                    <a:pt x="3" y="5"/>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4" name="Freeform 593"/>
            <p:cNvSpPr>
              <a:spLocks noChangeAspect="1"/>
            </p:cNvSpPr>
            <p:nvPr/>
          </p:nvSpPr>
          <p:spPr bwMode="auto">
            <a:xfrm>
              <a:off x="5233507" y="1178592"/>
              <a:ext cx="8008" cy="5158"/>
            </a:xfrm>
            <a:custGeom>
              <a:avLst/>
              <a:gdLst>
                <a:gd name="T0" fmla="*/ 5953 w 4"/>
                <a:gd name="T1" fmla="*/ 2117 h 3"/>
                <a:gd name="T2" fmla="*/ 5953 w 4"/>
                <a:gd name="T3" fmla="*/ 4233 h 3"/>
                <a:gd name="T4" fmla="*/ 3969 w 4"/>
                <a:gd name="T5" fmla="*/ 4233 h 3"/>
                <a:gd name="T6" fmla="*/ 1984 w 4"/>
                <a:gd name="T7" fmla="*/ 0 h 3"/>
                <a:gd name="T8" fmla="*/ 5953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4" y="1"/>
                    <a:pt x="4" y="2"/>
                    <a:pt x="3" y="2"/>
                  </a:cubicBezTo>
                  <a:cubicBezTo>
                    <a:pt x="3" y="3"/>
                    <a:pt x="2" y="3"/>
                    <a:pt x="2" y="2"/>
                  </a:cubicBezTo>
                  <a:cubicBezTo>
                    <a:pt x="1" y="2"/>
                    <a:pt x="0" y="1"/>
                    <a:pt x="1" y="0"/>
                  </a:cubicBezTo>
                  <a:cubicBezTo>
                    <a:pt x="2" y="0"/>
                    <a:pt x="3"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5" name="Freeform 594"/>
            <p:cNvSpPr>
              <a:spLocks noChangeAspect="1"/>
            </p:cNvSpPr>
            <p:nvPr/>
          </p:nvSpPr>
          <p:spPr bwMode="auto">
            <a:xfrm>
              <a:off x="5095760" y="1230179"/>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6" name="Freeform 595"/>
            <p:cNvSpPr>
              <a:spLocks noChangeAspect="1"/>
            </p:cNvSpPr>
            <p:nvPr/>
          </p:nvSpPr>
          <p:spPr bwMode="auto">
            <a:xfrm>
              <a:off x="4712950" y="915497"/>
              <a:ext cx="8009" cy="3869"/>
            </a:xfrm>
            <a:custGeom>
              <a:avLst/>
              <a:gdLst>
                <a:gd name="T0" fmla="*/ 7938 w 4"/>
                <a:gd name="T1" fmla="*/ 3175 h 3"/>
                <a:gd name="T2" fmla="*/ 5953 w 4"/>
                <a:gd name="T3" fmla="*/ 4763 h 3"/>
                <a:gd name="T4" fmla="*/ 1985 w 4"/>
                <a:gd name="T5" fmla="*/ 3175 h 3"/>
                <a:gd name="T6" fmla="*/ 3969 w 4"/>
                <a:gd name="T7" fmla="*/ 0 h 3"/>
                <a:gd name="T8" fmla="*/ 7938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4" y="3"/>
                    <a:pt x="3" y="3"/>
                  </a:cubicBezTo>
                  <a:cubicBezTo>
                    <a:pt x="1" y="3"/>
                    <a:pt x="1" y="2"/>
                    <a:pt x="1" y="2"/>
                  </a:cubicBezTo>
                  <a:cubicBezTo>
                    <a:pt x="1" y="1"/>
                    <a:pt x="0" y="0"/>
                    <a:pt x="2"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7" name="Freeform 596"/>
            <p:cNvSpPr>
              <a:spLocks noChangeAspect="1"/>
            </p:cNvSpPr>
            <p:nvPr/>
          </p:nvSpPr>
          <p:spPr bwMode="auto">
            <a:xfrm>
              <a:off x="5994320" y="4140984"/>
              <a:ext cx="12814" cy="7738"/>
            </a:xfrm>
            <a:custGeom>
              <a:avLst/>
              <a:gdLst>
                <a:gd name="T0" fmla="*/ 4233 w 6"/>
                <a:gd name="T1" fmla="*/ 7620 h 5"/>
                <a:gd name="T2" fmla="*/ 2117 w 6"/>
                <a:gd name="T3" fmla="*/ 3810 h 5"/>
                <a:gd name="T4" fmla="*/ 6350 w 6"/>
                <a:gd name="T5" fmla="*/ 1905 h 5"/>
                <a:gd name="T6" fmla="*/ 12700 w 6"/>
                <a:gd name="T7" fmla="*/ 5715 h 5"/>
                <a:gd name="T8" fmla="*/ 4233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3"/>
                    <a:pt x="1" y="2"/>
                  </a:cubicBezTo>
                  <a:cubicBezTo>
                    <a:pt x="1" y="0"/>
                    <a:pt x="3" y="0"/>
                    <a:pt x="3" y="1"/>
                  </a:cubicBezTo>
                  <a:cubicBezTo>
                    <a:pt x="4" y="1"/>
                    <a:pt x="6" y="2"/>
                    <a:pt x="6" y="3"/>
                  </a:cubicBezTo>
                  <a:cubicBezTo>
                    <a:pt x="5" y="5"/>
                    <a:pt x="3" y="4"/>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8" name="Freeform 597"/>
            <p:cNvSpPr>
              <a:spLocks noChangeAspect="1"/>
            </p:cNvSpPr>
            <p:nvPr/>
          </p:nvSpPr>
          <p:spPr bwMode="auto">
            <a:xfrm>
              <a:off x="8465761" y="3712811"/>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9" name="Freeform 598"/>
            <p:cNvSpPr>
              <a:spLocks noChangeAspect="1"/>
            </p:cNvSpPr>
            <p:nvPr/>
          </p:nvSpPr>
          <p:spPr bwMode="auto">
            <a:xfrm>
              <a:off x="8467363" y="3701204"/>
              <a:ext cx="3203" cy="6449"/>
            </a:xfrm>
            <a:custGeom>
              <a:avLst/>
              <a:gdLst>
                <a:gd name="T0" fmla="*/ 3175 w 2"/>
                <a:gd name="T1" fmla="*/ 5953 h 4"/>
                <a:gd name="T2" fmla="*/ 1588 w 2"/>
                <a:gd name="T3" fmla="*/ 7938 h 4"/>
                <a:gd name="T4" fmla="*/ 0 w 2"/>
                <a:gd name="T5" fmla="*/ 3969 h 4"/>
                <a:gd name="T6" fmla="*/ 1588 w 2"/>
                <a:gd name="T7" fmla="*/ 1985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0" name="Freeform 599"/>
            <p:cNvSpPr>
              <a:spLocks noChangeAspect="1"/>
            </p:cNvSpPr>
            <p:nvPr/>
          </p:nvSpPr>
          <p:spPr bwMode="auto">
            <a:xfrm>
              <a:off x="5533027" y="869069"/>
              <a:ext cx="6407" cy="3869"/>
            </a:xfrm>
            <a:custGeom>
              <a:avLst/>
              <a:gdLst>
                <a:gd name="T0" fmla="*/ 2117 w 3"/>
                <a:gd name="T1" fmla="*/ 3175 h 3"/>
                <a:gd name="T2" fmla="*/ 0 w 3"/>
                <a:gd name="T3" fmla="*/ 3175 h 3"/>
                <a:gd name="T4" fmla="*/ 2117 w 3"/>
                <a:gd name="T5" fmla="*/ 1588 h 3"/>
                <a:gd name="T6" fmla="*/ 4233 w 3"/>
                <a:gd name="T7" fmla="*/ 1588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1" name="Freeform 600"/>
            <p:cNvSpPr>
              <a:spLocks noChangeAspect="1"/>
            </p:cNvSpPr>
            <p:nvPr/>
          </p:nvSpPr>
          <p:spPr bwMode="auto">
            <a:xfrm>
              <a:off x="5060522" y="707859"/>
              <a:ext cx="6407" cy="2579"/>
            </a:xfrm>
            <a:custGeom>
              <a:avLst/>
              <a:gdLst>
                <a:gd name="T0" fmla="*/ 2117 w 3"/>
                <a:gd name="T1" fmla="*/ 1588 h 2"/>
                <a:gd name="T2" fmla="*/ 2117 w 3"/>
                <a:gd name="T3" fmla="*/ 0 h 2"/>
                <a:gd name="T4" fmla="*/ 4233 w 3"/>
                <a:gd name="T5" fmla="*/ 0 h 2"/>
                <a:gd name="T6" fmla="*/ 6350 w 3"/>
                <a:gd name="T7" fmla="*/ 3175 h 2"/>
                <a:gd name="T8" fmla="*/ 2117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1"/>
                    <a:pt x="0" y="0"/>
                    <a:pt x="1" y="0"/>
                  </a:cubicBezTo>
                  <a:cubicBezTo>
                    <a:pt x="1" y="0"/>
                    <a:pt x="2" y="0"/>
                    <a:pt x="2" y="0"/>
                  </a:cubicBezTo>
                  <a:cubicBezTo>
                    <a:pt x="3" y="1"/>
                    <a:pt x="3" y="1"/>
                    <a:pt x="3" y="2"/>
                  </a:cubicBezTo>
                  <a:cubicBezTo>
                    <a:pt x="2" y="2"/>
                    <a:pt x="1" y="2"/>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2" name="Freeform 601"/>
            <p:cNvSpPr>
              <a:spLocks noChangeAspect="1"/>
            </p:cNvSpPr>
            <p:nvPr/>
          </p:nvSpPr>
          <p:spPr bwMode="auto">
            <a:xfrm>
              <a:off x="4732171" y="685934"/>
              <a:ext cx="4806" cy="5158"/>
            </a:xfrm>
            <a:custGeom>
              <a:avLst/>
              <a:gdLst>
                <a:gd name="T0" fmla="*/ 3175 w 3"/>
                <a:gd name="T1" fmla="*/ 2117 h 3"/>
                <a:gd name="T2" fmla="*/ 3175 w 3"/>
                <a:gd name="T3" fmla="*/ 4233 h 3"/>
                <a:gd name="T4" fmla="*/ 1588 w 3"/>
                <a:gd name="T5" fmla="*/ 4233 h 3"/>
                <a:gd name="T6" fmla="*/ 0 w 3"/>
                <a:gd name="T7" fmla="*/ 2117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3" name="Freeform 602"/>
            <p:cNvSpPr>
              <a:spLocks noChangeAspect="1"/>
            </p:cNvSpPr>
            <p:nvPr/>
          </p:nvSpPr>
          <p:spPr bwMode="auto">
            <a:xfrm>
              <a:off x="4717756" y="740101"/>
              <a:ext cx="6407" cy="3869"/>
            </a:xfrm>
            <a:custGeom>
              <a:avLst/>
              <a:gdLst>
                <a:gd name="T0" fmla="*/ 2117 w 3"/>
                <a:gd name="T1" fmla="*/ 2382 h 2"/>
                <a:gd name="T2" fmla="*/ 0 w 3"/>
                <a:gd name="T3" fmla="*/ 2382 h 2"/>
                <a:gd name="T4" fmla="*/ 2117 w 3"/>
                <a:gd name="T5" fmla="*/ 0 h 2"/>
                <a:gd name="T6" fmla="*/ 6350 w 3"/>
                <a:gd name="T7" fmla="*/ 0 h 2"/>
                <a:gd name="T8" fmla="*/ 2117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1" y="0"/>
                    <a:pt x="2"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4" name="Freeform 603"/>
            <p:cNvSpPr>
              <a:spLocks noChangeAspect="1"/>
            </p:cNvSpPr>
            <p:nvPr/>
          </p:nvSpPr>
          <p:spPr bwMode="auto">
            <a:xfrm>
              <a:off x="3977764" y="3046046"/>
              <a:ext cx="4805" cy="3869"/>
            </a:xfrm>
            <a:custGeom>
              <a:avLst/>
              <a:gdLst>
                <a:gd name="T0" fmla="*/ 4762 w 2"/>
                <a:gd name="T1" fmla="*/ 3175 h 3"/>
                <a:gd name="T2" fmla="*/ 2381 w 2"/>
                <a:gd name="T3" fmla="*/ 4763 h 3"/>
                <a:gd name="T4" fmla="*/ 0 w 2"/>
                <a:gd name="T5" fmla="*/ 3175 h 3"/>
                <a:gd name="T6" fmla="*/ 2381 w 2"/>
                <a:gd name="T7" fmla="*/ 0 h 3"/>
                <a:gd name="T8" fmla="*/ 476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1" y="1"/>
                    <a:pt x="1"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5" name="Freeform 604"/>
            <p:cNvSpPr>
              <a:spLocks noChangeAspect="1"/>
            </p:cNvSpPr>
            <p:nvPr/>
          </p:nvSpPr>
          <p:spPr bwMode="auto">
            <a:xfrm>
              <a:off x="4187589" y="3231760"/>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6" name="Freeform 605"/>
            <p:cNvSpPr>
              <a:spLocks noChangeAspect="1"/>
            </p:cNvSpPr>
            <p:nvPr/>
          </p:nvSpPr>
          <p:spPr bwMode="auto">
            <a:xfrm>
              <a:off x="8592296" y="390239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1"/>
                    <a:pt x="0" y="1"/>
                  </a:cubicBezTo>
                  <a:cubicBezTo>
                    <a:pt x="0" y="1"/>
                    <a:pt x="0" y="0"/>
                    <a:pt x="1" y="0"/>
                  </a:cubicBezTo>
                  <a:cubicBezTo>
                    <a:pt x="2"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7" name="Freeform 606"/>
            <p:cNvSpPr>
              <a:spLocks noChangeAspect="1"/>
            </p:cNvSpPr>
            <p:nvPr/>
          </p:nvSpPr>
          <p:spPr bwMode="auto">
            <a:xfrm>
              <a:off x="8172648" y="4130667"/>
              <a:ext cx="3203" cy="5158"/>
            </a:xfrm>
            <a:custGeom>
              <a:avLst/>
              <a:gdLst>
                <a:gd name="T0" fmla="*/ 3175 w 1"/>
                <a:gd name="T1" fmla="*/ 4233 h 3"/>
                <a:gd name="T2" fmla="*/ 3175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8" name="Freeform 607"/>
            <p:cNvSpPr>
              <a:spLocks noChangeAspect="1"/>
            </p:cNvSpPr>
            <p:nvPr/>
          </p:nvSpPr>
          <p:spPr bwMode="auto">
            <a:xfrm>
              <a:off x="7913171" y="4183543"/>
              <a:ext cx="4806" cy="3869"/>
            </a:xfrm>
            <a:custGeom>
              <a:avLst/>
              <a:gdLst>
                <a:gd name="T0" fmla="*/ 4763 w 2"/>
                <a:gd name="T1" fmla="*/ 3175 h 3"/>
                <a:gd name="T2" fmla="*/ 2382 w 2"/>
                <a:gd name="T3" fmla="*/ 4763 h 3"/>
                <a:gd name="T4" fmla="*/ 0 w 2"/>
                <a:gd name="T5" fmla="*/ 3175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9" name="Oval 608"/>
            <p:cNvSpPr>
              <a:spLocks noChangeAspect="1" noChangeArrowheads="1"/>
            </p:cNvSpPr>
            <p:nvPr/>
          </p:nvSpPr>
          <p:spPr bwMode="auto">
            <a:xfrm>
              <a:off x="8398490" y="3813405"/>
              <a:ext cx="1601"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0" name="Freeform 609"/>
            <p:cNvSpPr>
              <a:spLocks noChangeAspect="1"/>
            </p:cNvSpPr>
            <p:nvPr/>
          </p:nvSpPr>
          <p:spPr bwMode="auto">
            <a:xfrm>
              <a:off x="8403295" y="3719259"/>
              <a:ext cx="132943" cy="125100"/>
            </a:xfrm>
            <a:custGeom>
              <a:avLst/>
              <a:gdLst>
                <a:gd name="T0" fmla="*/ 84023 w 69"/>
                <a:gd name="T1" fmla="*/ 36121 h 81"/>
                <a:gd name="T2" fmla="*/ 105028 w 69"/>
                <a:gd name="T3" fmla="*/ 34220 h 81"/>
                <a:gd name="T4" fmla="*/ 118396 w 69"/>
                <a:gd name="T5" fmla="*/ 22813 h 81"/>
                <a:gd name="T6" fmla="*/ 131763 w 69"/>
                <a:gd name="T7" fmla="*/ 30417 h 81"/>
                <a:gd name="T8" fmla="*/ 122215 w 69"/>
                <a:gd name="T9" fmla="*/ 38022 h 81"/>
                <a:gd name="T10" fmla="*/ 116486 w 69"/>
                <a:gd name="T11" fmla="*/ 55131 h 81"/>
                <a:gd name="T12" fmla="*/ 103119 w 69"/>
                <a:gd name="T13" fmla="*/ 57033 h 81"/>
                <a:gd name="T14" fmla="*/ 101209 w 69"/>
                <a:gd name="T15" fmla="*/ 70340 h 81"/>
                <a:gd name="T16" fmla="*/ 101209 w 69"/>
                <a:gd name="T17" fmla="*/ 74142 h 81"/>
                <a:gd name="T18" fmla="*/ 97390 w 69"/>
                <a:gd name="T19" fmla="*/ 77945 h 81"/>
                <a:gd name="T20" fmla="*/ 95480 w 69"/>
                <a:gd name="T21" fmla="*/ 72241 h 81"/>
                <a:gd name="T22" fmla="*/ 84023 w 69"/>
                <a:gd name="T23" fmla="*/ 72241 h 81"/>
                <a:gd name="T24" fmla="*/ 72565 w 69"/>
                <a:gd name="T25" fmla="*/ 83648 h 81"/>
                <a:gd name="T26" fmla="*/ 78294 w 69"/>
                <a:gd name="T27" fmla="*/ 91252 h 81"/>
                <a:gd name="T28" fmla="*/ 61107 w 69"/>
                <a:gd name="T29" fmla="*/ 110263 h 81"/>
                <a:gd name="T30" fmla="*/ 47740 w 69"/>
                <a:gd name="T31" fmla="*/ 131175 h 81"/>
                <a:gd name="T32" fmla="*/ 24825 w 69"/>
                <a:gd name="T33" fmla="*/ 152087 h 81"/>
                <a:gd name="T34" fmla="*/ 13367 w 69"/>
                <a:gd name="T35" fmla="*/ 148285 h 81"/>
                <a:gd name="T36" fmla="*/ 7638 w 69"/>
                <a:gd name="T37" fmla="*/ 140680 h 81"/>
                <a:gd name="T38" fmla="*/ 21006 w 69"/>
                <a:gd name="T39" fmla="*/ 123571 h 81"/>
                <a:gd name="T40" fmla="*/ 28644 w 69"/>
                <a:gd name="T41" fmla="*/ 112164 h 81"/>
                <a:gd name="T42" fmla="*/ 24825 w 69"/>
                <a:gd name="T43" fmla="*/ 96955 h 81"/>
                <a:gd name="T44" fmla="*/ 15277 w 69"/>
                <a:gd name="T45" fmla="*/ 93153 h 81"/>
                <a:gd name="T46" fmla="*/ 7638 w 69"/>
                <a:gd name="T47" fmla="*/ 87450 h 81"/>
                <a:gd name="T48" fmla="*/ 1910 w 69"/>
                <a:gd name="T49" fmla="*/ 81747 h 81"/>
                <a:gd name="T50" fmla="*/ 11458 w 69"/>
                <a:gd name="T51" fmla="*/ 72241 h 81"/>
                <a:gd name="T52" fmla="*/ 24825 w 69"/>
                <a:gd name="T53" fmla="*/ 66538 h 81"/>
                <a:gd name="T54" fmla="*/ 34373 w 69"/>
                <a:gd name="T55" fmla="*/ 45626 h 81"/>
                <a:gd name="T56" fmla="*/ 40102 w 69"/>
                <a:gd name="T57" fmla="*/ 38022 h 81"/>
                <a:gd name="T58" fmla="*/ 38192 w 69"/>
                <a:gd name="T59" fmla="*/ 20912 h 81"/>
                <a:gd name="T60" fmla="*/ 42011 w 69"/>
                <a:gd name="T61" fmla="*/ 9505 h 81"/>
                <a:gd name="T62" fmla="*/ 47740 w 69"/>
                <a:gd name="T63" fmla="*/ 11407 h 81"/>
                <a:gd name="T64" fmla="*/ 49650 w 69"/>
                <a:gd name="T65" fmla="*/ 5703 h 81"/>
                <a:gd name="T66" fmla="*/ 55379 w 69"/>
                <a:gd name="T67" fmla="*/ 7604 h 81"/>
                <a:gd name="T68" fmla="*/ 55379 w 69"/>
                <a:gd name="T69" fmla="*/ 15209 h 81"/>
                <a:gd name="T70" fmla="*/ 63017 w 69"/>
                <a:gd name="T71" fmla="*/ 15209 h 81"/>
                <a:gd name="T72" fmla="*/ 63017 w 69"/>
                <a:gd name="T73" fmla="*/ 3802 h 81"/>
                <a:gd name="T74" fmla="*/ 68746 w 69"/>
                <a:gd name="T75" fmla="*/ 3802 h 81"/>
                <a:gd name="T76" fmla="*/ 68746 w 69"/>
                <a:gd name="T77" fmla="*/ 28516 h 81"/>
                <a:gd name="T78" fmla="*/ 84023 w 69"/>
                <a:gd name="T79" fmla="*/ 36121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1" name="Freeform 610"/>
            <p:cNvSpPr>
              <a:spLocks noChangeAspect="1"/>
            </p:cNvSpPr>
            <p:nvPr/>
          </p:nvSpPr>
          <p:spPr bwMode="auto">
            <a:xfrm>
              <a:off x="8416108" y="3661224"/>
              <a:ext cx="38441" cy="61904"/>
            </a:xfrm>
            <a:custGeom>
              <a:avLst/>
              <a:gdLst>
                <a:gd name="T0" fmla="*/ 24765 w 20"/>
                <a:gd name="T1" fmla="*/ 64770 h 40"/>
                <a:gd name="T2" fmla="*/ 26670 w 20"/>
                <a:gd name="T3" fmla="*/ 74295 h 40"/>
                <a:gd name="T4" fmla="*/ 32385 w 20"/>
                <a:gd name="T5" fmla="*/ 74295 h 40"/>
                <a:gd name="T6" fmla="*/ 38100 w 20"/>
                <a:gd name="T7" fmla="*/ 55245 h 40"/>
                <a:gd name="T8" fmla="*/ 32385 w 20"/>
                <a:gd name="T9" fmla="*/ 40005 h 40"/>
                <a:gd name="T10" fmla="*/ 38100 w 20"/>
                <a:gd name="T11" fmla="*/ 40005 h 40"/>
                <a:gd name="T12" fmla="*/ 34290 w 20"/>
                <a:gd name="T13" fmla="*/ 26670 h 40"/>
                <a:gd name="T14" fmla="*/ 19050 w 20"/>
                <a:gd name="T15" fmla="*/ 15240 h 40"/>
                <a:gd name="T16" fmla="*/ 9525 w 20"/>
                <a:gd name="T17" fmla="*/ 9525 h 40"/>
                <a:gd name="T18" fmla="*/ 9525 w 20"/>
                <a:gd name="T19" fmla="*/ 3810 h 40"/>
                <a:gd name="T20" fmla="*/ 1905 w 20"/>
                <a:gd name="T21" fmla="*/ 3810 h 40"/>
                <a:gd name="T22" fmla="*/ 9525 w 20"/>
                <a:gd name="T23" fmla="*/ 19050 h 40"/>
                <a:gd name="T24" fmla="*/ 7620 w 20"/>
                <a:gd name="T25" fmla="*/ 24765 h 40"/>
                <a:gd name="T26" fmla="*/ 22860 w 20"/>
                <a:gd name="T27" fmla="*/ 55245 h 40"/>
                <a:gd name="T28" fmla="*/ 30480 w 20"/>
                <a:gd name="T29" fmla="*/ 57150 h 40"/>
                <a:gd name="T30" fmla="*/ 24765 w 20"/>
                <a:gd name="T31" fmla="*/ 64770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2" name="Freeform 611"/>
            <p:cNvSpPr>
              <a:spLocks noChangeAspect="1"/>
            </p:cNvSpPr>
            <p:nvPr/>
          </p:nvSpPr>
          <p:spPr bwMode="auto">
            <a:xfrm>
              <a:off x="8172648" y="3813405"/>
              <a:ext cx="233850" cy="162499"/>
            </a:xfrm>
            <a:custGeom>
              <a:avLst/>
              <a:gdLst>
                <a:gd name="T0" fmla="*/ 222198 w 121"/>
                <a:gd name="T1" fmla="*/ 43815 h 105"/>
                <a:gd name="T2" fmla="*/ 203043 w 121"/>
                <a:gd name="T3" fmla="*/ 60960 h 105"/>
                <a:gd name="T4" fmla="*/ 189634 w 121"/>
                <a:gd name="T5" fmla="*/ 78105 h 105"/>
                <a:gd name="T6" fmla="*/ 174310 w 121"/>
                <a:gd name="T7" fmla="*/ 91440 h 105"/>
                <a:gd name="T8" fmla="*/ 174310 w 121"/>
                <a:gd name="T9" fmla="*/ 97155 h 105"/>
                <a:gd name="T10" fmla="*/ 183888 w 121"/>
                <a:gd name="T11" fmla="*/ 100965 h 105"/>
                <a:gd name="T12" fmla="*/ 181972 w 121"/>
                <a:gd name="T13" fmla="*/ 106680 h 105"/>
                <a:gd name="T14" fmla="*/ 162817 w 121"/>
                <a:gd name="T15" fmla="*/ 104775 h 105"/>
                <a:gd name="T16" fmla="*/ 139831 w 121"/>
                <a:gd name="T17" fmla="*/ 114300 h 105"/>
                <a:gd name="T18" fmla="*/ 128338 w 121"/>
                <a:gd name="T19" fmla="*/ 125730 h 105"/>
                <a:gd name="T20" fmla="*/ 124507 w 121"/>
                <a:gd name="T21" fmla="*/ 142875 h 105"/>
                <a:gd name="T22" fmla="*/ 111099 w 121"/>
                <a:gd name="T23" fmla="*/ 160020 h 105"/>
                <a:gd name="T24" fmla="*/ 88113 w 121"/>
                <a:gd name="T25" fmla="*/ 179070 h 105"/>
                <a:gd name="T26" fmla="*/ 65127 w 121"/>
                <a:gd name="T27" fmla="*/ 198120 h 105"/>
                <a:gd name="T28" fmla="*/ 51718 w 121"/>
                <a:gd name="T29" fmla="*/ 196215 h 105"/>
                <a:gd name="T30" fmla="*/ 44056 w 121"/>
                <a:gd name="T31" fmla="*/ 184785 h 105"/>
                <a:gd name="T32" fmla="*/ 30648 w 121"/>
                <a:gd name="T33" fmla="*/ 180975 h 105"/>
                <a:gd name="T34" fmla="*/ 5746 w 121"/>
                <a:gd name="T35" fmla="*/ 179070 h 105"/>
                <a:gd name="T36" fmla="*/ 1915 w 121"/>
                <a:gd name="T37" fmla="*/ 169545 h 105"/>
                <a:gd name="T38" fmla="*/ 21070 w 121"/>
                <a:gd name="T39" fmla="*/ 146685 h 105"/>
                <a:gd name="T40" fmla="*/ 49803 w 121"/>
                <a:gd name="T41" fmla="*/ 123825 h 105"/>
                <a:gd name="T42" fmla="*/ 72789 w 121"/>
                <a:gd name="T43" fmla="*/ 108585 h 105"/>
                <a:gd name="T44" fmla="*/ 88113 w 121"/>
                <a:gd name="T45" fmla="*/ 104775 h 105"/>
                <a:gd name="T46" fmla="*/ 120676 w 121"/>
                <a:gd name="T47" fmla="*/ 81915 h 105"/>
                <a:gd name="T48" fmla="*/ 145578 w 121"/>
                <a:gd name="T49" fmla="*/ 66675 h 105"/>
                <a:gd name="T50" fmla="*/ 160902 w 121"/>
                <a:gd name="T51" fmla="*/ 43815 h 105"/>
                <a:gd name="T52" fmla="*/ 178141 w 121"/>
                <a:gd name="T53" fmla="*/ 24765 h 105"/>
                <a:gd name="T54" fmla="*/ 191550 w 121"/>
                <a:gd name="T55" fmla="*/ 0 h 105"/>
                <a:gd name="T56" fmla="*/ 199212 w 121"/>
                <a:gd name="T57" fmla="*/ 0 h 105"/>
                <a:gd name="T58" fmla="*/ 199212 w 121"/>
                <a:gd name="T59" fmla="*/ 7620 h 105"/>
                <a:gd name="T60" fmla="*/ 204958 w 121"/>
                <a:gd name="T61" fmla="*/ 11430 h 105"/>
                <a:gd name="T62" fmla="*/ 201127 w 121"/>
                <a:gd name="T63" fmla="*/ 20955 h 105"/>
                <a:gd name="T64" fmla="*/ 208789 w 121"/>
                <a:gd name="T65" fmla="*/ 26670 h 105"/>
                <a:gd name="T66" fmla="*/ 218367 w 121"/>
                <a:gd name="T67" fmla="*/ 13335 h 105"/>
                <a:gd name="T68" fmla="*/ 226029 w 121"/>
                <a:gd name="T69" fmla="*/ 9525 h 105"/>
                <a:gd name="T70" fmla="*/ 229860 w 121"/>
                <a:gd name="T71" fmla="*/ 19050 h 105"/>
                <a:gd name="T72" fmla="*/ 231775 w 121"/>
                <a:gd name="T73" fmla="*/ 26670 h 105"/>
                <a:gd name="T74" fmla="*/ 222198 w 121"/>
                <a:gd name="T75" fmla="*/ 34290 h 105"/>
                <a:gd name="T76" fmla="*/ 222198 w 121"/>
                <a:gd name="T77" fmla="*/ 43815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3" name="Freeform 612"/>
            <p:cNvSpPr>
              <a:spLocks noChangeAspect="1"/>
            </p:cNvSpPr>
            <p:nvPr/>
          </p:nvSpPr>
          <p:spPr bwMode="auto">
            <a:xfrm>
              <a:off x="8190267" y="3972036"/>
              <a:ext cx="20822" cy="19346"/>
            </a:xfrm>
            <a:custGeom>
              <a:avLst/>
              <a:gdLst>
                <a:gd name="T0" fmla="*/ 15009 w 11"/>
                <a:gd name="T1" fmla="*/ 0 h 12"/>
                <a:gd name="T2" fmla="*/ 18761 w 11"/>
                <a:gd name="T3" fmla="*/ 5953 h 12"/>
                <a:gd name="T4" fmla="*/ 15009 w 11"/>
                <a:gd name="T5" fmla="*/ 9922 h 12"/>
                <a:gd name="T6" fmla="*/ 20637 w 11"/>
                <a:gd name="T7" fmla="*/ 15875 h 12"/>
                <a:gd name="T8" fmla="*/ 15009 w 11"/>
                <a:gd name="T9" fmla="*/ 19844 h 12"/>
                <a:gd name="T10" fmla="*/ 1876 w 11"/>
                <a:gd name="T11" fmla="*/ 23813 h 12"/>
                <a:gd name="T12" fmla="*/ 1876 w 11"/>
                <a:gd name="T13" fmla="*/ 19844 h 12"/>
                <a:gd name="T14" fmla="*/ 11257 w 11"/>
                <a:gd name="T15" fmla="*/ 1984 h 12"/>
                <a:gd name="T16" fmla="*/ 1500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4" name="Freeform 613"/>
            <p:cNvSpPr>
              <a:spLocks noChangeAspect="1"/>
            </p:cNvSpPr>
            <p:nvPr/>
          </p:nvSpPr>
          <p:spPr bwMode="auto">
            <a:xfrm>
              <a:off x="8119791" y="4073921"/>
              <a:ext cx="11212" cy="15476"/>
            </a:xfrm>
            <a:custGeom>
              <a:avLst/>
              <a:gdLst>
                <a:gd name="T0" fmla="*/ 1852 w 6"/>
                <a:gd name="T1" fmla="*/ 9525 h 10"/>
                <a:gd name="T2" fmla="*/ 7408 w 6"/>
                <a:gd name="T3" fmla="*/ 1905 h 10"/>
                <a:gd name="T4" fmla="*/ 11112 w 6"/>
                <a:gd name="T5" fmla="*/ 1905 h 10"/>
                <a:gd name="T6" fmla="*/ 7408 w 6"/>
                <a:gd name="T7" fmla="*/ 17145 h 10"/>
                <a:gd name="T8" fmla="*/ 1852 w 6"/>
                <a:gd name="T9" fmla="*/ 17145 h 10"/>
                <a:gd name="T10" fmla="*/ 1852 w 6"/>
                <a:gd name="T11" fmla="*/ 9525 h 10"/>
                <a:gd name="T12" fmla="*/ 0 60000 65536"/>
                <a:gd name="T13" fmla="*/ 0 60000 65536"/>
                <a:gd name="T14" fmla="*/ 0 60000 65536"/>
                <a:gd name="T15" fmla="*/ 0 60000 65536"/>
                <a:gd name="T16" fmla="*/ 0 60000 65536"/>
                <a:gd name="T17" fmla="*/ 0 60000 65536"/>
                <a:gd name="T18" fmla="*/ 0 w 6"/>
                <a:gd name="T19" fmla="*/ 0 h 10"/>
                <a:gd name="T20" fmla="*/ 6 w 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 h="10">
                  <a:moveTo>
                    <a:pt x="1" y="5"/>
                  </a:moveTo>
                  <a:cubicBezTo>
                    <a:pt x="1" y="3"/>
                    <a:pt x="3" y="2"/>
                    <a:pt x="4" y="1"/>
                  </a:cubicBezTo>
                  <a:cubicBezTo>
                    <a:pt x="5" y="0"/>
                    <a:pt x="6" y="1"/>
                    <a:pt x="6" y="1"/>
                  </a:cubicBezTo>
                  <a:cubicBezTo>
                    <a:pt x="6" y="4"/>
                    <a:pt x="5" y="7"/>
                    <a:pt x="4" y="9"/>
                  </a:cubicBezTo>
                  <a:cubicBezTo>
                    <a:pt x="4" y="9"/>
                    <a:pt x="2" y="10"/>
                    <a:pt x="1" y="9"/>
                  </a:cubicBezTo>
                  <a:cubicBezTo>
                    <a:pt x="0" y="8"/>
                    <a:pt x="0"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5" name="Freeform 614"/>
            <p:cNvSpPr>
              <a:spLocks noChangeAspect="1"/>
            </p:cNvSpPr>
            <p:nvPr/>
          </p:nvSpPr>
          <p:spPr bwMode="auto">
            <a:xfrm>
              <a:off x="5904624" y="4019755"/>
              <a:ext cx="48051" cy="34821"/>
            </a:xfrm>
            <a:custGeom>
              <a:avLst/>
              <a:gdLst>
                <a:gd name="T0" fmla="*/ 5715 w 25"/>
                <a:gd name="T1" fmla="*/ 3727 h 23"/>
                <a:gd name="T2" fmla="*/ 13335 w 25"/>
                <a:gd name="T3" fmla="*/ 7454 h 23"/>
                <a:gd name="T4" fmla="*/ 9525 w 25"/>
                <a:gd name="T5" fmla="*/ 18636 h 23"/>
                <a:gd name="T6" fmla="*/ 15240 w 25"/>
                <a:gd name="T7" fmla="*/ 18636 h 23"/>
                <a:gd name="T8" fmla="*/ 26670 w 25"/>
                <a:gd name="T9" fmla="*/ 14909 h 23"/>
                <a:gd name="T10" fmla="*/ 22860 w 25"/>
                <a:gd name="T11" fmla="*/ 22363 h 23"/>
                <a:gd name="T12" fmla="*/ 32385 w 25"/>
                <a:gd name="T13" fmla="*/ 22363 h 23"/>
                <a:gd name="T14" fmla="*/ 45720 w 25"/>
                <a:gd name="T15" fmla="*/ 18636 h 23"/>
                <a:gd name="T16" fmla="*/ 45720 w 25"/>
                <a:gd name="T17" fmla="*/ 26090 h 23"/>
                <a:gd name="T18" fmla="*/ 32385 w 25"/>
                <a:gd name="T19" fmla="*/ 29817 h 23"/>
                <a:gd name="T20" fmla="*/ 30480 w 25"/>
                <a:gd name="T21" fmla="*/ 33544 h 23"/>
                <a:gd name="T22" fmla="*/ 40005 w 25"/>
                <a:gd name="T23" fmla="*/ 35408 h 23"/>
                <a:gd name="T24" fmla="*/ 38100 w 25"/>
                <a:gd name="T25" fmla="*/ 39135 h 23"/>
                <a:gd name="T26" fmla="*/ 28575 w 25"/>
                <a:gd name="T27" fmla="*/ 37271 h 23"/>
                <a:gd name="T28" fmla="*/ 22860 w 25"/>
                <a:gd name="T29" fmla="*/ 35408 h 23"/>
                <a:gd name="T30" fmla="*/ 15240 w 25"/>
                <a:gd name="T31" fmla="*/ 35408 h 23"/>
                <a:gd name="T32" fmla="*/ 7620 w 25"/>
                <a:gd name="T33" fmla="*/ 40998 h 23"/>
                <a:gd name="T34" fmla="*/ 0 w 25"/>
                <a:gd name="T35" fmla="*/ 37271 h 23"/>
                <a:gd name="T36" fmla="*/ 1905 w 25"/>
                <a:gd name="T37" fmla="*/ 18636 h 23"/>
                <a:gd name="T38" fmla="*/ 5715 w 25"/>
                <a:gd name="T39" fmla="*/ 3727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3"/>
                <a:gd name="T62" fmla="*/ 25 w 25"/>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3">
                  <a:moveTo>
                    <a:pt x="3" y="2"/>
                  </a:moveTo>
                  <a:cubicBezTo>
                    <a:pt x="4" y="0"/>
                    <a:pt x="6" y="3"/>
                    <a:pt x="7" y="4"/>
                  </a:cubicBezTo>
                  <a:cubicBezTo>
                    <a:pt x="7" y="6"/>
                    <a:pt x="4" y="8"/>
                    <a:pt x="5" y="10"/>
                  </a:cubicBezTo>
                  <a:cubicBezTo>
                    <a:pt x="5" y="12"/>
                    <a:pt x="7" y="10"/>
                    <a:pt x="8" y="10"/>
                  </a:cubicBezTo>
                  <a:cubicBezTo>
                    <a:pt x="10" y="9"/>
                    <a:pt x="12" y="7"/>
                    <a:pt x="14" y="8"/>
                  </a:cubicBezTo>
                  <a:cubicBezTo>
                    <a:pt x="16" y="8"/>
                    <a:pt x="11" y="11"/>
                    <a:pt x="12" y="12"/>
                  </a:cubicBezTo>
                  <a:cubicBezTo>
                    <a:pt x="13" y="13"/>
                    <a:pt x="15" y="12"/>
                    <a:pt x="17" y="12"/>
                  </a:cubicBezTo>
                  <a:cubicBezTo>
                    <a:pt x="19" y="12"/>
                    <a:pt x="21" y="9"/>
                    <a:pt x="24" y="10"/>
                  </a:cubicBezTo>
                  <a:cubicBezTo>
                    <a:pt x="25" y="10"/>
                    <a:pt x="25" y="13"/>
                    <a:pt x="24" y="14"/>
                  </a:cubicBezTo>
                  <a:cubicBezTo>
                    <a:pt x="22" y="16"/>
                    <a:pt x="19" y="15"/>
                    <a:pt x="17" y="16"/>
                  </a:cubicBezTo>
                  <a:cubicBezTo>
                    <a:pt x="16" y="16"/>
                    <a:pt x="15" y="18"/>
                    <a:pt x="16" y="18"/>
                  </a:cubicBezTo>
                  <a:cubicBezTo>
                    <a:pt x="17" y="19"/>
                    <a:pt x="19" y="18"/>
                    <a:pt x="21" y="19"/>
                  </a:cubicBezTo>
                  <a:cubicBezTo>
                    <a:pt x="21" y="19"/>
                    <a:pt x="21" y="21"/>
                    <a:pt x="20" y="21"/>
                  </a:cubicBezTo>
                  <a:cubicBezTo>
                    <a:pt x="19" y="22"/>
                    <a:pt x="17" y="21"/>
                    <a:pt x="15" y="20"/>
                  </a:cubicBezTo>
                  <a:cubicBezTo>
                    <a:pt x="14" y="20"/>
                    <a:pt x="13" y="19"/>
                    <a:pt x="12" y="19"/>
                  </a:cubicBezTo>
                  <a:cubicBezTo>
                    <a:pt x="11" y="19"/>
                    <a:pt x="10" y="19"/>
                    <a:pt x="8" y="19"/>
                  </a:cubicBezTo>
                  <a:cubicBezTo>
                    <a:pt x="7" y="20"/>
                    <a:pt x="6" y="22"/>
                    <a:pt x="4" y="22"/>
                  </a:cubicBezTo>
                  <a:cubicBezTo>
                    <a:pt x="2" y="23"/>
                    <a:pt x="1" y="22"/>
                    <a:pt x="0" y="20"/>
                  </a:cubicBezTo>
                  <a:cubicBezTo>
                    <a:pt x="1" y="17"/>
                    <a:pt x="1" y="13"/>
                    <a:pt x="1" y="10"/>
                  </a:cubicBezTo>
                  <a:cubicBezTo>
                    <a:pt x="2" y="7"/>
                    <a:pt x="2" y="4"/>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6" name="Freeform 615"/>
            <p:cNvSpPr>
              <a:spLocks noChangeAspect="1"/>
            </p:cNvSpPr>
            <p:nvPr/>
          </p:nvSpPr>
          <p:spPr bwMode="auto">
            <a:xfrm>
              <a:off x="3787160" y="1181171"/>
              <a:ext cx="245062" cy="105754"/>
            </a:xfrm>
            <a:custGeom>
              <a:avLst/>
              <a:gdLst>
                <a:gd name="T0" fmla="*/ 195075 w 127"/>
                <a:gd name="T1" fmla="*/ 93803 h 68"/>
                <a:gd name="T2" fmla="*/ 145350 w 127"/>
                <a:gd name="T3" fmla="*/ 114860 h 68"/>
                <a:gd name="T4" fmla="*/ 109013 w 127"/>
                <a:gd name="T5" fmla="*/ 126346 h 68"/>
                <a:gd name="T6" fmla="*/ 86063 w 127"/>
                <a:gd name="T7" fmla="*/ 111032 h 68"/>
                <a:gd name="T8" fmla="*/ 72675 w 127"/>
                <a:gd name="T9" fmla="*/ 111032 h 68"/>
                <a:gd name="T10" fmla="*/ 40163 w 127"/>
                <a:gd name="T11" fmla="*/ 109117 h 68"/>
                <a:gd name="T12" fmla="*/ 61200 w 127"/>
                <a:gd name="T13" fmla="*/ 99546 h 68"/>
                <a:gd name="T14" fmla="*/ 55463 w 127"/>
                <a:gd name="T15" fmla="*/ 86145 h 68"/>
                <a:gd name="T16" fmla="*/ 47813 w 127"/>
                <a:gd name="T17" fmla="*/ 72745 h 68"/>
                <a:gd name="T18" fmla="*/ 15300 w 127"/>
                <a:gd name="T19" fmla="*/ 76574 h 68"/>
                <a:gd name="T20" fmla="*/ 30600 w 127"/>
                <a:gd name="T21" fmla="*/ 67002 h 68"/>
                <a:gd name="T22" fmla="*/ 61200 w 127"/>
                <a:gd name="T23" fmla="*/ 63173 h 68"/>
                <a:gd name="T24" fmla="*/ 49725 w 127"/>
                <a:gd name="T25" fmla="*/ 59344 h 68"/>
                <a:gd name="T26" fmla="*/ 59288 w 127"/>
                <a:gd name="T27" fmla="*/ 51687 h 68"/>
                <a:gd name="T28" fmla="*/ 34425 w 127"/>
                <a:gd name="T29" fmla="*/ 44030 h 68"/>
                <a:gd name="T30" fmla="*/ 15300 w 127"/>
                <a:gd name="T31" fmla="*/ 51687 h 68"/>
                <a:gd name="T32" fmla="*/ 7650 w 127"/>
                <a:gd name="T33" fmla="*/ 42115 h 68"/>
                <a:gd name="T34" fmla="*/ 13388 w 127"/>
                <a:gd name="T35" fmla="*/ 34458 h 68"/>
                <a:gd name="T36" fmla="*/ 24863 w 127"/>
                <a:gd name="T37" fmla="*/ 34458 h 68"/>
                <a:gd name="T38" fmla="*/ 24863 w 127"/>
                <a:gd name="T39" fmla="*/ 28715 h 68"/>
                <a:gd name="T40" fmla="*/ 24863 w 127"/>
                <a:gd name="T41" fmla="*/ 11486 h 68"/>
                <a:gd name="T42" fmla="*/ 51638 w 127"/>
                <a:gd name="T43" fmla="*/ 30629 h 68"/>
                <a:gd name="T44" fmla="*/ 38250 w 127"/>
                <a:gd name="T45" fmla="*/ 13400 h 68"/>
                <a:gd name="T46" fmla="*/ 34425 w 127"/>
                <a:gd name="T47" fmla="*/ 5743 h 68"/>
                <a:gd name="T48" fmla="*/ 63113 w 127"/>
                <a:gd name="T49" fmla="*/ 19143 h 68"/>
                <a:gd name="T50" fmla="*/ 70763 w 127"/>
                <a:gd name="T51" fmla="*/ 28715 h 68"/>
                <a:gd name="T52" fmla="*/ 66938 w 127"/>
                <a:gd name="T53" fmla="*/ 34458 h 68"/>
                <a:gd name="T54" fmla="*/ 76500 w 127"/>
                <a:gd name="T55" fmla="*/ 61259 h 68"/>
                <a:gd name="T56" fmla="*/ 86063 w 127"/>
                <a:gd name="T57" fmla="*/ 40201 h 68"/>
                <a:gd name="T58" fmla="*/ 95625 w 127"/>
                <a:gd name="T59" fmla="*/ 40201 h 68"/>
                <a:gd name="T60" fmla="*/ 97538 w 127"/>
                <a:gd name="T61" fmla="*/ 19143 h 68"/>
                <a:gd name="T62" fmla="*/ 116663 w 127"/>
                <a:gd name="T63" fmla="*/ 42115 h 68"/>
                <a:gd name="T64" fmla="*/ 130050 w 127"/>
                <a:gd name="T65" fmla="*/ 17229 h 68"/>
                <a:gd name="T66" fmla="*/ 145350 w 127"/>
                <a:gd name="T67" fmla="*/ 36372 h 68"/>
                <a:gd name="T68" fmla="*/ 151088 w 127"/>
                <a:gd name="T69" fmla="*/ 21058 h 68"/>
                <a:gd name="T70" fmla="*/ 156825 w 127"/>
                <a:gd name="T71" fmla="*/ 26801 h 68"/>
                <a:gd name="T72" fmla="*/ 170213 w 127"/>
                <a:gd name="T73" fmla="*/ 15315 h 68"/>
                <a:gd name="T74" fmla="*/ 179775 w 127"/>
                <a:gd name="T75" fmla="*/ 11486 h 68"/>
                <a:gd name="T76" fmla="*/ 189338 w 127"/>
                <a:gd name="T77" fmla="*/ 5743 h 68"/>
                <a:gd name="T78" fmla="*/ 210375 w 127"/>
                <a:gd name="T79" fmla="*/ 11486 h 68"/>
                <a:gd name="T80" fmla="*/ 210375 w 127"/>
                <a:gd name="T81" fmla="*/ 24886 h 68"/>
                <a:gd name="T82" fmla="*/ 214200 w 127"/>
                <a:gd name="T83" fmla="*/ 38287 h 68"/>
                <a:gd name="T84" fmla="*/ 233325 w 127"/>
                <a:gd name="T85" fmla="*/ 45944 h 68"/>
                <a:gd name="T86" fmla="*/ 229500 w 127"/>
                <a:gd name="T87" fmla="*/ 61259 h 68"/>
                <a:gd name="T88" fmla="*/ 219938 w 127"/>
                <a:gd name="T89" fmla="*/ 88060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7" name="Freeform 617"/>
            <p:cNvSpPr>
              <a:spLocks noChangeAspect="1"/>
            </p:cNvSpPr>
            <p:nvPr/>
          </p:nvSpPr>
          <p:spPr bwMode="auto">
            <a:xfrm>
              <a:off x="4535161" y="713017"/>
              <a:ext cx="225840" cy="140575"/>
            </a:xfrm>
            <a:custGeom>
              <a:avLst/>
              <a:gdLst>
                <a:gd name="T0" fmla="*/ 220011 w 117"/>
                <a:gd name="T1" fmla="*/ 66553 h 91"/>
                <a:gd name="T2" fmla="*/ 185574 w 117"/>
                <a:gd name="T3" fmla="*/ 72257 h 91"/>
                <a:gd name="T4" fmla="*/ 172182 w 117"/>
                <a:gd name="T5" fmla="*/ 95075 h 91"/>
                <a:gd name="T6" fmla="*/ 156877 w 117"/>
                <a:gd name="T7" fmla="*/ 119795 h 91"/>
                <a:gd name="T8" fmla="*/ 133920 w 117"/>
                <a:gd name="T9" fmla="*/ 167332 h 91"/>
                <a:gd name="T10" fmla="*/ 109049 w 117"/>
                <a:gd name="T11" fmla="*/ 155923 h 91"/>
                <a:gd name="T12" fmla="*/ 122441 w 117"/>
                <a:gd name="T13" fmla="*/ 146416 h 91"/>
                <a:gd name="T14" fmla="*/ 91831 w 117"/>
                <a:gd name="T15" fmla="*/ 144514 h 91"/>
                <a:gd name="T16" fmla="*/ 74612 w 117"/>
                <a:gd name="T17" fmla="*/ 123598 h 91"/>
                <a:gd name="T18" fmla="*/ 84178 w 117"/>
                <a:gd name="T19" fmla="*/ 127401 h 91"/>
                <a:gd name="T20" fmla="*/ 107136 w 117"/>
                <a:gd name="T21" fmla="*/ 123598 h 91"/>
                <a:gd name="T22" fmla="*/ 93744 w 117"/>
                <a:gd name="T23" fmla="*/ 115992 h 91"/>
                <a:gd name="T24" fmla="*/ 132006 w 117"/>
                <a:gd name="T25" fmla="*/ 108386 h 91"/>
                <a:gd name="T26" fmla="*/ 95657 w 117"/>
                <a:gd name="T27" fmla="*/ 112189 h 91"/>
                <a:gd name="T28" fmla="*/ 68873 w 117"/>
                <a:gd name="T29" fmla="*/ 117893 h 91"/>
                <a:gd name="T30" fmla="*/ 63134 w 117"/>
                <a:gd name="T31" fmla="*/ 98878 h 91"/>
                <a:gd name="T32" fmla="*/ 72699 w 117"/>
                <a:gd name="T33" fmla="*/ 102681 h 91"/>
                <a:gd name="T34" fmla="*/ 89917 w 117"/>
                <a:gd name="T35" fmla="*/ 96977 h 91"/>
                <a:gd name="T36" fmla="*/ 122441 w 117"/>
                <a:gd name="T37" fmla="*/ 87469 h 91"/>
                <a:gd name="T38" fmla="*/ 130093 w 117"/>
                <a:gd name="T39" fmla="*/ 81765 h 91"/>
                <a:gd name="T40" fmla="*/ 122441 w 117"/>
                <a:gd name="T41" fmla="*/ 74159 h 91"/>
                <a:gd name="T42" fmla="*/ 128180 w 117"/>
                <a:gd name="T43" fmla="*/ 58947 h 91"/>
                <a:gd name="T44" fmla="*/ 103309 w 117"/>
                <a:gd name="T45" fmla="*/ 79863 h 91"/>
                <a:gd name="T46" fmla="*/ 99483 w 117"/>
                <a:gd name="T47" fmla="*/ 62750 h 91"/>
                <a:gd name="T48" fmla="*/ 88004 w 117"/>
                <a:gd name="T49" fmla="*/ 70356 h 91"/>
                <a:gd name="T50" fmla="*/ 84178 w 117"/>
                <a:gd name="T51" fmla="*/ 81765 h 91"/>
                <a:gd name="T52" fmla="*/ 72699 w 117"/>
                <a:gd name="T53" fmla="*/ 85568 h 91"/>
                <a:gd name="T54" fmla="*/ 38263 w 117"/>
                <a:gd name="T55" fmla="*/ 79863 h 91"/>
                <a:gd name="T56" fmla="*/ 22958 w 117"/>
                <a:gd name="T57" fmla="*/ 66553 h 91"/>
                <a:gd name="T58" fmla="*/ 34436 w 117"/>
                <a:gd name="T59" fmla="*/ 60848 h 91"/>
                <a:gd name="T60" fmla="*/ 28697 w 117"/>
                <a:gd name="T61" fmla="*/ 53242 h 91"/>
                <a:gd name="T62" fmla="*/ 26784 w 117"/>
                <a:gd name="T63" fmla="*/ 38030 h 91"/>
                <a:gd name="T64" fmla="*/ 17218 w 117"/>
                <a:gd name="T65" fmla="*/ 47538 h 91"/>
                <a:gd name="T66" fmla="*/ 5739 w 117"/>
                <a:gd name="T67" fmla="*/ 20917 h 91"/>
                <a:gd name="T68" fmla="*/ 32523 w 117"/>
                <a:gd name="T69" fmla="*/ 20917 h 91"/>
                <a:gd name="T70" fmla="*/ 44002 w 117"/>
                <a:gd name="T71" fmla="*/ 13311 h 91"/>
                <a:gd name="T72" fmla="*/ 63134 w 117"/>
                <a:gd name="T73" fmla="*/ 17114 h 91"/>
                <a:gd name="T74" fmla="*/ 42089 w 117"/>
                <a:gd name="T75" fmla="*/ 22818 h 91"/>
                <a:gd name="T76" fmla="*/ 55481 w 117"/>
                <a:gd name="T77" fmla="*/ 30424 h 91"/>
                <a:gd name="T78" fmla="*/ 70786 w 117"/>
                <a:gd name="T79" fmla="*/ 43735 h 91"/>
                <a:gd name="T80" fmla="*/ 72699 w 117"/>
                <a:gd name="T81" fmla="*/ 20917 h 91"/>
                <a:gd name="T82" fmla="*/ 88004 w 117"/>
                <a:gd name="T83" fmla="*/ 20917 h 91"/>
                <a:gd name="T84" fmla="*/ 97570 w 117"/>
                <a:gd name="T85" fmla="*/ 45636 h 91"/>
                <a:gd name="T86" fmla="*/ 110962 w 117"/>
                <a:gd name="T87" fmla="*/ 57045 h 91"/>
                <a:gd name="T88" fmla="*/ 103309 w 117"/>
                <a:gd name="T89" fmla="*/ 24720 h 91"/>
                <a:gd name="T90" fmla="*/ 114788 w 117"/>
                <a:gd name="T91" fmla="*/ 1902 h 91"/>
                <a:gd name="T92" fmla="*/ 128180 w 117"/>
                <a:gd name="T93" fmla="*/ 9508 h 91"/>
                <a:gd name="T94" fmla="*/ 143485 w 117"/>
                <a:gd name="T95" fmla="*/ 38030 h 91"/>
                <a:gd name="T96" fmla="*/ 149225 w 117"/>
                <a:gd name="T97" fmla="*/ 22818 h 91"/>
                <a:gd name="T98" fmla="*/ 162617 w 117"/>
                <a:gd name="T99" fmla="*/ 38030 h 91"/>
                <a:gd name="T100" fmla="*/ 189401 w 117"/>
                <a:gd name="T101" fmla="*/ 53242 h 91"/>
                <a:gd name="T102" fmla="*/ 218098 w 117"/>
                <a:gd name="T103" fmla="*/ 589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7"/>
                <a:gd name="T157" fmla="*/ 0 h 91"/>
                <a:gd name="T158" fmla="*/ 117 w 117"/>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7" h="91">
                  <a:moveTo>
                    <a:pt x="114" y="31"/>
                  </a:moveTo>
                  <a:cubicBezTo>
                    <a:pt x="115" y="31"/>
                    <a:pt x="117" y="34"/>
                    <a:pt x="115" y="35"/>
                  </a:cubicBezTo>
                  <a:cubicBezTo>
                    <a:pt x="113" y="37"/>
                    <a:pt x="110" y="35"/>
                    <a:pt x="108" y="35"/>
                  </a:cubicBezTo>
                  <a:cubicBezTo>
                    <a:pt x="104" y="36"/>
                    <a:pt x="100" y="36"/>
                    <a:pt x="97" y="38"/>
                  </a:cubicBezTo>
                  <a:cubicBezTo>
                    <a:pt x="94" y="39"/>
                    <a:pt x="91" y="40"/>
                    <a:pt x="90" y="43"/>
                  </a:cubicBezTo>
                  <a:cubicBezTo>
                    <a:pt x="89" y="45"/>
                    <a:pt x="92" y="48"/>
                    <a:pt x="90" y="50"/>
                  </a:cubicBezTo>
                  <a:cubicBezTo>
                    <a:pt x="89" y="51"/>
                    <a:pt x="85" y="49"/>
                    <a:pt x="84" y="51"/>
                  </a:cubicBezTo>
                  <a:cubicBezTo>
                    <a:pt x="82" y="55"/>
                    <a:pt x="85" y="60"/>
                    <a:pt x="82" y="63"/>
                  </a:cubicBezTo>
                  <a:cubicBezTo>
                    <a:pt x="81" y="65"/>
                    <a:pt x="76" y="64"/>
                    <a:pt x="75" y="66"/>
                  </a:cubicBezTo>
                  <a:cubicBezTo>
                    <a:pt x="72" y="73"/>
                    <a:pt x="74" y="82"/>
                    <a:pt x="70" y="88"/>
                  </a:cubicBezTo>
                  <a:cubicBezTo>
                    <a:pt x="69" y="90"/>
                    <a:pt x="65" y="91"/>
                    <a:pt x="63" y="90"/>
                  </a:cubicBezTo>
                  <a:cubicBezTo>
                    <a:pt x="60" y="88"/>
                    <a:pt x="58" y="85"/>
                    <a:pt x="57" y="82"/>
                  </a:cubicBezTo>
                  <a:cubicBezTo>
                    <a:pt x="56" y="81"/>
                    <a:pt x="58" y="79"/>
                    <a:pt x="59" y="79"/>
                  </a:cubicBezTo>
                  <a:cubicBezTo>
                    <a:pt x="60" y="78"/>
                    <a:pt x="64" y="79"/>
                    <a:pt x="64" y="77"/>
                  </a:cubicBezTo>
                  <a:cubicBezTo>
                    <a:pt x="63" y="75"/>
                    <a:pt x="60" y="75"/>
                    <a:pt x="58" y="75"/>
                  </a:cubicBezTo>
                  <a:cubicBezTo>
                    <a:pt x="55" y="75"/>
                    <a:pt x="52" y="77"/>
                    <a:pt x="48" y="76"/>
                  </a:cubicBezTo>
                  <a:cubicBezTo>
                    <a:pt x="45" y="75"/>
                    <a:pt x="41" y="73"/>
                    <a:pt x="39" y="70"/>
                  </a:cubicBezTo>
                  <a:cubicBezTo>
                    <a:pt x="37" y="69"/>
                    <a:pt x="38" y="66"/>
                    <a:pt x="39" y="65"/>
                  </a:cubicBezTo>
                  <a:cubicBezTo>
                    <a:pt x="39" y="64"/>
                    <a:pt x="42" y="64"/>
                    <a:pt x="43" y="65"/>
                  </a:cubicBezTo>
                  <a:cubicBezTo>
                    <a:pt x="44" y="65"/>
                    <a:pt x="43" y="67"/>
                    <a:pt x="44" y="67"/>
                  </a:cubicBezTo>
                  <a:cubicBezTo>
                    <a:pt x="47" y="68"/>
                    <a:pt x="52" y="68"/>
                    <a:pt x="56" y="67"/>
                  </a:cubicBezTo>
                  <a:cubicBezTo>
                    <a:pt x="56" y="67"/>
                    <a:pt x="57" y="65"/>
                    <a:pt x="56" y="65"/>
                  </a:cubicBezTo>
                  <a:cubicBezTo>
                    <a:pt x="54" y="64"/>
                    <a:pt x="51" y="65"/>
                    <a:pt x="48" y="64"/>
                  </a:cubicBezTo>
                  <a:cubicBezTo>
                    <a:pt x="48" y="64"/>
                    <a:pt x="48" y="62"/>
                    <a:pt x="49" y="61"/>
                  </a:cubicBezTo>
                  <a:cubicBezTo>
                    <a:pt x="55" y="60"/>
                    <a:pt x="62" y="61"/>
                    <a:pt x="68" y="60"/>
                  </a:cubicBezTo>
                  <a:cubicBezTo>
                    <a:pt x="69" y="60"/>
                    <a:pt x="70" y="58"/>
                    <a:pt x="69" y="57"/>
                  </a:cubicBezTo>
                  <a:cubicBezTo>
                    <a:pt x="67" y="56"/>
                    <a:pt x="64" y="57"/>
                    <a:pt x="62" y="57"/>
                  </a:cubicBezTo>
                  <a:cubicBezTo>
                    <a:pt x="58" y="57"/>
                    <a:pt x="54" y="58"/>
                    <a:pt x="50" y="59"/>
                  </a:cubicBezTo>
                  <a:cubicBezTo>
                    <a:pt x="48" y="59"/>
                    <a:pt x="47" y="61"/>
                    <a:pt x="45" y="62"/>
                  </a:cubicBezTo>
                  <a:cubicBezTo>
                    <a:pt x="42" y="62"/>
                    <a:pt x="39" y="63"/>
                    <a:pt x="36" y="62"/>
                  </a:cubicBezTo>
                  <a:cubicBezTo>
                    <a:pt x="35" y="62"/>
                    <a:pt x="34" y="60"/>
                    <a:pt x="33" y="59"/>
                  </a:cubicBezTo>
                  <a:cubicBezTo>
                    <a:pt x="32" y="57"/>
                    <a:pt x="32" y="54"/>
                    <a:pt x="33" y="52"/>
                  </a:cubicBezTo>
                  <a:cubicBezTo>
                    <a:pt x="33" y="51"/>
                    <a:pt x="35" y="52"/>
                    <a:pt x="36" y="52"/>
                  </a:cubicBezTo>
                  <a:cubicBezTo>
                    <a:pt x="37" y="52"/>
                    <a:pt x="37" y="54"/>
                    <a:pt x="38" y="54"/>
                  </a:cubicBezTo>
                  <a:cubicBezTo>
                    <a:pt x="40" y="53"/>
                    <a:pt x="41" y="51"/>
                    <a:pt x="42" y="51"/>
                  </a:cubicBezTo>
                  <a:cubicBezTo>
                    <a:pt x="44" y="50"/>
                    <a:pt x="46" y="51"/>
                    <a:pt x="47" y="51"/>
                  </a:cubicBezTo>
                  <a:cubicBezTo>
                    <a:pt x="50" y="50"/>
                    <a:pt x="53" y="47"/>
                    <a:pt x="56" y="46"/>
                  </a:cubicBezTo>
                  <a:cubicBezTo>
                    <a:pt x="59" y="45"/>
                    <a:pt x="62" y="46"/>
                    <a:pt x="64" y="46"/>
                  </a:cubicBezTo>
                  <a:cubicBezTo>
                    <a:pt x="66" y="46"/>
                    <a:pt x="67" y="46"/>
                    <a:pt x="68" y="45"/>
                  </a:cubicBezTo>
                  <a:cubicBezTo>
                    <a:pt x="69" y="45"/>
                    <a:pt x="69" y="43"/>
                    <a:pt x="68" y="43"/>
                  </a:cubicBezTo>
                  <a:cubicBezTo>
                    <a:pt x="67" y="42"/>
                    <a:pt x="64" y="44"/>
                    <a:pt x="63" y="43"/>
                  </a:cubicBezTo>
                  <a:cubicBezTo>
                    <a:pt x="62" y="42"/>
                    <a:pt x="64" y="40"/>
                    <a:pt x="64" y="39"/>
                  </a:cubicBezTo>
                  <a:cubicBezTo>
                    <a:pt x="66" y="37"/>
                    <a:pt x="68" y="36"/>
                    <a:pt x="69" y="34"/>
                  </a:cubicBezTo>
                  <a:cubicBezTo>
                    <a:pt x="70" y="33"/>
                    <a:pt x="68" y="31"/>
                    <a:pt x="67" y="31"/>
                  </a:cubicBezTo>
                  <a:cubicBezTo>
                    <a:pt x="63" y="33"/>
                    <a:pt x="60" y="36"/>
                    <a:pt x="57" y="39"/>
                  </a:cubicBezTo>
                  <a:cubicBezTo>
                    <a:pt x="56" y="40"/>
                    <a:pt x="55" y="42"/>
                    <a:pt x="54" y="42"/>
                  </a:cubicBezTo>
                  <a:cubicBezTo>
                    <a:pt x="52" y="41"/>
                    <a:pt x="50" y="40"/>
                    <a:pt x="50" y="38"/>
                  </a:cubicBezTo>
                  <a:cubicBezTo>
                    <a:pt x="50" y="36"/>
                    <a:pt x="53" y="34"/>
                    <a:pt x="52" y="33"/>
                  </a:cubicBezTo>
                  <a:cubicBezTo>
                    <a:pt x="52" y="31"/>
                    <a:pt x="50" y="31"/>
                    <a:pt x="49" y="32"/>
                  </a:cubicBezTo>
                  <a:cubicBezTo>
                    <a:pt x="47" y="33"/>
                    <a:pt x="47" y="36"/>
                    <a:pt x="46" y="37"/>
                  </a:cubicBezTo>
                  <a:cubicBezTo>
                    <a:pt x="45" y="38"/>
                    <a:pt x="43" y="37"/>
                    <a:pt x="43" y="37"/>
                  </a:cubicBezTo>
                  <a:cubicBezTo>
                    <a:pt x="43" y="39"/>
                    <a:pt x="45" y="41"/>
                    <a:pt x="44" y="43"/>
                  </a:cubicBezTo>
                  <a:cubicBezTo>
                    <a:pt x="44" y="44"/>
                    <a:pt x="41" y="42"/>
                    <a:pt x="40" y="43"/>
                  </a:cubicBezTo>
                  <a:cubicBezTo>
                    <a:pt x="39" y="43"/>
                    <a:pt x="39" y="45"/>
                    <a:pt x="38" y="45"/>
                  </a:cubicBezTo>
                  <a:cubicBezTo>
                    <a:pt x="34" y="46"/>
                    <a:pt x="30" y="46"/>
                    <a:pt x="27" y="45"/>
                  </a:cubicBezTo>
                  <a:cubicBezTo>
                    <a:pt x="24" y="45"/>
                    <a:pt x="21" y="44"/>
                    <a:pt x="20" y="42"/>
                  </a:cubicBezTo>
                  <a:cubicBezTo>
                    <a:pt x="19" y="40"/>
                    <a:pt x="24" y="40"/>
                    <a:pt x="23" y="39"/>
                  </a:cubicBezTo>
                  <a:cubicBezTo>
                    <a:pt x="19" y="38"/>
                    <a:pt x="14" y="38"/>
                    <a:pt x="12" y="35"/>
                  </a:cubicBezTo>
                  <a:cubicBezTo>
                    <a:pt x="13" y="31"/>
                    <a:pt x="9" y="29"/>
                    <a:pt x="11" y="28"/>
                  </a:cubicBezTo>
                  <a:cubicBezTo>
                    <a:pt x="12" y="28"/>
                    <a:pt x="15" y="29"/>
                    <a:pt x="18" y="32"/>
                  </a:cubicBezTo>
                  <a:cubicBezTo>
                    <a:pt x="19" y="31"/>
                    <a:pt x="20" y="30"/>
                    <a:pt x="19" y="29"/>
                  </a:cubicBezTo>
                  <a:cubicBezTo>
                    <a:pt x="18" y="28"/>
                    <a:pt x="16" y="29"/>
                    <a:pt x="15" y="28"/>
                  </a:cubicBezTo>
                  <a:cubicBezTo>
                    <a:pt x="14" y="27"/>
                    <a:pt x="14" y="26"/>
                    <a:pt x="13" y="25"/>
                  </a:cubicBezTo>
                  <a:cubicBezTo>
                    <a:pt x="13" y="23"/>
                    <a:pt x="14" y="22"/>
                    <a:pt x="14" y="20"/>
                  </a:cubicBezTo>
                  <a:cubicBezTo>
                    <a:pt x="13" y="19"/>
                    <a:pt x="12" y="19"/>
                    <a:pt x="11" y="20"/>
                  </a:cubicBezTo>
                  <a:cubicBezTo>
                    <a:pt x="10" y="21"/>
                    <a:pt x="11" y="25"/>
                    <a:pt x="9" y="25"/>
                  </a:cubicBezTo>
                  <a:cubicBezTo>
                    <a:pt x="6" y="25"/>
                    <a:pt x="3" y="22"/>
                    <a:pt x="1" y="19"/>
                  </a:cubicBezTo>
                  <a:cubicBezTo>
                    <a:pt x="0" y="16"/>
                    <a:pt x="1" y="13"/>
                    <a:pt x="3" y="11"/>
                  </a:cubicBezTo>
                  <a:cubicBezTo>
                    <a:pt x="5" y="8"/>
                    <a:pt x="9" y="8"/>
                    <a:pt x="12" y="8"/>
                  </a:cubicBezTo>
                  <a:cubicBezTo>
                    <a:pt x="14" y="8"/>
                    <a:pt x="15" y="12"/>
                    <a:pt x="17" y="11"/>
                  </a:cubicBezTo>
                  <a:cubicBezTo>
                    <a:pt x="19" y="10"/>
                    <a:pt x="16" y="7"/>
                    <a:pt x="17" y="6"/>
                  </a:cubicBezTo>
                  <a:cubicBezTo>
                    <a:pt x="19" y="5"/>
                    <a:pt x="21" y="7"/>
                    <a:pt x="23" y="7"/>
                  </a:cubicBezTo>
                  <a:cubicBezTo>
                    <a:pt x="26" y="7"/>
                    <a:pt x="30" y="6"/>
                    <a:pt x="33" y="6"/>
                  </a:cubicBezTo>
                  <a:cubicBezTo>
                    <a:pt x="34" y="6"/>
                    <a:pt x="34" y="8"/>
                    <a:pt x="33" y="9"/>
                  </a:cubicBezTo>
                  <a:cubicBezTo>
                    <a:pt x="29" y="10"/>
                    <a:pt x="25" y="9"/>
                    <a:pt x="22" y="10"/>
                  </a:cubicBezTo>
                  <a:cubicBezTo>
                    <a:pt x="21" y="10"/>
                    <a:pt x="22" y="12"/>
                    <a:pt x="22" y="12"/>
                  </a:cubicBezTo>
                  <a:cubicBezTo>
                    <a:pt x="24" y="12"/>
                    <a:pt x="27" y="11"/>
                    <a:pt x="29" y="12"/>
                  </a:cubicBezTo>
                  <a:cubicBezTo>
                    <a:pt x="30" y="13"/>
                    <a:pt x="28" y="15"/>
                    <a:pt x="29" y="16"/>
                  </a:cubicBezTo>
                  <a:cubicBezTo>
                    <a:pt x="30" y="19"/>
                    <a:pt x="31" y="22"/>
                    <a:pt x="33" y="23"/>
                  </a:cubicBezTo>
                  <a:cubicBezTo>
                    <a:pt x="34" y="24"/>
                    <a:pt x="37" y="25"/>
                    <a:pt x="37" y="23"/>
                  </a:cubicBezTo>
                  <a:cubicBezTo>
                    <a:pt x="37" y="20"/>
                    <a:pt x="32" y="19"/>
                    <a:pt x="33" y="15"/>
                  </a:cubicBezTo>
                  <a:cubicBezTo>
                    <a:pt x="33" y="13"/>
                    <a:pt x="36" y="13"/>
                    <a:pt x="38" y="11"/>
                  </a:cubicBezTo>
                  <a:cubicBezTo>
                    <a:pt x="40" y="10"/>
                    <a:pt x="41" y="8"/>
                    <a:pt x="42" y="8"/>
                  </a:cubicBezTo>
                  <a:cubicBezTo>
                    <a:pt x="44" y="8"/>
                    <a:pt x="45" y="10"/>
                    <a:pt x="46" y="11"/>
                  </a:cubicBezTo>
                  <a:cubicBezTo>
                    <a:pt x="48" y="14"/>
                    <a:pt x="49" y="17"/>
                    <a:pt x="50" y="20"/>
                  </a:cubicBezTo>
                  <a:cubicBezTo>
                    <a:pt x="51" y="21"/>
                    <a:pt x="50" y="23"/>
                    <a:pt x="51" y="24"/>
                  </a:cubicBezTo>
                  <a:cubicBezTo>
                    <a:pt x="52" y="25"/>
                    <a:pt x="54" y="23"/>
                    <a:pt x="54" y="24"/>
                  </a:cubicBezTo>
                  <a:cubicBezTo>
                    <a:pt x="56" y="25"/>
                    <a:pt x="56" y="28"/>
                    <a:pt x="58" y="30"/>
                  </a:cubicBezTo>
                  <a:cubicBezTo>
                    <a:pt x="58" y="31"/>
                    <a:pt x="61" y="30"/>
                    <a:pt x="61" y="29"/>
                  </a:cubicBezTo>
                  <a:cubicBezTo>
                    <a:pt x="60" y="23"/>
                    <a:pt x="55" y="19"/>
                    <a:pt x="54" y="13"/>
                  </a:cubicBezTo>
                  <a:cubicBezTo>
                    <a:pt x="54" y="9"/>
                    <a:pt x="55" y="4"/>
                    <a:pt x="56" y="1"/>
                  </a:cubicBezTo>
                  <a:cubicBezTo>
                    <a:pt x="57" y="0"/>
                    <a:pt x="59" y="0"/>
                    <a:pt x="60" y="1"/>
                  </a:cubicBezTo>
                  <a:cubicBezTo>
                    <a:pt x="62" y="3"/>
                    <a:pt x="62" y="8"/>
                    <a:pt x="65" y="10"/>
                  </a:cubicBezTo>
                  <a:cubicBezTo>
                    <a:pt x="67" y="11"/>
                    <a:pt x="66" y="5"/>
                    <a:pt x="67" y="5"/>
                  </a:cubicBezTo>
                  <a:cubicBezTo>
                    <a:pt x="70" y="5"/>
                    <a:pt x="74" y="7"/>
                    <a:pt x="75" y="9"/>
                  </a:cubicBezTo>
                  <a:cubicBezTo>
                    <a:pt x="77" y="13"/>
                    <a:pt x="74" y="17"/>
                    <a:pt x="75" y="20"/>
                  </a:cubicBezTo>
                  <a:cubicBezTo>
                    <a:pt x="76" y="21"/>
                    <a:pt x="78" y="21"/>
                    <a:pt x="78" y="20"/>
                  </a:cubicBezTo>
                  <a:cubicBezTo>
                    <a:pt x="79" y="18"/>
                    <a:pt x="76" y="13"/>
                    <a:pt x="78" y="12"/>
                  </a:cubicBezTo>
                  <a:cubicBezTo>
                    <a:pt x="81" y="11"/>
                    <a:pt x="84" y="14"/>
                    <a:pt x="86" y="17"/>
                  </a:cubicBezTo>
                  <a:cubicBezTo>
                    <a:pt x="87" y="17"/>
                    <a:pt x="84" y="20"/>
                    <a:pt x="85" y="20"/>
                  </a:cubicBezTo>
                  <a:cubicBezTo>
                    <a:pt x="88" y="22"/>
                    <a:pt x="93" y="20"/>
                    <a:pt x="96" y="22"/>
                  </a:cubicBezTo>
                  <a:cubicBezTo>
                    <a:pt x="98" y="23"/>
                    <a:pt x="97" y="28"/>
                    <a:pt x="99" y="28"/>
                  </a:cubicBezTo>
                  <a:cubicBezTo>
                    <a:pt x="102" y="29"/>
                    <a:pt x="105" y="28"/>
                    <a:pt x="108" y="31"/>
                  </a:cubicBezTo>
                  <a:cubicBezTo>
                    <a:pt x="109" y="33"/>
                    <a:pt x="112" y="30"/>
                    <a:pt x="114" y="3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8" name="Freeform 618"/>
            <p:cNvSpPr>
              <a:spLocks noChangeAspect="1"/>
            </p:cNvSpPr>
            <p:nvPr/>
          </p:nvSpPr>
          <p:spPr bwMode="auto">
            <a:xfrm>
              <a:off x="4730569" y="771052"/>
              <a:ext cx="44848" cy="19346"/>
            </a:xfrm>
            <a:custGeom>
              <a:avLst/>
              <a:gdLst>
                <a:gd name="T0" fmla="*/ 37042 w 24"/>
                <a:gd name="T1" fmla="*/ 0 h 12"/>
                <a:gd name="T2" fmla="*/ 42598 w 24"/>
                <a:gd name="T3" fmla="*/ 1984 h 12"/>
                <a:gd name="T4" fmla="*/ 38894 w 24"/>
                <a:gd name="T5" fmla="*/ 17860 h 12"/>
                <a:gd name="T6" fmla="*/ 18521 w 24"/>
                <a:gd name="T7" fmla="*/ 21829 h 12"/>
                <a:gd name="T8" fmla="*/ 11113 w 24"/>
                <a:gd name="T9" fmla="*/ 19844 h 12"/>
                <a:gd name="T10" fmla="*/ 1852 w 24"/>
                <a:gd name="T11" fmla="*/ 5953 h 12"/>
                <a:gd name="T12" fmla="*/ 9260 w 24"/>
                <a:gd name="T13" fmla="*/ 3969 h 12"/>
                <a:gd name="T14" fmla="*/ 37042 w 2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2"/>
                <a:gd name="T26" fmla="*/ 24 w 2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2">
                  <a:moveTo>
                    <a:pt x="20" y="0"/>
                  </a:moveTo>
                  <a:cubicBezTo>
                    <a:pt x="21" y="0"/>
                    <a:pt x="23" y="0"/>
                    <a:pt x="23" y="1"/>
                  </a:cubicBezTo>
                  <a:cubicBezTo>
                    <a:pt x="24" y="4"/>
                    <a:pt x="23" y="8"/>
                    <a:pt x="21" y="9"/>
                  </a:cubicBezTo>
                  <a:cubicBezTo>
                    <a:pt x="18" y="12"/>
                    <a:pt x="14" y="11"/>
                    <a:pt x="10" y="11"/>
                  </a:cubicBezTo>
                  <a:cubicBezTo>
                    <a:pt x="8" y="11"/>
                    <a:pt x="6" y="12"/>
                    <a:pt x="6" y="10"/>
                  </a:cubicBezTo>
                  <a:cubicBezTo>
                    <a:pt x="6" y="7"/>
                    <a:pt x="2" y="5"/>
                    <a:pt x="1" y="3"/>
                  </a:cubicBezTo>
                  <a:cubicBezTo>
                    <a:pt x="0" y="2"/>
                    <a:pt x="3" y="2"/>
                    <a:pt x="5" y="2"/>
                  </a:cubicBezTo>
                  <a:cubicBezTo>
                    <a:pt x="10" y="1"/>
                    <a:pt x="15" y="0"/>
                    <a:pt x="2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9" name="Freeform 619"/>
            <p:cNvSpPr>
              <a:spLocks noChangeAspect="1"/>
            </p:cNvSpPr>
            <p:nvPr/>
          </p:nvSpPr>
          <p:spPr bwMode="auto">
            <a:xfrm>
              <a:off x="4744984" y="782660"/>
              <a:ext cx="81688" cy="46429"/>
            </a:xfrm>
            <a:custGeom>
              <a:avLst/>
              <a:gdLst>
                <a:gd name="T0" fmla="*/ 44337 w 42"/>
                <a:gd name="T1" fmla="*/ 1905 h 30"/>
                <a:gd name="T2" fmla="*/ 48192 w 42"/>
                <a:gd name="T3" fmla="*/ 5715 h 30"/>
                <a:gd name="T4" fmla="*/ 44337 w 42"/>
                <a:gd name="T5" fmla="*/ 17145 h 30"/>
                <a:gd name="T6" fmla="*/ 65541 w 42"/>
                <a:gd name="T7" fmla="*/ 26670 h 30"/>
                <a:gd name="T8" fmla="*/ 77108 w 42"/>
                <a:gd name="T9" fmla="*/ 20955 h 30"/>
                <a:gd name="T10" fmla="*/ 79035 w 42"/>
                <a:gd name="T11" fmla="*/ 32385 h 30"/>
                <a:gd name="T12" fmla="*/ 55903 w 42"/>
                <a:gd name="T13" fmla="*/ 45720 h 30"/>
                <a:gd name="T14" fmla="*/ 46265 w 42"/>
                <a:gd name="T15" fmla="*/ 55245 h 30"/>
                <a:gd name="T16" fmla="*/ 42409 w 42"/>
                <a:gd name="T17" fmla="*/ 51435 h 30"/>
                <a:gd name="T18" fmla="*/ 48192 w 42"/>
                <a:gd name="T19" fmla="*/ 38100 h 30"/>
                <a:gd name="T20" fmla="*/ 36626 w 42"/>
                <a:gd name="T21" fmla="*/ 38100 h 30"/>
                <a:gd name="T22" fmla="*/ 30843 w 42"/>
                <a:gd name="T23" fmla="*/ 43815 h 30"/>
                <a:gd name="T24" fmla="*/ 3855 w 42"/>
                <a:gd name="T25" fmla="*/ 43815 h 30"/>
                <a:gd name="T26" fmla="*/ 0 w 42"/>
                <a:gd name="T27" fmla="*/ 34290 h 30"/>
                <a:gd name="T28" fmla="*/ 7711 w 42"/>
                <a:gd name="T29" fmla="*/ 20955 h 30"/>
                <a:gd name="T30" fmla="*/ 1928 w 42"/>
                <a:gd name="T31" fmla="*/ 13335 h 30"/>
                <a:gd name="T32" fmla="*/ 5783 w 42"/>
                <a:gd name="T33" fmla="*/ 11430 h 30"/>
                <a:gd name="T34" fmla="*/ 23132 w 42"/>
                <a:gd name="T35" fmla="*/ 11430 h 30"/>
                <a:gd name="T36" fmla="*/ 36626 w 42"/>
                <a:gd name="T37" fmla="*/ 0 h 30"/>
                <a:gd name="T38" fmla="*/ 44337 w 42"/>
                <a:gd name="T39" fmla="*/ 1905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30"/>
                <a:gd name="T62" fmla="*/ 42 w 42"/>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30">
                  <a:moveTo>
                    <a:pt x="23" y="1"/>
                  </a:moveTo>
                  <a:cubicBezTo>
                    <a:pt x="24" y="1"/>
                    <a:pt x="25" y="2"/>
                    <a:pt x="25" y="3"/>
                  </a:cubicBezTo>
                  <a:cubicBezTo>
                    <a:pt x="25" y="5"/>
                    <a:pt x="22" y="7"/>
                    <a:pt x="23" y="9"/>
                  </a:cubicBezTo>
                  <a:cubicBezTo>
                    <a:pt x="26" y="12"/>
                    <a:pt x="30" y="13"/>
                    <a:pt x="34" y="14"/>
                  </a:cubicBezTo>
                  <a:cubicBezTo>
                    <a:pt x="37" y="14"/>
                    <a:pt x="38" y="10"/>
                    <a:pt x="40" y="11"/>
                  </a:cubicBezTo>
                  <a:cubicBezTo>
                    <a:pt x="42" y="12"/>
                    <a:pt x="42" y="16"/>
                    <a:pt x="41" y="17"/>
                  </a:cubicBezTo>
                  <a:cubicBezTo>
                    <a:pt x="37" y="18"/>
                    <a:pt x="35" y="22"/>
                    <a:pt x="29" y="24"/>
                  </a:cubicBezTo>
                  <a:cubicBezTo>
                    <a:pt x="26" y="24"/>
                    <a:pt x="25" y="27"/>
                    <a:pt x="24" y="29"/>
                  </a:cubicBezTo>
                  <a:cubicBezTo>
                    <a:pt x="23" y="30"/>
                    <a:pt x="21" y="28"/>
                    <a:pt x="22" y="27"/>
                  </a:cubicBezTo>
                  <a:cubicBezTo>
                    <a:pt x="22" y="25"/>
                    <a:pt x="26" y="23"/>
                    <a:pt x="25" y="20"/>
                  </a:cubicBezTo>
                  <a:cubicBezTo>
                    <a:pt x="24" y="19"/>
                    <a:pt x="21" y="20"/>
                    <a:pt x="19" y="20"/>
                  </a:cubicBezTo>
                  <a:cubicBezTo>
                    <a:pt x="18" y="21"/>
                    <a:pt x="17" y="23"/>
                    <a:pt x="16" y="23"/>
                  </a:cubicBezTo>
                  <a:cubicBezTo>
                    <a:pt x="11" y="22"/>
                    <a:pt x="6" y="22"/>
                    <a:pt x="2" y="23"/>
                  </a:cubicBezTo>
                  <a:cubicBezTo>
                    <a:pt x="0" y="23"/>
                    <a:pt x="0" y="20"/>
                    <a:pt x="0" y="18"/>
                  </a:cubicBezTo>
                  <a:cubicBezTo>
                    <a:pt x="1" y="15"/>
                    <a:pt x="4" y="14"/>
                    <a:pt x="4" y="11"/>
                  </a:cubicBezTo>
                  <a:cubicBezTo>
                    <a:pt x="4" y="9"/>
                    <a:pt x="1" y="9"/>
                    <a:pt x="1" y="7"/>
                  </a:cubicBezTo>
                  <a:cubicBezTo>
                    <a:pt x="1" y="7"/>
                    <a:pt x="2" y="6"/>
                    <a:pt x="3" y="6"/>
                  </a:cubicBezTo>
                  <a:cubicBezTo>
                    <a:pt x="6" y="6"/>
                    <a:pt x="9" y="7"/>
                    <a:pt x="12" y="6"/>
                  </a:cubicBezTo>
                  <a:cubicBezTo>
                    <a:pt x="15" y="5"/>
                    <a:pt x="17" y="2"/>
                    <a:pt x="19" y="0"/>
                  </a:cubicBezTo>
                  <a:cubicBezTo>
                    <a:pt x="20" y="0"/>
                    <a:pt x="22" y="0"/>
                    <a:pt x="2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0" name="Freeform 620"/>
            <p:cNvSpPr>
              <a:spLocks noChangeAspect="1"/>
            </p:cNvSpPr>
            <p:nvPr/>
          </p:nvSpPr>
          <p:spPr bwMode="auto">
            <a:xfrm>
              <a:off x="4538364" y="760735"/>
              <a:ext cx="32034" cy="29663"/>
            </a:xfrm>
            <a:custGeom>
              <a:avLst/>
              <a:gdLst>
                <a:gd name="T0" fmla="*/ 0 w 17"/>
                <a:gd name="T1" fmla="*/ 3843 h 19"/>
                <a:gd name="T2" fmla="*/ 5603 w 17"/>
                <a:gd name="T3" fmla="*/ 0 h 19"/>
                <a:gd name="T4" fmla="*/ 22412 w 17"/>
                <a:gd name="T5" fmla="*/ 23061 h 19"/>
                <a:gd name="T6" fmla="*/ 29882 w 17"/>
                <a:gd name="T7" fmla="*/ 32670 h 19"/>
                <a:gd name="T8" fmla="*/ 24279 w 17"/>
                <a:gd name="T9" fmla="*/ 34591 h 19"/>
                <a:gd name="T10" fmla="*/ 7471 w 17"/>
                <a:gd name="T11" fmla="*/ 19217 h 19"/>
                <a:gd name="T12" fmla="*/ 0 w 17"/>
                <a:gd name="T13" fmla="*/ 3843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0" y="2"/>
                  </a:moveTo>
                  <a:cubicBezTo>
                    <a:pt x="0" y="1"/>
                    <a:pt x="2" y="0"/>
                    <a:pt x="3" y="0"/>
                  </a:cubicBezTo>
                  <a:cubicBezTo>
                    <a:pt x="6" y="4"/>
                    <a:pt x="9" y="8"/>
                    <a:pt x="12" y="12"/>
                  </a:cubicBezTo>
                  <a:cubicBezTo>
                    <a:pt x="14" y="14"/>
                    <a:pt x="16" y="15"/>
                    <a:pt x="16" y="17"/>
                  </a:cubicBezTo>
                  <a:cubicBezTo>
                    <a:pt x="17" y="18"/>
                    <a:pt x="14" y="19"/>
                    <a:pt x="13" y="18"/>
                  </a:cubicBezTo>
                  <a:cubicBezTo>
                    <a:pt x="11" y="15"/>
                    <a:pt x="7" y="13"/>
                    <a:pt x="4" y="10"/>
                  </a:cubicBezTo>
                  <a:cubicBezTo>
                    <a:pt x="2" y="8"/>
                    <a:pt x="1" y="5"/>
                    <a:pt x="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1" name="Freeform 621"/>
            <p:cNvSpPr>
              <a:spLocks noChangeAspect="1"/>
            </p:cNvSpPr>
            <p:nvPr/>
          </p:nvSpPr>
          <p:spPr bwMode="auto">
            <a:xfrm>
              <a:off x="4672908" y="694963"/>
              <a:ext cx="195408" cy="59325"/>
            </a:xfrm>
            <a:custGeom>
              <a:avLst/>
              <a:gdLst>
                <a:gd name="T0" fmla="*/ 191776 w 102"/>
                <a:gd name="T1" fmla="*/ 30747 h 38"/>
                <a:gd name="T2" fmla="*/ 191776 w 102"/>
                <a:gd name="T3" fmla="*/ 24982 h 38"/>
                <a:gd name="T4" fmla="*/ 168991 w 102"/>
                <a:gd name="T5" fmla="*/ 19217 h 38"/>
                <a:gd name="T6" fmla="*/ 150003 w 102"/>
                <a:gd name="T7" fmla="*/ 11530 h 38"/>
                <a:gd name="T8" fmla="*/ 136712 w 102"/>
                <a:gd name="T9" fmla="*/ 9609 h 38"/>
                <a:gd name="T10" fmla="*/ 125319 w 102"/>
                <a:gd name="T11" fmla="*/ 17295 h 38"/>
                <a:gd name="T12" fmla="*/ 113926 w 102"/>
                <a:gd name="T13" fmla="*/ 19217 h 38"/>
                <a:gd name="T14" fmla="*/ 113926 w 102"/>
                <a:gd name="T15" fmla="*/ 11530 h 38"/>
                <a:gd name="T16" fmla="*/ 104433 w 102"/>
                <a:gd name="T17" fmla="*/ 0 h 38"/>
                <a:gd name="T18" fmla="*/ 102534 w 102"/>
                <a:gd name="T19" fmla="*/ 7687 h 38"/>
                <a:gd name="T20" fmla="*/ 98736 w 102"/>
                <a:gd name="T21" fmla="*/ 7687 h 38"/>
                <a:gd name="T22" fmla="*/ 102534 w 102"/>
                <a:gd name="T23" fmla="*/ 26904 h 38"/>
                <a:gd name="T24" fmla="*/ 94939 w 102"/>
                <a:gd name="T25" fmla="*/ 26904 h 38"/>
                <a:gd name="T26" fmla="*/ 85445 w 102"/>
                <a:gd name="T27" fmla="*/ 15374 h 38"/>
                <a:gd name="T28" fmla="*/ 64558 w 102"/>
                <a:gd name="T29" fmla="*/ 15374 h 38"/>
                <a:gd name="T30" fmla="*/ 53166 w 102"/>
                <a:gd name="T31" fmla="*/ 3843 h 38"/>
                <a:gd name="T32" fmla="*/ 41773 w 102"/>
                <a:gd name="T33" fmla="*/ 3843 h 38"/>
                <a:gd name="T34" fmla="*/ 49368 w 102"/>
                <a:gd name="T35" fmla="*/ 23061 h 38"/>
                <a:gd name="T36" fmla="*/ 34178 w 102"/>
                <a:gd name="T37" fmla="*/ 13452 h 38"/>
                <a:gd name="T38" fmla="*/ 28482 w 102"/>
                <a:gd name="T39" fmla="*/ 7687 h 38"/>
                <a:gd name="T40" fmla="*/ 32279 w 102"/>
                <a:gd name="T41" fmla="*/ 23061 h 38"/>
                <a:gd name="T42" fmla="*/ 22785 w 102"/>
                <a:gd name="T43" fmla="*/ 13452 h 38"/>
                <a:gd name="T44" fmla="*/ 7595 w 102"/>
                <a:gd name="T45" fmla="*/ 11530 h 38"/>
                <a:gd name="T46" fmla="*/ 0 w 102"/>
                <a:gd name="T47" fmla="*/ 13452 h 38"/>
                <a:gd name="T48" fmla="*/ 18988 w 102"/>
                <a:gd name="T49" fmla="*/ 21139 h 38"/>
                <a:gd name="T50" fmla="*/ 17089 w 102"/>
                <a:gd name="T51" fmla="*/ 26904 h 38"/>
                <a:gd name="T52" fmla="*/ 28482 w 102"/>
                <a:gd name="T53" fmla="*/ 28826 h 38"/>
                <a:gd name="T54" fmla="*/ 28482 w 102"/>
                <a:gd name="T55" fmla="*/ 30747 h 38"/>
                <a:gd name="T56" fmla="*/ 17089 w 102"/>
                <a:gd name="T57" fmla="*/ 34591 h 38"/>
                <a:gd name="T58" fmla="*/ 26583 w 102"/>
                <a:gd name="T59" fmla="*/ 40356 h 38"/>
                <a:gd name="T60" fmla="*/ 41773 w 102"/>
                <a:gd name="T61" fmla="*/ 40356 h 38"/>
                <a:gd name="T62" fmla="*/ 62660 w 102"/>
                <a:gd name="T63" fmla="*/ 36513 h 38"/>
                <a:gd name="T64" fmla="*/ 91141 w 102"/>
                <a:gd name="T65" fmla="*/ 36513 h 38"/>
                <a:gd name="T66" fmla="*/ 91141 w 102"/>
                <a:gd name="T67" fmla="*/ 42278 h 38"/>
                <a:gd name="T68" fmla="*/ 68356 w 102"/>
                <a:gd name="T69" fmla="*/ 44199 h 38"/>
                <a:gd name="T70" fmla="*/ 64558 w 102"/>
                <a:gd name="T71" fmla="*/ 48043 h 38"/>
                <a:gd name="T72" fmla="*/ 51267 w 102"/>
                <a:gd name="T73" fmla="*/ 44199 h 38"/>
                <a:gd name="T74" fmla="*/ 51267 w 102"/>
                <a:gd name="T75" fmla="*/ 48043 h 38"/>
                <a:gd name="T76" fmla="*/ 66457 w 102"/>
                <a:gd name="T77" fmla="*/ 51886 h 38"/>
                <a:gd name="T78" fmla="*/ 72153 w 102"/>
                <a:gd name="T79" fmla="*/ 61495 h 38"/>
                <a:gd name="T80" fmla="*/ 104433 w 102"/>
                <a:gd name="T81" fmla="*/ 57651 h 38"/>
                <a:gd name="T82" fmla="*/ 106331 w 102"/>
                <a:gd name="T83" fmla="*/ 65338 h 38"/>
                <a:gd name="T84" fmla="*/ 131015 w 102"/>
                <a:gd name="T85" fmla="*/ 71103 h 38"/>
                <a:gd name="T86" fmla="*/ 148104 w 102"/>
                <a:gd name="T87" fmla="*/ 55730 h 38"/>
                <a:gd name="T88" fmla="*/ 163295 w 102"/>
                <a:gd name="T89" fmla="*/ 55730 h 38"/>
                <a:gd name="T90" fmla="*/ 170890 w 102"/>
                <a:gd name="T91" fmla="*/ 42278 h 38"/>
                <a:gd name="T92" fmla="*/ 191776 w 102"/>
                <a:gd name="T93" fmla="*/ 30747 h 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2"/>
                <a:gd name="T142" fmla="*/ 0 h 38"/>
                <a:gd name="T143" fmla="*/ 102 w 102"/>
                <a:gd name="T144" fmla="*/ 38 h 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2" h="38">
                  <a:moveTo>
                    <a:pt x="101" y="16"/>
                  </a:moveTo>
                  <a:cubicBezTo>
                    <a:pt x="102" y="16"/>
                    <a:pt x="102" y="13"/>
                    <a:pt x="101" y="13"/>
                  </a:cubicBezTo>
                  <a:cubicBezTo>
                    <a:pt x="97" y="11"/>
                    <a:pt x="93" y="11"/>
                    <a:pt x="89" y="10"/>
                  </a:cubicBezTo>
                  <a:cubicBezTo>
                    <a:pt x="86" y="9"/>
                    <a:pt x="82" y="7"/>
                    <a:pt x="79" y="6"/>
                  </a:cubicBezTo>
                  <a:cubicBezTo>
                    <a:pt x="76" y="6"/>
                    <a:pt x="74" y="4"/>
                    <a:pt x="72" y="5"/>
                  </a:cubicBezTo>
                  <a:cubicBezTo>
                    <a:pt x="69" y="6"/>
                    <a:pt x="68" y="8"/>
                    <a:pt x="66" y="9"/>
                  </a:cubicBezTo>
                  <a:cubicBezTo>
                    <a:pt x="65" y="10"/>
                    <a:pt x="62" y="11"/>
                    <a:pt x="60" y="10"/>
                  </a:cubicBezTo>
                  <a:cubicBezTo>
                    <a:pt x="59" y="10"/>
                    <a:pt x="60" y="8"/>
                    <a:pt x="60" y="6"/>
                  </a:cubicBezTo>
                  <a:cubicBezTo>
                    <a:pt x="58" y="4"/>
                    <a:pt x="57" y="1"/>
                    <a:pt x="55" y="0"/>
                  </a:cubicBezTo>
                  <a:cubicBezTo>
                    <a:pt x="54" y="0"/>
                    <a:pt x="55" y="3"/>
                    <a:pt x="54" y="4"/>
                  </a:cubicBezTo>
                  <a:cubicBezTo>
                    <a:pt x="54" y="5"/>
                    <a:pt x="52" y="4"/>
                    <a:pt x="52" y="4"/>
                  </a:cubicBezTo>
                  <a:cubicBezTo>
                    <a:pt x="52" y="8"/>
                    <a:pt x="54" y="11"/>
                    <a:pt x="54" y="14"/>
                  </a:cubicBezTo>
                  <a:cubicBezTo>
                    <a:pt x="53" y="15"/>
                    <a:pt x="51" y="15"/>
                    <a:pt x="50" y="14"/>
                  </a:cubicBezTo>
                  <a:cubicBezTo>
                    <a:pt x="48" y="13"/>
                    <a:pt x="47" y="9"/>
                    <a:pt x="45" y="8"/>
                  </a:cubicBezTo>
                  <a:cubicBezTo>
                    <a:pt x="42" y="7"/>
                    <a:pt x="38" y="9"/>
                    <a:pt x="34" y="8"/>
                  </a:cubicBezTo>
                  <a:cubicBezTo>
                    <a:pt x="32" y="7"/>
                    <a:pt x="31" y="4"/>
                    <a:pt x="28" y="2"/>
                  </a:cubicBezTo>
                  <a:cubicBezTo>
                    <a:pt x="26" y="2"/>
                    <a:pt x="23" y="1"/>
                    <a:pt x="22" y="2"/>
                  </a:cubicBezTo>
                  <a:cubicBezTo>
                    <a:pt x="22" y="6"/>
                    <a:pt x="28" y="9"/>
                    <a:pt x="26" y="12"/>
                  </a:cubicBezTo>
                  <a:cubicBezTo>
                    <a:pt x="24" y="14"/>
                    <a:pt x="21" y="8"/>
                    <a:pt x="18" y="7"/>
                  </a:cubicBezTo>
                  <a:cubicBezTo>
                    <a:pt x="17" y="6"/>
                    <a:pt x="16" y="3"/>
                    <a:pt x="15" y="4"/>
                  </a:cubicBezTo>
                  <a:cubicBezTo>
                    <a:pt x="15" y="7"/>
                    <a:pt x="19" y="10"/>
                    <a:pt x="17" y="12"/>
                  </a:cubicBezTo>
                  <a:cubicBezTo>
                    <a:pt x="15" y="14"/>
                    <a:pt x="14" y="8"/>
                    <a:pt x="12" y="7"/>
                  </a:cubicBezTo>
                  <a:cubicBezTo>
                    <a:pt x="10" y="6"/>
                    <a:pt x="7" y="7"/>
                    <a:pt x="4" y="6"/>
                  </a:cubicBezTo>
                  <a:cubicBezTo>
                    <a:pt x="3" y="6"/>
                    <a:pt x="0" y="6"/>
                    <a:pt x="0" y="7"/>
                  </a:cubicBezTo>
                  <a:cubicBezTo>
                    <a:pt x="3" y="9"/>
                    <a:pt x="7" y="9"/>
                    <a:pt x="10" y="11"/>
                  </a:cubicBezTo>
                  <a:cubicBezTo>
                    <a:pt x="11" y="12"/>
                    <a:pt x="8" y="13"/>
                    <a:pt x="9" y="14"/>
                  </a:cubicBezTo>
                  <a:cubicBezTo>
                    <a:pt x="10" y="15"/>
                    <a:pt x="13" y="14"/>
                    <a:pt x="15" y="15"/>
                  </a:cubicBezTo>
                  <a:cubicBezTo>
                    <a:pt x="15" y="15"/>
                    <a:pt x="15" y="16"/>
                    <a:pt x="15" y="16"/>
                  </a:cubicBezTo>
                  <a:cubicBezTo>
                    <a:pt x="13" y="17"/>
                    <a:pt x="9" y="16"/>
                    <a:pt x="9" y="18"/>
                  </a:cubicBezTo>
                  <a:cubicBezTo>
                    <a:pt x="8" y="20"/>
                    <a:pt x="12" y="21"/>
                    <a:pt x="14" y="21"/>
                  </a:cubicBezTo>
                  <a:cubicBezTo>
                    <a:pt x="17" y="22"/>
                    <a:pt x="19" y="22"/>
                    <a:pt x="22" y="21"/>
                  </a:cubicBezTo>
                  <a:cubicBezTo>
                    <a:pt x="26" y="21"/>
                    <a:pt x="29" y="20"/>
                    <a:pt x="33" y="19"/>
                  </a:cubicBezTo>
                  <a:cubicBezTo>
                    <a:pt x="38" y="19"/>
                    <a:pt x="43" y="18"/>
                    <a:pt x="48" y="19"/>
                  </a:cubicBezTo>
                  <a:cubicBezTo>
                    <a:pt x="49" y="19"/>
                    <a:pt x="49" y="22"/>
                    <a:pt x="48" y="22"/>
                  </a:cubicBezTo>
                  <a:cubicBezTo>
                    <a:pt x="44" y="24"/>
                    <a:pt x="40" y="22"/>
                    <a:pt x="36" y="23"/>
                  </a:cubicBezTo>
                  <a:cubicBezTo>
                    <a:pt x="35" y="23"/>
                    <a:pt x="35" y="25"/>
                    <a:pt x="34" y="25"/>
                  </a:cubicBezTo>
                  <a:cubicBezTo>
                    <a:pt x="32" y="25"/>
                    <a:pt x="30" y="23"/>
                    <a:pt x="27" y="23"/>
                  </a:cubicBezTo>
                  <a:cubicBezTo>
                    <a:pt x="27" y="23"/>
                    <a:pt x="26" y="25"/>
                    <a:pt x="27" y="25"/>
                  </a:cubicBezTo>
                  <a:cubicBezTo>
                    <a:pt x="30" y="27"/>
                    <a:pt x="33" y="25"/>
                    <a:pt x="35" y="27"/>
                  </a:cubicBezTo>
                  <a:cubicBezTo>
                    <a:pt x="37" y="28"/>
                    <a:pt x="36" y="32"/>
                    <a:pt x="38" y="32"/>
                  </a:cubicBezTo>
                  <a:cubicBezTo>
                    <a:pt x="44" y="33"/>
                    <a:pt x="49" y="29"/>
                    <a:pt x="55" y="30"/>
                  </a:cubicBezTo>
                  <a:cubicBezTo>
                    <a:pt x="56" y="30"/>
                    <a:pt x="55" y="34"/>
                    <a:pt x="56" y="34"/>
                  </a:cubicBezTo>
                  <a:cubicBezTo>
                    <a:pt x="60" y="36"/>
                    <a:pt x="65" y="38"/>
                    <a:pt x="69" y="37"/>
                  </a:cubicBezTo>
                  <a:cubicBezTo>
                    <a:pt x="73" y="36"/>
                    <a:pt x="74" y="31"/>
                    <a:pt x="78" y="29"/>
                  </a:cubicBezTo>
                  <a:cubicBezTo>
                    <a:pt x="80" y="28"/>
                    <a:pt x="84" y="31"/>
                    <a:pt x="86" y="29"/>
                  </a:cubicBezTo>
                  <a:cubicBezTo>
                    <a:pt x="88" y="28"/>
                    <a:pt x="87" y="24"/>
                    <a:pt x="90" y="22"/>
                  </a:cubicBezTo>
                  <a:cubicBezTo>
                    <a:pt x="93" y="19"/>
                    <a:pt x="98" y="19"/>
                    <a:pt x="101"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2" name="Freeform 622"/>
            <p:cNvSpPr>
              <a:spLocks noChangeAspect="1"/>
            </p:cNvSpPr>
            <p:nvPr/>
          </p:nvSpPr>
          <p:spPr bwMode="auto">
            <a:xfrm>
              <a:off x="4954809" y="709148"/>
              <a:ext cx="35238" cy="7738"/>
            </a:xfrm>
            <a:custGeom>
              <a:avLst/>
              <a:gdLst>
                <a:gd name="T0" fmla="*/ 1940 w 18"/>
                <a:gd name="T1" fmla="*/ 3810 h 5"/>
                <a:gd name="T2" fmla="*/ 1940 w 18"/>
                <a:gd name="T3" fmla="*/ 7620 h 5"/>
                <a:gd name="T4" fmla="*/ 25224 w 18"/>
                <a:gd name="T5" fmla="*/ 5715 h 5"/>
                <a:gd name="T6" fmla="*/ 32985 w 18"/>
                <a:gd name="T7" fmla="*/ 3810 h 5"/>
                <a:gd name="T8" fmla="*/ 32985 w 18"/>
                <a:gd name="T9" fmla="*/ 0 h 5"/>
                <a:gd name="T10" fmla="*/ 9701 w 18"/>
                <a:gd name="T11" fmla="*/ 3810 h 5"/>
                <a:gd name="T12" fmla="*/ 1940 w 18"/>
                <a:gd name="T13" fmla="*/ 3810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2"/>
                  </a:moveTo>
                  <a:cubicBezTo>
                    <a:pt x="0" y="2"/>
                    <a:pt x="0" y="4"/>
                    <a:pt x="1" y="4"/>
                  </a:cubicBezTo>
                  <a:cubicBezTo>
                    <a:pt x="5" y="5"/>
                    <a:pt x="9" y="3"/>
                    <a:pt x="13" y="3"/>
                  </a:cubicBezTo>
                  <a:cubicBezTo>
                    <a:pt x="14" y="3"/>
                    <a:pt x="16" y="3"/>
                    <a:pt x="17" y="2"/>
                  </a:cubicBezTo>
                  <a:cubicBezTo>
                    <a:pt x="18" y="2"/>
                    <a:pt x="17" y="0"/>
                    <a:pt x="17" y="0"/>
                  </a:cubicBezTo>
                  <a:cubicBezTo>
                    <a:pt x="13" y="0"/>
                    <a:pt x="9" y="1"/>
                    <a:pt x="5" y="2"/>
                  </a:cubicBezTo>
                  <a:cubicBezTo>
                    <a:pt x="3" y="2"/>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3" name="Freeform 623"/>
            <p:cNvSpPr>
              <a:spLocks noChangeAspect="1"/>
            </p:cNvSpPr>
            <p:nvPr/>
          </p:nvSpPr>
          <p:spPr bwMode="auto">
            <a:xfrm>
              <a:off x="4881130" y="756866"/>
              <a:ext cx="41645" cy="7738"/>
            </a:xfrm>
            <a:custGeom>
              <a:avLst/>
              <a:gdLst>
                <a:gd name="T0" fmla="*/ 1965 w 21"/>
                <a:gd name="T1" fmla="*/ 1905 h 5"/>
                <a:gd name="T2" fmla="*/ 5896 w 21"/>
                <a:gd name="T3" fmla="*/ 7620 h 5"/>
                <a:gd name="T4" fmla="*/ 19655 w 21"/>
                <a:gd name="T5" fmla="*/ 3810 h 5"/>
                <a:gd name="T6" fmla="*/ 35379 w 21"/>
                <a:gd name="T7" fmla="*/ 9525 h 5"/>
                <a:gd name="T8" fmla="*/ 41275 w 21"/>
                <a:gd name="T9" fmla="*/ 5715 h 5"/>
                <a:gd name="T10" fmla="*/ 37344 w 21"/>
                <a:gd name="T11" fmla="*/ 3810 h 5"/>
                <a:gd name="T12" fmla="*/ 27517 w 21"/>
                <a:gd name="T13" fmla="*/ 0 h 5"/>
                <a:gd name="T14" fmla="*/ 7862 w 21"/>
                <a:gd name="T15" fmla="*/ 1905 h 5"/>
                <a:gd name="T16" fmla="*/ 1965 w 21"/>
                <a:gd name="T17" fmla="*/ 190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5"/>
                <a:gd name="T29" fmla="*/ 21 w 2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5">
                  <a:moveTo>
                    <a:pt x="1" y="1"/>
                  </a:moveTo>
                  <a:cubicBezTo>
                    <a:pt x="0" y="3"/>
                    <a:pt x="2" y="4"/>
                    <a:pt x="3" y="4"/>
                  </a:cubicBezTo>
                  <a:cubicBezTo>
                    <a:pt x="6" y="5"/>
                    <a:pt x="8" y="2"/>
                    <a:pt x="10" y="2"/>
                  </a:cubicBezTo>
                  <a:cubicBezTo>
                    <a:pt x="13" y="3"/>
                    <a:pt x="15" y="5"/>
                    <a:pt x="18" y="5"/>
                  </a:cubicBezTo>
                  <a:cubicBezTo>
                    <a:pt x="19" y="5"/>
                    <a:pt x="21" y="4"/>
                    <a:pt x="21" y="3"/>
                  </a:cubicBezTo>
                  <a:cubicBezTo>
                    <a:pt x="21" y="2"/>
                    <a:pt x="19" y="2"/>
                    <a:pt x="19" y="2"/>
                  </a:cubicBezTo>
                  <a:cubicBezTo>
                    <a:pt x="17" y="1"/>
                    <a:pt x="15" y="0"/>
                    <a:pt x="14" y="0"/>
                  </a:cubicBezTo>
                  <a:cubicBezTo>
                    <a:pt x="10" y="0"/>
                    <a:pt x="7" y="1"/>
                    <a:pt x="4" y="1"/>
                  </a:cubicBezTo>
                  <a:cubicBezTo>
                    <a:pt x="3" y="1"/>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4" name="Freeform 624"/>
            <p:cNvSpPr>
              <a:spLocks noChangeAspect="1"/>
            </p:cNvSpPr>
            <p:nvPr/>
          </p:nvSpPr>
          <p:spPr bwMode="auto">
            <a:xfrm>
              <a:off x="7411835" y="1529385"/>
              <a:ext cx="22424" cy="15476"/>
            </a:xfrm>
            <a:custGeom>
              <a:avLst/>
              <a:gdLst>
                <a:gd name="T0" fmla="*/ 20373 w 12"/>
                <a:gd name="T1" fmla="*/ 3810 h 10"/>
                <a:gd name="T2" fmla="*/ 16669 w 12"/>
                <a:gd name="T3" fmla="*/ 15240 h 10"/>
                <a:gd name="T4" fmla="*/ 3704 w 12"/>
                <a:gd name="T5" fmla="*/ 15240 h 10"/>
                <a:gd name="T6" fmla="*/ 9260 w 12"/>
                <a:gd name="T7" fmla="*/ 1905 h 10"/>
                <a:gd name="T8" fmla="*/ 20373 w 12"/>
                <a:gd name="T9" fmla="*/ 3810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5" name="Freeform 625"/>
            <p:cNvSpPr>
              <a:spLocks noChangeAspect="1"/>
            </p:cNvSpPr>
            <p:nvPr/>
          </p:nvSpPr>
          <p:spPr bwMode="auto">
            <a:xfrm>
              <a:off x="7959621" y="1417182"/>
              <a:ext cx="22424" cy="19345"/>
            </a:xfrm>
            <a:custGeom>
              <a:avLst/>
              <a:gdLst>
                <a:gd name="T0" fmla="*/ 18521 w 12"/>
                <a:gd name="T1" fmla="*/ 1832 h 13"/>
                <a:gd name="T2" fmla="*/ 18521 w 12"/>
                <a:gd name="T3" fmla="*/ 12822 h 13"/>
                <a:gd name="T4" fmla="*/ 0 w 12"/>
                <a:gd name="T5" fmla="*/ 21980 h 13"/>
                <a:gd name="T6" fmla="*/ 3704 w 12"/>
                <a:gd name="T7" fmla="*/ 5495 h 13"/>
                <a:gd name="T8" fmla="*/ 18521 w 12"/>
                <a:gd name="T9" fmla="*/ 1832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6" name="Freeform 626"/>
            <p:cNvSpPr>
              <a:spLocks noChangeAspect="1"/>
            </p:cNvSpPr>
            <p:nvPr/>
          </p:nvSpPr>
          <p:spPr bwMode="auto">
            <a:xfrm>
              <a:off x="5350431" y="1094762"/>
              <a:ext cx="38441" cy="27083"/>
            </a:xfrm>
            <a:custGeom>
              <a:avLst/>
              <a:gdLst>
                <a:gd name="T0" fmla="*/ 34290 w 20"/>
                <a:gd name="T1" fmla="*/ 9805 h 17"/>
                <a:gd name="T2" fmla="*/ 38100 w 20"/>
                <a:gd name="T3" fmla="*/ 13727 h 17"/>
                <a:gd name="T4" fmla="*/ 30480 w 20"/>
                <a:gd name="T5" fmla="*/ 23532 h 17"/>
                <a:gd name="T6" fmla="*/ 11430 w 20"/>
                <a:gd name="T7" fmla="*/ 33337 h 17"/>
                <a:gd name="T8" fmla="*/ 3810 w 20"/>
                <a:gd name="T9" fmla="*/ 31376 h 17"/>
                <a:gd name="T10" fmla="*/ 0 w 20"/>
                <a:gd name="T11" fmla="*/ 17649 h 17"/>
                <a:gd name="T12" fmla="*/ 3810 w 20"/>
                <a:gd name="T13" fmla="*/ 1961 h 17"/>
                <a:gd name="T14" fmla="*/ 15240 w 20"/>
                <a:gd name="T15" fmla="*/ 1961 h 17"/>
                <a:gd name="T16" fmla="*/ 26670 w 20"/>
                <a:gd name="T17" fmla="*/ 7844 h 17"/>
                <a:gd name="T18" fmla="*/ 34290 w 20"/>
                <a:gd name="T19" fmla="*/ 980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7" name="Freeform 627"/>
            <p:cNvSpPr>
              <a:spLocks noChangeAspect="1"/>
            </p:cNvSpPr>
            <p:nvPr/>
          </p:nvSpPr>
          <p:spPr bwMode="auto">
            <a:xfrm>
              <a:off x="5557052" y="1057361"/>
              <a:ext cx="48051" cy="30953"/>
            </a:xfrm>
            <a:custGeom>
              <a:avLst/>
              <a:gdLst>
                <a:gd name="T0" fmla="*/ 13335 w 25"/>
                <a:gd name="T1" fmla="*/ 1905 h 20"/>
                <a:gd name="T2" fmla="*/ 34290 w 25"/>
                <a:gd name="T3" fmla="*/ 19050 h 20"/>
                <a:gd name="T4" fmla="*/ 40005 w 25"/>
                <a:gd name="T5" fmla="*/ 19050 h 20"/>
                <a:gd name="T6" fmla="*/ 47625 w 25"/>
                <a:gd name="T7" fmla="*/ 28575 h 20"/>
                <a:gd name="T8" fmla="*/ 45720 w 25"/>
                <a:gd name="T9" fmla="*/ 32385 h 20"/>
                <a:gd name="T10" fmla="*/ 32385 w 25"/>
                <a:gd name="T11" fmla="*/ 36195 h 20"/>
                <a:gd name="T12" fmla="*/ 22860 w 25"/>
                <a:gd name="T13" fmla="*/ 26670 h 20"/>
                <a:gd name="T14" fmla="*/ 13335 w 25"/>
                <a:gd name="T15" fmla="*/ 26670 h 20"/>
                <a:gd name="T16" fmla="*/ 1905 w 25"/>
                <a:gd name="T17" fmla="*/ 15240 h 20"/>
                <a:gd name="T18" fmla="*/ 1905 w 25"/>
                <a:gd name="T19" fmla="*/ 5715 h 20"/>
                <a:gd name="T20" fmla="*/ 7620 w 25"/>
                <a:gd name="T21" fmla="*/ 5715 h 20"/>
                <a:gd name="T22" fmla="*/ 13335 w 25"/>
                <a:gd name="T23" fmla="*/ 190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8" name="Freeform 628"/>
            <p:cNvSpPr>
              <a:spLocks noChangeAspect="1"/>
            </p:cNvSpPr>
            <p:nvPr/>
          </p:nvSpPr>
          <p:spPr bwMode="auto">
            <a:xfrm>
              <a:off x="5438525" y="830378"/>
              <a:ext cx="296316" cy="132837"/>
            </a:xfrm>
            <a:custGeom>
              <a:avLst/>
              <a:gdLst>
                <a:gd name="T0" fmla="*/ 291780 w 154"/>
                <a:gd name="T1" fmla="*/ 24717 h 86"/>
                <a:gd name="T2" fmla="*/ 270802 w 154"/>
                <a:gd name="T3" fmla="*/ 39928 h 86"/>
                <a:gd name="T4" fmla="*/ 202148 w 154"/>
                <a:gd name="T5" fmla="*/ 60842 h 86"/>
                <a:gd name="T6" fmla="*/ 190706 w 154"/>
                <a:gd name="T7" fmla="*/ 58941 h 86"/>
                <a:gd name="T8" fmla="*/ 177356 w 154"/>
                <a:gd name="T9" fmla="*/ 68447 h 86"/>
                <a:gd name="T10" fmla="*/ 165914 w 154"/>
                <a:gd name="T11" fmla="*/ 74151 h 86"/>
                <a:gd name="T12" fmla="*/ 150658 w 154"/>
                <a:gd name="T13" fmla="*/ 87460 h 86"/>
                <a:gd name="T14" fmla="*/ 131587 w 154"/>
                <a:gd name="T15" fmla="*/ 87460 h 86"/>
                <a:gd name="T16" fmla="*/ 131587 w 154"/>
                <a:gd name="T17" fmla="*/ 96967 h 86"/>
                <a:gd name="T18" fmla="*/ 116331 w 154"/>
                <a:gd name="T19" fmla="*/ 104572 h 86"/>
                <a:gd name="T20" fmla="*/ 102981 w 154"/>
                <a:gd name="T21" fmla="*/ 104572 h 86"/>
                <a:gd name="T22" fmla="*/ 97260 w 154"/>
                <a:gd name="T23" fmla="*/ 121684 h 86"/>
                <a:gd name="T24" fmla="*/ 89632 w 154"/>
                <a:gd name="T25" fmla="*/ 134993 h 86"/>
                <a:gd name="T26" fmla="*/ 80096 w 154"/>
                <a:gd name="T27" fmla="*/ 129289 h 86"/>
                <a:gd name="T28" fmla="*/ 80096 w 154"/>
                <a:gd name="T29" fmla="*/ 134993 h 86"/>
                <a:gd name="T30" fmla="*/ 85818 w 154"/>
                <a:gd name="T31" fmla="*/ 146401 h 86"/>
                <a:gd name="T32" fmla="*/ 72468 w 154"/>
                <a:gd name="T33" fmla="*/ 144500 h 86"/>
                <a:gd name="T34" fmla="*/ 78189 w 154"/>
                <a:gd name="T35" fmla="*/ 154006 h 86"/>
                <a:gd name="T36" fmla="*/ 61026 w 154"/>
                <a:gd name="T37" fmla="*/ 163513 h 86"/>
                <a:gd name="T38" fmla="*/ 41955 w 154"/>
                <a:gd name="T39" fmla="*/ 155908 h 86"/>
                <a:gd name="T40" fmla="*/ 19071 w 154"/>
                <a:gd name="T41" fmla="*/ 155908 h 86"/>
                <a:gd name="T42" fmla="*/ 11442 w 154"/>
                <a:gd name="T43" fmla="*/ 155908 h 86"/>
                <a:gd name="T44" fmla="*/ 20978 w 154"/>
                <a:gd name="T45" fmla="*/ 148302 h 86"/>
                <a:gd name="T46" fmla="*/ 1907 w 154"/>
                <a:gd name="T47" fmla="*/ 150204 h 86"/>
                <a:gd name="T48" fmla="*/ 15256 w 154"/>
                <a:gd name="T49" fmla="*/ 136895 h 86"/>
                <a:gd name="T50" fmla="*/ 26699 w 154"/>
                <a:gd name="T51" fmla="*/ 127388 h 86"/>
                <a:gd name="T52" fmla="*/ 38141 w 154"/>
                <a:gd name="T53" fmla="*/ 131191 h 86"/>
                <a:gd name="T54" fmla="*/ 28606 w 154"/>
                <a:gd name="T55" fmla="*/ 121684 h 86"/>
                <a:gd name="T56" fmla="*/ 49584 w 154"/>
                <a:gd name="T57" fmla="*/ 115980 h 86"/>
                <a:gd name="T58" fmla="*/ 32420 w 154"/>
                <a:gd name="T59" fmla="*/ 110276 h 86"/>
                <a:gd name="T60" fmla="*/ 49584 w 154"/>
                <a:gd name="T61" fmla="*/ 104572 h 86"/>
                <a:gd name="T62" fmla="*/ 40048 w 154"/>
                <a:gd name="T63" fmla="*/ 100770 h 86"/>
                <a:gd name="T64" fmla="*/ 40048 w 154"/>
                <a:gd name="T65" fmla="*/ 95066 h 86"/>
                <a:gd name="T66" fmla="*/ 28606 w 154"/>
                <a:gd name="T67" fmla="*/ 83658 h 86"/>
                <a:gd name="T68" fmla="*/ 34327 w 154"/>
                <a:gd name="T69" fmla="*/ 83658 h 86"/>
                <a:gd name="T70" fmla="*/ 40048 w 154"/>
                <a:gd name="T71" fmla="*/ 89362 h 86"/>
                <a:gd name="T72" fmla="*/ 55305 w 154"/>
                <a:gd name="T73" fmla="*/ 83658 h 86"/>
                <a:gd name="T74" fmla="*/ 72468 w 154"/>
                <a:gd name="T75" fmla="*/ 83658 h 86"/>
                <a:gd name="T76" fmla="*/ 76282 w 154"/>
                <a:gd name="T77" fmla="*/ 72250 h 86"/>
                <a:gd name="T78" fmla="*/ 76282 w 154"/>
                <a:gd name="T79" fmla="*/ 62743 h 86"/>
                <a:gd name="T80" fmla="*/ 91539 w 154"/>
                <a:gd name="T81" fmla="*/ 64645 h 86"/>
                <a:gd name="T82" fmla="*/ 97260 w 154"/>
                <a:gd name="T83" fmla="*/ 55138 h 86"/>
                <a:gd name="T84" fmla="*/ 116331 w 154"/>
                <a:gd name="T85" fmla="*/ 49434 h 86"/>
                <a:gd name="T86" fmla="*/ 122052 w 154"/>
                <a:gd name="T87" fmla="*/ 45632 h 86"/>
                <a:gd name="T88" fmla="*/ 129680 w 154"/>
                <a:gd name="T89" fmla="*/ 47533 h 86"/>
                <a:gd name="T90" fmla="*/ 131587 w 154"/>
                <a:gd name="T91" fmla="*/ 39928 h 86"/>
                <a:gd name="T92" fmla="*/ 162100 w 154"/>
                <a:gd name="T93" fmla="*/ 39928 h 86"/>
                <a:gd name="T94" fmla="*/ 165914 w 154"/>
                <a:gd name="T95" fmla="*/ 43730 h 86"/>
                <a:gd name="T96" fmla="*/ 173542 w 154"/>
                <a:gd name="T97" fmla="*/ 38026 h 86"/>
                <a:gd name="T98" fmla="*/ 190706 w 154"/>
                <a:gd name="T99" fmla="*/ 36125 h 86"/>
                <a:gd name="T100" fmla="*/ 207869 w 154"/>
                <a:gd name="T101" fmla="*/ 36125 h 86"/>
                <a:gd name="T102" fmla="*/ 213591 w 154"/>
                <a:gd name="T103" fmla="*/ 26618 h 86"/>
                <a:gd name="T104" fmla="*/ 228847 w 154"/>
                <a:gd name="T105" fmla="*/ 22816 h 86"/>
                <a:gd name="T106" fmla="*/ 230754 w 154"/>
                <a:gd name="T107" fmla="*/ 13309 h 86"/>
                <a:gd name="T108" fmla="*/ 263174 w 154"/>
                <a:gd name="T109" fmla="*/ 1901 h 86"/>
                <a:gd name="T110" fmla="*/ 278431 w 154"/>
                <a:gd name="T111" fmla="*/ 7605 h 86"/>
                <a:gd name="T112" fmla="*/ 287966 w 154"/>
                <a:gd name="T113" fmla="*/ 9507 h 86"/>
                <a:gd name="T114" fmla="*/ 293687 w 154"/>
                <a:gd name="T115" fmla="*/ 19013 h 86"/>
                <a:gd name="T116" fmla="*/ 291780 w 154"/>
                <a:gd name="T117" fmla="*/ 24717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9" name="Freeform 629"/>
            <p:cNvSpPr>
              <a:spLocks noChangeAspect="1"/>
            </p:cNvSpPr>
            <p:nvPr/>
          </p:nvSpPr>
          <p:spPr bwMode="auto">
            <a:xfrm>
              <a:off x="5406492" y="960637"/>
              <a:ext cx="126535" cy="99306"/>
            </a:xfrm>
            <a:custGeom>
              <a:avLst/>
              <a:gdLst>
                <a:gd name="T0" fmla="*/ 93109 w 66"/>
                <a:gd name="T1" fmla="*/ 11460 h 64"/>
                <a:gd name="T2" fmla="*/ 85508 w 66"/>
                <a:gd name="T3" fmla="*/ 17190 h 64"/>
                <a:gd name="T4" fmla="*/ 87408 w 66"/>
                <a:gd name="T5" fmla="*/ 21009 h 64"/>
                <a:gd name="T6" fmla="*/ 76007 w 66"/>
                <a:gd name="T7" fmla="*/ 21009 h 64"/>
                <a:gd name="T8" fmla="*/ 81708 w 66"/>
                <a:gd name="T9" fmla="*/ 28649 h 64"/>
                <a:gd name="T10" fmla="*/ 81708 w 66"/>
                <a:gd name="T11" fmla="*/ 47749 h 64"/>
                <a:gd name="T12" fmla="*/ 83608 w 66"/>
                <a:gd name="T13" fmla="*/ 76398 h 64"/>
                <a:gd name="T14" fmla="*/ 119711 w 66"/>
                <a:gd name="T15" fmla="*/ 106957 h 64"/>
                <a:gd name="T16" fmla="*/ 125412 w 66"/>
                <a:gd name="T17" fmla="*/ 114597 h 64"/>
                <a:gd name="T18" fmla="*/ 117811 w 66"/>
                <a:gd name="T19" fmla="*/ 118417 h 64"/>
                <a:gd name="T20" fmla="*/ 106410 w 66"/>
                <a:gd name="T21" fmla="*/ 112687 h 64"/>
                <a:gd name="T22" fmla="*/ 102610 w 66"/>
                <a:gd name="T23" fmla="*/ 118417 h 64"/>
                <a:gd name="T24" fmla="*/ 89309 w 66"/>
                <a:gd name="T25" fmla="*/ 118417 h 64"/>
                <a:gd name="T26" fmla="*/ 81708 w 66"/>
                <a:gd name="T27" fmla="*/ 108867 h 64"/>
                <a:gd name="T28" fmla="*/ 76007 w 66"/>
                <a:gd name="T29" fmla="*/ 108867 h 64"/>
                <a:gd name="T30" fmla="*/ 83608 w 66"/>
                <a:gd name="T31" fmla="*/ 118417 h 64"/>
                <a:gd name="T32" fmla="*/ 76007 w 66"/>
                <a:gd name="T33" fmla="*/ 120327 h 64"/>
                <a:gd name="T34" fmla="*/ 68407 w 66"/>
                <a:gd name="T35" fmla="*/ 112687 h 64"/>
                <a:gd name="T36" fmla="*/ 45604 w 66"/>
                <a:gd name="T37" fmla="*/ 112687 h 64"/>
                <a:gd name="T38" fmla="*/ 49405 w 66"/>
                <a:gd name="T39" fmla="*/ 105047 h 64"/>
                <a:gd name="T40" fmla="*/ 47505 w 66"/>
                <a:gd name="T41" fmla="*/ 97408 h 64"/>
                <a:gd name="T42" fmla="*/ 57005 w 66"/>
                <a:gd name="T43" fmla="*/ 93588 h 64"/>
                <a:gd name="T44" fmla="*/ 47505 w 66"/>
                <a:gd name="T45" fmla="*/ 89768 h 64"/>
                <a:gd name="T46" fmla="*/ 39904 w 66"/>
                <a:gd name="T47" fmla="*/ 80218 h 64"/>
                <a:gd name="T48" fmla="*/ 28503 w 66"/>
                <a:gd name="T49" fmla="*/ 82128 h 64"/>
                <a:gd name="T50" fmla="*/ 22802 w 66"/>
                <a:gd name="T51" fmla="*/ 72578 h 64"/>
                <a:gd name="T52" fmla="*/ 15201 w 66"/>
                <a:gd name="T53" fmla="*/ 76398 h 64"/>
                <a:gd name="T54" fmla="*/ 3800 w 66"/>
                <a:gd name="T55" fmla="*/ 74488 h 64"/>
                <a:gd name="T56" fmla="*/ 1900 w 66"/>
                <a:gd name="T57" fmla="*/ 55389 h 64"/>
                <a:gd name="T58" fmla="*/ 11401 w 66"/>
                <a:gd name="T59" fmla="*/ 55389 h 64"/>
                <a:gd name="T60" fmla="*/ 15201 w 66"/>
                <a:gd name="T61" fmla="*/ 59209 h 64"/>
                <a:gd name="T62" fmla="*/ 19002 w 66"/>
                <a:gd name="T63" fmla="*/ 40109 h 64"/>
                <a:gd name="T64" fmla="*/ 20902 w 66"/>
                <a:gd name="T65" fmla="*/ 24829 h 64"/>
                <a:gd name="T66" fmla="*/ 30403 w 66"/>
                <a:gd name="T67" fmla="*/ 9550 h 64"/>
                <a:gd name="T68" fmla="*/ 38004 w 66"/>
                <a:gd name="T69" fmla="*/ 3820 h 64"/>
                <a:gd name="T70" fmla="*/ 57005 w 66"/>
                <a:gd name="T71" fmla="*/ 0 h 64"/>
                <a:gd name="T72" fmla="*/ 74107 w 66"/>
                <a:gd name="T73" fmla="*/ 3820 h 64"/>
                <a:gd name="T74" fmla="*/ 93109 w 66"/>
                <a:gd name="T75" fmla="*/ 11460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0" name="Freeform 630"/>
            <p:cNvSpPr>
              <a:spLocks noChangeAspect="1"/>
            </p:cNvSpPr>
            <p:nvPr/>
          </p:nvSpPr>
          <p:spPr bwMode="auto">
            <a:xfrm>
              <a:off x="5425712" y="1028989"/>
              <a:ext cx="17618" cy="16766"/>
            </a:xfrm>
            <a:custGeom>
              <a:avLst/>
              <a:gdLst>
                <a:gd name="T0" fmla="*/ 3880 w 9"/>
                <a:gd name="T1" fmla="*/ 1876 h 11"/>
                <a:gd name="T2" fmla="*/ 1940 w 9"/>
                <a:gd name="T3" fmla="*/ 3752 h 11"/>
                <a:gd name="T4" fmla="*/ 15522 w 9"/>
                <a:gd name="T5" fmla="*/ 18762 h 11"/>
                <a:gd name="T6" fmla="*/ 17462 w 9"/>
                <a:gd name="T7" fmla="*/ 13133 h 11"/>
                <a:gd name="T8" fmla="*/ 11641 w 9"/>
                <a:gd name="T9" fmla="*/ 5629 h 11"/>
                <a:gd name="T10" fmla="*/ 3880 w 9"/>
                <a:gd name="T11" fmla="*/ 1876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1" name="Freeform 631"/>
            <p:cNvSpPr>
              <a:spLocks noChangeAspect="1"/>
            </p:cNvSpPr>
            <p:nvPr/>
          </p:nvSpPr>
          <p:spPr bwMode="auto">
            <a:xfrm>
              <a:off x="6232975" y="862620"/>
              <a:ext cx="6407" cy="10318"/>
            </a:xfrm>
            <a:custGeom>
              <a:avLst/>
              <a:gdLst>
                <a:gd name="T0" fmla="*/ 4233 w 3"/>
                <a:gd name="T1" fmla="*/ 7257 h 7"/>
                <a:gd name="T2" fmla="*/ 2117 w 3"/>
                <a:gd name="T3" fmla="*/ 12700 h 7"/>
                <a:gd name="T4" fmla="*/ 0 w 3"/>
                <a:gd name="T5" fmla="*/ 7257 h 7"/>
                <a:gd name="T6" fmla="*/ 2117 w 3"/>
                <a:gd name="T7" fmla="*/ 1814 h 7"/>
                <a:gd name="T8" fmla="*/ 4233 w 3"/>
                <a:gd name="T9" fmla="*/ 7257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4"/>
                  </a:moveTo>
                  <a:cubicBezTo>
                    <a:pt x="2" y="5"/>
                    <a:pt x="2" y="7"/>
                    <a:pt x="1" y="7"/>
                  </a:cubicBezTo>
                  <a:cubicBezTo>
                    <a:pt x="0" y="6"/>
                    <a:pt x="0" y="5"/>
                    <a:pt x="0" y="4"/>
                  </a:cubicBezTo>
                  <a:cubicBezTo>
                    <a:pt x="0" y="3"/>
                    <a:pt x="0" y="0"/>
                    <a:pt x="1" y="1"/>
                  </a:cubicBezTo>
                  <a:cubicBezTo>
                    <a:pt x="3" y="1"/>
                    <a:pt x="2" y="3"/>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2" name="Freeform 632"/>
            <p:cNvSpPr>
              <a:spLocks noChangeAspect="1"/>
            </p:cNvSpPr>
            <p:nvPr/>
          </p:nvSpPr>
          <p:spPr bwMode="auto">
            <a:xfrm>
              <a:off x="5896615" y="952898"/>
              <a:ext cx="9610" cy="3868"/>
            </a:xfrm>
            <a:custGeom>
              <a:avLst/>
              <a:gdLst>
                <a:gd name="T0" fmla="*/ 3810 w 5"/>
                <a:gd name="T1" fmla="*/ 4762 h 3"/>
                <a:gd name="T2" fmla="*/ 1905 w 5"/>
                <a:gd name="T3" fmla="*/ 4762 h 3"/>
                <a:gd name="T4" fmla="*/ 3810 w 5"/>
                <a:gd name="T5" fmla="*/ 1587 h 3"/>
                <a:gd name="T6" fmla="*/ 9525 w 5"/>
                <a:gd name="T7" fmla="*/ 1587 h 3"/>
                <a:gd name="T8" fmla="*/ 3810 w 5"/>
                <a:gd name="T9" fmla="*/ 476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1" y="3"/>
                    <a:pt x="1" y="3"/>
                  </a:cubicBezTo>
                  <a:cubicBezTo>
                    <a:pt x="0" y="2"/>
                    <a:pt x="1" y="1"/>
                    <a:pt x="2" y="1"/>
                  </a:cubicBezTo>
                  <a:cubicBezTo>
                    <a:pt x="3" y="1"/>
                    <a:pt x="5" y="0"/>
                    <a:pt x="5" y="1"/>
                  </a:cubicBezTo>
                  <a:cubicBezTo>
                    <a:pt x="5" y="2"/>
                    <a:pt x="3" y="3"/>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3" name="Freeform 633"/>
            <p:cNvSpPr>
              <a:spLocks noChangeAspect="1"/>
            </p:cNvSpPr>
            <p:nvPr/>
          </p:nvSpPr>
          <p:spPr bwMode="auto">
            <a:xfrm>
              <a:off x="7245257" y="2753290"/>
              <a:ext cx="6407" cy="5158"/>
            </a:xfrm>
            <a:custGeom>
              <a:avLst/>
              <a:gdLst>
                <a:gd name="T0" fmla="*/ 3175 w 4"/>
                <a:gd name="T1" fmla="*/ 4762 h 4"/>
                <a:gd name="T2" fmla="*/ 0 w 4"/>
                <a:gd name="T3" fmla="*/ 4762 h 4"/>
                <a:gd name="T4" fmla="*/ 1588 w 4"/>
                <a:gd name="T5" fmla="*/ 1588 h 4"/>
                <a:gd name="T6" fmla="*/ 4762 w 4"/>
                <a:gd name="T7" fmla="*/ 0 h 4"/>
                <a:gd name="T8" fmla="*/ 3175 w 4"/>
                <a:gd name="T9" fmla="*/ 476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0" y="2"/>
                    <a:pt x="1" y="1"/>
                  </a:cubicBezTo>
                  <a:cubicBezTo>
                    <a:pt x="2" y="1"/>
                    <a:pt x="3" y="0"/>
                    <a:pt x="3"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4" name="Freeform 634"/>
            <p:cNvSpPr>
              <a:spLocks noChangeAspect="1"/>
            </p:cNvSpPr>
            <p:nvPr/>
          </p:nvSpPr>
          <p:spPr bwMode="auto">
            <a:xfrm>
              <a:off x="5384068" y="693673"/>
              <a:ext cx="3203" cy="6449"/>
            </a:xfrm>
            <a:custGeom>
              <a:avLst/>
              <a:gdLst>
                <a:gd name="T0" fmla="*/ 3175 w 2"/>
                <a:gd name="T1" fmla="*/ 5953 h 4"/>
                <a:gd name="T2" fmla="*/ 1588 w 2"/>
                <a:gd name="T3" fmla="*/ 7938 h 4"/>
                <a:gd name="T4" fmla="*/ 0 w 2"/>
                <a:gd name="T5" fmla="*/ 3969 h 4"/>
                <a:gd name="T6" fmla="*/ 1588 w 2"/>
                <a:gd name="T7" fmla="*/ 0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1" y="4"/>
                    <a:pt x="1" y="4"/>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5" name="Freeform 635"/>
            <p:cNvSpPr>
              <a:spLocks noChangeAspect="1"/>
            </p:cNvSpPr>
            <p:nvPr/>
          </p:nvSpPr>
          <p:spPr bwMode="auto">
            <a:xfrm>
              <a:off x="5438525" y="700121"/>
              <a:ext cx="8008" cy="5158"/>
            </a:xfrm>
            <a:custGeom>
              <a:avLst/>
              <a:gdLst>
                <a:gd name="T0" fmla="*/ 5953 w 4"/>
                <a:gd name="T1" fmla="*/ 2117 h 3"/>
                <a:gd name="T2" fmla="*/ 7937 w 4"/>
                <a:gd name="T3" fmla="*/ 6350 h 3"/>
                <a:gd name="T4" fmla="*/ 3969 w 4"/>
                <a:gd name="T5" fmla="*/ 6350 h 3"/>
                <a:gd name="T6" fmla="*/ 0 w 4"/>
                <a:gd name="T7" fmla="*/ 2117 h 3"/>
                <a:gd name="T8" fmla="*/ 5953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4" y="3"/>
                  </a:cubicBezTo>
                  <a:cubicBezTo>
                    <a:pt x="4" y="3"/>
                    <a:pt x="3" y="3"/>
                    <a:pt x="2" y="3"/>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6" name="Freeform 636"/>
            <p:cNvSpPr>
              <a:spLocks noChangeAspect="1"/>
            </p:cNvSpPr>
            <p:nvPr/>
          </p:nvSpPr>
          <p:spPr bwMode="auto">
            <a:xfrm>
              <a:off x="5465755" y="693673"/>
              <a:ext cx="9610" cy="3869"/>
            </a:xfrm>
            <a:custGeom>
              <a:avLst/>
              <a:gdLst>
                <a:gd name="T0" fmla="*/ 5715 w 5"/>
                <a:gd name="T1" fmla="*/ 0 h 2"/>
                <a:gd name="T2" fmla="*/ 9525 w 5"/>
                <a:gd name="T3" fmla="*/ 2382 h 2"/>
                <a:gd name="T4" fmla="*/ 5715 w 5"/>
                <a:gd name="T5" fmla="*/ 4763 h 2"/>
                <a:gd name="T6" fmla="*/ 0 w 5"/>
                <a:gd name="T7" fmla="*/ 2382 h 2"/>
                <a:gd name="T8" fmla="*/ 571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5" y="2"/>
                    <a:pt x="3" y="2"/>
                    <a:pt x="3" y="2"/>
                  </a:cubicBezTo>
                  <a:cubicBezTo>
                    <a:pt x="2" y="2"/>
                    <a:pt x="0" y="2"/>
                    <a:pt x="0" y="1"/>
                  </a:cubicBezTo>
                  <a:cubicBezTo>
                    <a:pt x="0" y="1"/>
                    <a:pt x="2"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7" name="Freeform 637"/>
            <p:cNvSpPr>
              <a:spLocks noChangeAspect="1"/>
            </p:cNvSpPr>
            <p:nvPr/>
          </p:nvSpPr>
          <p:spPr bwMode="auto">
            <a:xfrm>
              <a:off x="5491382" y="693673"/>
              <a:ext cx="8009" cy="3869"/>
            </a:xfrm>
            <a:custGeom>
              <a:avLst/>
              <a:gdLst>
                <a:gd name="T0" fmla="*/ 3969 w 4"/>
                <a:gd name="T1" fmla="*/ 0 h 2"/>
                <a:gd name="T2" fmla="*/ 7938 w 4"/>
                <a:gd name="T3" fmla="*/ 2382 h 2"/>
                <a:gd name="T4" fmla="*/ 3969 w 4"/>
                <a:gd name="T5" fmla="*/ 4763 h 2"/>
                <a:gd name="T6" fmla="*/ 0 w 4"/>
                <a:gd name="T7" fmla="*/ 2382 h 2"/>
                <a:gd name="T8" fmla="*/ 3969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4" y="1"/>
                  </a:cubicBezTo>
                  <a:cubicBezTo>
                    <a:pt x="3" y="1"/>
                    <a:pt x="3" y="2"/>
                    <a:pt x="2" y="2"/>
                  </a:cubicBezTo>
                  <a:cubicBezTo>
                    <a:pt x="1" y="2"/>
                    <a:pt x="0" y="2"/>
                    <a:pt x="0" y="1"/>
                  </a:cubicBezTo>
                  <a:cubicBezTo>
                    <a:pt x="0"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8" name="Freeform 638"/>
            <p:cNvSpPr>
              <a:spLocks noChangeAspect="1"/>
            </p:cNvSpPr>
            <p:nvPr/>
          </p:nvSpPr>
          <p:spPr bwMode="auto">
            <a:xfrm>
              <a:off x="5864582" y="733652"/>
              <a:ext cx="17618" cy="7738"/>
            </a:xfrm>
            <a:custGeom>
              <a:avLst/>
              <a:gdLst>
                <a:gd name="T0" fmla="*/ 5821 w 9"/>
                <a:gd name="T1" fmla="*/ 7620 h 5"/>
                <a:gd name="T2" fmla="*/ 0 w 9"/>
                <a:gd name="T3" fmla="*/ 1905 h 5"/>
                <a:gd name="T4" fmla="*/ 9701 w 9"/>
                <a:gd name="T5" fmla="*/ 1905 h 5"/>
                <a:gd name="T6" fmla="*/ 17462 w 9"/>
                <a:gd name="T7" fmla="*/ 7620 h 5"/>
                <a:gd name="T8" fmla="*/ 5821 w 9"/>
                <a:gd name="T9" fmla="*/ 7620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3" y="4"/>
                  </a:moveTo>
                  <a:cubicBezTo>
                    <a:pt x="2" y="3"/>
                    <a:pt x="0" y="2"/>
                    <a:pt x="0" y="1"/>
                  </a:cubicBezTo>
                  <a:cubicBezTo>
                    <a:pt x="1" y="0"/>
                    <a:pt x="3" y="1"/>
                    <a:pt x="5" y="1"/>
                  </a:cubicBezTo>
                  <a:cubicBezTo>
                    <a:pt x="6" y="1"/>
                    <a:pt x="9" y="3"/>
                    <a:pt x="9" y="4"/>
                  </a:cubicBezTo>
                  <a:cubicBezTo>
                    <a:pt x="8" y="5"/>
                    <a:pt x="5" y="4"/>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9" name="Freeform 639"/>
            <p:cNvSpPr>
              <a:spLocks noChangeAspect="1"/>
            </p:cNvSpPr>
            <p:nvPr/>
          </p:nvSpPr>
          <p:spPr bwMode="auto">
            <a:xfrm>
              <a:off x="7823475" y="1751209"/>
              <a:ext cx="12814" cy="14187"/>
            </a:xfrm>
            <a:custGeom>
              <a:avLst/>
              <a:gdLst>
                <a:gd name="T0" fmla="*/ 5443 w 7"/>
                <a:gd name="T1" fmla="*/ 11642 h 9"/>
                <a:gd name="T2" fmla="*/ 1814 w 7"/>
                <a:gd name="T3" fmla="*/ 15523 h 9"/>
                <a:gd name="T4" fmla="*/ 3629 w 7"/>
                <a:gd name="T5" fmla="*/ 7761 h 9"/>
                <a:gd name="T6" fmla="*/ 10886 w 7"/>
                <a:gd name="T7" fmla="*/ 1940 h 9"/>
                <a:gd name="T8" fmla="*/ 5443 w 7"/>
                <a:gd name="T9" fmla="*/ 11642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3" y="6"/>
                  </a:moveTo>
                  <a:cubicBezTo>
                    <a:pt x="3" y="7"/>
                    <a:pt x="1" y="9"/>
                    <a:pt x="1" y="8"/>
                  </a:cubicBezTo>
                  <a:cubicBezTo>
                    <a:pt x="0" y="7"/>
                    <a:pt x="1" y="5"/>
                    <a:pt x="2" y="4"/>
                  </a:cubicBezTo>
                  <a:cubicBezTo>
                    <a:pt x="3" y="3"/>
                    <a:pt x="5" y="0"/>
                    <a:pt x="6" y="1"/>
                  </a:cubicBezTo>
                  <a:cubicBezTo>
                    <a:pt x="7" y="2"/>
                    <a:pt x="5" y="5"/>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0" name="Freeform 640"/>
            <p:cNvSpPr>
              <a:spLocks noChangeAspect="1"/>
            </p:cNvSpPr>
            <p:nvPr/>
          </p:nvSpPr>
          <p:spPr bwMode="auto">
            <a:xfrm>
              <a:off x="7785033" y="1777002"/>
              <a:ext cx="17619" cy="18056"/>
            </a:xfrm>
            <a:custGeom>
              <a:avLst/>
              <a:gdLst>
                <a:gd name="T0" fmla="*/ 7761 w 9"/>
                <a:gd name="T1" fmla="*/ 14143 h 11"/>
                <a:gd name="T2" fmla="*/ 0 w 9"/>
                <a:gd name="T3" fmla="*/ 20205 h 11"/>
                <a:gd name="T4" fmla="*/ 5821 w 9"/>
                <a:gd name="T5" fmla="*/ 10102 h 11"/>
                <a:gd name="T6" fmla="*/ 15523 w 9"/>
                <a:gd name="T7" fmla="*/ 2020 h 11"/>
                <a:gd name="T8" fmla="*/ 7761 w 9"/>
                <a:gd name="T9" fmla="*/ 14143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1" name="Freeform 641"/>
            <p:cNvSpPr>
              <a:spLocks noChangeAspect="1"/>
            </p:cNvSpPr>
            <p:nvPr/>
          </p:nvSpPr>
          <p:spPr bwMode="auto">
            <a:xfrm>
              <a:off x="7865119" y="1688015"/>
              <a:ext cx="6407" cy="7738"/>
            </a:xfrm>
            <a:custGeom>
              <a:avLst/>
              <a:gdLst>
                <a:gd name="T0" fmla="*/ 4233 w 3"/>
                <a:gd name="T1" fmla="*/ 7620 h 5"/>
                <a:gd name="T2" fmla="*/ 0 w 3"/>
                <a:gd name="T3" fmla="*/ 9525 h 5"/>
                <a:gd name="T4" fmla="*/ 2117 w 3"/>
                <a:gd name="T5" fmla="*/ 5715 h 5"/>
                <a:gd name="T6" fmla="*/ 4233 w 3"/>
                <a:gd name="T7" fmla="*/ 1905 h 5"/>
                <a:gd name="T8" fmla="*/ 4233 w 3"/>
                <a:gd name="T9" fmla="*/ 762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1" y="4"/>
                    <a:pt x="1" y="5"/>
                    <a:pt x="0" y="5"/>
                  </a:cubicBezTo>
                  <a:cubicBezTo>
                    <a:pt x="0" y="5"/>
                    <a:pt x="0" y="3"/>
                    <a:pt x="1" y="3"/>
                  </a:cubicBezTo>
                  <a:cubicBezTo>
                    <a:pt x="1" y="2"/>
                    <a:pt x="2" y="0"/>
                    <a:pt x="2"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2" name="Freeform 642"/>
            <p:cNvSpPr>
              <a:spLocks noChangeAspect="1"/>
            </p:cNvSpPr>
            <p:nvPr/>
          </p:nvSpPr>
          <p:spPr bwMode="auto">
            <a:xfrm>
              <a:off x="7857110" y="1704780"/>
              <a:ext cx="6407" cy="7738"/>
            </a:xfrm>
            <a:custGeom>
              <a:avLst/>
              <a:gdLst>
                <a:gd name="T0" fmla="*/ 4233 w 3"/>
                <a:gd name="T1" fmla="*/ 5715 h 5"/>
                <a:gd name="T2" fmla="*/ 0 w 3"/>
                <a:gd name="T3" fmla="*/ 7620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0" y="5"/>
                    <a:pt x="0" y="4"/>
                  </a:cubicBezTo>
                  <a:cubicBezTo>
                    <a:pt x="0" y="4"/>
                    <a:pt x="0" y="3"/>
                    <a:pt x="0"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3" name="Freeform 643"/>
            <p:cNvSpPr>
              <a:spLocks noChangeAspect="1"/>
            </p:cNvSpPr>
            <p:nvPr/>
          </p:nvSpPr>
          <p:spPr bwMode="auto">
            <a:xfrm>
              <a:off x="7144349" y="937423"/>
              <a:ext cx="14416" cy="9027"/>
            </a:xfrm>
            <a:custGeom>
              <a:avLst/>
              <a:gdLst>
                <a:gd name="T0" fmla="*/ 10206 w 7"/>
                <a:gd name="T1" fmla="*/ 5556 h 6"/>
                <a:gd name="T2" fmla="*/ 12247 w 7"/>
                <a:gd name="T3" fmla="*/ 9260 h 6"/>
                <a:gd name="T4" fmla="*/ 6123 w 7"/>
                <a:gd name="T5" fmla="*/ 7408 h 6"/>
                <a:gd name="T6" fmla="*/ 2041 w 7"/>
                <a:gd name="T7" fmla="*/ 1852 h 6"/>
                <a:gd name="T8" fmla="*/ 10206 w 7"/>
                <a:gd name="T9" fmla="*/ 5556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5" y="3"/>
                  </a:moveTo>
                  <a:cubicBezTo>
                    <a:pt x="6" y="3"/>
                    <a:pt x="7" y="5"/>
                    <a:pt x="6" y="5"/>
                  </a:cubicBezTo>
                  <a:cubicBezTo>
                    <a:pt x="6" y="6"/>
                    <a:pt x="4" y="5"/>
                    <a:pt x="3" y="4"/>
                  </a:cubicBezTo>
                  <a:cubicBezTo>
                    <a:pt x="2" y="3"/>
                    <a:pt x="0" y="2"/>
                    <a:pt x="1" y="1"/>
                  </a:cubicBezTo>
                  <a:cubicBezTo>
                    <a:pt x="2" y="0"/>
                    <a:pt x="4" y="2"/>
                    <a:pt x="5"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4" name="Freeform 644"/>
            <p:cNvSpPr>
              <a:spLocks noChangeAspect="1"/>
            </p:cNvSpPr>
            <p:nvPr/>
          </p:nvSpPr>
          <p:spPr bwMode="auto">
            <a:xfrm>
              <a:off x="6724700" y="927105"/>
              <a:ext cx="6407" cy="6448"/>
            </a:xfrm>
            <a:custGeom>
              <a:avLst/>
              <a:gdLst>
                <a:gd name="T0" fmla="*/ 4233 w 3"/>
                <a:gd name="T1" fmla="*/ 5953 h 4"/>
                <a:gd name="T2" fmla="*/ 0 w 3"/>
                <a:gd name="T3" fmla="*/ 7937 h 4"/>
                <a:gd name="T4" fmla="*/ 2117 w 3"/>
                <a:gd name="T5" fmla="*/ 3969 h 4"/>
                <a:gd name="T6" fmla="*/ 4233 w 3"/>
                <a:gd name="T7" fmla="*/ 0 h 4"/>
                <a:gd name="T8" fmla="*/ 4233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0" y="4"/>
                  </a:cubicBezTo>
                  <a:cubicBezTo>
                    <a:pt x="0" y="4"/>
                    <a:pt x="0" y="3"/>
                    <a:pt x="1"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5" name="Freeform 645"/>
            <p:cNvSpPr>
              <a:spLocks noChangeAspect="1"/>
            </p:cNvSpPr>
            <p:nvPr/>
          </p:nvSpPr>
          <p:spPr bwMode="auto">
            <a:xfrm>
              <a:off x="6623793" y="845854"/>
              <a:ext cx="9610" cy="7738"/>
            </a:xfrm>
            <a:custGeom>
              <a:avLst/>
              <a:gdLst>
                <a:gd name="T0" fmla="*/ 7620 w 5"/>
                <a:gd name="T1" fmla="*/ 3810 h 5"/>
                <a:gd name="T2" fmla="*/ 7620 w 5"/>
                <a:gd name="T3" fmla="*/ 7620 h 5"/>
                <a:gd name="T4" fmla="*/ 3810 w 5"/>
                <a:gd name="T5" fmla="*/ 5715 h 5"/>
                <a:gd name="T6" fmla="*/ 1905 w 5"/>
                <a:gd name="T7" fmla="*/ 1905 h 5"/>
                <a:gd name="T8" fmla="*/ 7620 w 5"/>
                <a:gd name="T9" fmla="*/ 381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2"/>
                  </a:moveTo>
                  <a:cubicBezTo>
                    <a:pt x="4" y="3"/>
                    <a:pt x="5" y="4"/>
                    <a:pt x="4" y="4"/>
                  </a:cubicBezTo>
                  <a:cubicBezTo>
                    <a:pt x="4" y="5"/>
                    <a:pt x="3" y="4"/>
                    <a:pt x="2" y="3"/>
                  </a:cubicBezTo>
                  <a:cubicBezTo>
                    <a:pt x="1" y="2"/>
                    <a:pt x="0" y="1"/>
                    <a:pt x="1" y="1"/>
                  </a:cubicBezTo>
                  <a:cubicBezTo>
                    <a:pt x="2" y="0"/>
                    <a:pt x="3" y="2"/>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6" name="Freeform 646"/>
            <p:cNvSpPr>
              <a:spLocks noChangeAspect="1"/>
            </p:cNvSpPr>
            <p:nvPr/>
          </p:nvSpPr>
          <p:spPr bwMode="auto">
            <a:xfrm>
              <a:off x="6013540" y="870359"/>
              <a:ext cx="8009" cy="2579"/>
            </a:xfrm>
            <a:custGeom>
              <a:avLst/>
              <a:gdLst>
                <a:gd name="T0" fmla="*/ 3969 w 4"/>
                <a:gd name="T1" fmla="*/ 3175 h 2"/>
                <a:gd name="T2" fmla="*/ 0 w 4"/>
                <a:gd name="T3" fmla="*/ 1588 h 2"/>
                <a:gd name="T4" fmla="*/ 3969 w 4"/>
                <a:gd name="T5" fmla="*/ 0 h 2"/>
                <a:gd name="T6" fmla="*/ 7938 w 4"/>
                <a:gd name="T7" fmla="*/ 0 h 2"/>
                <a:gd name="T8" fmla="*/ 3969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2"/>
                    <a:pt x="0" y="1"/>
                  </a:cubicBezTo>
                  <a:cubicBezTo>
                    <a:pt x="0" y="1"/>
                    <a:pt x="1" y="0"/>
                    <a:pt x="2" y="0"/>
                  </a:cubicBezTo>
                  <a:cubicBezTo>
                    <a:pt x="3" y="0"/>
                    <a:pt x="4" y="0"/>
                    <a:pt x="4" y="0"/>
                  </a:cubicBezTo>
                  <a:cubicBezTo>
                    <a:pt x="4" y="1"/>
                    <a:pt x="3"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7" name="Freeform 647"/>
            <p:cNvSpPr>
              <a:spLocks noChangeAspect="1"/>
            </p:cNvSpPr>
            <p:nvPr/>
          </p:nvSpPr>
          <p:spPr bwMode="auto">
            <a:xfrm>
              <a:off x="6042371" y="933552"/>
              <a:ext cx="9610" cy="3869"/>
            </a:xfrm>
            <a:custGeom>
              <a:avLst/>
              <a:gdLst>
                <a:gd name="T0" fmla="*/ 5715 w 5"/>
                <a:gd name="T1" fmla="*/ 2382 h 2"/>
                <a:gd name="T2" fmla="*/ 7620 w 5"/>
                <a:gd name="T3" fmla="*/ 4763 h 2"/>
                <a:gd name="T4" fmla="*/ 3810 w 5"/>
                <a:gd name="T5" fmla="*/ 4763 h 2"/>
                <a:gd name="T6" fmla="*/ 0 w 5"/>
                <a:gd name="T7" fmla="*/ 2382 h 2"/>
                <a:gd name="T8" fmla="*/ 5715 w 5"/>
                <a:gd name="T9" fmla="*/ 238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8" name="Freeform 648"/>
            <p:cNvSpPr>
              <a:spLocks noChangeAspect="1"/>
            </p:cNvSpPr>
            <p:nvPr/>
          </p:nvSpPr>
          <p:spPr bwMode="auto">
            <a:xfrm>
              <a:off x="6084015" y="910338"/>
              <a:ext cx="11213" cy="3869"/>
            </a:xfrm>
            <a:custGeom>
              <a:avLst/>
              <a:gdLst>
                <a:gd name="T0" fmla="*/ 7409 w 6"/>
                <a:gd name="T1" fmla="*/ 2382 h 2"/>
                <a:gd name="T2" fmla="*/ 11113 w 6"/>
                <a:gd name="T3" fmla="*/ 4763 h 2"/>
                <a:gd name="T4" fmla="*/ 5557 w 6"/>
                <a:gd name="T5" fmla="*/ 4763 h 2"/>
                <a:gd name="T6" fmla="*/ 0 w 6"/>
                <a:gd name="T7" fmla="*/ 2382 h 2"/>
                <a:gd name="T8" fmla="*/ 7409 w 6"/>
                <a:gd name="T9" fmla="*/ 2382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4" y="1"/>
                  </a:moveTo>
                  <a:cubicBezTo>
                    <a:pt x="5" y="1"/>
                    <a:pt x="6" y="1"/>
                    <a:pt x="6" y="2"/>
                  </a:cubicBezTo>
                  <a:cubicBezTo>
                    <a:pt x="5" y="2"/>
                    <a:pt x="4" y="2"/>
                    <a:pt x="3" y="2"/>
                  </a:cubicBezTo>
                  <a:cubicBezTo>
                    <a:pt x="2" y="2"/>
                    <a:pt x="0" y="2"/>
                    <a:pt x="0" y="1"/>
                  </a:cubicBezTo>
                  <a:cubicBezTo>
                    <a:pt x="1" y="0"/>
                    <a:pt x="3"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9" name="Freeform 649"/>
            <p:cNvSpPr>
              <a:spLocks noChangeAspect="1"/>
            </p:cNvSpPr>
            <p:nvPr/>
          </p:nvSpPr>
          <p:spPr bwMode="auto">
            <a:xfrm>
              <a:off x="7285299" y="2723626"/>
              <a:ext cx="9610" cy="3869"/>
            </a:xfrm>
            <a:custGeom>
              <a:avLst/>
              <a:gdLst>
                <a:gd name="T0" fmla="*/ 3810 w 5"/>
                <a:gd name="T1" fmla="*/ 4763 h 3"/>
                <a:gd name="T2" fmla="*/ 0 w 5"/>
                <a:gd name="T3" fmla="*/ 3175 h 3"/>
                <a:gd name="T4" fmla="*/ 3810 w 5"/>
                <a:gd name="T5" fmla="*/ 1588 h 3"/>
                <a:gd name="T6" fmla="*/ 9525 w 5"/>
                <a:gd name="T7" fmla="*/ 3175 h 3"/>
                <a:gd name="T8" fmla="*/ 3810 w 5"/>
                <a:gd name="T9" fmla="*/ 476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1"/>
                    <a:pt x="2" y="1"/>
                  </a:cubicBezTo>
                  <a:cubicBezTo>
                    <a:pt x="3" y="1"/>
                    <a:pt x="5" y="0"/>
                    <a:pt x="5" y="2"/>
                  </a:cubicBezTo>
                  <a:cubicBezTo>
                    <a:pt x="5" y="3"/>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0" name="Freeform 650"/>
            <p:cNvSpPr>
              <a:spLocks noChangeAspect="1"/>
            </p:cNvSpPr>
            <p:nvPr/>
          </p:nvSpPr>
          <p:spPr bwMode="auto">
            <a:xfrm>
              <a:off x="7266078" y="2737813"/>
              <a:ext cx="4806" cy="2579"/>
            </a:xfrm>
            <a:custGeom>
              <a:avLst/>
              <a:gdLst>
                <a:gd name="T0" fmla="*/ 1588 w 3"/>
                <a:gd name="T1" fmla="*/ 3175 h 2"/>
                <a:gd name="T2" fmla="*/ 0 w 3"/>
                <a:gd name="T3" fmla="*/ 1588 h 2"/>
                <a:gd name="T4" fmla="*/ 1588 w 3"/>
                <a:gd name="T5" fmla="*/ 0 h 2"/>
                <a:gd name="T6" fmla="*/ 4763 w 3"/>
                <a:gd name="T7" fmla="*/ 1588 h 2"/>
                <a:gd name="T8" fmla="*/ 1588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1" name="Freeform 651"/>
            <p:cNvSpPr>
              <a:spLocks noChangeAspect="1"/>
            </p:cNvSpPr>
            <p:nvPr/>
          </p:nvSpPr>
          <p:spPr bwMode="auto">
            <a:xfrm>
              <a:off x="5424110" y="706569"/>
              <a:ext cx="4806" cy="6449"/>
            </a:xfrm>
            <a:custGeom>
              <a:avLst/>
              <a:gdLst>
                <a:gd name="T0" fmla="*/ 3175 w 3"/>
                <a:gd name="T1" fmla="*/ 5953 h 4"/>
                <a:gd name="T2" fmla="*/ 1588 w 3"/>
                <a:gd name="T3" fmla="*/ 5953 h 4"/>
                <a:gd name="T4" fmla="*/ 1588 w 3"/>
                <a:gd name="T5" fmla="*/ 3969 h 4"/>
                <a:gd name="T6" fmla="*/ 3175 w 3"/>
                <a:gd name="T7" fmla="*/ 1985 h 4"/>
                <a:gd name="T8" fmla="*/ 3175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3"/>
                  </a:cubicBezTo>
                  <a:cubicBezTo>
                    <a:pt x="0" y="3"/>
                    <a:pt x="0" y="2"/>
                    <a:pt x="1" y="2"/>
                  </a:cubicBezTo>
                  <a:cubicBezTo>
                    <a:pt x="1" y="1"/>
                    <a:pt x="2" y="0"/>
                    <a:pt x="2" y="1"/>
                  </a:cubicBezTo>
                  <a:cubicBezTo>
                    <a:pt x="3" y="1"/>
                    <a:pt x="3"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2" name="Freeform 652"/>
            <p:cNvSpPr>
              <a:spLocks noChangeAspect="1"/>
            </p:cNvSpPr>
            <p:nvPr/>
          </p:nvSpPr>
          <p:spPr bwMode="auto">
            <a:xfrm>
              <a:off x="7403825" y="1534543"/>
              <a:ext cx="8009" cy="5158"/>
            </a:xfrm>
            <a:custGeom>
              <a:avLst/>
              <a:gdLst>
                <a:gd name="T0" fmla="*/ 7938 w 4"/>
                <a:gd name="T1" fmla="*/ 4233 h 3"/>
                <a:gd name="T2" fmla="*/ 3969 w 4"/>
                <a:gd name="T3" fmla="*/ 6350 h 3"/>
                <a:gd name="T4" fmla="*/ 0 w 4"/>
                <a:gd name="T5" fmla="*/ 4233 h 3"/>
                <a:gd name="T6" fmla="*/ 3969 w 4"/>
                <a:gd name="T7" fmla="*/ 0 h 3"/>
                <a:gd name="T8" fmla="*/ 7938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3" name="Freeform 653"/>
            <p:cNvSpPr>
              <a:spLocks noChangeAspect="1"/>
            </p:cNvSpPr>
            <p:nvPr/>
          </p:nvSpPr>
          <p:spPr bwMode="auto">
            <a:xfrm>
              <a:off x="7717761" y="1053493"/>
              <a:ext cx="8009" cy="9027"/>
            </a:xfrm>
            <a:custGeom>
              <a:avLst/>
              <a:gdLst>
                <a:gd name="T0" fmla="*/ 7938 w 4"/>
                <a:gd name="T1" fmla="*/ 5556 h 6"/>
                <a:gd name="T2" fmla="*/ 5953 w 4"/>
                <a:gd name="T3" fmla="*/ 11112 h 6"/>
                <a:gd name="T4" fmla="*/ 1985 w 4"/>
                <a:gd name="T5" fmla="*/ 7408 h 6"/>
                <a:gd name="T6" fmla="*/ 1985 w 4"/>
                <a:gd name="T7" fmla="*/ 0 h 6"/>
                <a:gd name="T8" fmla="*/ 7938 w 4"/>
                <a:gd name="T9" fmla="*/ 555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4" y="5"/>
                    <a:pt x="3" y="6"/>
                  </a:cubicBezTo>
                  <a:cubicBezTo>
                    <a:pt x="2" y="6"/>
                    <a:pt x="1" y="4"/>
                    <a:pt x="1" y="4"/>
                  </a:cubicBezTo>
                  <a:cubicBezTo>
                    <a:pt x="1" y="3"/>
                    <a:pt x="0" y="0"/>
                    <a:pt x="1" y="0"/>
                  </a:cubicBezTo>
                  <a:cubicBezTo>
                    <a:pt x="3" y="0"/>
                    <a:pt x="3" y="2"/>
                    <a:pt x="4"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4" name="Oval 654"/>
            <p:cNvSpPr>
              <a:spLocks noChangeAspect="1" noChangeArrowheads="1"/>
            </p:cNvSpPr>
            <p:nvPr/>
          </p:nvSpPr>
          <p:spPr bwMode="auto">
            <a:xfrm>
              <a:off x="7458283" y="863909"/>
              <a:ext cx="3203"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5" name="Freeform 655"/>
            <p:cNvSpPr>
              <a:spLocks noChangeAspect="1"/>
            </p:cNvSpPr>
            <p:nvPr/>
          </p:nvSpPr>
          <p:spPr bwMode="auto">
            <a:xfrm>
              <a:off x="6516477" y="818771"/>
              <a:ext cx="4806" cy="5158"/>
            </a:xfrm>
            <a:custGeom>
              <a:avLst/>
              <a:gdLst>
                <a:gd name="T0" fmla="*/ 4763 w 3"/>
                <a:gd name="T1" fmla="*/ 4233 h 3"/>
                <a:gd name="T2" fmla="*/ 3175 w 3"/>
                <a:gd name="T3" fmla="*/ 6350 h 3"/>
                <a:gd name="T4" fmla="*/ 0 w 3"/>
                <a:gd name="T5" fmla="*/ 2117 h 3"/>
                <a:gd name="T6" fmla="*/ 3175 w 3"/>
                <a:gd name="T7" fmla="*/ 0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0" y="1"/>
                  </a:cubicBezTo>
                  <a:cubicBezTo>
                    <a:pt x="0" y="1"/>
                    <a:pt x="1" y="0"/>
                    <a:pt x="2"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6" name="Freeform 656"/>
            <p:cNvSpPr>
              <a:spLocks noChangeAspect="1"/>
            </p:cNvSpPr>
            <p:nvPr/>
          </p:nvSpPr>
          <p:spPr bwMode="auto">
            <a:xfrm>
              <a:off x="6151287" y="821351"/>
              <a:ext cx="3203" cy="3868"/>
            </a:xfrm>
            <a:custGeom>
              <a:avLst/>
              <a:gdLst>
                <a:gd name="T0" fmla="*/ 3175 w 2"/>
                <a:gd name="T1" fmla="*/ 3175 h 3"/>
                <a:gd name="T2" fmla="*/ 1588 w 2"/>
                <a:gd name="T3" fmla="*/ 4762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7" name="Freeform 657"/>
            <p:cNvSpPr>
              <a:spLocks noChangeAspect="1"/>
            </p:cNvSpPr>
            <p:nvPr/>
          </p:nvSpPr>
          <p:spPr bwMode="auto">
            <a:xfrm>
              <a:off x="6100032" y="921946"/>
              <a:ext cx="4806" cy="3868"/>
            </a:xfrm>
            <a:custGeom>
              <a:avLst/>
              <a:gdLst>
                <a:gd name="T0" fmla="*/ 2382 w 2"/>
                <a:gd name="T1" fmla="*/ 3175 h 3"/>
                <a:gd name="T2" fmla="*/ 0 w 2"/>
                <a:gd name="T3" fmla="*/ 4762 h 3"/>
                <a:gd name="T4" fmla="*/ 0 w 2"/>
                <a:gd name="T5" fmla="*/ 3175 h 3"/>
                <a:gd name="T6" fmla="*/ 2382 w 2"/>
                <a:gd name="T7" fmla="*/ 0 h 3"/>
                <a:gd name="T8" fmla="*/ 238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2"/>
                  </a:cubicBezTo>
                  <a:cubicBezTo>
                    <a:pt x="0" y="1"/>
                    <a:pt x="0" y="0"/>
                    <a:pt x="1" y="0"/>
                  </a:cubicBezTo>
                  <a:cubicBezTo>
                    <a:pt x="2" y="0"/>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8" name="Freeform 658"/>
            <p:cNvSpPr>
              <a:spLocks noChangeAspect="1"/>
            </p:cNvSpPr>
            <p:nvPr/>
          </p:nvSpPr>
          <p:spPr bwMode="auto">
            <a:xfrm>
              <a:off x="6090422" y="919367"/>
              <a:ext cx="6407" cy="5158"/>
            </a:xfrm>
            <a:custGeom>
              <a:avLst/>
              <a:gdLst>
                <a:gd name="T0" fmla="*/ 6350 w 3"/>
                <a:gd name="T1" fmla="*/ 4233 h 3"/>
                <a:gd name="T2" fmla="*/ 4233 w 3"/>
                <a:gd name="T3" fmla="*/ 6350 h 3"/>
                <a:gd name="T4" fmla="*/ 2117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1" y="2"/>
                  </a:cubicBezTo>
                  <a:cubicBezTo>
                    <a:pt x="1" y="1"/>
                    <a:pt x="1" y="0"/>
                    <a:pt x="2"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9" name="Freeform 659"/>
            <p:cNvSpPr>
              <a:spLocks noChangeAspect="1"/>
            </p:cNvSpPr>
            <p:nvPr/>
          </p:nvSpPr>
          <p:spPr bwMode="auto">
            <a:xfrm>
              <a:off x="5752462" y="1096052"/>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0" name="Freeform 660"/>
            <p:cNvSpPr>
              <a:spLocks noChangeAspect="1"/>
            </p:cNvSpPr>
            <p:nvPr/>
          </p:nvSpPr>
          <p:spPr bwMode="auto">
            <a:xfrm>
              <a:off x="7171579" y="2706861"/>
              <a:ext cx="6407" cy="3868"/>
            </a:xfrm>
            <a:custGeom>
              <a:avLst/>
              <a:gdLst>
                <a:gd name="T0" fmla="*/ 2117 w 3"/>
                <a:gd name="T1" fmla="*/ 3175 h 3"/>
                <a:gd name="T2" fmla="*/ 0 w 3"/>
                <a:gd name="T3" fmla="*/ 3175 h 3"/>
                <a:gd name="T4" fmla="*/ 2117 w 3"/>
                <a:gd name="T5" fmla="*/ 1587 h 3"/>
                <a:gd name="T6" fmla="*/ 4233 w 3"/>
                <a:gd name="T7" fmla="*/ 1587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2"/>
                    <a:pt x="0" y="3"/>
                    <a:pt x="0" y="2"/>
                  </a:cubicBezTo>
                  <a:cubicBezTo>
                    <a:pt x="0" y="1"/>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1" name="Freeform 661"/>
            <p:cNvSpPr>
              <a:spLocks noChangeAspect="1"/>
            </p:cNvSpPr>
            <p:nvPr/>
          </p:nvSpPr>
          <p:spPr bwMode="auto">
            <a:xfrm>
              <a:off x="5198269" y="3972036"/>
              <a:ext cx="4805" cy="5158"/>
            </a:xfrm>
            <a:custGeom>
              <a:avLst/>
              <a:gdLst>
                <a:gd name="T0" fmla="*/ 2381 w 2"/>
                <a:gd name="T1" fmla="*/ 4233 h 3"/>
                <a:gd name="T2" fmla="*/ 0 w 2"/>
                <a:gd name="T3" fmla="*/ 4233 h 3"/>
                <a:gd name="T4" fmla="*/ 2381 w 2"/>
                <a:gd name="T5" fmla="*/ 2117 h 3"/>
                <a:gd name="T6" fmla="*/ 4762 w 2"/>
                <a:gd name="T7" fmla="*/ 2117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1"/>
                    <a:pt x="0" y="1"/>
                    <a:pt x="1" y="1"/>
                  </a:cubicBezTo>
                  <a:cubicBezTo>
                    <a:pt x="1" y="1"/>
                    <a:pt x="2" y="0"/>
                    <a:pt x="2" y="1"/>
                  </a:cubicBezTo>
                  <a:cubicBezTo>
                    <a:pt x="2" y="2"/>
                    <a:pt x="1"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2" name="Freeform 662"/>
            <p:cNvSpPr>
              <a:spLocks noChangeAspect="1"/>
            </p:cNvSpPr>
            <p:nvPr/>
          </p:nvSpPr>
          <p:spPr bwMode="auto">
            <a:xfrm>
              <a:off x="5311990" y="715597"/>
              <a:ext cx="1602" cy="2579"/>
            </a:xfrm>
            <a:custGeom>
              <a:avLst/>
              <a:gdLst>
                <a:gd name="T0" fmla="*/ 1588 w 1"/>
                <a:gd name="T1" fmla="*/ 1588 h 2"/>
                <a:gd name="T2" fmla="*/ 0 w 1"/>
                <a:gd name="T3" fmla="*/ 3175 h 2"/>
                <a:gd name="T4" fmla="*/ 0 w 1"/>
                <a:gd name="T5" fmla="*/ 1588 h 2"/>
                <a:gd name="T6" fmla="*/ 0 w 1"/>
                <a:gd name="T7" fmla="*/ 0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3" name="Freeform 663"/>
            <p:cNvSpPr>
              <a:spLocks noChangeAspect="1"/>
            </p:cNvSpPr>
            <p:nvPr/>
          </p:nvSpPr>
          <p:spPr bwMode="auto">
            <a:xfrm>
              <a:off x="5404890" y="707859"/>
              <a:ext cx="1602" cy="5158"/>
            </a:xfrm>
            <a:custGeom>
              <a:avLst/>
              <a:gdLst>
                <a:gd name="T0" fmla="*/ 1588 w 1"/>
                <a:gd name="T1" fmla="*/ 4233 h 3"/>
                <a:gd name="T2" fmla="*/ 0 w 1"/>
                <a:gd name="T3" fmla="*/ 4233 h 3"/>
                <a:gd name="T4" fmla="*/ 0 w 1"/>
                <a:gd name="T5" fmla="*/ 2117 h 3"/>
                <a:gd name="T6" fmla="*/ 1588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4" name="Freeform 664"/>
            <p:cNvSpPr>
              <a:spLocks noChangeAspect="1"/>
            </p:cNvSpPr>
            <p:nvPr/>
          </p:nvSpPr>
          <p:spPr bwMode="auto">
            <a:xfrm>
              <a:off x="5424110" y="70141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5" name="Freeform 665"/>
            <p:cNvSpPr>
              <a:spLocks noChangeAspect="1"/>
            </p:cNvSpPr>
            <p:nvPr/>
          </p:nvSpPr>
          <p:spPr bwMode="auto">
            <a:xfrm>
              <a:off x="5416102" y="697542"/>
              <a:ext cx="3203" cy="2579"/>
            </a:xfrm>
            <a:custGeom>
              <a:avLst/>
              <a:gdLst>
                <a:gd name="T0" fmla="*/ 3175 w 2"/>
                <a:gd name="T1" fmla="*/ 1588 h 2"/>
                <a:gd name="T2" fmla="*/ 3175 w 2"/>
                <a:gd name="T3" fmla="*/ 3175 h 2"/>
                <a:gd name="T4" fmla="*/ 1588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6" name="Freeform 666"/>
            <p:cNvSpPr>
              <a:spLocks noChangeAspect="1"/>
            </p:cNvSpPr>
            <p:nvPr/>
          </p:nvSpPr>
          <p:spPr bwMode="auto">
            <a:xfrm>
              <a:off x="5424110" y="694963"/>
              <a:ext cx="4806" cy="3868"/>
            </a:xfrm>
            <a:custGeom>
              <a:avLst/>
              <a:gdLst>
                <a:gd name="T0" fmla="*/ 3175 w 3"/>
                <a:gd name="T1" fmla="*/ 2381 h 2"/>
                <a:gd name="T2" fmla="*/ 3175 w 3"/>
                <a:gd name="T3" fmla="*/ 4762 h 2"/>
                <a:gd name="T4" fmla="*/ 1588 w 3"/>
                <a:gd name="T5" fmla="*/ 4762 h 2"/>
                <a:gd name="T6" fmla="*/ 1588 w 3"/>
                <a:gd name="T7" fmla="*/ 0 h 2"/>
                <a:gd name="T8" fmla="*/ 3175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2"/>
                  </a:cubicBezTo>
                  <a:cubicBezTo>
                    <a:pt x="1" y="1"/>
                    <a:pt x="0" y="0"/>
                    <a:pt x="1" y="0"/>
                  </a:cubicBezTo>
                  <a:cubicBezTo>
                    <a:pt x="2"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7" name="Freeform 667"/>
            <p:cNvSpPr>
              <a:spLocks noChangeAspect="1"/>
            </p:cNvSpPr>
            <p:nvPr/>
          </p:nvSpPr>
          <p:spPr bwMode="auto">
            <a:xfrm>
              <a:off x="5529824" y="670459"/>
              <a:ext cx="4806" cy="5158"/>
            </a:xfrm>
            <a:custGeom>
              <a:avLst/>
              <a:gdLst>
                <a:gd name="T0" fmla="*/ 3175 w 3"/>
                <a:gd name="T1" fmla="*/ 2117 h 3"/>
                <a:gd name="T2" fmla="*/ 3175 w 3"/>
                <a:gd name="T3" fmla="*/ 4233 h 3"/>
                <a:gd name="T4" fmla="*/ 1588 w 3"/>
                <a:gd name="T5" fmla="*/ 4233 h 3"/>
                <a:gd name="T6" fmla="*/ 1588 w 3"/>
                <a:gd name="T7" fmla="*/ 0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1"/>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8" name="Freeform 668"/>
            <p:cNvSpPr>
              <a:spLocks noChangeAspect="1"/>
            </p:cNvSpPr>
            <p:nvPr/>
          </p:nvSpPr>
          <p:spPr bwMode="auto">
            <a:xfrm>
              <a:off x="5557052" y="661431"/>
              <a:ext cx="4805" cy="2579"/>
            </a:xfrm>
            <a:custGeom>
              <a:avLst/>
              <a:gdLst>
                <a:gd name="T0" fmla="*/ 3175 w 3"/>
                <a:gd name="T1" fmla="*/ 3175 h 2"/>
                <a:gd name="T2" fmla="*/ 1587 w 3"/>
                <a:gd name="T3" fmla="*/ 3175 h 2"/>
                <a:gd name="T4" fmla="*/ 1587 w 3"/>
                <a:gd name="T5" fmla="*/ 1588 h 2"/>
                <a:gd name="T6" fmla="*/ 3175 w 3"/>
                <a:gd name="T7" fmla="*/ 0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0" y="1"/>
                    <a:pt x="1" y="1"/>
                  </a:cubicBezTo>
                  <a:cubicBezTo>
                    <a:pt x="1" y="0"/>
                    <a:pt x="2" y="0"/>
                    <a:pt x="2" y="0"/>
                  </a:cubicBezTo>
                  <a:cubicBezTo>
                    <a:pt x="3"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9" name="Freeform 669"/>
            <p:cNvSpPr>
              <a:spLocks noChangeAspect="1"/>
            </p:cNvSpPr>
            <p:nvPr/>
          </p:nvSpPr>
          <p:spPr bwMode="auto">
            <a:xfrm>
              <a:off x="5412898" y="701410"/>
              <a:ext cx="3203" cy="5158"/>
            </a:xfrm>
            <a:custGeom>
              <a:avLst/>
              <a:gdLst>
                <a:gd name="T0" fmla="*/ 3175 w 2"/>
                <a:gd name="T1" fmla="*/ 6350 h 3"/>
                <a:gd name="T2" fmla="*/ 1588 w 2"/>
                <a:gd name="T3" fmla="*/ 6350 h 3"/>
                <a:gd name="T4" fmla="*/ 1588 w 2"/>
                <a:gd name="T5" fmla="*/ 4233 h 3"/>
                <a:gd name="T6" fmla="*/ 3175 w 2"/>
                <a:gd name="T7" fmla="*/ 2117 h 3"/>
                <a:gd name="T8" fmla="*/ 3175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3"/>
                  </a:moveTo>
                  <a:cubicBezTo>
                    <a:pt x="1" y="3"/>
                    <a:pt x="1" y="3"/>
                    <a:pt x="1" y="3"/>
                  </a:cubicBezTo>
                  <a:cubicBezTo>
                    <a:pt x="0" y="3"/>
                    <a:pt x="0" y="2"/>
                    <a:pt x="1" y="2"/>
                  </a:cubicBezTo>
                  <a:cubicBezTo>
                    <a:pt x="1" y="1"/>
                    <a:pt x="1" y="0"/>
                    <a:pt x="2" y="1"/>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0" name="Freeform 670"/>
            <p:cNvSpPr>
              <a:spLocks noChangeAspect="1"/>
            </p:cNvSpPr>
            <p:nvPr/>
          </p:nvSpPr>
          <p:spPr bwMode="auto">
            <a:xfrm>
              <a:off x="5502595" y="723335"/>
              <a:ext cx="6407" cy="2579"/>
            </a:xfrm>
            <a:custGeom>
              <a:avLst/>
              <a:gdLst>
                <a:gd name="T0" fmla="*/ 4233 w 3"/>
                <a:gd name="T1" fmla="*/ 1588 h 2"/>
                <a:gd name="T2" fmla="*/ 6350 w 3"/>
                <a:gd name="T3" fmla="*/ 3175 h 2"/>
                <a:gd name="T4" fmla="*/ 2117 w 3"/>
                <a:gd name="T5" fmla="*/ 3175 h 2"/>
                <a:gd name="T6" fmla="*/ 2117 w 3"/>
                <a:gd name="T7" fmla="*/ 0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3" y="2"/>
                  </a:cubicBezTo>
                  <a:cubicBezTo>
                    <a:pt x="2" y="2"/>
                    <a:pt x="2" y="2"/>
                    <a:pt x="1" y="2"/>
                  </a:cubicBezTo>
                  <a:cubicBezTo>
                    <a:pt x="1" y="2"/>
                    <a:pt x="0" y="1"/>
                    <a:pt x="1"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1" name="Freeform 671"/>
            <p:cNvSpPr>
              <a:spLocks noChangeAspect="1"/>
            </p:cNvSpPr>
            <p:nvPr/>
          </p:nvSpPr>
          <p:spPr bwMode="auto">
            <a:xfrm>
              <a:off x="5521814" y="713017"/>
              <a:ext cx="6407" cy="2579"/>
            </a:xfrm>
            <a:custGeom>
              <a:avLst/>
              <a:gdLst>
                <a:gd name="T0" fmla="*/ 4233 w 3"/>
                <a:gd name="T1" fmla="*/ 0 h 2"/>
                <a:gd name="T2" fmla="*/ 4233 w 3"/>
                <a:gd name="T3" fmla="*/ 3175 h 2"/>
                <a:gd name="T4" fmla="*/ 2117 w 3"/>
                <a:gd name="T5" fmla="*/ 3175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2" y="2"/>
                  </a:cubicBezTo>
                  <a:cubicBezTo>
                    <a:pt x="2" y="2"/>
                    <a:pt x="1" y="2"/>
                    <a:pt x="1" y="2"/>
                  </a:cubicBezTo>
                  <a:cubicBezTo>
                    <a:pt x="1" y="1"/>
                    <a:pt x="0" y="1"/>
                    <a:pt x="0" y="0"/>
                  </a:cubicBezTo>
                  <a:cubicBezTo>
                    <a:pt x="1"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2" name="Freeform 672"/>
            <p:cNvSpPr>
              <a:spLocks noChangeAspect="1"/>
            </p:cNvSpPr>
            <p:nvPr/>
          </p:nvSpPr>
          <p:spPr bwMode="auto">
            <a:xfrm>
              <a:off x="7889145" y="165319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3" name="Freeform 673"/>
            <p:cNvSpPr>
              <a:spLocks noChangeAspect="1"/>
            </p:cNvSpPr>
            <p:nvPr/>
          </p:nvSpPr>
          <p:spPr bwMode="auto">
            <a:xfrm>
              <a:off x="7844296" y="1735733"/>
              <a:ext cx="1601" cy="2579"/>
            </a:xfrm>
            <a:custGeom>
              <a:avLst/>
              <a:gdLst>
                <a:gd name="T0" fmla="*/ 1587 w 1"/>
                <a:gd name="T1" fmla="*/ 1588 h 2"/>
                <a:gd name="T2" fmla="*/ 0 w 1"/>
                <a:gd name="T3" fmla="*/ 3175 h 2"/>
                <a:gd name="T4" fmla="*/ 0 w 1"/>
                <a:gd name="T5" fmla="*/ 1588 h 2"/>
                <a:gd name="T6" fmla="*/ 0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4" name="Freeform 674"/>
            <p:cNvSpPr>
              <a:spLocks noChangeAspect="1"/>
            </p:cNvSpPr>
            <p:nvPr/>
          </p:nvSpPr>
          <p:spPr bwMode="auto">
            <a:xfrm>
              <a:off x="7764212" y="1067679"/>
              <a:ext cx="3203" cy="3869"/>
            </a:xfrm>
            <a:custGeom>
              <a:avLst/>
              <a:gdLst>
                <a:gd name="T0" fmla="*/ 1588 w 2"/>
                <a:gd name="T1" fmla="*/ 3175 h 3"/>
                <a:gd name="T2" fmla="*/ 1588 w 2"/>
                <a:gd name="T3" fmla="*/ 4763 h 3"/>
                <a:gd name="T4" fmla="*/ 0 w 2"/>
                <a:gd name="T5" fmla="*/ 3175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5" name="Freeform 675"/>
            <p:cNvSpPr>
              <a:spLocks noChangeAspect="1"/>
            </p:cNvSpPr>
            <p:nvPr/>
          </p:nvSpPr>
          <p:spPr bwMode="auto">
            <a:xfrm>
              <a:off x="7741788" y="1057361"/>
              <a:ext cx="3203" cy="5158"/>
            </a:xfrm>
            <a:custGeom>
              <a:avLst/>
              <a:gdLst>
                <a:gd name="T0" fmla="*/ 3175 w 1"/>
                <a:gd name="T1" fmla="*/ 4233 h 3"/>
                <a:gd name="T2" fmla="*/ 0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2"/>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6" name="Freeform 676"/>
            <p:cNvSpPr>
              <a:spLocks noChangeAspect="1"/>
            </p:cNvSpPr>
            <p:nvPr/>
          </p:nvSpPr>
          <p:spPr bwMode="auto">
            <a:xfrm>
              <a:off x="7738584" y="1049623"/>
              <a:ext cx="6407" cy="5158"/>
            </a:xfrm>
            <a:custGeom>
              <a:avLst/>
              <a:gdLst>
                <a:gd name="T0" fmla="*/ 4233 w 3"/>
                <a:gd name="T1" fmla="*/ 4233 h 3"/>
                <a:gd name="T2" fmla="*/ 2117 w 3"/>
                <a:gd name="T3" fmla="*/ 6350 h 3"/>
                <a:gd name="T4" fmla="*/ 0 w 3"/>
                <a:gd name="T5" fmla="*/ 4233 h 3"/>
                <a:gd name="T6" fmla="*/ 2117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2" y="3"/>
                    <a:pt x="1" y="3"/>
                  </a:cubicBezTo>
                  <a:cubicBezTo>
                    <a:pt x="0" y="3"/>
                    <a:pt x="0" y="2"/>
                    <a:pt x="0" y="2"/>
                  </a:cubicBezTo>
                  <a:cubicBezTo>
                    <a:pt x="0" y="1"/>
                    <a:pt x="0" y="0"/>
                    <a:pt x="1" y="1"/>
                  </a:cubicBezTo>
                  <a:cubicBezTo>
                    <a:pt x="3"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7" name="Freeform 677"/>
            <p:cNvSpPr>
              <a:spLocks noChangeAspect="1"/>
            </p:cNvSpPr>
            <p:nvPr/>
          </p:nvSpPr>
          <p:spPr bwMode="auto">
            <a:xfrm>
              <a:off x="7338156" y="857462"/>
              <a:ext cx="3203" cy="5158"/>
            </a:xfrm>
            <a:custGeom>
              <a:avLst/>
              <a:gdLst>
                <a:gd name="T0" fmla="*/ 3175 w 1"/>
                <a:gd name="T1" fmla="*/ 4233 h 3"/>
                <a:gd name="T2" fmla="*/ 3175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8" name="Freeform 678"/>
            <p:cNvSpPr>
              <a:spLocks noChangeAspect="1"/>
            </p:cNvSpPr>
            <p:nvPr/>
          </p:nvSpPr>
          <p:spPr bwMode="auto">
            <a:xfrm>
              <a:off x="6646217" y="854883"/>
              <a:ext cx="4805" cy="2579"/>
            </a:xfrm>
            <a:custGeom>
              <a:avLst/>
              <a:gdLst>
                <a:gd name="T0" fmla="*/ 4762 w 2"/>
                <a:gd name="T1" fmla="*/ 1588 h 2"/>
                <a:gd name="T2" fmla="*/ 4762 w 2"/>
                <a:gd name="T3" fmla="*/ 3175 h 2"/>
                <a:gd name="T4" fmla="*/ 2381 w 2"/>
                <a:gd name="T5" fmla="*/ 3175 h 2"/>
                <a:gd name="T6" fmla="*/ 0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2" y="2"/>
                    <a:pt x="1" y="2"/>
                    <a:pt x="1" y="2"/>
                  </a:cubicBezTo>
                  <a:cubicBezTo>
                    <a:pt x="0" y="1"/>
                    <a:pt x="0" y="0"/>
                    <a:pt x="0" y="0"/>
                  </a:cubicBezTo>
                  <a:cubicBezTo>
                    <a:pt x="1" y="0"/>
                    <a:pt x="1"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9" name="Freeform 679"/>
            <p:cNvSpPr>
              <a:spLocks noChangeAspect="1"/>
            </p:cNvSpPr>
            <p:nvPr/>
          </p:nvSpPr>
          <p:spPr bwMode="auto">
            <a:xfrm>
              <a:off x="6173711" y="738811"/>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0" name="Freeform 680"/>
            <p:cNvSpPr>
              <a:spLocks noChangeAspect="1"/>
            </p:cNvSpPr>
            <p:nvPr/>
          </p:nvSpPr>
          <p:spPr bwMode="auto">
            <a:xfrm>
              <a:off x="6162500" y="729783"/>
              <a:ext cx="4805" cy="2579"/>
            </a:xfrm>
            <a:custGeom>
              <a:avLst/>
              <a:gdLst>
                <a:gd name="T0" fmla="*/ 3175 w 3"/>
                <a:gd name="T1" fmla="*/ 0 h 2"/>
                <a:gd name="T2" fmla="*/ 3175 w 3"/>
                <a:gd name="T3" fmla="*/ 1588 h 2"/>
                <a:gd name="T4" fmla="*/ 1587 w 3"/>
                <a:gd name="T5" fmla="*/ 3175 h 2"/>
                <a:gd name="T6" fmla="*/ 0 w 3"/>
                <a:gd name="T7" fmla="*/ 1588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1" name="Freeform 681"/>
            <p:cNvSpPr>
              <a:spLocks noChangeAspect="1"/>
            </p:cNvSpPr>
            <p:nvPr/>
          </p:nvSpPr>
          <p:spPr bwMode="auto">
            <a:xfrm>
              <a:off x="6186525" y="740101"/>
              <a:ext cx="6407" cy="3869"/>
            </a:xfrm>
            <a:custGeom>
              <a:avLst/>
              <a:gdLst>
                <a:gd name="T0" fmla="*/ 4233 w 3"/>
                <a:gd name="T1" fmla="*/ 0 h 2"/>
                <a:gd name="T2" fmla="*/ 6350 w 3"/>
                <a:gd name="T3" fmla="*/ 2382 h 2"/>
                <a:gd name="T4" fmla="*/ 4233 w 3"/>
                <a:gd name="T5" fmla="*/ 4763 h 2"/>
                <a:gd name="T6" fmla="*/ 0 w 3"/>
                <a:gd name="T7" fmla="*/ 2382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1"/>
                    <a:pt x="0" y="1"/>
                    <a:pt x="0" y="1"/>
                  </a:cubicBezTo>
                  <a:cubicBezTo>
                    <a:pt x="1"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2" name="Freeform 682"/>
            <p:cNvSpPr>
              <a:spLocks noChangeAspect="1"/>
            </p:cNvSpPr>
            <p:nvPr/>
          </p:nvSpPr>
          <p:spPr bwMode="auto">
            <a:xfrm>
              <a:off x="6500460" y="809743"/>
              <a:ext cx="3203" cy="5158"/>
            </a:xfrm>
            <a:custGeom>
              <a:avLst/>
              <a:gdLst>
                <a:gd name="T0" fmla="*/ 1588 w 2"/>
                <a:gd name="T1" fmla="*/ 6350 h 3"/>
                <a:gd name="T2" fmla="*/ 0 w 2"/>
                <a:gd name="T3" fmla="*/ 6350 h 3"/>
                <a:gd name="T4" fmla="*/ 0 w 2"/>
                <a:gd name="T5" fmla="*/ 4233 h 3"/>
                <a:gd name="T6" fmla="*/ 3175 w 2"/>
                <a:gd name="T7" fmla="*/ 2117 h 3"/>
                <a:gd name="T8" fmla="*/ 1588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0" y="3"/>
                    <a:pt x="0" y="3"/>
                  </a:cubicBezTo>
                  <a:cubicBezTo>
                    <a:pt x="0" y="2"/>
                    <a:pt x="0" y="2"/>
                    <a:pt x="0" y="2"/>
                  </a:cubicBezTo>
                  <a:cubicBezTo>
                    <a:pt x="0" y="1"/>
                    <a:pt x="1" y="0"/>
                    <a:pt x="2" y="1"/>
                  </a:cubicBezTo>
                  <a:cubicBezTo>
                    <a:pt x="2" y="1"/>
                    <a:pt x="1"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3" name="Freeform 683"/>
            <p:cNvSpPr>
              <a:spLocks noChangeAspect="1"/>
            </p:cNvSpPr>
            <p:nvPr/>
          </p:nvSpPr>
          <p:spPr bwMode="auto">
            <a:xfrm>
              <a:off x="6192932" y="802005"/>
              <a:ext cx="1602" cy="3869"/>
            </a:xfrm>
            <a:custGeom>
              <a:avLst/>
              <a:gdLst>
                <a:gd name="T0" fmla="*/ 1588 w 1"/>
                <a:gd name="T1" fmla="*/ 2382 h 2"/>
                <a:gd name="T2" fmla="*/ 0 w 1"/>
                <a:gd name="T3" fmla="*/ 4763 h 2"/>
                <a:gd name="T4" fmla="*/ 0 w 1"/>
                <a:gd name="T5" fmla="*/ 2382 h 2"/>
                <a:gd name="T6" fmla="*/ 0 w 1"/>
                <a:gd name="T7" fmla="*/ 0 h 2"/>
                <a:gd name="T8" fmla="*/ 1588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4" name="Freeform 684"/>
            <p:cNvSpPr>
              <a:spLocks noChangeAspect="1"/>
            </p:cNvSpPr>
            <p:nvPr/>
          </p:nvSpPr>
          <p:spPr bwMode="auto">
            <a:xfrm>
              <a:off x="6308254" y="852303"/>
              <a:ext cx="3203" cy="3868"/>
            </a:xfrm>
            <a:custGeom>
              <a:avLst/>
              <a:gdLst>
                <a:gd name="T0" fmla="*/ 3175 w 2"/>
                <a:gd name="T1" fmla="*/ 3175 h 3"/>
                <a:gd name="T2" fmla="*/ 1588 w 2"/>
                <a:gd name="T3" fmla="*/ 4762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5" name="Freeform 685"/>
            <p:cNvSpPr>
              <a:spLocks noChangeAspect="1"/>
            </p:cNvSpPr>
            <p:nvPr/>
          </p:nvSpPr>
          <p:spPr bwMode="auto">
            <a:xfrm>
              <a:off x="6223365" y="787819"/>
              <a:ext cx="6407" cy="3868"/>
            </a:xfrm>
            <a:custGeom>
              <a:avLst/>
              <a:gdLst>
                <a:gd name="T0" fmla="*/ 4233 w 3"/>
                <a:gd name="T1" fmla="*/ 2381 h 2"/>
                <a:gd name="T2" fmla="*/ 4233 w 3"/>
                <a:gd name="T3" fmla="*/ 4762 h 2"/>
                <a:gd name="T4" fmla="*/ 2117 w 3"/>
                <a:gd name="T5" fmla="*/ 2381 h 2"/>
                <a:gd name="T6" fmla="*/ 2117 w 3"/>
                <a:gd name="T7" fmla="*/ 0 h 2"/>
                <a:gd name="T8" fmla="*/ 4233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1"/>
                  </a:cubicBezTo>
                  <a:cubicBezTo>
                    <a:pt x="1" y="1"/>
                    <a:pt x="0" y="0"/>
                    <a:pt x="1" y="0"/>
                  </a:cubicBezTo>
                  <a:cubicBezTo>
                    <a:pt x="2"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6" name="Freeform 686"/>
            <p:cNvSpPr>
              <a:spLocks noChangeAspect="1"/>
            </p:cNvSpPr>
            <p:nvPr/>
          </p:nvSpPr>
          <p:spPr bwMode="auto">
            <a:xfrm>
              <a:off x="6268212" y="844565"/>
              <a:ext cx="3203" cy="2579"/>
            </a:xfrm>
            <a:custGeom>
              <a:avLst/>
              <a:gdLst>
                <a:gd name="T0" fmla="*/ 1588 w 2"/>
                <a:gd name="T1" fmla="*/ 3175 h 2"/>
                <a:gd name="T2" fmla="*/ 0 w 2"/>
                <a:gd name="T3" fmla="*/ 3175 h 2"/>
                <a:gd name="T4" fmla="*/ 1588 w 2"/>
                <a:gd name="T5" fmla="*/ 0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0"/>
                  </a:cubicBezTo>
                  <a:cubicBezTo>
                    <a:pt x="1" y="0"/>
                    <a:pt x="2" y="0"/>
                    <a:pt x="2" y="0"/>
                  </a:cubicBezTo>
                  <a:cubicBezTo>
                    <a:pt x="2"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7" name="Freeform 687"/>
            <p:cNvSpPr>
              <a:spLocks noChangeAspect="1"/>
            </p:cNvSpPr>
            <p:nvPr/>
          </p:nvSpPr>
          <p:spPr bwMode="auto">
            <a:xfrm>
              <a:off x="6289035" y="841985"/>
              <a:ext cx="6407" cy="3868"/>
            </a:xfrm>
            <a:custGeom>
              <a:avLst/>
              <a:gdLst>
                <a:gd name="T0" fmla="*/ 4233 w 3"/>
                <a:gd name="T1" fmla="*/ 4762 h 2"/>
                <a:gd name="T2" fmla="*/ 0 w 3"/>
                <a:gd name="T3" fmla="*/ 4762 h 2"/>
                <a:gd name="T4" fmla="*/ 2117 w 3"/>
                <a:gd name="T5" fmla="*/ 2381 h 2"/>
                <a:gd name="T6" fmla="*/ 4233 w 3"/>
                <a:gd name="T7" fmla="*/ 0 h 2"/>
                <a:gd name="T8" fmla="*/ 4233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0" y="1"/>
                    <a:pt x="1" y="1"/>
                  </a:cubicBezTo>
                  <a:cubicBezTo>
                    <a:pt x="1" y="0"/>
                    <a:pt x="2" y="0"/>
                    <a:pt x="2" y="0"/>
                  </a:cubicBezTo>
                  <a:cubicBezTo>
                    <a:pt x="3"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8" name="Freeform 688"/>
            <p:cNvSpPr>
              <a:spLocks noChangeAspect="1"/>
            </p:cNvSpPr>
            <p:nvPr/>
          </p:nvSpPr>
          <p:spPr bwMode="auto">
            <a:xfrm>
              <a:off x="6079211" y="919367"/>
              <a:ext cx="4805" cy="5158"/>
            </a:xfrm>
            <a:custGeom>
              <a:avLst/>
              <a:gdLst>
                <a:gd name="T0" fmla="*/ 4762 w 2"/>
                <a:gd name="T1" fmla="*/ 4233 h 3"/>
                <a:gd name="T2" fmla="*/ 2381 w 2"/>
                <a:gd name="T3" fmla="*/ 6350 h 3"/>
                <a:gd name="T4" fmla="*/ 0 w 2"/>
                <a:gd name="T5" fmla="*/ 4233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9" name="Freeform 689"/>
            <p:cNvSpPr>
              <a:spLocks noChangeAspect="1"/>
            </p:cNvSpPr>
            <p:nvPr/>
          </p:nvSpPr>
          <p:spPr bwMode="auto">
            <a:xfrm>
              <a:off x="6067998" y="938712"/>
              <a:ext cx="6407" cy="2579"/>
            </a:xfrm>
            <a:custGeom>
              <a:avLst/>
              <a:gdLst>
                <a:gd name="T0" fmla="*/ 4233 w 3"/>
                <a:gd name="T1" fmla="*/ 0 h 2"/>
                <a:gd name="T2" fmla="*/ 6350 w 3"/>
                <a:gd name="T3" fmla="*/ 1588 h 2"/>
                <a:gd name="T4" fmla="*/ 4233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0" name="Freeform 690"/>
            <p:cNvSpPr>
              <a:spLocks noChangeAspect="1"/>
            </p:cNvSpPr>
            <p:nvPr/>
          </p:nvSpPr>
          <p:spPr bwMode="auto">
            <a:xfrm>
              <a:off x="6032760" y="933552"/>
              <a:ext cx="4806" cy="5158"/>
            </a:xfrm>
            <a:custGeom>
              <a:avLst/>
              <a:gdLst>
                <a:gd name="T0" fmla="*/ 4763 w 2"/>
                <a:gd name="T1" fmla="*/ 2117 h 3"/>
                <a:gd name="T2" fmla="*/ 2382 w 2"/>
                <a:gd name="T3" fmla="*/ 4233 h 3"/>
                <a:gd name="T4" fmla="*/ 0 w 2"/>
                <a:gd name="T5" fmla="*/ 4233 h 3"/>
                <a:gd name="T6" fmla="*/ 0 w 2"/>
                <a:gd name="T7" fmla="*/ 0 h 3"/>
                <a:gd name="T8" fmla="*/ 4763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2"/>
                  </a:cubicBezTo>
                  <a:cubicBezTo>
                    <a:pt x="1" y="3"/>
                    <a:pt x="0" y="2"/>
                    <a:pt x="0" y="2"/>
                  </a:cubicBezTo>
                  <a:cubicBezTo>
                    <a:pt x="0" y="1"/>
                    <a:pt x="0" y="0"/>
                    <a:pt x="0" y="0"/>
                  </a:cubicBezTo>
                  <a:cubicBezTo>
                    <a:pt x="1"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1" name="Freeform 691"/>
            <p:cNvSpPr>
              <a:spLocks noChangeAspect="1"/>
            </p:cNvSpPr>
            <p:nvPr/>
          </p:nvSpPr>
          <p:spPr bwMode="auto">
            <a:xfrm>
              <a:off x="5971896" y="918076"/>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2" name="Freeform 692"/>
            <p:cNvSpPr>
              <a:spLocks noChangeAspect="1"/>
            </p:cNvSpPr>
            <p:nvPr/>
          </p:nvSpPr>
          <p:spPr bwMode="auto">
            <a:xfrm>
              <a:off x="5915837" y="961926"/>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0"/>
                    <a:pt x="1" y="0"/>
                    <a:pt x="1" y="0"/>
                  </a:cubicBezTo>
                  <a:cubicBezTo>
                    <a:pt x="2" y="0"/>
                    <a:pt x="3" y="0"/>
                    <a:pt x="3" y="1"/>
                  </a:cubicBezTo>
                  <a:cubicBezTo>
                    <a:pt x="3"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3" name="Freeform 693"/>
            <p:cNvSpPr>
              <a:spLocks noChangeAspect="1"/>
            </p:cNvSpPr>
            <p:nvPr/>
          </p:nvSpPr>
          <p:spPr bwMode="auto">
            <a:xfrm>
              <a:off x="5747656" y="1101211"/>
              <a:ext cx="4806" cy="2579"/>
            </a:xfrm>
            <a:custGeom>
              <a:avLst/>
              <a:gdLst>
                <a:gd name="T0" fmla="*/ 3175 w 3"/>
                <a:gd name="T1" fmla="*/ 0 h 2"/>
                <a:gd name="T2" fmla="*/ 3175 w 3"/>
                <a:gd name="T3" fmla="*/ 1588 h 2"/>
                <a:gd name="T4" fmla="*/ 1588 w 3"/>
                <a:gd name="T5" fmla="*/ 3175 h 2"/>
                <a:gd name="T6" fmla="*/ 0 w 3"/>
                <a:gd name="T7" fmla="*/ 0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4" name="Freeform 694"/>
            <p:cNvSpPr>
              <a:spLocks noChangeAspect="1"/>
            </p:cNvSpPr>
            <p:nvPr/>
          </p:nvSpPr>
          <p:spPr bwMode="auto">
            <a:xfrm>
              <a:off x="5779690" y="950319"/>
              <a:ext cx="40043" cy="21924"/>
            </a:xfrm>
            <a:custGeom>
              <a:avLst/>
              <a:gdLst>
                <a:gd name="T0" fmla="*/ 13229 w 21"/>
                <a:gd name="T1" fmla="*/ 0 h 14"/>
                <a:gd name="T2" fmla="*/ 20789 w 21"/>
                <a:gd name="T3" fmla="*/ 3855 h 14"/>
                <a:gd name="T4" fmla="*/ 22679 w 21"/>
                <a:gd name="T5" fmla="*/ 13494 h 14"/>
                <a:gd name="T6" fmla="*/ 28349 w 21"/>
                <a:gd name="T7" fmla="*/ 11566 h 14"/>
                <a:gd name="T8" fmla="*/ 35908 w 21"/>
                <a:gd name="T9" fmla="*/ 21204 h 14"/>
                <a:gd name="T10" fmla="*/ 18899 w 21"/>
                <a:gd name="T11" fmla="*/ 23132 h 14"/>
                <a:gd name="T12" fmla="*/ 7560 w 21"/>
                <a:gd name="T13" fmla="*/ 25059 h 14"/>
                <a:gd name="T14" fmla="*/ 5670 w 21"/>
                <a:gd name="T15" fmla="*/ 23132 h 14"/>
                <a:gd name="T16" fmla="*/ 1890 w 21"/>
                <a:gd name="T17" fmla="*/ 25059 h 14"/>
                <a:gd name="T18" fmla="*/ 1890 w 21"/>
                <a:gd name="T19" fmla="*/ 15421 h 14"/>
                <a:gd name="T20" fmla="*/ 1890 w 21"/>
                <a:gd name="T21" fmla="*/ 5783 h 14"/>
                <a:gd name="T22" fmla="*/ 13229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5" name="Freeform 695"/>
            <p:cNvSpPr>
              <a:spLocks noChangeAspect="1"/>
            </p:cNvSpPr>
            <p:nvPr/>
          </p:nvSpPr>
          <p:spPr bwMode="auto">
            <a:xfrm>
              <a:off x="5877395" y="969664"/>
              <a:ext cx="11212" cy="10318"/>
            </a:xfrm>
            <a:custGeom>
              <a:avLst/>
              <a:gdLst>
                <a:gd name="T0" fmla="*/ 7408 w 6"/>
                <a:gd name="T1" fmla="*/ 1814 h 7"/>
                <a:gd name="T2" fmla="*/ 7408 w 6"/>
                <a:gd name="T3" fmla="*/ 10886 h 7"/>
                <a:gd name="T4" fmla="*/ 1852 w 6"/>
                <a:gd name="T5" fmla="*/ 5443 h 7"/>
                <a:gd name="T6" fmla="*/ 1852 w 6"/>
                <a:gd name="T7" fmla="*/ 0 h 7"/>
                <a:gd name="T8" fmla="*/ 7408 w 6"/>
                <a:gd name="T9" fmla="*/ 1814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4" y="1"/>
                  </a:moveTo>
                  <a:cubicBezTo>
                    <a:pt x="5" y="2"/>
                    <a:pt x="6" y="5"/>
                    <a:pt x="4" y="6"/>
                  </a:cubicBezTo>
                  <a:cubicBezTo>
                    <a:pt x="3" y="7"/>
                    <a:pt x="1" y="5"/>
                    <a:pt x="1" y="3"/>
                  </a:cubicBezTo>
                  <a:cubicBezTo>
                    <a:pt x="0" y="3"/>
                    <a:pt x="0" y="1"/>
                    <a:pt x="1" y="0"/>
                  </a:cubicBezTo>
                  <a:cubicBezTo>
                    <a:pt x="2" y="0"/>
                    <a:pt x="4"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6" name="Freeform 696"/>
            <p:cNvSpPr>
              <a:spLocks noChangeAspect="1"/>
            </p:cNvSpPr>
            <p:nvPr/>
          </p:nvSpPr>
          <p:spPr bwMode="auto">
            <a:xfrm>
              <a:off x="5965488" y="964505"/>
              <a:ext cx="19221" cy="19346"/>
            </a:xfrm>
            <a:custGeom>
              <a:avLst/>
              <a:gdLst>
                <a:gd name="T0" fmla="*/ 13335 w 10"/>
                <a:gd name="T1" fmla="*/ 1984 h 12"/>
                <a:gd name="T2" fmla="*/ 7620 w 10"/>
                <a:gd name="T3" fmla="*/ 0 h 12"/>
                <a:gd name="T4" fmla="*/ 0 w 10"/>
                <a:gd name="T5" fmla="*/ 15875 h 12"/>
                <a:gd name="T6" fmla="*/ 9525 w 10"/>
                <a:gd name="T7" fmla="*/ 23813 h 12"/>
                <a:gd name="T8" fmla="*/ 17145 w 10"/>
                <a:gd name="T9" fmla="*/ 21829 h 12"/>
                <a:gd name="T10" fmla="*/ 15240 w 10"/>
                <a:gd name="T11" fmla="*/ 15875 h 12"/>
                <a:gd name="T12" fmla="*/ 15240 w 10"/>
                <a:gd name="T13" fmla="*/ 7938 h 12"/>
                <a:gd name="T14" fmla="*/ 13335 w 10"/>
                <a:gd name="T15" fmla="*/ 1984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7" y="1"/>
                  </a:moveTo>
                  <a:cubicBezTo>
                    <a:pt x="6" y="0"/>
                    <a:pt x="5" y="0"/>
                    <a:pt x="4" y="0"/>
                  </a:cubicBezTo>
                  <a:cubicBezTo>
                    <a:pt x="2" y="2"/>
                    <a:pt x="0" y="5"/>
                    <a:pt x="0" y="8"/>
                  </a:cubicBezTo>
                  <a:cubicBezTo>
                    <a:pt x="1" y="10"/>
                    <a:pt x="3" y="11"/>
                    <a:pt x="5" y="12"/>
                  </a:cubicBezTo>
                  <a:cubicBezTo>
                    <a:pt x="6" y="12"/>
                    <a:pt x="8" y="12"/>
                    <a:pt x="9" y="11"/>
                  </a:cubicBezTo>
                  <a:cubicBezTo>
                    <a:pt x="10" y="10"/>
                    <a:pt x="8" y="9"/>
                    <a:pt x="8" y="8"/>
                  </a:cubicBezTo>
                  <a:cubicBezTo>
                    <a:pt x="8" y="6"/>
                    <a:pt x="8" y="5"/>
                    <a:pt x="8" y="4"/>
                  </a:cubicBezTo>
                  <a:cubicBezTo>
                    <a:pt x="7" y="3"/>
                    <a:pt x="8" y="2"/>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7" name="Freeform 697"/>
            <p:cNvSpPr>
              <a:spLocks noChangeAspect="1"/>
            </p:cNvSpPr>
            <p:nvPr/>
          </p:nvSpPr>
          <p:spPr bwMode="auto">
            <a:xfrm>
              <a:off x="5935056" y="983850"/>
              <a:ext cx="28831" cy="16766"/>
            </a:xfrm>
            <a:custGeom>
              <a:avLst/>
              <a:gdLst>
                <a:gd name="T0" fmla="*/ 13335 w 15"/>
                <a:gd name="T1" fmla="*/ 1876 h 11"/>
                <a:gd name="T2" fmla="*/ 26670 w 15"/>
                <a:gd name="T3" fmla="*/ 3752 h 11"/>
                <a:gd name="T4" fmla="*/ 24765 w 15"/>
                <a:gd name="T5" fmla="*/ 9380 h 11"/>
                <a:gd name="T6" fmla="*/ 17145 w 15"/>
                <a:gd name="T7" fmla="*/ 16885 h 11"/>
                <a:gd name="T8" fmla="*/ 3810 w 15"/>
                <a:gd name="T9" fmla="*/ 20637 h 11"/>
                <a:gd name="T10" fmla="*/ 1905 w 15"/>
                <a:gd name="T11" fmla="*/ 16885 h 11"/>
                <a:gd name="T12" fmla="*/ 9525 w 15"/>
                <a:gd name="T13" fmla="*/ 7504 h 11"/>
                <a:gd name="T14" fmla="*/ 13335 w 15"/>
                <a:gd name="T15" fmla="*/ 1876 h 1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1"/>
                <a:gd name="T26" fmla="*/ 15 w 15"/>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1">
                  <a:moveTo>
                    <a:pt x="7" y="1"/>
                  </a:moveTo>
                  <a:cubicBezTo>
                    <a:pt x="9" y="0"/>
                    <a:pt x="12" y="1"/>
                    <a:pt x="14" y="2"/>
                  </a:cubicBezTo>
                  <a:cubicBezTo>
                    <a:pt x="15" y="3"/>
                    <a:pt x="14" y="4"/>
                    <a:pt x="13" y="5"/>
                  </a:cubicBezTo>
                  <a:cubicBezTo>
                    <a:pt x="12" y="7"/>
                    <a:pt x="11" y="9"/>
                    <a:pt x="9" y="9"/>
                  </a:cubicBezTo>
                  <a:cubicBezTo>
                    <a:pt x="7" y="11"/>
                    <a:pt x="4" y="11"/>
                    <a:pt x="2" y="11"/>
                  </a:cubicBezTo>
                  <a:cubicBezTo>
                    <a:pt x="1" y="11"/>
                    <a:pt x="0" y="9"/>
                    <a:pt x="1" y="9"/>
                  </a:cubicBezTo>
                  <a:cubicBezTo>
                    <a:pt x="1" y="7"/>
                    <a:pt x="3" y="5"/>
                    <a:pt x="5" y="4"/>
                  </a:cubicBezTo>
                  <a:cubicBezTo>
                    <a:pt x="5" y="3"/>
                    <a:pt x="6" y="1"/>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8" name="Freeform 698"/>
            <p:cNvSpPr>
              <a:spLocks noChangeAspect="1"/>
            </p:cNvSpPr>
            <p:nvPr/>
          </p:nvSpPr>
          <p:spPr bwMode="auto">
            <a:xfrm>
              <a:off x="6003929" y="884545"/>
              <a:ext cx="16017" cy="16766"/>
            </a:xfrm>
            <a:custGeom>
              <a:avLst/>
              <a:gdLst>
                <a:gd name="T0" fmla="*/ 11906 w 8"/>
                <a:gd name="T1" fmla="*/ 1876 h 11"/>
                <a:gd name="T2" fmla="*/ 13891 w 8"/>
                <a:gd name="T3" fmla="*/ 11257 h 11"/>
                <a:gd name="T4" fmla="*/ 9922 w 8"/>
                <a:gd name="T5" fmla="*/ 18762 h 11"/>
                <a:gd name="T6" fmla="*/ 3969 w 8"/>
                <a:gd name="T7" fmla="*/ 11257 h 11"/>
                <a:gd name="T8" fmla="*/ 11906 w 8"/>
                <a:gd name="T9" fmla="*/ 1876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1"/>
                  </a:moveTo>
                  <a:cubicBezTo>
                    <a:pt x="7" y="0"/>
                    <a:pt x="8" y="4"/>
                    <a:pt x="7" y="6"/>
                  </a:cubicBezTo>
                  <a:cubicBezTo>
                    <a:pt x="7" y="7"/>
                    <a:pt x="6" y="11"/>
                    <a:pt x="5" y="10"/>
                  </a:cubicBezTo>
                  <a:cubicBezTo>
                    <a:pt x="5" y="8"/>
                    <a:pt x="3" y="6"/>
                    <a:pt x="2" y="6"/>
                  </a:cubicBezTo>
                  <a:cubicBezTo>
                    <a:pt x="0" y="7"/>
                    <a:pt x="4" y="2"/>
                    <a:pt x="6"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9" name="Freeform 699"/>
            <p:cNvSpPr>
              <a:spLocks noChangeAspect="1"/>
            </p:cNvSpPr>
            <p:nvPr/>
          </p:nvSpPr>
          <p:spPr bwMode="auto">
            <a:xfrm>
              <a:off x="6252196" y="823930"/>
              <a:ext cx="19221" cy="14186"/>
            </a:xfrm>
            <a:custGeom>
              <a:avLst/>
              <a:gdLst>
                <a:gd name="T0" fmla="*/ 13335 w 10"/>
                <a:gd name="T1" fmla="*/ 0 h 9"/>
                <a:gd name="T2" fmla="*/ 19050 w 10"/>
                <a:gd name="T3" fmla="*/ 1940 h 9"/>
                <a:gd name="T4" fmla="*/ 11430 w 10"/>
                <a:gd name="T5" fmla="*/ 17462 h 9"/>
                <a:gd name="T6" fmla="*/ 7620 w 10"/>
                <a:gd name="T7" fmla="*/ 13582 h 9"/>
                <a:gd name="T8" fmla="*/ 0 w 10"/>
                <a:gd name="T9" fmla="*/ 11641 h 9"/>
                <a:gd name="T10" fmla="*/ 11430 w 10"/>
                <a:gd name="T11" fmla="*/ 5821 h 9"/>
                <a:gd name="T12" fmla="*/ 13335 w 10"/>
                <a:gd name="T13" fmla="*/ 0 h 9"/>
                <a:gd name="T14" fmla="*/ 0 60000 65536"/>
                <a:gd name="T15" fmla="*/ 0 60000 65536"/>
                <a:gd name="T16" fmla="*/ 0 60000 65536"/>
                <a:gd name="T17" fmla="*/ 0 60000 65536"/>
                <a:gd name="T18" fmla="*/ 0 60000 65536"/>
                <a:gd name="T19" fmla="*/ 0 60000 65536"/>
                <a:gd name="T20" fmla="*/ 0 60000 65536"/>
                <a:gd name="T21" fmla="*/ 0 w 10"/>
                <a:gd name="T22" fmla="*/ 0 h 9"/>
                <a:gd name="T23" fmla="*/ 10 w 10"/>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9">
                  <a:moveTo>
                    <a:pt x="7" y="0"/>
                  </a:moveTo>
                  <a:cubicBezTo>
                    <a:pt x="8" y="0"/>
                    <a:pt x="10" y="0"/>
                    <a:pt x="10" y="1"/>
                  </a:cubicBezTo>
                  <a:cubicBezTo>
                    <a:pt x="10" y="4"/>
                    <a:pt x="8" y="7"/>
                    <a:pt x="6" y="9"/>
                  </a:cubicBezTo>
                  <a:cubicBezTo>
                    <a:pt x="5" y="9"/>
                    <a:pt x="5" y="7"/>
                    <a:pt x="4" y="7"/>
                  </a:cubicBezTo>
                  <a:cubicBezTo>
                    <a:pt x="3" y="6"/>
                    <a:pt x="0" y="8"/>
                    <a:pt x="0" y="6"/>
                  </a:cubicBezTo>
                  <a:cubicBezTo>
                    <a:pt x="1" y="4"/>
                    <a:pt x="4" y="4"/>
                    <a:pt x="6" y="3"/>
                  </a:cubicBezTo>
                  <a:cubicBezTo>
                    <a:pt x="7" y="2"/>
                    <a:pt x="6" y="1"/>
                    <a:pt x="7"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0" name="Freeform 700"/>
            <p:cNvSpPr>
              <a:spLocks noChangeAspect="1"/>
            </p:cNvSpPr>
            <p:nvPr/>
          </p:nvSpPr>
          <p:spPr bwMode="auto">
            <a:xfrm>
              <a:off x="6282627" y="853592"/>
              <a:ext cx="24026" cy="9029"/>
            </a:xfrm>
            <a:custGeom>
              <a:avLst/>
              <a:gdLst>
                <a:gd name="T0" fmla="*/ 5953 w 12"/>
                <a:gd name="T1" fmla="*/ 0 h 6"/>
                <a:gd name="T2" fmla="*/ 1984 w 12"/>
                <a:gd name="T3" fmla="*/ 7409 h 6"/>
                <a:gd name="T4" fmla="*/ 15875 w 12"/>
                <a:gd name="T5" fmla="*/ 11113 h 6"/>
                <a:gd name="T6" fmla="*/ 23813 w 12"/>
                <a:gd name="T7" fmla="*/ 9261 h 6"/>
                <a:gd name="T8" fmla="*/ 15875 w 12"/>
                <a:gd name="T9" fmla="*/ 3704 h 6"/>
                <a:gd name="T10" fmla="*/ 5953 w 12"/>
                <a:gd name="T11" fmla="*/ 0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3" y="0"/>
                  </a:moveTo>
                  <a:cubicBezTo>
                    <a:pt x="2" y="1"/>
                    <a:pt x="0" y="3"/>
                    <a:pt x="1" y="4"/>
                  </a:cubicBezTo>
                  <a:cubicBezTo>
                    <a:pt x="3" y="5"/>
                    <a:pt x="6" y="6"/>
                    <a:pt x="8" y="6"/>
                  </a:cubicBezTo>
                  <a:cubicBezTo>
                    <a:pt x="10" y="6"/>
                    <a:pt x="12" y="6"/>
                    <a:pt x="12" y="5"/>
                  </a:cubicBezTo>
                  <a:cubicBezTo>
                    <a:pt x="12" y="3"/>
                    <a:pt x="10" y="2"/>
                    <a:pt x="8" y="2"/>
                  </a:cubicBezTo>
                  <a:cubicBezTo>
                    <a:pt x="7" y="1"/>
                    <a:pt x="5"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1" name="Freeform 701"/>
            <p:cNvSpPr>
              <a:spLocks noChangeAspect="1"/>
            </p:cNvSpPr>
            <p:nvPr/>
          </p:nvSpPr>
          <p:spPr bwMode="auto">
            <a:xfrm>
              <a:off x="6489249" y="786529"/>
              <a:ext cx="24025" cy="9029"/>
            </a:xfrm>
            <a:custGeom>
              <a:avLst/>
              <a:gdLst>
                <a:gd name="T0" fmla="*/ 20149 w 13"/>
                <a:gd name="T1" fmla="*/ 0 h 6"/>
                <a:gd name="T2" fmla="*/ 23812 w 13"/>
                <a:gd name="T3" fmla="*/ 5557 h 6"/>
                <a:gd name="T4" fmla="*/ 20149 w 13"/>
                <a:gd name="T5" fmla="*/ 11113 h 6"/>
                <a:gd name="T6" fmla="*/ 12822 w 13"/>
                <a:gd name="T7" fmla="*/ 9261 h 6"/>
                <a:gd name="T8" fmla="*/ 1832 w 13"/>
                <a:gd name="T9" fmla="*/ 7409 h 6"/>
                <a:gd name="T10" fmla="*/ 0 w 13"/>
                <a:gd name="T11" fmla="*/ 3704 h 6"/>
                <a:gd name="T12" fmla="*/ 7327 w 13"/>
                <a:gd name="T13" fmla="*/ 1852 h 6"/>
                <a:gd name="T14" fmla="*/ 12822 w 13"/>
                <a:gd name="T15" fmla="*/ 1852 h 6"/>
                <a:gd name="T16" fmla="*/ 20149 w 1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11" y="0"/>
                  </a:moveTo>
                  <a:cubicBezTo>
                    <a:pt x="12" y="0"/>
                    <a:pt x="13" y="2"/>
                    <a:pt x="13" y="3"/>
                  </a:cubicBezTo>
                  <a:cubicBezTo>
                    <a:pt x="13" y="4"/>
                    <a:pt x="12" y="6"/>
                    <a:pt x="11" y="6"/>
                  </a:cubicBezTo>
                  <a:cubicBezTo>
                    <a:pt x="9" y="6"/>
                    <a:pt x="8" y="5"/>
                    <a:pt x="7" y="5"/>
                  </a:cubicBezTo>
                  <a:cubicBezTo>
                    <a:pt x="5" y="4"/>
                    <a:pt x="3" y="5"/>
                    <a:pt x="1" y="4"/>
                  </a:cubicBezTo>
                  <a:cubicBezTo>
                    <a:pt x="0" y="4"/>
                    <a:pt x="0" y="2"/>
                    <a:pt x="0" y="2"/>
                  </a:cubicBezTo>
                  <a:cubicBezTo>
                    <a:pt x="1" y="1"/>
                    <a:pt x="3" y="1"/>
                    <a:pt x="4" y="1"/>
                  </a:cubicBezTo>
                  <a:cubicBezTo>
                    <a:pt x="5" y="1"/>
                    <a:pt x="6" y="1"/>
                    <a:pt x="7" y="1"/>
                  </a:cubicBezTo>
                  <a:cubicBezTo>
                    <a:pt x="9" y="1"/>
                    <a:pt x="10" y="0"/>
                    <a:pt x="1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2" name="Freeform 702"/>
            <p:cNvSpPr>
              <a:spLocks noChangeAspect="1"/>
            </p:cNvSpPr>
            <p:nvPr/>
          </p:nvSpPr>
          <p:spPr bwMode="auto">
            <a:xfrm>
              <a:off x="6478036" y="780081"/>
              <a:ext cx="12814" cy="7738"/>
            </a:xfrm>
            <a:custGeom>
              <a:avLst/>
              <a:gdLst>
                <a:gd name="T0" fmla="*/ 7257 w 7"/>
                <a:gd name="T1" fmla="*/ 0 h 5"/>
                <a:gd name="T2" fmla="*/ 12700 w 7"/>
                <a:gd name="T3" fmla="*/ 3810 h 5"/>
                <a:gd name="T4" fmla="*/ 7257 w 7"/>
                <a:gd name="T5" fmla="*/ 5715 h 5"/>
                <a:gd name="T6" fmla="*/ 3629 w 7"/>
                <a:gd name="T7" fmla="*/ 9525 h 5"/>
                <a:gd name="T8" fmla="*/ 0 w 7"/>
                <a:gd name="T9" fmla="*/ 5715 h 5"/>
                <a:gd name="T10" fmla="*/ 3629 w 7"/>
                <a:gd name="T11" fmla="*/ 1905 h 5"/>
                <a:gd name="T12" fmla="*/ 725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4" y="0"/>
                  </a:moveTo>
                  <a:cubicBezTo>
                    <a:pt x="5" y="0"/>
                    <a:pt x="7" y="1"/>
                    <a:pt x="7" y="2"/>
                  </a:cubicBezTo>
                  <a:cubicBezTo>
                    <a:pt x="7" y="3"/>
                    <a:pt x="5" y="2"/>
                    <a:pt x="4" y="3"/>
                  </a:cubicBezTo>
                  <a:cubicBezTo>
                    <a:pt x="3" y="3"/>
                    <a:pt x="3" y="5"/>
                    <a:pt x="2" y="5"/>
                  </a:cubicBezTo>
                  <a:cubicBezTo>
                    <a:pt x="1" y="5"/>
                    <a:pt x="0" y="4"/>
                    <a:pt x="0" y="3"/>
                  </a:cubicBezTo>
                  <a:cubicBezTo>
                    <a:pt x="0" y="2"/>
                    <a:pt x="2" y="2"/>
                    <a:pt x="2" y="1"/>
                  </a:cubicBezTo>
                  <a:cubicBezTo>
                    <a:pt x="3" y="1"/>
                    <a:pt x="3" y="0"/>
                    <a:pt x="4"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3" name="Freeform 703"/>
            <p:cNvSpPr>
              <a:spLocks noChangeAspect="1"/>
            </p:cNvSpPr>
            <p:nvPr/>
          </p:nvSpPr>
          <p:spPr bwMode="auto">
            <a:xfrm>
              <a:off x="6349899" y="738811"/>
              <a:ext cx="110519" cy="61904"/>
            </a:xfrm>
            <a:custGeom>
              <a:avLst/>
              <a:gdLst>
                <a:gd name="T0" fmla="*/ 101851 w 57"/>
                <a:gd name="T1" fmla="*/ 34290 h 40"/>
                <a:gd name="T2" fmla="*/ 103773 w 57"/>
                <a:gd name="T3" fmla="*/ 55245 h 40"/>
                <a:gd name="T4" fmla="*/ 63417 w 57"/>
                <a:gd name="T5" fmla="*/ 62865 h 40"/>
                <a:gd name="T6" fmla="*/ 30748 w 57"/>
                <a:gd name="T7" fmla="*/ 62865 h 40"/>
                <a:gd name="T8" fmla="*/ 7687 w 57"/>
                <a:gd name="T9" fmla="*/ 74295 h 40"/>
                <a:gd name="T10" fmla="*/ 1922 w 57"/>
                <a:gd name="T11" fmla="*/ 70485 h 40"/>
                <a:gd name="T12" fmla="*/ 1922 w 57"/>
                <a:gd name="T13" fmla="*/ 45720 h 40"/>
                <a:gd name="T14" fmla="*/ 9609 w 57"/>
                <a:gd name="T15" fmla="*/ 36195 h 40"/>
                <a:gd name="T16" fmla="*/ 17295 w 57"/>
                <a:gd name="T17" fmla="*/ 38100 h 40"/>
                <a:gd name="T18" fmla="*/ 13452 w 57"/>
                <a:gd name="T19" fmla="*/ 24765 h 40"/>
                <a:gd name="T20" fmla="*/ 24982 w 57"/>
                <a:gd name="T21" fmla="*/ 7620 h 40"/>
                <a:gd name="T22" fmla="*/ 34591 w 57"/>
                <a:gd name="T23" fmla="*/ 20955 h 40"/>
                <a:gd name="T24" fmla="*/ 36513 w 57"/>
                <a:gd name="T25" fmla="*/ 3810 h 40"/>
                <a:gd name="T26" fmla="*/ 46121 w 57"/>
                <a:gd name="T27" fmla="*/ 3810 h 40"/>
                <a:gd name="T28" fmla="*/ 49965 w 57"/>
                <a:gd name="T29" fmla="*/ 20955 h 40"/>
                <a:gd name="T30" fmla="*/ 57652 w 57"/>
                <a:gd name="T31" fmla="*/ 11430 h 40"/>
                <a:gd name="T32" fmla="*/ 63417 w 57"/>
                <a:gd name="T33" fmla="*/ 19050 h 40"/>
                <a:gd name="T34" fmla="*/ 69182 w 57"/>
                <a:gd name="T35" fmla="*/ 15240 h 40"/>
                <a:gd name="T36" fmla="*/ 86477 w 57"/>
                <a:gd name="T37" fmla="*/ 30480 h 40"/>
                <a:gd name="T38" fmla="*/ 88399 w 57"/>
                <a:gd name="T39" fmla="*/ 24765 h 40"/>
                <a:gd name="T40" fmla="*/ 101851 w 57"/>
                <a:gd name="T41" fmla="*/ 34290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4" name="Freeform 704"/>
            <p:cNvSpPr>
              <a:spLocks noChangeAspect="1"/>
            </p:cNvSpPr>
            <p:nvPr/>
          </p:nvSpPr>
          <p:spPr bwMode="auto">
            <a:xfrm>
              <a:off x="6196135" y="709148"/>
              <a:ext cx="150561" cy="63195"/>
            </a:xfrm>
            <a:custGeom>
              <a:avLst/>
              <a:gdLst>
                <a:gd name="T0" fmla="*/ 124354 w 78"/>
                <a:gd name="T1" fmla="*/ 13281 h 41"/>
                <a:gd name="T2" fmla="*/ 139659 w 78"/>
                <a:gd name="T3" fmla="*/ 24664 h 41"/>
                <a:gd name="T4" fmla="*/ 141572 w 78"/>
                <a:gd name="T5" fmla="*/ 41740 h 41"/>
                <a:gd name="T6" fmla="*/ 126267 w 78"/>
                <a:gd name="T7" fmla="*/ 39843 h 41"/>
                <a:gd name="T8" fmla="*/ 126267 w 78"/>
                <a:gd name="T9" fmla="*/ 47432 h 41"/>
                <a:gd name="T10" fmla="*/ 145399 w 78"/>
                <a:gd name="T11" fmla="*/ 60713 h 41"/>
                <a:gd name="T12" fmla="*/ 145399 w 78"/>
                <a:gd name="T13" fmla="*/ 73993 h 41"/>
                <a:gd name="T14" fmla="*/ 109049 w 78"/>
                <a:gd name="T15" fmla="*/ 73993 h 41"/>
                <a:gd name="T16" fmla="*/ 86091 w 78"/>
                <a:gd name="T17" fmla="*/ 64507 h 41"/>
                <a:gd name="T18" fmla="*/ 66960 w 78"/>
                <a:gd name="T19" fmla="*/ 58815 h 41"/>
                <a:gd name="T20" fmla="*/ 57394 w 78"/>
                <a:gd name="T21" fmla="*/ 53124 h 41"/>
                <a:gd name="T22" fmla="*/ 47829 w 78"/>
                <a:gd name="T23" fmla="*/ 56918 h 41"/>
                <a:gd name="T24" fmla="*/ 24871 w 78"/>
                <a:gd name="T25" fmla="*/ 47432 h 41"/>
                <a:gd name="T26" fmla="*/ 24871 w 78"/>
                <a:gd name="T27" fmla="*/ 37945 h 41"/>
                <a:gd name="T28" fmla="*/ 1913 w 78"/>
                <a:gd name="T29" fmla="*/ 36048 h 41"/>
                <a:gd name="T30" fmla="*/ 1913 w 78"/>
                <a:gd name="T31" fmla="*/ 30356 h 41"/>
                <a:gd name="T32" fmla="*/ 26784 w 78"/>
                <a:gd name="T33" fmla="*/ 24664 h 41"/>
                <a:gd name="T34" fmla="*/ 28697 w 78"/>
                <a:gd name="T35" fmla="*/ 13281 h 41"/>
                <a:gd name="T36" fmla="*/ 44002 w 78"/>
                <a:gd name="T37" fmla="*/ 7589 h 41"/>
                <a:gd name="T38" fmla="*/ 65047 w 78"/>
                <a:gd name="T39" fmla="*/ 5692 h 41"/>
                <a:gd name="T40" fmla="*/ 78439 w 78"/>
                <a:gd name="T41" fmla="*/ 0 h 41"/>
                <a:gd name="T42" fmla="*/ 95657 w 78"/>
                <a:gd name="T43" fmla="*/ 9486 h 41"/>
                <a:gd name="T44" fmla="*/ 95657 w 78"/>
                <a:gd name="T45" fmla="*/ 18973 h 41"/>
                <a:gd name="T46" fmla="*/ 89918 w 78"/>
                <a:gd name="T47" fmla="*/ 28459 h 41"/>
                <a:gd name="T48" fmla="*/ 95657 w 78"/>
                <a:gd name="T49" fmla="*/ 28459 h 41"/>
                <a:gd name="T50" fmla="*/ 103310 w 78"/>
                <a:gd name="T51" fmla="*/ 18973 h 41"/>
                <a:gd name="T52" fmla="*/ 105223 w 78"/>
                <a:gd name="T53" fmla="*/ 9486 h 41"/>
                <a:gd name="T54" fmla="*/ 114788 w 78"/>
                <a:gd name="T55" fmla="*/ 9486 h 41"/>
                <a:gd name="T56" fmla="*/ 118615 w 78"/>
                <a:gd name="T57" fmla="*/ 13281 h 41"/>
                <a:gd name="T58" fmla="*/ 124354 w 78"/>
                <a:gd name="T59" fmla="*/ 13281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5" name="Freeform 705"/>
            <p:cNvSpPr>
              <a:spLocks noChangeAspect="1"/>
            </p:cNvSpPr>
            <p:nvPr/>
          </p:nvSpPr>
          <p:spPr bwMode="auto">
            <a:xfrm>
              <a:off x="6156093" y="666589"/>
              <a:ext cx="120128" cy="50297"/>
            </a:xfrm>
            <a:custGeom>
              <a:avLst/>
              <a:gdLst>
                <a:gd name="T0" fmla="*/ 72973 w 62"/>
                <a:gd name="T1" fmla="*/ 1876 h 33"/>
                <a:gd name="T2" fmla="*/ 103699 w 62"/>
                <a:gd name="T3" fmla="*/ 22513 h 33"/>
                <a:gd name="T4" fmla="*/ 119062 w 62"/>
                <a:gd name="T5" fmla="*/ 24390 h 33"/>
                <a:gd name="T6" fmla="*/ 109460 w 62"/>
                <a:gd name="T7" fmla="*/ 31894 h 33"/>
                <a:gd name="T8" fmla="*/ 117142 w 62"/>
                <a:gd name="T9" fmla="*/ 46903 h 33"/>
                <a:gd name="T10" fmla="*/ 99858 w 62"/>
                <a:gd name="T11" fmla="*/ 52531 h 33"/>
                <a:gd name="T12" fmla="*/ 80655 w 62"/>
                <a:gd name="T13" fmla="*/ 56284 h 33"/>
                <a:gd name="T14" fmla="*/ 59531 w 62"/>
                <a:gd name="T15" fmla="*/ 58160 h 33"/>
                <a:gd name="T16" fmla="*/ 46089 w 62"/>
                <a:gd name="T17" fmla="*/ 61912 h 33"/>
                <a:gd name="T18" fmla="*/ 19204 w 62"/>
                <a:gd name="T19" fmla="*/ 58160 h 33"/>
                <a:gd name="T20" fmla="*/ 0 w 62"/>
                <a:gd name="T21" fmla="*/ 52531 h 33"/>
                <a:gd name="T22" fmla="*/ 0 w 62"/>
                <a:gd name="T23" fmla="*/ 48779 h 33"/>
                <a:gd name="T24" fmla="*/ 17283 w 62"/>
                <a:gd name="T25" fmla="*/ 41275 h 33"/>
                <a:gd name="T26" fmla="*/ 17283 w 62"/>
                <a:gd name="T27" fmla="*/ 31894 h 33"/>
                <a:gd name="T28" fmla="*/ 40327 w 62"/>
                <a:gd name="T29" fmla="*/ 18761 h 33"/>
                <a:gd name="T30" fmla="*/ 57611 w 62"/>
                <a:gd name="T31" fmla="*/ 16885 h 33"/>
                <a:gd name="T32" fmla="*/ 63372 w 62"/>
                <a:gd name="T33" fmla="*/ 9381 h 33"/>
                <a:gd name="T34" fmla="*/ 63372 w 62"/>
                <a:gd name="T35" fmla="*/ 3752 h 33"/>
                <a:gd name="T36" fmla="*/ 72973 w 62"/>
                <a:gd name="T37" fmla="*/ 1876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6" name="Freeform 706"/>
            <p:cNvSpPr>
              <a:spLocks noChangeAspect="1"/>
            </p:cNvSpPr>
            <p:nvPr/>
          </p:nvSpPr>
          <p:spPr bwMode="auto">
            <a:xfrm>
              <a:off x="6151287" y="716886"/>
              <a:ext cx="54458" cy="20635"/>
            </a:xfrm>
            <a:custGeom>
              <a:avLst/>
              <a:gdLst>
                <a:gd name="T0" fmla="*/ 5584 w 29"/>
                <a:gd name="T1" fmla="*/ 0 h 13"/>
                <a:gd name="T2" fmla="*/ 1861 w 29"/>
                <a:gd name="T3" fmla="*/ 3908 h 13"/>
                <a:gd name="T4" fmla="*/ 26057 w 29"/>
                <a:gd name="T5" fmla="*/ 15631 h 13"/>
                <a:gd name="T6" fmla="*/ 26057 w 29"/>
                <a:gd name="T7" fmla="*/ 23446 h 13"/>
                <a:gd name="T8" fmla="*/ 40947 w 29"/>
                <a:gd name="T9" fmla="*/ 19538 h 13"/>
                <a:gd name="T10" fmla="*/ 53975 w 29"/>
                <a:gd name="T11" fmla="*/ 11723 h 13"/>
                <a:gd name="T12" fmla="*/ 39085 w 29"/>
                <a:gd name="T13" fmla="*/ 1954 h 13"/>
                <a:gd name="T14" fmla="*/ 22334 w 29"/>
                <a:gd name="T15" fmla="*/ 1954 h 13"/>
                <a:gd name="T16" fmla="*/ 11167 w 29"/>
                <a:gd name="T17" fmla="*/ 0 h 13"/>
                <a:gd name="T18" fmla="*/ 5584 w 29"/>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3"/>
                <a:gd name="T32" fmla="*/ 29 w 29"/>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3">
                  <a:moveTo>
                    <a:pt x="3" y="0"/>
                  </a:moveTo>
                  <a:cubicBezTo>
                    <a:pt x="2" y="0"/>
                    <a:pt x="0" y="1"/>
                    <a:pt x="1" y="2"/>
                  </a:cubicBezTo>
                  <a:cubicBezTo>
                    <a:pt x="5" y="5"/>
                    <a:pt x="10" y="5"/>
                    <a:pt x="14" y="8"/>
                  </a:cubicBezTo>
                  <a:cubicBezTo>
                    <a:pt x="15" y="9"/>
                    <a:pt x="12" y="12"/>
                    <a:pt x="14" y="12"/>
                  </a:cubicBezTo>
                  <a:cubicBezTo>
                    <a:pt x="16" y="13"/>
                    <a:pt x="19" y="11"/>
                    <a:pt x="22" y="10"/>
                  </a:cubicBezTo>
                  <a:cubicBezTo>
                    <a:pt x="24" y="9"/>
                    <a:pt x="29" y="9"/>
                    <a:pt x="29" y="6"/>
                  </a:cubicBezTo>
                  <a:cubicBezTo>
                    <a:pt x="29" y="3"/>
                    <a:pt x="24" y="2"/>
                    <a:pt x="21" y="1"/>
                  </a:cubicBezTo>
                  <a:cubicBezTo>
                    <a:pt x="18" y="0"/>
                    <a:pt x="15" y="1"/>
                    <a:pt x="12" y="1"/>
                  </a:cubicBezTo>
                  <a:cubicBezTo>
                    <a:pt x="10" y="1"/>
                    <a:pt x="8" y="0"/>
                    <a:pt x="6" y="0"/>
                  </a:cubicBezTo>
                  <a:cubicBezTo>
                    <a:pt x="5" y="0"/>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7" name="Freeform 707"/>
            <p:cNvSpPr>
              <a:spLocks noChangeAspect="1"/>
            </p:cNvSpPr>
            <p:nvPr/>
          </p:nvSpPr>
          <p:spPr bwMode="auto">
            <a:xfrm>
              <a:off x="6643013" y="921946"/>
              <a:ext cx="28831" cy="15476"/>
            </a:xfrm>
            <a:custGeom>
              <a:avLst/>
              <a:gdLst>
                <a:gd name="T0" fmla="*/ 5715 w 15"/>
                <a:gd name="T1" fmla="*/ 0 h 10"/>
                <a:gd name="T2" fmla="*/ 3810 w 15"/>
                <a:gd name="T3" fmla="*/ 3810 h 10"/>
                <a:gd name="T4" fmla="*/ 5715 w 15"/>
                <a:gd name="T5" fmla="*/ 11430 h 10"/>
                <a:gd name="T6" fmla="*/ 0 w 15"/>
                <a:gd name="T7" fmla="*/ 11430 h 10"/>
                <a:gd name="T8" fmla="*/ 5715 w 15"/>
                <a:gd name="T9" fmla="*/ 17145 h 10"/>
                <a:gd name="T10" fmla="*/ 20955 w 15"/>
                <a:gd name="T11" fmla="*/ 19050 h 10"/>
                <a:gd name="T12" fmla="*/ 28575 w 15"/>
                <a:gd name="T13" fmla="*/ 7620 h 10"/>
                <a:gd name="T14" fmla="*/ 24765 w 15"/>
                <a:gd name="T15" fmla="*/ 3810 h 10"/>
                <a:gd name="T16" fmla="*/ 13335 w 15"/>
                <a:gd name="T17" fmla="*/ 1905 h 10"/>
                <a:gd name="T18" fmla="*/ 5715 w 15"/>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0"/>
                <a:gd name="T32" fmla="*/ 15 w 15"/>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0">
                  <a:moveTo>
                    <a:pt x="3" y="0"/>
                  </a:moveTo>
                  <a:cubicBezTo>
                    <a:pt x="2" y="0"/>
                    <a:pt x="2" y="1"/>
                    <a:pt x="2" y="2"/>
                  </a:cubicBezTo>
                  <a:cubicBezTo>
                    <a:pt x="2" y="3"/>
                    <a:pt x="4" y="5"/>
                    <a:pt x="3" y="6"/>
                  </a:cubicBezTo>
                  <a:cubicBezTo>
                    <a:pt x="3" y="7"/>
                    <a:pt x="0" y="5"/>
                    <a:pt x="0" y="6"/>
                  </a:cubicBezTo>
                  <a:cubicBezTo>
                    <a:pt x="0" y="7"/>
                    <a:pt x="1" y="9"/>
                    <a:pt x="3" y="9"/>
                  </a:cubicBezTo>
                  <a:cubicBezTo>
                    <a:pt x="5" y="9"/>
                    <a:pt x="9" y="10"/>
                    <a:pt x="11" y="10"/>
                  </a:cubicBezTo>
                  <a:cubicBezTo>
                    <a:pt x="13" y="10"/>
                    <a:pt x="14" y="7"/>
                    <a:pt x="15" y="4"/>
                  </a:cubicBezTo>
                  <a:cubicBezTo>
                    <a:pt x="15" y="3"/>
                    <a:pt x="14" y="2"/>
                    <a:pt x="13" y="2"/>
                  </a:cubicBezTo>
                  <a:cubicBezTo>
                    <a:pt x="11" y="1"/>
                    <a:pt x="9" y="1"/>
                    <a:pt x="7" y="1"/>
                  </a:cubicBezTo>
                  <a:cubicBezTo>
                    <a:pt x="6" y="1"/>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8" name="Freeform 708"/>
            <p:cNvSpPr>
              <a:spLocks noChangeAspect="1"/>
            </p:cNvSpPr>
            <p:nvPr/>
          </p:nvSpPr>
          <p:spPr bwMode="auto">
            <a:xfrm>
              <a:off x="7121924" y="875517"/>
              <a:ext cx="11213" cy="19345"/>
            </a:xfrm>
            <a:custGeom>
              <a:avLst/>
              <a:gdLst>
                <a:gd name="T0" fmla="*/ 1852 w 6"/>
                <a:gd name="T1" fmla="*/ 1832 h 13"/>
                <a:gd name="T2" fmla="*/ 9261 w 6"/>
                <a:gd name="T3" fmla="*/ 12822 h 13"/>
                <a:gd name="T4" fmla="*/ 9261 w 6"/>
                <a:gd name="T5" fmla="*/ 21980 h 13"/>
                <a:gd name="T6" fmla="*/ 3704 w 6"/>
                <a:gd name="T7" fmla="*/ 21980 h 13"/>
                <a:gd name="T8" fmla="*/ 0 w 6"/>
                <a:gd name="T9" fmla="*/ 7327 h 13"/>
                <a:gd name="T10" fmla="*/ 1852 w 6"/>
                <a:gd name="T11" fmla="*/ 1832 h 13"/>
                <a:gd name="T12" fmla="*/ 0 60000 65536"/>
                <a:gd name="T13" fmla="*/ 0 60000 65536"/>
                <a:gd name="T14" fmla="*/ 0 60000 65536"/>
                <a:gd name="T15" fmla="*/ 0 60000 65536"/>
                <a:gd name="T16" fmla="*/ 0 60000 65536"/>
                <a:gd name="T17" fmla="*/ 0 60000 65536"/>
                <a:gd name="T18" fmla="*/ 0 w 6"/>
                <a:gd name="T19" fmla="*/ 0 h 13"/>
                <a:gd name="T20" fmla="*/ 6 w 6"/>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6" h="13">
                  <a:moveTo>
                    <a:pt x="1" y="1"/>
                  </a:moveTo>
                  <a:cubicBezTo>
                    <a:pt x="3" y="2"/>
                    <a:pt x="4" y="4"/>
                    <a:pt x="5" y="7"/>
                  </a:cubicBezTo>
                  <a:cubicBezTo>
                    <a:pt x="5" y="8"/>
                    <a:pt x="6" y="11"/>
                    <a:pt x="5" y="12"/>
                  </a:cubicBezTo>
                  <a:cubicBezTo>
                    <a:pt x="4" y="13"/>
                    <a:pt x="2" y="13"/>
                    <a:pt x="2" y="12"/>
                  </a:cubicBezTo>
                  <a:cubicBezTo>
                    <a:pt x="1" y="9"/>
                    <a:pt x="1" y="7"/>
                    <a:pt x="0" y="4"/>
                  </a:cubicBezTo>
                  <a:cubicBezTo>
                    <a:pt x="0" y="3"/>
                    <a:pt x="0"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9" name="Freeform 709"/>
            <p:cNvSpPr>
              <a:spLocks noChangeAspect="1"/>
            </p:cNvSpPr>
            <p:nvPr/>
          </p:nvSpPr>
          <p:spPr bwMode="auto">
            <a:xfrm>
              <a:off x="7235646" y="930973"/>
              <a:ext cx="20822" cy="16766"/>
            </a:xfrm>
            <a:custGeom>
              <a:avLst/>
              <a:gdLst>
                <a:gd name="T0" fmla="*/ 3752 w 11"/>
                <a:gd name="T1" fmla="*/ 1876 h 11"/>
                <a:gd name="T2" fmla="*/ 0 w 11"/>
                <a:gd name="T3" fmla="*/ 7505 h 11"/>
                <a:gd name="T4" fmla="*/ 5628 w 11"/>
                <a:gd name="T5" fmla="*/ 18762 h 11"/>
                <a:gd name="T6" fmla="*/ 15009 w 11"/>
                <a:gd name="T7" fmla="*/ 18762 h 11"/>
                <a:gd name="T8" fmla="*/ 20637 w 11"/>
                <a:gd name="T9" fmla="*/ 13133 h 11"/>
                <a:gd name="T10" fmla="*/ 16885 w 11"/>
                <a:gd name="T11" fmla="*/ 3752 h 11"/>
                <a:gd name="T12" fmla="*/ 13133 w 11"/>
                <a:gd name="T13" fmla="*/ 1876 h 11"/>
                <a:gd name="T14" fmla="*/ 3752 w 11"/>
                <a:gd name="T15" fmla="*/ 1876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0" name="Freeform 710"/>
            <p:cNvSpPr>
              <a:spLocks noChangeAspect="1"/>
            </p:cNvSpPr>
            <p:nvPr/>
          </p:nvSpPr>
          <p:spPr bwMode="auto">
            <a:xfrm>
              <a:off x="7240452" y="945160"/>
              <a:ext cx="73679" cy="25793"/>
            </a:xfrm>
            <a:custGeom>
              <a:avLst/>
              <a:gdLst>
                <a:gd name="T0" fmla="*/ 1922 w 38"/>
                <a:gd name="T1" fmla="*/ 20544 h 17"/>
                <a:gd name="T2" fmla="*/ 1922 w 38"/>
                <a:gd name="T3" fmla="*/ 26147 h 17"/>
                <a:gd name="T4" fmla="*/ 21139 w 38"/>
                <a:gd name="T5" fmla="*/ 22412 h 17"/>
                <a:gd name="T6" fmla="*/ 59573 w 38"/>
                <a:gd name="T7" fmla="*/ 28015 h 17"/>
                <a:gd name="T8" fmla="*/ 69182 w 38"/>
                <a:gd name="T9" fmla="*/ 29882 h 17"/>
                <a:gd name="T10" fmla="*/ 73025 w 38"/>
                <a:gd name="T11" fmla="*/ 20544 h 17"/>
                <a:gd name="T12" fmla="*/ 57651 w 38"/>
                <a:gd name="T13" fmla="*/ 7471 h 17"/>
                <a:gd name="T14" fmla="*/ 28826 w 38"/>
                <a:gd name="T15" fmla="*/ 1868 h 17"/>
                <a:gd name="T16" fmla="*/ 15374 w 38"/>
                <a:gd name="T17" fmla="*/ 3735 h 17"/>
                <a:gd name="T18" fmla="*/ 15374 w 38"/>
                <a:gd name="T19" fmla="*/ 14941 h 17"/>
                <a:gd name="T20" fmla="*/ 1922 w 38"/>
                <a:gd name="T21" fmla="*/ 20544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1" name="Freeform 711"/>
            <p:cNvSpPr>
              <a:spLocks noChangeAspect="1"/>
            </p:cNvSpPr>
            <p:nvPr/>
          </p:nvSpPr>
          <p:spPr bwMode="auto">
            <a:xfrm>
              <a:off x="7149154" y="861330"/>
              <a:ext cx="168180" cy="63195"/>
            </a:xfrm>
            <a:custGeom>
              <a:avLst/>
              <a:gdLst>
                <a:gd name="T0" fmla="*/ 28413 w 88"/>
                <a:gd name="T1" fmla="*/ 0 h 41"/>
                <a:gd name="T2" fmla="*/ 54931 w 88"/>
                <a:gd name="T3" fmla="*/ 18973 h 41"/>
                <a:gd name="T4" fmla="*/ 64402 w 88"/>
                <a:gd name="T5" fmla="*/ 18973 h 41"/>
                <a:gd name="T6" fmla="*/ 68190 w 88"/>
                <a:gd name="T7" fmla="*/ 26562 h 41"/>
                <a:gd name="T8" fmla="*/ 77661 w 88"/>
                <a:gd name="T9" fmla="*/ 26562 h 41"/>
                <a:gd name="T10" fmla="*/ 75767 w 88"/>
                <a:gd name="T11" fmla="*/ 11384 h 41"/>
                <a:gd name="T12" fmla="*/ 81449 w 88"/>
                <a:gd name="T13" fmla="*/ 9486 h 41"/>
                <a:gd name="T14" fmla="*/ 81449 w 88"/>
                <a:gd name="T15" fmla="*/ 5692 h 41"/>
                <a:gd name="T16" fmla="*/ 100391 w 88"/>
                <a:gd name="T17" fmla="*/ 17075 h 41"/>
                <a:gd name="T18" fmla="*/ 115544 w 88"/>
                <a:gd name="T19" fmla="*/ 18973 h 41"/>
                <a:gd name="T20" fmla="*/ 125015 w 88"/>
                <a:gd name="T21" fmla="*/ 15178 h 41"/>
                <a:gd name="T22" fmla="*/ 142063 w 88"/>
                <a:gd name="T23" fmla="*/ 20870 h 41"/>
                <a:gd name="T24" fmla="*/ 164793 w 88"/>
                <a:gd name="T25" fmla="*/ 30356 h 41"/>
                <a:gd name="T26" fmla="*/ 157216 w 88"/>
                <a:gd name="T27" fmla="*/ 37945 h 41"/>
                <a:gd name="T28" fmla="*/ 164793 w 88"/>
                <a:gd name="T29" fmla="*/ 47432 h 41"/>
                <a:gd name="T30" fmla="*/ 151534 w 88"/>
                <a:gd name="T31" fmla="*/ 56918 h 41"/>
                <a:gd name="T32" fmla="*/ 119333 w 88"/>
                <a:gd name="T33" fmla="*/ 43637 h 41"/>
                <a:gd name="T34" fmla="*/ 115544 w 88"/>
                <a:gd name="T35" fmla="*/ 36048 h 41"/>
                <a:gd name="T36" fmla="*/ 117439 w 88"/>
                <a:gd name="T37" fmla="*/ 28459 h 41"/>
                <a:gd name="T38" fmla="*/ 111756 w 88"/>
                <a:gd name="T39" fmla="*/ 24664 h 41"/>
                <a:gd name="T40" fmla="*/ 102285 w 88"/>
                <a:gd name="T41" fmla="*/ 30356 h 41"/>
                <a:gd name="T42" fmla="*/ 109862 w 88"/>
                <a:gd name="T43" fmla="*/ 45534 h 41"/>
                <a:gd name="T44" fmla="*/ 132592 w 88"/>
                <a:gd name="T45" fmla="*/ 55021 h 41"/>
                <a:gd name="T46" fmla="*/ 143957 w 88"/>
                <a:gd name="T47" fmla="*/ 60713 h 41"/>
                <a:gd name="T48" fmla="*/ 145851 w 88"/>
                <a:gd name="T49" fmla="*/ 66404 h 41"/>
                <a:gd name="T50" fmla="*/ 123121 w 88"/>
                <a:gd name="T51" fmla="*/ 60713 h 41"/>
                <a:gd name="T52" fmla="*/ 121227 w 88"/>
                <a:gd name="T53" fmla="*/ 64507 h 41"/>
                <a:gd name="T54" fmla="*/ 111756 w 88"/>
                <a:gd name="T55" fmla="*/ 62610 h 41"/>
                <a:gd name="T56" fmla="*/ 109862 w 88"/>
                <a:gd name="T57" fmla="*/ 56918 h 41"/>
                <a:gd name="T58" fmla="*/ 98497 w 88"/>
                <a:gd name="T59" fmla="*/ 60713 h 41"/>
                <a:gd name="T60" fmla="*/ 77661 w 88"/>
                <a:gd name="T61" fmla="*/ 66404 h 41"/>
                <a:gd name="T62" fmla="*/ 68190 w 88"/>
                <a:gd name="T63" fmla="*/ 58815 h 41"/>
                <a:gd name="T64" fmla="*/ 64402 w 88"/>
                <a:gd name="T65" fmla="*/ 64507 h 41"/>
                <a:gd name="T66" fmla="*/ 66296 w 88"/>
                <a:gd name="T67" fmla="*/ 70199 h 41"/>
                <a:gd name="T68" fmla="*/ 60613 w 88"/>
                <a:gd name="T69" fmla="*/ 77788 h 41"/>
                <a:gd name="T70" fmla="*/ 43566 w 88"/>
                <a:gd name="T71" fmla="*/ 72096 h 41"/>
                <a:gd name="T72" fmla="*/ 26518 w 88"/>
                <a:gd name="T73" fmla="*/ 58815 h 41"/>
                <a:gd name="T74" fmla="*/ 13259 w 88"/>
                <a:gd name="T75" fmla="*/ 53124 h 41"/>
                <a:gd name="T76" fmla="*/ 1894 w 88"/>
                <a:gd name="T77" fmla="*/ 45534 h 41"/>
                <a:gd name="T78" fmla="*/ 3788 w 88"/>
                <a:gd name="T79" fmla="*/ 39843 h 41"/>
                <a:gd name="T80" fmla="*/ 11365 w 88"/>
                <a:gd name="T81" fmla="*/ 37945 h 41"/>
                <a:gd name="T82" fmla="*/ 1894 w 88"/>
                <a:gd name="T83" fmla="*/ 28459 h 41"/>
                <a:gd name="T84" fmla="*/ 9471 w 88"/>
                <a:gd name="T85" fmla="*/ 26562 h 41"/>
                <a:gd name="T86" fmla="*/ 7577 w 88"/>
                <a:gd name="T87" fmla="*/ 18973 h 41"/>
                <a:gd name="T88" fmla="*/ 17048 w 88"/>
                <a:gd name="T89" fmla="*/ 11384 h 41"/>
                <a:gd name="T90" fmla="*/ 17048 w 88"/>
                <a:gd name="T91" fmla="*/ 3795 h 41"/>
                <a:gd name="T92" fmla="*/ 22730 w 88"/>
                <a:gd name="T93" fmla="*/ 3795 h 41"/>
                <a:gd name="T94" fmla="*/ 28413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2" name="Freeform 712"/>
            <p:cNvSpPr>
              <a:spLocks noChangeAspect="1"/>
            </p:cNvSpPr>
            <p:nvPr/>
          </p:nvSpPr>
          <p:spPr bwMode="auto">
            <a:xfrm>
              <a:off x="7363784" y="840695"/>
              <a:ext cx="16017" cy="7738"/>
            </a:xfrm>
            <a:custGeom>
              <a:avLst/>
              <a:gdLst>
                <a:gd name="T0" fmla="*/ 1984 w 8"/>
                <a:gd name="T1" fmla="*/ 5715 h 5"/>
                <a:gd name="T2" fmla="*/ 1984 w 8"/>
                <a:gd name="T3" fmla="*/ 9525 h 5"/>
                <a:gd name="T4" fmla="*/ 13891 w 8"/>
                <a:gd name="T5" fmla="*/ 7620 h 5"/>
                <a:gd name="T6" fmla="*/ 13891 w 8"/>
                <a:gd name="T7" fmla="*/ 1905 h 5"/>
                <a:gd name="T8" fmla="*/ 7938 w 8"/>
                <a:gd name="T9" fmla="*/ 1905 h 5"/>
                <a:gd name="T10" fmla="*/ 1984 w 8"/>
                <a:gd name="T11" fmla="*/ 5715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3"/>
                  </a:moveTo>
                  <a:cubicBezTo>
                    <a:pt x="0" y="3"/>
                    <a:pt x="0" y="5"/>
                    <a:pt x="1" y="5"/>
                  </a:cubicBezTo>
                  <a:cubicBezTo>
                    <a:pt x="3" y="5"/>
                    <a:pt x="5" y="5"/>
                    <a:pt x="7" y="4"/>
                  </a:cubicBezTo>
                  <a:cubicBezTo>
                    <a:pt x="8" y="4"/>
                    <a:pt x="8" y="2"/>
                    <a:pt x="7" y="1"/>
                  </a:cubicBezTo>
                  <a:cubicBezTo>
                    <a:pt x="6" y="0"/>
                    <a:pt x="5" y="1"/>
                    <a:pt x="4" y="1"/>
                  </a:cubicBezTo>
                  <a:cubicBezTo>
                    <a:pt x="3" y="2"/>
                    <a:pt x="1"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3" name="Freeform 713"/>
            <p:cNvSpPr>
              <a:spLocks noChangeAspect="1"/>
            </p:cNvSpPr>
            <p:nvPr/>
          </p:nvSpPr>
          <p:spPr bwMode="auto">
            <a:xfrm>
              <a:off x="7336554" y="879386"/>
              <a:ext cx="104112" cy="38690"/>
            </a:xfrm>
            <a:custGeom>
              <a:avLst/>
              <a:gdLst>
                <a:gd name="T0" fmla="*/ 1911 w 54"/>
                <a:gd name="T1" fmla="*/ 1905 h 25"/>
                <a:gd name="T2" fmla="*/ 1911 w 54"/>
                <a:gd name="T3" fmla="*/ 20955 h 25"/>
                <a:gd name="T4" fmla="*/ 15287 w 54"/>
                <a:gd name="T5" fmla="*/ 32385 h 25"/>
                <a:gd name="T6" fmla="*/ 40129 w 54"/>
                <a:gd name="T7" fmla="*/ 38100 h 25"/>
                <a:gd name="T8" fmla="*/ 57327 w 54"/>
                <a:gd name="T9" fmla="*/ 47625 h 25"/>
                <a:gd name="T10" fmla="*/ 80257 w 54"/>
                <a:gd name="T11" fmla="*/ 45720 h 25"/>
                <a:gd name="T12" fmla="*/ 97455 w 54"/>
                <a:gd name="T13" fmla="*/ 40005 h 25"/>
                <a:gd name="T14" fmla="*/ 97455 w 54"/>
                <a:gd name="T15" fmla="*/ 30480 h 25"/>
                <a:gd name="T16" fmla="*/ 103188 w 54"/>
                <a:gd name="T17" fmla="*/ 22860 h 25"/>
                <a:gd name="T18" fmla="*/ 97455 w 54"/>
                <a:gd name="T19" fmla="*/ 20955 h 25"/>
                <a:gd name="T20" fmla="*/ 95544 w 54"/>
                <a:gd name="T21" fmla="*/ 22860 h 25"/>
                <a:gd name="T22" fmla="*/ 72614 w 54"/>
                <a:gd name="T23" fmla="*/ 19050 h 25"/>
                <a:gd name="T24" fmla="*/ 55416 w 54"/>
                <a:gd name="T25" fmla="*/ 24765 h 25"/>
                <a:gd name="T26" fmla="*/ 47772 w 54"/>
                <a:gd name="T27" fmla="*/ 17145 h 25"/>
                <a:gd name="T28" fmla="*/ 38218 w 54"/>
                <a:gd name="T29" fmla="*/ 17145 h 25"/>
                <a:gd name="T30" fmla="*/ 30574 w 54"/>
                <a:gd name="T31" fmla="*/ 13335 h 25"/>
                <a:gd name="T32" fmla="*/ 19109 w 54"/>
                <a:gd name="T33" fmla="*/ 19050 h 25"/>
                <a:gd name="T34" fmla="*/ 5733 w 54"/>
                <a:gd name="T35" fmla="*/ 7620 h 25"/>
                <a:gd name="T36" fmla="*/ 1911 w 54"/>
                <a:gd name="T37" fmla="*/ 190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4" name="Freeform 714"/>
            <p:cNvSpPr>
              <a:spLocks noChangeAspect="1"/>
            </p:cNvSpPr>
            <p:nvPr/>
          </p:nvSpPr>
          <p:spPr bwMode="auto">
            <a:xfrm>
              <a:off x="7206815" y="1023829"/>
              <a:ext cx="22424" cy="6449"/>
            </a:xfrm>
            <a:custGeom>
              <a:avLst/>
              <a:gdLst>
                <a:gd name="T0" fmla="*/ 1852 w 12"/>
                <a:gd name="T1" fmla="*/ 0 h 4"/>
                <a:gd name="T2" fmla="*/ 0 w 12"/>
                <a:gd name="T3" fmla="*/ 1985 h 4"/>
                <a:gd name="T4" fmla="*/ 16669 w 12"/>
                <a:gd name="T5" fmla="*/ 7938 h 4"/>
                <a:gd name="T6" fmla="*/ 22225 w 12"/>
                <a:gd name="T7" fmla="*/ 3969 h 4"/>
                <a:gd name="T8" fmla="*/ 16669 w 12"/>
                <a:gd name="T9" fmla="*/ 1985 h 4"/>
                <a:gd name="T10" fmla="*/ 1852 w 12"/>
                <a:gd name="T11" fmla="*/ 0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0"/>
                  </a:moveTo>
                  <a:cubicBezTo>
                    <a:pt x="1" y="0"/>
                    <a:pt x="0" y="1"/>
                    <a:pt x="0" y="1"/>
                  </a:cubicBezTo>
                  <a:cubicBezTo>
                    <a:pt x="3" y="3"/>
                    <a:pt x="6" y="4"/>
                    <a:pt x="9" y="4"/>
                  </a:cubicBezTo>
                  <a:cubicBezTo>
                    <a:pt x="10" y="4"/>
                    <a:pt x="12" y="4"/>
                    <a:pt x="12" y="2"/>
                  </a:cubicBezTo>
                  <a:cubicBezTo>
                    <a:pt x="12" y="1"/>
                    <a:pt x="10" y="1"/>
                    <a:pt x="9" y="1"/>
                  </a:cubicBezTo>
                  <a:cubicBezTo>
                    <a:pt x="6" y="0"/>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5" name="Freeform 715"/>
            <p:cNvSpPr>
              <a:spLocks noChangeAspect="1"/>
            </p:cNvSpPr>
            <p:nvPr/>
          </p:nvSpPr>
          <p:spPr bwMode="auto">
            <a:xfrm>
              <a:off x="7885941" y="1080576"/>
              <a:ext cx="35238" cy="15476"/>
            </a:xfrm>
            <a:custGeom>
              <a:avLst/>
              <a:gdLst>
                <a:gd name="T0" fmla="*/ 7761 w 18"/>
                <a:gd name="T1" fmla="*/ 0 h 10"/>
                <a:gd name="T2" fmla="*/ 0 w 18"/>
                <a:gd name="T3" fmla="*/ 1905 h 10"/>
                <a:gd name="T4" fmla="*/ 11642 w 18"/>
                <a:gd name="T5" fmla="*/ 11430 h 10"/>
                <a:gd name="T6" fmla="*/ 27164 w 18"/>
                <a:gd name="T7" fmla="*/ 19050 h 10"/>
                <a:gd name="T8" fmla="*/ 32985 w 18"/>
                <a:gd name="T9" fmla="*/ 15240 h 10"/>
                <a:gd name="T10" fmla="*/ 29104 w 18"/>
                <a:gd name="T11" fmla="*/ 5715 h 10"/>
                <a:gd name="T12" fmla="*/ 7761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6" name="Freeform 716"/>
            <p:cNvSpPr>
              <a:spLocks noChangeAspect="1"/>
            </p:cNvSpPr>
            <p:nvPr/>
          </p:nvSpPr>
          <p:spPr bwMode="auto">
            <a:xfrm>
              <a:off x="8090961" y="1025119"/>
              <a:ext cx="78484" cy="34821"/>
            </a:xfrm>
            <a:custGeom>
              <a:avLst/>
              <a:gdLst>
                <a:gd name="T0" fmla="*/ 9486 w 41"/>
                <a:gd name="T1" fmla="*/ 5845 h 22"/>
                <a:gd name="T2" fmla="*/ 0 w 41"/>
                <a:gd name="T3" fmla="*/ 23379 h 22"/>
                <a:gd name="T4" fmla="*/ 11383 w 41"/>
                <a:gd name="T5" fmla="*/ 40914 h 22"/>
                <a:gd name="T6" fmla="*/ 22767 w 41"/>
                <a:gd name="T7" fmla="*/ 35069 h 22"/>
                <a:gd name="T8" fmla="*/ 39842 w 41"/>
                <a:gd name="T9" fmla="*/ 31172 h 22"/>
                <a:gd name="T10" fmla="*/ 58815 w 41"/>
                <a:gd name="T11" fmla="*/ 31172 h 22"/>
                <a:gd name="T12" fmla="*/ 73993 w 41"/>
                <a:gd name="T13" fmla="*/ 27276 h 22"/>
                <a:gd name="T14" fmla="*/ 73993 w 41"/>
                <a:gd name="T15" fmla="*/ 15586 h 22"/>
                <a:gd name="T16" fmla="*/ 49328 w 41"/>
                <a:gd name="T17" fmla="*/ 3897 h 22"/>
                <a:gd name="T18" fmla="*/ 39842 w 41"/>
                <a:gd name="T19" fmla="*/ 0 h 22"/>
                <a:gd name="T20" fmla="*/ 26561 w 41"/>
                <a:gd name="T21" fmla="*/ 3897 h 22"/>
                <a:gd name="T22" fmla="*/ 9486 w 41"/>
                <a:gd name="T23" fmla="*/ 584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7" name="Freeform 717"/>
            <p:cNvSpPr>
              <a:spLocks noChangeAspect="1"/>
            </p:cNvSpPr>
            <p:nvPr/>
          </p:nvSpPr>
          <p:spPr bwMode="auto">
            <a:xfrm>
              <a:off x="8052519" y="1525516"/>
              <a:ext cx="30432" cy="23214"/>
            </a:xfrm>
            <a:custGeom>
              <a:avLst/>
              <a:gdLst>
                <a:gd name="T0" fmla="*/ 5655 w 16"/>
                <a:gd name="T1" fmla="*/ 0 h 15"/>
                <a:gd name="T2" fmla="*/ 13196 w 16"/>
                <a:gd name="T3" fmla="*/ 1905 h 15"/>
                <a:gd name="T4" fmla="*/ 13196 w 16"/>
                <a:gd name="T5" fmla="*/ 7620 h 15"/>
                <a:gd name="T6" fmla="*/ 30162 w 16"/>
                <a:gd name="T7" fmla="*/ 22860 h 15"/>
                <a:gd name="T8" fmla="*/ 28277 w 16"/>
                <a:gd name="T9" fmla="*/ 26670 h 15"/>
                <a:gd name="T10" fmla="*/ 13196 w 16"/>
                <a:gd name="T11" fmla="*/ 15240 h 15"/>
                <a:gd name="T12" fmla="*/ 0 w 16"/>
                <a:gd name="T13" fmla="*/ 5715 h 15"/>
                <a:gd name="T14" fmla="*/ 5655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8" name="Freeform 718"/>
            <p:cNvSpPr>
              <a:spLocks noChangeAspect="1"/>
            </p:cNvSpPr>
            <p:nvPr/>
          </p:nvSpPr>
          <p:spPr bwMode="auto">
            <a:xfrm>
              <a:off x="8095765" y="1542281"/>
              <a:ext cx="17619" cy="10318"/>
            </a:xfrm>
            <a:custGeom>
              <a:avLst/>
              <a:gdLst>
                <a:gd name="T0" fmla="*/ 5821 w 9"/>
                <a:gd name="T1" fmla="*/ 0 h 7"/>
                <a:gd name="T2" fmla="*/ 0 w 9"/>
                <a:gd name="T3" fmla="*/ 3629 h 7"/>
                <a:gd name="T4" fmla="*/ 13582 w 9"/>
                <a:gd name="T5" fmla="*/ 10886 h 7"/>
                <a:gd name="T6" fmla="*/ 17463 w 9"/>
                <a:gd name="T7" fmla="*/ 9071 h 7"/>
                <a:gd name="T8" fmla="*/ 5821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9" name="Freeform 719"/>
            <p:cNvSpPr>
              <a:spLocks noChangeAspect="1"/>
            </p:cNvSpPr>
            <p:nvPr/>
          </p:nvSpPr>
          <p:spPr bwMode="auto">
            <a:xfrm>
              <a:off x="7869925" y="1657063"/>
              <a:ext cx="19221" cy="21924"/>
            </a:xfrm>
            <a:custGeom>
              <a:avLst/>
              <a:gdLst>
                <a:gd name="T0" fmla="*/ 17145 w 10"/>
                <a:gd name="T1" fmla="*/ 0 h 14"/>
                <a:gd name="T2" fmla="*/ 11430 w 10"/>
                <a:gd name="T3" fmla="*/ 0 h 14"/>
                <a:gd name="T4" fmla="*/ 5715 w 10"/>
                <a:gd name="T5" fmla="*/ 13494 h 14"/>
                <a:gd name="T6" fmla="*/ 0 w 10"/>
                <a:gd name="T7" fmla="*/ 17349 h 14"/>
                <a:gd name="T8" fmla="*/ 5715 w 10"/>
                <a:gd name="T9" fmla="*/ 26987 h 14"/>
                <a:gd name="T10" fmla="*/ 15240 w 10"/>
                <a:gd name="T11" fmla="*/ 15421 h 14"/>
                <a:gd name="T12" fmla="*/ 19050 w 10"/>
                <a:gd name="T13" fmla="*/ 7711 h 14"/>
                <a:gd name="T14" fmla="*/ 17145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0" name="Freeform 720"/>
            <p:cNvSpPr>
              <a:spLocks noChangeAspect="1"/>
            </p:cNvSpPr>
            <p:nvPr/>
          </p:nvSpPr>
          <p:spPr bwMode="auto">
            <a:xfrm>
              <a:off x="7732177" y="1795058"/>
              <a:ext cx="38441" cy="30953"/>
            </a:xfrm>
            <a:custGeom>
              <a:avLst/>
              <a:gdLst>
                <a:gd name="T0" fmla="*/ 36195 w 20"/>
                <a:gd name="T1" fmla="*/ 0 h 20"/>
                <a:gd name="T2" fmla="*/ 36195 w 20"/>
                <a:gd name="T3" fmla="*/ 5715 h 20"/>
                <a:gd name="T4" fmla="*/ 30480 w 20"/>
                <a:gd name="T5" fmla="*/ 5715 h 20"/>
                <a:gd name="T6" fmla="*/ 19050 w 20"/>
                <a:gd name="T7" fmla="*/ 19050 h 20"/>
                <a:gd name="T8" fmla="*/ 13335 w 20"/>
                <a:gd name="T9" fmla="*/ 20955 h 20"/>
                <a:gd name="T10" fmla="*/ 1905 w 20"/>
                <a:gd name="T11" fmla="*/ 38100 h 20"/>
                <a:gd name="T12" fmla="*/ 0 w 20"/>
                <a:gd name="T13" fmla="*/ 32385 h 20"/>
                <a:gd name="T14" fmla="*/ 7620 w 20"/>
                <a:gd name="T15" fmla="*/ 22860 h 20"/>
                <a:gd name="T16" fmla="*/ 15240 w 20"/>
                <a:gd name="T17" fmla="*/ 5715 h 20"/>
                <a:gd name="T18" fmla="*/ 24765 w 20"/>
                <a:gd name="T19" fmla="*/ 9525 h 20"/>
                <a:gd name="T20" fmla="*/ 36195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1" name="Freeform 721"/>
            <p:cNvSpPr>
              <a:spLocks noChangeAspect="1"/>
            </p:cNvSpPr>
            <p:nvPr/>
          </p:nvSpPr>
          <p:spPr bwMode="auto">
            <a:xfrm>
              <a:off x="7703346" y="1822141"/>
              <a:ext cx="22424" cy="20635"/>
            </a:xfrm>
            <a:custGeom>
              <a:avLst/>
              <a:gdLst>
                <a:gd name="T0" fmla="*/ 14143 w 11"/>
                <a:gd name="T1" fmla="*/ 1954 h 13"/>
                <a:gd name="T2" fmla="*/ 22225 w 11"/>
                <a:gd name="T3" fmla="*/ 3908 h 13"/>
                <a:gd name="T4" fmla="*/ 16164 w 11"/>
                <a:gd name="T5" fmla="*/ 11723 h 13"/>
                <a:gd name="T6" fmla="*/ 6061 w 11"/>
                <a:gd name="T7" fmla="*/ 25400 h 13"/>
                <a:gd name="T8" fmla="*/ 0 w 11"/>
                <a:gd name="T9" fmla="*/ 21492 h 13"/>
                <a:gd name="T10" fmla="*/ 12123 w 11"/>
                <a:gd name="T11" fmla="*/ 5862 h 13"/>
                <a:gd name="T12" fmla="*/ 14143 w 11"/>
                <a:gd name="T13" fmla="*/ 1954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2" name="Freeform 722"/>
            <p:cNvSpPr>
              <a:spLocks noChangeAspect="1"/>
            </p:cNvSpPr>
            <p:nvPr/>
          </p:nvSpPr>
          <p:spPr bwMode="auto">
            <a:xfrm>
              <a:off x="7535167" y="1552598"/>
              <a:ext cx="20823" cy="20635"/>
            </a:xfrm>
            <a:custGeom>
              <a:avLst/>
              <a:gdLst>
                <a:gd name="T0" fmla="*/ 9381 w 11"/>
                <a:gd name="T1" fmla="*/ 1954 h 13"/>
                <a:gd name="T2" fmla="*/ 13133 w 11"/>
                <a:gd name="T3" fmla="*/ 11723 h 13"/>
                <a:gd name="T4" fmla="*/ 18762 w 11"/>
                <a:gd name="T5" fmla="*/ 11723 h 13"/>
                <a:gd name="T6" fmla="*/ 18762 w 11"/>
                <a:gd name="T7" fmla="*/ 23446 h 13"/>
                <a:gd name="T8" fmla="*/ 11257 w 11"/>
                <a:gd name="T9" fmla="*/ 23446 h 13"/>
                <a:gd name="T10" fmla="*/ 11257 w 11"/>
                <a:gd name="T11" fmla="*/ 15631 h 13"/>
                <a:gd name="T12" fmla="*/ 0 w 11"/>
                <a:gd name="T13" fmla="*/ 5862 h 13"/>
                <a:gd name="T14" fmla="*/ 5629 w 11"/>
                <a:gd name="T15" fmla="*/ 5862 h 13"/>
                <a:gd name="T16" fmla="*/ 9381 w 11"/>
                <a:gd name="T17" fmla="*/ 1954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3" name="Freeform 723"/>
            <p:cNvSpPr>
              <a:spLocks noChangeAspect="1"/>
            </p:cNvSpPr>
            <p:nvPr/>
          </p:nvSpPr>
          <p:spPr bwMode="auto">
            <a:xfrm>
              <a:off x="7536768" y="1574523"/>
              <a:ext cx="112120" cy="214087"/>
            </a:xfrm>
            <a:custGeom>
              <a:avLst/>
              <a:gdLst>
                <a:gd name="T0" fmla="*/ 21075 w 58"/>
                <a:gd name="T1" fmla="*/ 1910 h 138"/>
                <a:gd name="T2" fmla="*/ 34487 w 58"/>
                <a:gd name="T3" fmla="*/ 28644 h 138"/>
                <a:gd name="T4" fmla="*/ 42151 w 58"/>
                <a:gd name="T5" fmla="*/ 49650 h 138"/>
                <a:gd name="T6" fmla="*/ 45983 w 58"/>
                <a:gd name="T7" fmla="*/ 74474 h 138"/>
                <a:gd name="T8" fmla="*/ 49815 w 58"/>
                <a:gd name="T9" fmla="*/ 70655 h 138"/>
                <a:gd name="T10" fmla="*/ 72806 w 58"/>
                <a:gd name="T11" fmla="*/ 116486 h 138"/>
                <a:gd name="T12" fmla="*/ 95797 w 58"/>
                <a:gd name="T13" fmla="*/ 147039 h 138"/>
                <a:gd name="T14" fmla="*/ 103461 w 58"/>
                <a:gd name="T15" fmla="*/ 164226 h 138"/>
                <a:gd name="T16" fmla="*/ 111125 w 58"/>
                <a:gd name="T17" fmla="*/ 168045 h 138"/>
                <a:gd name="T18" fmla="*/ 109209 w 58"/>
                <a:gd name="T19" fmla="*/ 175683 h 138"/>
                <a:gd name="T20" fmla="*/ 107293 w 58"/>
                <a:gd name="T21" fmla="*/ 171864 h 138"/>
                <a:gd name="T22" fmla="*/ 99629 w 58"/>
                <a:gd name="T23" fmla="*/ 164226 h 138"/>
                <a:gd name="T24" fmla="*/ 90050 w 58"/>
                <a:gd name="T25" fmla="*/ 152768 h 138"/>
                <a:gd name="T26" fmla="*/ 74722 w 58"/>
                <a:gd name="T27" fmla="*/ 147039 h 138"/>
                <a:gd name="T28" fmla="*/ 65142 w 58"/>
                <a:gd name="T29" fmla="*/ 154678 h 138"/>
                <a:gd name="T30" fmla="*/ 65142 w 58"/>
                <a:gd name="T31" fmla="*/ 187141 h 138"/>
                <a:gd name="T32" fmla="*/ 63226 w 58"/>
                <a:gd name="T33" fmla="*/ 196689 h 138"/>
                <a:gd name="T34" fmla="*/ 80470 w 58"/>
                <a:gd name="T35" fmla="*/ 210056 h 138"/>
                <a:gd name="T36" fmla="*/ 88134 w 58"/>
                <a:gd name="T37" fmla="*/ 229152 h 138"/>
                <a:gd name="T38" fmla="*/ 97713 w 58"/>
                <a:gd name="T39" fmla="*/ 232971 h 138"/>
                <a:gd name="T40" fmla="*/ 101545 w 58"/>
                <a:gd name="T41" fmla="*/ 250158 h 138"/>
                <a:gd name="T42" fmla="*/ 99629 w 58"/>
                <a:gd name="T43" fmla="*/ 252067 h 138"/>
                <a:gd name="T44" fmla="*/ 95797 w 58"/>
                <a:gd name="T45" fmla="*/ 242519 h 138"/>
                <a:gd name="T46" fmla="*/ 82386 w 58"/>
                <a:gd name="T47" fmla="*/ 238700 h 138"/>
                <a:gd name="T48" fmla="*/ 78554 w 58"/>
                <a:gd name="T49" fmla="*/ 242519 h 138"/>
                <a:gd name="T50" fmla="*/ 76638 w 58"/>
                <a:gd name="T51" fmla="*/ 259706 h 138"/>
                <a:gd name="T52" fmla="*/ 72806 w 58"/>
                <a:gd name="T53" fmla="*/ 261615 h 138"/>
                <a:gd name="T54" fmla="*/ 67058 w 58"/>
                <a:gd name="T55" fmla="*/ 248248 h 138"/>
                <a:gd name="T56" fmla="*/ 63226 w 58"/>
                <a:gd name="T57" fmla="*/ 238700 h 138"/>
                <a:gd name="T58" fmla="*/ 63226 w 58"/>
                <a:gd name="T59" fmla="*/ 223423 h 138"/>
                <a:gd name="T60" fmla="*/ 55563 w 58"/>
                <a:gd name="T61" fmla="*/ 210056 h 138"/>
                <a:gd name="T62" fmla="*/ 55563 w 58"/>
                <a:gd name="T63" fmla="*/ 190960 h 138"/>
                <a:gd name="T64" fmla="*/ 44067 w 58"/>
                <a:gd name="T65" fmla="*/ 179503 h 138"/>
                <a:gd name="T66" fmla="*/ 44067 w 58"/>
                <a:gd name="T67" fmla="*/ 169955 h 138"/>
                <a:gd name="T68" fmla="*/ 42151 w 58"/>
                <a:gd name="T69" fmla="*/ 145130 h 138"/>
                <a:gd name="T70" fmla="*/ 30655 w 58"/>
                <a:gd name="T71" fmla="*/ 97390 h 138"/>
                <a:gd name="T72" fmla="*/ 30655 w 58"/>
                <a:gd name="T73" fmla="*/ 82113 h 138"/>
                <a:gd name="T74" fmla="*/ 15328 w 58"/>
                <a:gd name="T75" fmla="*/ 66836 h 138"/>
                <a:gd name="T76" fmla="*/ 13412 w 58"/>
                <a:gd name="T77" fmla="*/ 61107 h 138"/>
                <a:gd name="T78" fmla="*/ 7664 w 58"/>
                <a:gd name="T79" fmla="*/ 57288 h 138"/>
                <a:gd name="T80" fmla="*/ 5748 w 58"/>
                <a:gd name="T81" fmla="*/ 28644 h 138"/>
                <a:gd name="T82" fmla="*/ 0 w 58"/>
                <a:gd name="T83" fmla="*/ 11458 h 138"/>
                <a:gd name="T84" fmla="*/ 5748 w 58"/>
                <a:gd name="T85" fmla="*/ 5729 h 138"/>
                <a:gd name="T86" fmla="*/ 13412 w 58"/>
                <a:gd name="T87" fmla="*/ 11458 h 138"/>
                <a:gd name="T88" fmla="*/ 15328 w 58"/>
                <a:gd name="T89" fmla="*/ 1910 h 138"/>
                <a:gd name="T90" fmla="*/ 21075 w 58"/>
                <a:gd name="T91" fmla="*/ 1910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4" name="Freeform 724"/>
            <p:cNvSpPr>
              <a:spLocks noChangeAspect="1"/>
            </p:cNvSpPr>
            <p:nvPr/>
          </p:nvSpPr>
          <p:spPr bwMode="auto">
            <a:xfrm>
              <a:off x="5893412" y="683355"/>
              <a:ext cx="30432" cy="11608"/>
            </a:xfrm>
            <a:custGeom>
              <a:avLst/>
              <a:gdLst>
                <a:gd name="T0" fmla="*/ 5655 w 16"/>
                <a:gd name="T1" fmla="*/ 0 h 8"/>
                <a:gd name="T2" fmla="*/ 1885 w 16"/>
                <a:gd name="T3" fmla="*/ 8930 h 8"/>
                <a:gd name="T4" fmla="*/ 18851 w 16"/>
                <a:gd name="T5" fmla="*/ 14288 h 8"/>
                <a:gd name="T6" fmla="*/ 28277 w 16"/>
                <a:gd name="T7" fmla="*/ 10716 h 8"/>
                <a:gd name="T8" fmla="*/ 24507 w 16"/>
                <a:gd name="T9" fmla="*/ 5358 h 8"/>
                <a:gd name="T10" fmla="*/ 5655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3" y="0"/>
                  </a:moveTo>
                  <a:cubicBezTo>
                    <a:pt x="1" y="1"/>
                    <a:pt x="0" y="4"/>
                    <a:pt x="1" y="5"/>
                  </a:cubicBezTo>
                  <a:cubicBezTo>
                    <a:pt x="4" y="7"/>
                    <a:pt x="7" y="8"/>
                    <a:pt x="10" y="8"/>
                  </a:cubicBezTo>
                  <a:cubicBezTo>
                    <a:pt x="12" y="8"/>
                    <a:pt x="15" y="8"/>
                    <a:pt x="15" y="6"/>
                  </a:cubicBezTo>
                  <a:cubicBezTo>
                    <a:pt x="16" y="5"/>
                    <a:pt x="14" y="3"/>
                    <a:pt x="13" y="3"/>
                  </a:cubicBezTo>
                  <a:cubicBezTo>
                    <a:pt x="10" y="1"/>
                    <a:pt x="6"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5" name="Freeform 725"/>
            <p:cNvSpPr>
              <a:spLocks noChangeAspect="1"/>
            </p:cNvSpPr>
            <p:nvPr/>
          </p:nvSpPr>
          <p:spPr bwMode="auto">
            <a:xfrm>
              <a:off x="5569866" y="670459"/>
              <a:ext cx="56060" cy="28373"/>
            </a:xfrm>
            <a:custGeom>
              <a:avLst/>
              <a:gdLst>
                <a:gd name="T0" fmla="*/ 47898 w 29"/>
                <a:gd name="T1" fmla="*/ 3881 h 18"/>
                <a:gd name="T2" fmla="*/ 51730 w 29"/>
                <a:gd name="T3" fmla="*/ 21343 h 18"/>
                <a:gd name="T4" fmla="*/ 32571 w 29"/>
                <a:gd name="T5" fmla="*/ 29104 h 18"/>
                <a:gd name="T6" fmla="*/ 11496 w 29"/>
                <a:gd name="T7" fmla="*/ 32985 h 18"/>
                <a:gd name="T8" fmla="*/ 1916 w 29"/>
                <a:gd name="T9" fmla="*/ 21343 h 18"/>
                <a:gd name="T10" fmla="*/ 17243 w 29"/>
                <a:gd name="T11" fmla="*/ 15522 h 18"/>
                <a:gd name="T12" fmla="*/ 32571 w 29"/>
                <a:gd name="T13" fmla="*/ 13582 h 18"/>
                <a:gd name="T14" fmla="*/ 32571 w 29"/>
                <a:gd name="T15" fmla="*/ 3881 h 18"/>
                <a:gd name="T16" fmla="*/ 47898 w 29"/>
                <a:gd name="T17" fmla="*/ 3881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8"/>
                <a:gd name="T29" fmla="*/ 29 w 29"/>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8">
                  <a:moveTo>
                    <a:pt x="25" y="2"/>
                  </a:moveTo>
                  <a:cubicBezTo>
                    <a:pt x="28" y="4"/>
                    <a:pt x="29" y="9"/>
                    <a:pt x="27" y="11"/>
                  </a:cubicBezTo>
                  <a:cubicBezTo>
                    <a:pt x="25" y="14"/>
                    <a:pt x="20" y="14"/>
                    <a:pt x="17" y="15"/>
                  </a:cubicBezTo>
                  <a:cubicBezTo>
                    <a:pt x="13" y="16"/>
                    <a:pt x="10" y="18"/>
                    <a:pt x="6" y="17"/>
                  </a:cubicBezTo>
                  <a:cubicBezTo>
                    <a:pt x="4" y="17"/>
                    <a:pt x="0" y="14"/>
                    <a:pt x="1" y="11"/>
                  </a:cubicBezTo>
                  <a:cubicBezTo>
                    <a:pt x="2" y="9"/>
                    <a:pt x="6" y="9"/>
                    <a:pt x="9" y="8"/>
                  </a:cubicBezTo>
                  <a:cubicBezTo>
                    <a:pt x="12" y="8"/>
                    <a:pt x="15" y="8"/>
                    <a:pt x="17" y="7"/>
                  </a:cubicBezTo>
                  <a:cubicBezTo>
                    <a:pt x="18" y="6"/>
                    <a:pt x="16" y="3"/>
                    <a:pt x="17" y="2"/>
                  </a:cubicBezTo>
                  <a:cubicBezTo>
                    <a:pt x="19" y="1"/>
                    <a:pt x="23" y="0"/>
                    <a:pt x="25"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6" name="Freeform 726"/>
            <p:cNvSpPr>
              <a:spLocks noChangeAspect="1"/>
            </p:cNvSpPr>
            <p:nvPr/>
          </p:nvSpPr>
          <p:spPr bwMode="auto">
            <a:xfrm>
              <a:off x="5368051" y="702700"/>
              <a:ext cx="35238" cy="12897"/>
            </a:xfrm>
            <a:custGeom>
              <a:avLst/>
              <a:gdLst>
                <a:gd name="T0" fmla="*/ 11642 w 18"/>
                <a:gd name="T1" fmla="*/ 0 h 8"/>
                <a:gd name="T2" fmla="*/ 32985 w 18"/>
                <a:gd name="T3" fmla="*/ 9922 h 8"/>
                <a:gd name="T4" fmla="*/ 27164 w 18"/>
                <a:gd name="T5" fmla="*/ 15875 h 8"/>
                <a:gd name="T6" fmla="*/ 1940 w 18"/>
                <a:gd name="T7" fmla="*/ 15875 h 8"/>
                <a:gd name="T8" fmla="*/ 1940 w 18"/>
                <a:gd name="T9" fmla="*/ 9922 h 8"/>
                <a:gd name="T10" fmla="*/ 11642 w 18"/>
                <a:gd name="T11" fmla="*/ 0 h 8"/>
                <a:gd name="T12" fmla="*/ 0 60000 65536"/>
                <a:gd name="T13" fmla="*/ 0 60000 65536"/>
                <a:gd name="T14" fmla="*/ 0 60000 65536"/>
                <a:gd name="T15" fmla="*/ 0 60000 65536"/>
                <a:gd name="T16" fmla="*/ 0 60000 65536"/>
                <a:gd name="T17" fmla="*/ 0 60000 65536"/>
                <a:gd name="T18" fmla="*/ 0 w 18"/>
                <a:gd name="T19" fmla="*/ 0 h 8"/>
                <a:gd name="T20" fmla="*/ 18 w 18"/>
                <a:gd name="T21" fmla="*/ 8 h 8"/>
              </a:gdLst>
              <a:ahLst/>
              <a:cxnLst>
                <a:cxn ang="T12">
                  <a:pos x="T0" y="T1"/>
                </a:cxn>
                <a:cxn ang="T13">
                  <a:pos x="T2" y="T3"/>
                </a:cxn>
                <a:cxn ang="T14">
                  <a:pos x="T4" y="T5"/>
                </a:cxn>
                <a:cxn ang="T15">
                  <a:pos x="T6" y="T7"/>
                </a:cxn>
                <a:cxn ang="T16">
                  <a:pos x="T8" y="T9"/>
                </a:cxn>
                <a:cxn ang="T17">
                  <a:pos x="T10" y="T11"/>
                </a:cxn>
              </a:cxnLst>
              <a:rect l="T18" t="T19" r="T20" b="T21"/>
              <a:pathLst>
                <a:path w="18" h="8">
                  <a:moveTo>
                    <a:pt x="6" y="0"/>
                  </a:moveTo>
                  <a:cubicBezTo>
                    <a:pt x="10" y="0"/>
                    <a:pt x="14" y="2"/>
                    <a:pt x="17" y="5"/>
                  </a:cubicBezTo>
                  <a:cubicBezTo>
                    <a:pt x="18" y="6"/>
                    <a:pt x="15" y="8"/>
                    <a:pt x="14" y="8"/>
                  </a:cubicBezTo>
                  <a:cubicBezTo>
                    <a:pt x="10" y="8"/>
                    <a:pt x="5" y="8"/>
                    <a:pt x="1" y="8"/>
                  </a:cubicBezTo>
                  <a:cubicBezTo>
                    <a:pt x="0" y="8"/>
                    <a:pt x="0" y="6"/>
                    <a:pt x="1" y="5"/>
                  </a:cubicBezTo>
                  <a:cubicBezTo>
                    <a:pt x="3" y="4"/>
                    <a:pt x="5" y="2"/>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7" name="Freeform 727"/>
            <p:cNvSpPr>
              <a:spLocks noChangeAspect="1"/>
            </p:cNvSpPr>
            <p:nvPr/>
          </p:nvSpPr>
          <p:spPr bwMode="auto">
            <a:xfrm>
              <a:off x="5460950" y="700121"/>
              <a:ext cx="48051" cy="15476"/>
            </a:xfrm>
            <a:custGeom>
              <a:avLst/>
              <a:gdLst>
                <a:gd name="T0" fmla="*/ 3810 w 25"/>
                <a:gd name="T1" fmla="*/ 1905 h 10"/>
                <a:gd name="T2" fmla="*/ 36195 w 25"/>
                <a:gd name="T3" fmla="*/ 1905 h 10"/>
                <a:gd name="T4" fmla="*/ 45720 w 25"/>
                <a:gd name="T5" fmla="*/ 9525 h 10"/>
                <a:gd name="T6" fmla="*/ 32385 w 25"/>
                <a:gd name="T7" fmla="*/ 9525 h 10"/>
                <a:gd name="T8" fmla="*/ 32385 w 25"/>
                <a:gd name="T9" fmla="*/ 17145 h 10"/>
                <a:gd name="T10" fmla="*/ 19050 w 25"/>
                <a:gd name="T11" fmla="*/ 19050 h 10"/>
                <a:gd name="T12" fmla="*/ 5715 w 25"/>
                <a:gd name="T13" fmla="*/ 11430 h 10"/>
                <a:gd name="T14" fmla="*/ 3810 w 25"/>
                <a:gd name="T15" fmla="*/ 1905 h 10"/>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0"/>
                <a:gd name="T26" fmla="*/ 25 w 2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0">
                  <a:moveTo>
                    <a:pt x="2" y="1"/>
                  </a:moveTo>
                  <a:cubicBezTo>
                    <a:pt x="7" y="0"/>
                    <a:pt x="14" y="0"/>
                    <a:pt x="19" y="1"/>
                  </a:cubicBezTo>
                  <a:cubicBezTo>
                    <a:pt x="21" y="1"/>
                    <a:pt x="25" y="3"/>
                    <a:pt x="24" y="5"/>
                  </a:cubicBezTo>
                  <a:cubicBezTo>
                    <a:pt x="23" y="7"/>
                    <a:pt x="19" y="4"/>
                    <a:pt x="17" y="5"/>
                  </a:cubicBezTo>
                  <a:cubicBezTo>
                    <a:pt x="16" y="6"/>
                    <a:pt x="18" y="8"/>
                    <a:pt x="17" y="9"/>
                  </a:cubicBezTo>
                  <a:cubicBezTo>
                    <a:pt x="15" y="8"/>
                    <a:pt x="12" y="9"/>
                    <a:pt x="10" y="10"/>
                  </a:cubicBezTo>
                  <a:cubicBezTo>
                    <a:pt x="7" y="10"/>
                    <a:pt x="4" y="9"/>
                    <a:pt x="3" y="6"/>
                  </a:cubicBezTo>
                  <a:cubicBezTo>
                    <a:pt x="2" y="5"/>
                    <a:pt x="0" y="2"/>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8" name="Freeform 728"/>
            <p:cNvSpPr>
              <a:spLocks noChangeAspect="1"/>
            </p:cNvSpPr>
            <p:nvPr/>
          </p:nvSpPr>
          <p:spPr bwMode="auto">
            <a:xfrm>
              <a:off x="5505797" y="684645"/>
              <a:ext cx="60865" cy="24503"/>
            </a:xfrm>
            <a:custGeom>
              <a:avLst/>
              <a:gdLst>
                <a:gd name="T0" fmla="*/ 21406 w 31"/>
                <a:gd name="T1" fmla="*/ 3770 h 16"/>
                <a:gd name="T2" fmla="*/ 40865 w 31"/>
                <a:gd name="T3" fmla="*/ 3770 h 16"/>
                <a:gd name="T4" fmla="*/ 56433 w 31"/>
                <a:gd name="T5" fmla="*/ 3770 h 16"/>
                <a:gd name="T6" fmla="*/ 56433 w 31"/>
                <a:gd name="T7" fmla="*/ 15081 h 16"/>
                <a:gd name="T8" fmla="*/ 46703 w 31"/>
                <a:gd name="T9" fmla="*/ 28277 h 16"/>
                <a:gd name="T10" fmla="*/ 25298 w 31"/>
                <a:gd name="T11" fmla="*/ 22621 h 16"/>
                <a:gd name="T12" fmla="*/ 9730 w 31"/>
                <a:gd name="T13" fmla="*/ 28277 h 16"/>
                <a:gd name="T14" fmla="*/ 1946 w 31"/>
                <a:gd name="T15" fmla="*/ 20736 h 16"/>
                <a:gd name="T16" fmla="*/ 3892 w 31"/>
                <a:gd name="T17" fmla="*/ 5655 h 16"/>
                <a:gd name="T18" fmla="*/ 21406 w 31"/>
                <a:gd name="T19" fmla="*/ 377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6"/>
                <a:gd name="T32" fmla="*/ 31 w 3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6">
                  <a:moveTo>
                    <a:pt x="11" y="2"/>
                  </a:moveTo>
                  <a:cubicBezTo>
                    <a:pt x="14" y="2"/>
                    <a:pt x="17" y="2"/>
                    <a:pt x="21" y="2"/>
                  </a:cubicBezTo>
                  <a:cubicBezTo>
                    <a:pt x="24" y="2"/>
                    <a:pt x="27" y="0"/>
                    <a:pt x="29" y="2"/>
                  </a:cubicBezTo>
                  <a:cubicBezTo>
                    <a:pt x="31" y="3"/>
                    <a:pt x="30" y="6"/>
                    <a:pt x="29" y="8"/>
                  </a:cubicBezTo>
                  <a:cubicBezTo>
                    <a:pt x="26" y="10"/>
                    <a:pt x="25" y="14"/>
                    <a:pt x="24" y="15"/>
                  </a:cubicBezTo>
                  <a:cubicBezTo>
                    <a:pt x="20" y="16"/>
                    <a:pt x="17" y="12"/>
                    <a:pt x="13" y="12"/>
                  </a:cubicBezTo>
                  <a:cubicBezTo>
                    <a:pt x="10" y="12"/>
                    <a:pt x="8" y="15"/>
                    <a:pt x="5" y="15"/>
                  </a:cubicBezTo>
                  <a:cubicBezTo>
                    <a:pt x="3" y="15"/>
                    <a:pt x="1" y="13"/>
                    <a:pt x="1" y="11"/>
                  </a:cubicBezTo>
                  <a:cubicBezTo>
                    <a:pt x="0" y="8"/>
                    <a:pt x="0" y="5"/>
                    <a:pt x="2" y="3"/>
                  </a:cubicBezTo>
                  <a:cubicBezTo>
                    <a:pt x="4" y="1"/>
                    <a:pt x="8" y="3"/>
                    <a:pt x="1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9" name="Freeform 729"/>
            <p:cNvSpPr>
              <a:spLocks noChangeAspect="1"/>
            </p:cNvSpPr>
            <p:nvPr/>
          </p:nvSpPr>
          <p:spPr bwMode="auto">
            <a:xfrm>
              <a:off x="5438525" y="706569"/>
              <a:ext cx="27229" cy="14187"/>
            </a:xfrm>
            <a:custGeom>
              <a:avLst/>
              <a:gdLst>
                <a:gd name="T0" fmla="*/ 1928 w 14"/>
                <a:gd name="T1" fmla="*/ 1940 h 9"/>
                <a:gd name="T2" fmla="*/ 1928 w 14"/>
                <a:gd name="T3" fmla="*/ 11642 h 9"/>
                <a:gd name="T4" fmla="*/ 23132 w 14"/>
                <a:gd name="T5" fmla="*/ 15523 h 9"/>
                <a:gd name="T6" fmla="*/ 23132 w 14"/>
                <a:gd name="T7" fmla="*/ 1940 h 9"/>
                <a:gd name="T8" fmla="*/ 1928 w 14"/>
                <a:gd name="T9" fmla="*/ 194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1" y="1"/>
                  </a:moveTo>
                  <a:cubicBezTo>
                    <a:pt x="1" y="1"/>
                    <a:pt x="0" y="5"/>
                    <a:pt x="1" y="6"/>
                  </a:cubicBezTo>
                  <a:cubicBezTo>
                    <a:pt x="4" y="8"/>
                    <a:pt x="8" y="9"/>
                    <a:pt x="12" y="8"/>
                  </a:cubicBezTo>
                  <a:cubicBezTo>
                    <a:pt x="14" y="7"/>
                    <a:pt x="14" y="2"/>
                    <a:pt x="12" y="1"/>
                  </a:cubicBezTo>
                  <a:cubicBezTo>
                    <a:pt x="9" y="0"/>
                    <a:pt x="4"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0" name="Freeform 730"/>
            <p:cNvSpPr>
              <a:spLocks noChangeAspect="1"/>
            </p:cNvSpPr>
            <p:nvPr/>
          </p:nvSpPr>
          <p:spPr bwMode="auto">
            <a:xfrm>
              <a:off x="5404890" y="675617"/>
              <a:ext cx="68874" cy="15476"/>
            </a:xfrm>
            <a:custGeom>
              <a:avLst/>
              <a:gdLst>
                <a:gd name="T0" fmla="*/ 5689 w 36"/>
                <a:gd name="T1" fmla="*/ 1905 h 10"/>
                <a:gd name="T2" fmla="*/ 1896 w 36"/>
                <a:gd name="T3" fmla="*/ 7620 h 10"/>
                <a:gd name="T4" fmla="*/ 13273 w 36"/>
                <a:gd name="T5" fmla="*/ 11430 h 10"/>
                <a:gd name="T6" fmla="*/ 28443 w 36"/>
                <a:gd name="T7" fmla="*/ 13335 h 10"/>
                <a:gd name="T8" fmla="*/ 45509 w 36"/>
                <a:gd name="T9" fmla="*/ 15240 h 10"/>
                <a:gd name="T10" fmla="*/ 54990 w 36"/>
                <a:gd name="T11" fmla="*/ 17145 h 10"/>
                <a:gd name="T12" fmla="*/ 62574 w 36"/>
                <a:gd name="T13" fmla="*/ 19050 h 10"/>
                <a:gd name="T14" fmla="*/ 66367 w 36"/>
                <a:gd name="T15" fmla="*/ 15240 h 10"/>
                <a:gd name="T16" fmla="*/ 51197 w 36"/>
                <a:gd name="T17" fmla="*/ 9525 h 10"/>
                <a:gd name="T18" fmla="*/ 34132 w 36"/>
                <a:gd name="T19" fmla="*/ 5715 h 10"/>
                <a:gd name="T20" fmla="*/ 24651 w 36"/>
                <a:gd name="T21" fmla="*/ 7620 h 10"/>
                <a:gd name="T22" fmla="*/ 13273 w 36"/>
                <a:gd name="T23" fmla="*/ 1905 h 10"/>
                <a:gd name="T24" fmla="*/ 5689 w 36"/>
                <a:gd name="T25" fmla="*/ 1905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10"/>
                <a:gd name="T41" fmla="*/ 36 w 36"/>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10">
                  <a:moveTo>
                    <a:pt x="3" y="1"/>
                  </a:moveTo>
                  <a:cubicBezTo>
                    <a:pt x="2" y="1"/>
                    <a:pt x="0" y="3"/>
                    <a:pt x="1" y="4"/>
                  </a:cubicBezTo>
                  <a:cubicBezTo>
                    <a:pt x="2" y="5"/>
                    <a:pt x="5" y="5"/>
                    <a:pt x="7" y="6"/>
                  </a:cubicBezTo>
                  <a:cubicBezTo>
                    <a:pt x="10" y="7"/>
                    <a:pt x="12" y="7"/>
                    <a:pt x="15" y="7"/>
                  </a:cubicBezTo>
                  <a:cubicBezTo>
                    <a:pt x="18" y="8"/>
                    <a:pt x="21" y="8"/>
                    <a:pt x="24" y="8"/>
                  </a:cubicBezTo>
                  <a:cubicBezTo>
                    <a:pt x="26" y="8"/>
                    <a:pt x="28" y="8"/>
                    <a:pt x="29" y="9"/>
                  </a:cubicBezTo>
                  <a:cubicBezTo>
                    <a:pt x="31" y="9"/>
                    <a:pt x="32" y="10"/>
                    <a:pt x="33" y="10"/>
                  </a:cubicBezTo>
                  <a:cubicBezTo>
                    <a:pt x="34" y="10"/>
                    <a:pt x="36" y="9"/>
                    <a:pt x="35" y="8"/>
                  </a:cubicBezTo>
                  <a:cubicBezTo>
                    <a:pt x="33" y="6"/>
                    <a:pt x="30" y="6"/>
                    <a:pt x="27" y="5"/>
                  </a:cubicBezTo>
                  <a:cubicBezTo>
                    <a:pt x="24" y="4"/>
                    <a:pt x="21" y="3"/>
                    <a:pt x="18" y="3"/>
                  </a:cubicBezTo>
                  <a:cubicBezTo>
                    <a:pt x="17" y="3"/>
                    <a:pt x="15" y="4"/>
                    <a:pt x="13" y="4"/>
                  </a:cubicBezTo>
                  <a:cubicBezTo>
                    <a:pt x="11" y="3"/>
                    <a:pt x="9" y="2"/>
                    <a:pt x="7" y="1"/>
                  </a:cubicBezTo>
                  <a:cubicBezTo>
                    <a:pt x="5" y="1"/>
                    <a:pt x="4"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1" name="Freeform 731"/>
            <p:cNvSpPr>
              <a:spLocks noChangeAspect="1"/>
            </p:cNvSpPr>
            <p:nvPr/>
          </p:nvSpPr>
          <p:spPr bwMode="auto">
            <a:xfrm>
              <a:off x="5395279" y="692383"/>
              <a:ext cx="14416" cy="14186"/>
            </a:xfrm>
            <a:custGeom>
              <a:avLst/>
              <a:gdLst>
                <a:gd name="T0" fmla="*/ 1786 w 8"/>
                <a:gd name="T1" fmla="*/ 1940 h 9"/>
                <a:gd name="T2" fmla="*/ 3572 w 8"/>
                <a:gd name="T3" fmla="*/ 11641 h 9"/>
                <a:gd name="T4" fmla="*/ 12502 w 8"/>
                <a:gd name="T5" fmla="*/ 15522 h 9"/>
                <a:gd name="T6" fmla="*/ 8930 w 8"/>
                <a:gd name="T7" fmla="*/ 3880 h 9"/>
                <a:gd name="T8" fmla="*/ 1786 w 8"/>
                <a:gd name="T9" fmla="*/ 194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1"/>
                  </a:moveTo>
                  <a:cubicBezTo>
                    <a:pt x="0" y="3"/>
                    <a:pt x="1" y="5"/>
                    <a:pt x="2" y="6"/>
                  </a:cubicBezTo>
                  <a:cubicBezTo>
                    <a:pt x="3" y="7"/>
                    <a:pt x="6" y="9"/>
                    <a:pt x="7" y="8"/>
                  </a:cubicBezTo>
                  <a:cubicBezTo>
                    <a:pt x="8" y="6"/>
                    <a:pt x="7" y="3"/>
                    <a:pt x="5" y="2"/>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2" name="Freeform 732"/>
            <p:cNvSpPr>
              <a:spLocks noChangeAspect="1"/>
            </p:cNvSpPr>
            <p:nvPr/>
          </p:nvSpPr>
          <p:spPr bwMode="auto">
            <a:xfrm>
              <a:off x="5505797" y="715597"/>
              <a:ext cx="9610" cy="9027"/>
            </a:xfrm>
            <a:custGeom>
              <a:avLst/>
              <a:gdLst>
                <a:gd name="T0" fmla="*/ 5715 w 5"/>
                <a:gd name="T1" fmla="*/ 0 h 6"/>
                <a:gd name="T2" fmla="*/ 9525 w 5"/>
                <a:gd name="T3" fmla="*/ 7408 h 6"/>
                <a:gd name="T4" fmla="*/ 5715 w 5"/>
                <a:gd name="T5" fmla="*/ 9260 h 6"/>
                <a:gd name="T6" fmla="*/ 0 w 5"/>
                <a:gd name="T7" fmla="*/ 3704 h 6"/>
                <a:gd name="T8" fmla="*/ 571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0"/>
                  </a:moveTo>
                  <a:cubicBezTo>
                    <a:pt x="4" y="1"/>
                    <a:pt x="5" y="3"/>
                    <a:pt x="5" y="4"/>
                  </a:cubicBezTo>
                  <a:cubicBezTo>
                    <a:pt x="5" y="5"/>
                    <a:pt x="4" y="6"/>
                    <a:pt x="3" y="5"/>
                  </a:cubicBezTo>
                  <a:cubicBezTo>
                    <a:pt x="1" y="5"/>
                    <a:pt x="0" y="4"/>
                    <a:pt x="0" y="2"/>
                  </a:cubicBezTo>
                  <a:cubicBezTo>
                    <a:pt x="0" y="1"/>
                    <a:pt x="2"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3" name="Freeform 733"/>
            <p:cNvSpPr>
              <a:spLocks noChangeAspect="1"/>
            </p:cNvSpPr>
            <p:nvPr/>
          </p:nvSpPr>
          <p:spPr bwMode="auto">
            <a:xfrm>
              <a:off x="5398483" y="684645"/>
              <a:ext cx="35238" cy="7738"/>
            </a:xfrm>
            <a:custGeom>
              <a:avLst/>
              <a:gdLst>
                <a:gd name="T0" fmla="*/ 1940 w 18"/>
                <a:gd name="T1" fmla="*/ 1905 h 5"/>
                <a:gd name="T2" fmla="*/ 1940 w 18"/>
                <a:gd name="T3" fmla="*/ 5715 h 5"/>
                <a:gd name="T4" fmla="*/ 27164 w 18"/>
                <a:gd name="T5" fmla="*/ 9525 h 5"/>
                <a:gd name="T6" fmla="*/ 32985 w 18"/>
                <a:gd name="T7" fmla="*/ 7620 h 5"/>
                <a:gd name="T8" fmla="*/ 27164 w 18"/>
                <a:gd name="T9" fmla="*/ 5715 h 5"/>
                <a:gd name="T10" fmla="*/ 9701 w 18"/>
                <a:gd name="T11" fmla="*/ 1905 h 5"/>
                <a:gd name="T12" fmla="*/ 1940 w 18"/>
                <a:gd name="T13" fmla="*/ 1905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1"/>
                  </a:moveTo>
                  <a:cubicBezTo>
                    <a:pt x="0" y="1"/>
                    <a:pt x="0" y="3"/>
                    <a:pt x="1" y="3"/>
                  </a:cubicBezTo>
                  <a:cubicBezTo>
                    <a:pt x="5" y="4"/>
                    <a:pt x="9" y="5"/>
                    <a:pt x="14" y="5"/>
                  </a:cubicBezTo>
                  <a:cubicBezTo>
                    <a:pt x="15" y="5"/>
                    <a:pt x="17" y="5"/>
                    <a:pt x="17" y="4"/>
                  </a:cubicBezTo>
                  <a:cubicBezTo>
                    <a:pt x="18" y="3"/>
                    <a:pt x="15" y="3"/>
                    <a:pt x="14" y="3"/>
                  </a:cubicBezTo>
                  <a:cubicBezTo>
                    <a:pt x="11" y="2"/>
                    <a:pt x="8" y="1"/>
                    <a:pt x="5" y="1"/>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4" name="Freeform 734"/>
            <p:cNvSpPr>
              <a:spLocks noChangeAspect="1"/>
            </p:cNvSpPr>
            <p:nvPr/>
          </p:nvSpPr>
          <p:spPr bwMode="auto">
            <a:xfrm>
              <a:off x="5425712" y="662720"/>
              <a:ext cx="104110" cy="19346"/>
            </a:xfrm>
            <a:custGeom>
              <a:avLst/>
              <a:gdLst>
                <a:gd name="T0" fmla="*/ 1911 w 54"/>
                <a:gd name="T1" fmla="*/ 3969 h 12"/>
                <a:gd name="T2" fmla="*/ 1911 w 54"/>
                <a:gd name="T3" fmla="*/ 9922 h 12"/>
                <a:gd name="T4" fmla="*/ 9554 w 54"/>
                <a:gd name="T5" fmla="*/ 11907 h 12"/>
                <a:gd name="T6" fmla="*/ 19109 w 54"/>
                <a:gd name="T7" fmla="*/ 9922 h 12"/>
                <a:gd name="T8" fmla="*/ 24841 w 54"/>
                <a:gd name="T9" fmla="*/ 11907 h 12"/>
                <a:gd name="T10" fmla="*/ 36307 w 54"/>
                <a:gd name="T11" fmla="*/ 11907 h 12"/>
                <a:gd name="T12" fmla="*/ 45861 w 54"/>
                <a:gd name="T13" fmla="*/ 15875 h 12"/>
                <a:gd name="T14" fmla="*/ 57326 w 54"/>
                <a:gd name="T15" fmla="*/ 21829 h 12"/>
                <a:gd name="T16" fmla="*/ 72613 w 54"/>
                <a:gd name="T17" fmla="*/ 21829 h 12"/>
                <a:gd name="T18" fmla="*/ 91722 w 54"/>
                <a:gd name="T19" fmla="*/ 21829 h 12"/>
                <a:gd name="T20" fmla="*/ 103187 w 54"/>
                <a:gd name="T21" fmla="*/ 17860 h 12"/>
                <a:gd name="T22" fmla="*/ 87900 w 54"/>
                <a:gd name="T23" fmla="*/ 9922 h 12"/>
                <a:gd name="T24" fmla="*/ 68791 w 54"/>
                <a:gd name="T25" fmla="*/ 9922 h 12"/>
                <a:gd name="T26" fmla="*/ 43950 w 54"/>
                <a:gd name="T27" fmla="*/ 1984 h 12"/>
                <a:gd name="T28" fmla="*/ 26752 w 54"/>
                <a:gd name="T29" fmla="*/ 1984 h 12"/>
                <a:gd name="T30" fmla="*/ 17198 w 54"/>
                <a:gd name="T31" fmla="*/ 0 h 12"/>
                <a:gd name="T32" fmla="*/ 15287 w 54"/>
                <a:gd name="T33" fmla="*/ 5953 h 12"/>
                <a:gd name="T34" fmla="*/ 7643 w 54"/>
                <a:gd name="T35" fmla="*/ 3969 h 12"/>
                <a:gd name="T36" fmla="*/ 1911 w 54"/>
                <a:gd name="T37" fmla="*/ 3969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12"/>
                <a:gd name="T59" fmla="*/ 54 w 54"/>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12">
                  <a:moveTo>
                    <a:pt x="1" y="2"/>
                  </a:moveTo>
                  <a:cubicBezTo>
                    <a:pt x="0" y="2"/>
                    <a:pt x="0" y="4"/>
                    <a:pt x="1" y="5"/>
                  </a:cubicBezTo>
                  <a:cubicBezTo>
                    <a:pt x="2" y="6"/>
                    <a:pt x="4" y="6"/>
                    <a:pt x="5" y="6"/>
                  </a:cubicBezTo>
                  <a:cubicBezTo>
                    <a:pt x="7" y="6"/>
                    <a:pt x="8" y="5"/>
                    <a:pt x="10" y="5"/>
                  </a:cubicBezTo>
                  <a:cubicBezTo>
                    <a:pt x="11" y="5"/>
                    <a:pt x="12" y="6"/>
                    <a:pt x="13" y="6"/>
                  </a:cubicBezTo>
                  <a:cubicBezTo>
                    <a:pt x="15" y="6"/>
                    <a:pt x="17" y="6"/>
                    <a:pt x="19" y="6"/>
                  </a:cubicBezTo>
                  <a:cubicBezTo>
                    <a:pt x="20" y="6"/>
                    <a:pt x="22" y="7"/>
                    <a:pt x="24" y="8"/>
                  </a:cubicBezTo>
                  <a:cubicBezTo>
                    <a:pt x="26" y="9"/>
                    <a:pt x="28" y="10"/>
                    <a:pt x="30" y="11"/>
                  </a:cubicBezTo>
                  <a:cubicBezTo>
                    <a:pt x="33" y="11"/>
                    <a:pt x="35" y="10"/>
                    <a:pt x="38" y="11"/>
                  </a:cubicBezTo>
                  <a:cubicBezTo>
                    <a:pt x="41" y="11"/>
                    <a:pt x="45" y="12"/>
                    <a:pt x="48" y="11"/>
                  </a:cubicBezTo>
                  <a:cubicBezTo>
                    <a:pt x="50" y="11"/>
                    <a:pt x="54" y="11"/>
                    <a:pt x="54" y="9"/>
                  </a:cubicBezTo>
                  <a:cubicBezTo>
                    <a:pt x="53" y="6"/>
                    <a:pt x="49" y="6"/>
                    <a:pt x="46" y="5"/>
                  </a:cubicBezTo>
                  <a:cubicBezTo>
                    <a:pt x="43" y="4"/>
                    <a:pt x="39" y="5"/>
                    <a:pt x="36" y="5"/>
                  </a:cubicBezTo>
                  <a:cubicBezTo>
                    <a:pt x="31" y="4"/>
                    <a:pt x="27" y="2"/>
                    <a:pt x="23" y="1"/>
                  </a:cubicBezTo>
                  <a:cubicBezTo>
                    <a:pt x="20" y="1"/>
                    <a:pt x="17" y="1"/>
                    <a:pt x="14" y="1"/>
                  </a:cubicBezTo>
                  <a:cubicBezTo>
                    <a:pt x="12" y="1"/>
                    <a:pt x="10" y="0"/>
                    <a:pt x="9" y="0"/>
                  </a:cubicBezTo>
                  <a:cubicBezTo>
                    <a:pt x="8" y="0"/>
                    <a:pt x="9" y="2"/>
                    <a:pt x="8" y="3"/>
                  </a:cubicBezTo>
                  <a:cubicBezTo>
                    <a:pt x="7" y="3"/>
                    <a:pt x="6" y="3"/>
                    <a:pt x="4" y="2"/>
                  </a:cubicBezTo>
                  <a:cubicBezTo>
                    <a:pt x="3" y="2"/>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5" name="Freeform 735"/>
            <p:cNvSpPr>
              <a:spLocks noChangeAspect="1"/>
            </p:cNvSpPr>
            <p:nvPr/>
          </p:nvSpPr>
          <p:spPr bwMode="auto">
            <a:xfrm>
              <a:off x="5558654" y="651114"/>
              <a:ext cx="28831" cy="9027"/>
            </a:xfrm>
            <a:custGeom>
              <a:avLst/>
              <a:gdLst>
                <a:gd name="T0" fmla="*/ 15240 w 15"/>
                <a:gd name="T1" fmla="*/ 1852 h 6"/>
                <a:gd name="T2" fmla="*/ 11430 w 15"/>
                <a:gd name="T3" fmla="*/ 3704 h 6"/>
                <a:gd name="T4" fmla="*/ 1905 w 15"/>
                <a:gd name="T5" fmla="*/ 3704 h 6"/>
                <a:gd name="T6" fmla="*/ 9525 w 15"/>
                <a:gd name="T7" fmla="*/ 7408 h 6"/>
                <a:gd name="T8" fmla="*/ 17145 w 15"/>
                <a:gd name="T9" fmla="*/ 11112 h 6"/>
                <a:gd name="T10" fmla="*/ 26670 w 15"/>
                <a:gd name="T11" fmla="*/ 5556 h 6"/>
                <a:gd name="T12" fmla="*/ 22860 w 15"/>
                <a:gd name="T13" fmla="*/ 0 h 6"/>
                <a:gd name="T14" fmla="*/ 15240 w 15"/>
                <a:gd name="T15" fmla="*/ 1852 h 6"/>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6"/>
                <a:gd name="T26" fmla="*/ 15 w 15"/>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6">
                  <a:moveTo>
                    <a:pt x="8" y="1"/>
                  </a:moveTo>
                  <a:cubicBezTo>
                    <a:pt x="7" y="2"/>
                    <a:pt x="7" y="2"/>
                    <a:pt x="6" y="2"/>
                  </a:cubicBezTo>
                  <a:cubicBezTo>
                    <a:pt x="4" y="2"/>
                    <a:pt x="2" y="1"/>
                    <a:pt x="1" y="2"/>
                  </a:cubicBezTo>
                  <a:cubicBezTo>
                    <a:pt x="0" y="4"/>
                    <a:pt x="3" y="3"/>
                    <a:pt x="5" y="4"/>
                  </a:cubicBezTo>
                  <a:cubicBezTo>
                    <a:pt x="6" y="5"/>
                    <a:pt x="7" y="6"/>
                    <a:pt x="9" y="6"/>
                  </a:cubicBezTo>
                  <a:cubicBezTo>
                    <a:pt x="11" y="6"/>
                    <a:pt x="13" y="5"/>
                    <a:pt x="14" y="3"/>
                  </a:cubicBezTo>
                  <a:cubicBezTo>
                    <a:pt x="15" y="2"/>
                    <a:pt x="13" y="0"/>
                    <a:pt x="12" y="0"/>
                  </a:cubicBezTo>
                  <a:cubicBezTo>
                    <a:pt x="10" y="0"/>
                    <a:pt x="9" y="1"/>
                    <a:pt x="8"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6" name="Freeform 736"/>
            <p:cNvSpPr>
              <a:spLocks noChangeAspect="1"/>
            </p:cNvSpPr>
            <p:nvPr/>
          </p:nvSpPr>
          <p:spPr bwMode="auto">
            <a:xfrm>
              <a:off x="5529824" y="669169"/>
              <a:ext cx="32034" cy="16766"/>
            </a:xfrm>
            <a:custGeom>
              <a:avLst/>
              <a:gdLst>
                <a:gd name="T0" fmla="*/ 1868 w 17"/>
                <a:gd name="T1" fmla="*/ 16885 h 11"/>
                <a:gd name="T2" fmla="*/ 9338 w 17"/>
                <a:gd name="T3" fmla="*/ 11257 h 11"/>
                <a:gd name="T4" fmla="*/ 14941 w 17"/>
                <a:gd name="T5" fmla="*/ 1876 h 11"/>
                <a:gd name="T6" fmla="*/ 28015 w 17"/>
                <a:gd name="T7" fmla="*/ 1876 h 11"/>
                <a:gd name="T8" fmla="*/ 22412 w 17"/>
                <a:gd name="T9" fmla="*/ 7504 h 11"/>
                <a:gd name="T10" fmla="*/ 16809 w 17"/>
                <a:gd name="T11" fmla="*/ 15009 h 11"/>
                <a:gd name="T12" fmla="*/ 11206 w 17"/>
                <a:gd name="T13" fmla="*/ 18761 h 11"/>
                <a:gd name="T14" fmla="*/ 1868 w 17"/>
                <a:gd name="T15" fmla="*/ 16885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 y="9"/>
                  </a:moveTo>
                  <a:cubicBezTo>
                    <a:pt x="0" y="8"/>
                    <a:pt x="4" y="7"/>
                    <a:pt x="5" y="6"/>
                  </a:cubicBezTo>
                  <a:cubicBezTo>
                    <a:pt x="6" y="5"/>
                    <a:pt x="6" y="2"/>
                    <a:pt x="8" y="1"/>
                  </a:cubicBezTo>
                  <a:cubicBezTo>
                    <a:pt x="10" y="0"/>
                    <a:pt x="13" y="0"/>
                    <a:pt x="15" y="1"/>
                  </a:cubicBezTo>
                  <a:cubicBezTo>
                    <a:pt x="17" y="2"/>
                    <a:pt x="13" y="3"/>
                    <a:pt x="12" y="4"/>
                  </a:cubicBezTo>
                  <a:cubicBezTo>
                    <a:pt x="11" y="6"/>
                    <a:pt x="10" y="7"/>
                    <a:pt x="9" y="8"/>
                  </a:cubicBezTo>
                  <a:cubicBezTo>
                    <a:pt x="8" y="9"/>
                    <a:pt x="7" y="10"/>
                    <a:pt x="6" y="10"/>
                  </a:cubicBezTo>
                  <a:cubicBezTo>
                    <a:pt x="4" y="10"/>
                    <a:pt x="1" y="11"/>
                    <a:pt x="1"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7" name="Freeform 737"/>
            <p:cNvSpPr>
              <a:spLocks noChangeAspect="1"/>
            </p:cNvSpPr>
            <p:nvPr/>
          </p:nvSpPr>
          <p:spPr bwMode="auto">
            <a:xfrm>
              <a:off x="5435323" y="691093"/>
              <a:ext cx="22424" cy="6449"/>
            </a:xfrm>
            <a:custGeom>
              <a:avLst/>
              <a:gdLst>
                <a:gd name="T0" fmla="*/ 1852 w 12"/>
                <a:gd name="T1" fmla="*/ 1985 h 4"/>
                <a:gd name="T2" fmla="*/ 1852 w 12"/>
                <a:gd name="T3" fmla="*/ 5953 h 4"/>
                <a:gd name="T4" fmla="*/ 20373 w 12"/>
                <a:gd name="T5" fmla="*/ 5953 h 4"/>
                <a:gd name="T6" fmla="*/ 22225 w 12"/>
                <a:gd name="T7" fmla="*/ 1985 h 4"/>
                <a:gd name="T8" fmla="*/ 9260 w 12"/>
                <a:gd name="T9" fmla="*/ 0 h 4"/>
                <a:gd name="T10" fmla="*/ 1852 w 12"/>
                <a:gd name="T11" fmla="*/ 1985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1"/>
                  </a:moveTo>
                  <a:cubicBezTo>
                    <a:pt x="0" y="1"/>
                    <a:pt x="0" y="3"/>
                    <a:pt x="1" y="3"/>
                  </a:cubicBezTo>
                  <a:cubicBezTo>
                    <a:pt x="4" y="4"/>
                    <a:pt x="7" y="4"/>
                    <a:pt x="11" y="3"/>
                  </a:cubicBezTo>
                  <a:cubicBezTo>
                    <a:pt x="12" y="3"/>
                    <a:pt x="12" y="1"/>
                    <a:pt x="12" y="1"/>
                  </a:cubicBezTo>
                  <a:cubicBezTo>
                    <a:pt x="10" y="0"/>
                    <a:pt x="7" y="0"/>
                    <a:pt x="5" y="0"/>
                  </a:cubicBezTo>
                  <a:cubicBezTo>
                    <a:pt x="3" y="0"/>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8" name="Freeform 738"/>
            <p:cNvSpPr>
              <a:spLocks noChangeAspect="1"/>
            </p:cNvSpPr>
            <p:nvPr/>
          </p:nvSpPr>
          <p:spPr bwMode="auto">
            <a:xfrm>
              <a:off x="5476967" y="684645"/>
              <a:ext cx="19221" cy="7738"/>
            </a:xfrm>
            <a:custGeom>
              <a:avLst/>
              <a:gdLst>
                <a:gd name="T0" fmla="*/ 1905 w 10"/>
                <a:gd name="T1" fmla="*/ 3810 h 5"/>
                <a:gd name="T2" fmla="*/ 0 w 10"/>
                <a:gd name="T3" fmla="*/ 7620 h 5"/>
                <a:gd name="T4" fmla="*/ 11430 w 10"/>
                <a:gd name="T5" fmla="*/ 7620 h 5"/>
                <a:gd name="T6" fmla="*/ 19050 w 10"/>
                <a:gd name="T7" fmla="*/ 5715 h 5"/>
                <a:gd name="T8" fmla="*/ 15240 w 10"/>
                <a:gd name="T9" fmla="*/ 0 h 5"/>
                <a:gd name="T10" fmla="*/ 5715 w 10"/>
                <a:gd name="T11" fmla="*/ 1905 h 5"/>
                <a:gd name="T12" fmla="*/ 1905 w 10"/>
                <a:gd name="T13" fmla="*/ 3810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1" y="2"/>
                  </a:moveTo>
                  <a:cubicBezTo>
                    <a:pt x="0" y="2"/>
                    <a:pt x="0" y="3"/>
                    <a:pt x="0" y="4"/>
                  </a:cubicBezTo>
                  <a:cubicBezTo>
                    <a:pt x="2" y="5"/>
                    <a:pt x="4" y="5"/>
                    <a:pt x="6" y="4"/>
                  </a:cubicBezTo>
                  <a:cubicBezTo>
                    <a:pt x="7" y="4"/>
                    <a:pt x="9" y="4"/>
                    <a:pt x="10" y="3"/>
                  </a:cubicBezTo>
                  <a:cubicBezTo>
                    <a:pt x="10" y="2"/>
                    <a:pt x="9" y="0"/>
                    <a:pt x="8" y="0"/>
                  </a:cubicBezTo>
                  <a:cubicBezTo>
                    <a:pt x="6" y="0"/>
                    <a:pt x="5" y="0"/>
                    <a:pt x="3" y="1"/>
                  </a:cubicBezTo>
                  <a:cubicBezTo>
                    <a:pt x="2" y="1"/>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9" name="Freeform 739"/>
            <p:cNvSpPr>
              <a:spLocks noChangeAspect="1"/>
            </p:cNvSpPr>
            <p:nvPr/>
          </p:nvSpPr>
          <p:spPr bwMode="auto">
            <a:xfrm>
              <a:off x="5443330" y="675617"/>
              <a:ext cx="33637" cy="10318"/>
            </a:xfrm>
            <a:custGeom>
              <a:avLst/>
              <a:gdLst>
                <a:gd name="T0" fmla="*/ 0 w 18"/>
                <a:gd name="T1" fmla="*/ 0 h 7"/>
                <a:gd name="T2" fmla="*/ 0 w 18"/>
                <a:gd name="T3" fmla="*/ 1814 h 7"/>
                <a:gd name="T4" fmla="*/ 20373 w 18"/>
                <a:gd name="T5" fmla="*/ 9071 h 7"/>
                <a:gd name="T6" fmla="*/ 29634 w 18"/>
                <a:gd name="T7" fmla="*/ 12700 h 7"/>
                <a:gd name="T8" fmla="*/ 33338 w 18"/>
                <a:gd name="T9" fmla="*/ 10886 h 7"/>
                <a:gd name="T10" fmla="*/ 16669 w 18"/>
                <a:gd name="T11" fmla="*/ 3629 h 7"/>
                <a:gd name="T12" fmla="*/ 0 w 18"/>
                <a:gd name="T13" fmla="*/ 0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0" y="0"/>
                  </a:moveTo>
                  <a:cubicBezTo>
                    <a:pt x="0" y="0"/>
                    <a:pt x="0" y="1"/>
                    <a:pt x="0" y="1"/>
                  </a:cubicBezTo>
                  <a:cubicBezTo>
                    <a:pt x="4" y="3"/>
                    <a:pt x="8" y="3"/>
                    <a:pt x="11" y="5"/>
                  </a:cubicBezTo>
                  <a:cubicBezTo>
                    <a:pt x="13" y="5"/>
                    <a:pt x="15" y="7"/>
                    <a:pt x="16" y="7"/>
                  </a:cubicBezTo>
                  <a:cubicBezTo>
                    <a:pt x="17" y="7"/>
                    <a:pt x="18" y="6"/>
                    <a:pt x="18" y="6"/>
                  </a:cubicBezTo>
                  <a:cubicBezTo>
                    <a:pt x="15" y="4"/>
                    <a:pt x="12" y="3"/>
                    <a:pt x="9" y="2"/>
                  </a:cubicBezTo>
                  <a:cubicBezTo>
                    <a:pt x="6" y="1"/>
                    <a:pt x="3" y="0"/>
                    <a:pt x="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0" name="Freeform 740"/>
            <p:cNvSpPr>
              <a:spLocks noChangeAspect="1"/>
            </p:cNvSpPr>
            <p:nvPr/>
          </p:nvSpPr>
          <p:spPr bwMode="auto">
            <a:xfrm>
              <a:off x="5259134" y="683355"/>
              <a:ext cx="97704" cy="37401"/>
            </a:xfrm>
            <a:custGeom>
              <a:avLst/>
              <a:gdLst>
                <a:gd name="T0" fmla="*/ 94938 w 51"/>
                <a:gd name="T1" fmla="*/ 9591 h 24"/>
                <a:gd name="T2" fmla="*/ 94938 w 51"/>
                <a:gd name="T3" fmla="*/ 15346 h 24"/>
                <a:gd name="T4" fmla="*/ 83546 w 51"/>
                <a:gd name="T5" fmla="*/ 19183 h 24"/>
                <a:gd name="T6" fmla="*/ 66457 w 51"/>
                <a:gd name="T7" fmla="*/ 19183 h 24"/>
                <a:gd name="T8" fmla="*/ 56963 w 51"/>
                <a:gd name="T9" fmla="*/ 26855 h 24"/>
                <a:gd name="T10" fmla="*/ 41773 w 51"/>
                <a:gd name="T11" fmla="*/ 23019 h 24"/>
                <a:gd name="T12" fmla="*/ 36077 w 51"/>
                <a:gd name="T13" fmla="*/ 28774 h 24"/>
                <a:gd name="T14" fmla="*/ 45570 w 51"/>
                <a:gd name="T15" fmla="*/ 36447 h 24"/>
                <a:gd name="T16" fmla="*/ 36077 w 51"/>
                <a:gd name="T17" fmla="*/ 36447 h 24"/>
                <a:gd name="T18" fmla="*/ 28481 w 51"/>
                <a:gd name="T19" fmla="*/ 40283 h 24"/>
                <a:gd name="T20" fmla="*/ 22785 w 51"/>
                <a:gd name="T21" fmla="*/ 40283 h 24"/>
                <a:gd name="T22" fmla="*/ 15190 w 51"/>
                <a:gd name="T23" fmla="*/ 44120 h 24"/>
                <a:gd name="T24" fmla="*/ 20886 w 51"/>
                <a:gd name="T25" fmla="*/ 34529 h 24"/>
                <a:gd name="T26" fmla="*/ 22785 w 51"/>
                <a:gd name="T27" fmla="*/ 30692 h 24"/>
                <a:gd name="T28" fmla="*/ 11393 w 51"/>
                <a:gd name="T29" fmla="*/ 32610 h 24"/>
                <a:gd name="T30" fmla="*/ 7595 w 51"/>
                <a:gd name="T31" fmla="*/ 40283 h 24"/>
                <a:gd name="T32" fmla="*/ 0 w 51"/>
                <a:gd name="T33" fmla="*/ 30692 h 24"/>
                <a:gd name="T34" fmla="*/ 5696 w 51"/>
                <a:gd name="T35" fmla="*/ 24937 h 24"/>
                <a:gd name="T36" fmla="*/ 11393 w 51"/>
                <a:gd name="T37" fmla="*/ 28774 h 24"/>
                <a:gd name="T38" fmla="*/ 22785 w 51"/>
                <a:gd name="T39" fmla="*/ 26855 h 24"/>
                <a:gd name="T40" fmla="*/ 17089 w 51"/>
                <a:gd name="T41" fmla="*/ 23019 h 24"/>
                <a:gd name="T42" fmla="*/ 22785 w 51"/>
                <a:gd name="T43" fmla="*/ 21101 h 24"/>
                <a:gd name="T44" fmla="*/ 17089 w 51"/>
                <a:gd name="T45" fmla="*/ 19183 h 24"/>
                <a:gd name="T46" fmla="*/ 26583 w 51"/>
                <a:gd name="T47" fmla="*/ 15346 h 24"/>
                <a:gd name="T48" fmla="*/ 34178 w 51"/>
                <a:gd name="T49" fmla="*/ 19183 h 24"/>
                <a:gd name="T50" fmla="*/ 43672 w 51"/>
                <a:gd name="T51" fmla="*/ 15346 h 24"/>
                <a:gd name="T52" fmla="*/ 45570 w 51"/>
                <a:gd name="T53" fmla="*/ 11510 h 24"/>
                <a:gd name="T54" fmla="*/ 39874 w 51"/>
                <a:gd name="T55" fmla="*/ 7673 h 24"/>
                <a:gd name="T56" fmla="*/ 41773 w 51"/>
                <a:gd name="T57" fmla="*/ 3837 h 24"/>
                <a:gd name="T58" fmla="*/ 60760 w 51"/>
                <a:gd name="T59" fmla="*/ 0 h 24"/>
                <a:gd name="T60" fmla="*/ 66457 w 51"/>
                <a:gd name="T61" fmla="*/ 3837 h 24"/>
                <a:gd name="T62" fmla="*/ 74052 w 51"/>
                <a:gd name="T63" fmla="*/ 1918 h 24"/>
                <a:gd name="T64" fmla="*/ 75951 w 51"/>
                <a:gd name="T65" fmla="*/ 3837 h 24"/>
                <a:gd name="T66" fmla="*/ 64558 w 51"/>
                <a:gd name="T67" fmla="*/ 9591 h 24"/>
                <a:gd name="T68" fmla="*/ 66457 w 51"/>
                <a:gd name="T69" fmla="*/ 11510 h 24"/>
                <a:gd name="T70" fmla="*/ 81647 w 51"/>
                <a:gd name="T71" fmla="*/ 7673 h 24"/>
                <a:gd name="T72" fmla="*/ 94938 w 51"/>
                <a:gd name="T73" fmla="*/ 9591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24"/>
                <a:gd name="T113" fmla="*/ 51 w 51"/>
                <a:gd name="T114" fmla="*/ 24 h 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24">
                  <a:moveTo>
                    <a:pt x="50" y="5"/>
                  </a:moveTo>
                  <a:cubicBezTo>
                    <a:pt x="51" y="6"/>
                    <a:pt x="51" y="8"/>
                    <a:pt x="50" y="8"/>
                  </a:cubicBezTo>
                  <a:cubicBezTo>
                    <a:pt x="48" y="9"/>
                    <a:pt x="46" y="10"/>
                    <a:pt x="44" y="10"/>
                  </a:cubicBezTo>
                  <a:cubicBezTo>
                    <a:pt x="41" y="10"/>
                    <a:pt x="38" y="9"/>
                    <a:pt x="35" y="10"/>
                  </a:cubicBezTo>
                  <a:cubicBezTo>
                    <a:pt x="33" y="11"/>
                    <a:pt x="32" y="14"/>
                    <a:pt x="30" y="14"/>
                  </a:cubicBezTo>
                  <a:cubicBezTo>
                    <a:pt x="27" y="14"/>
                    <a:pt x="25" y="12"/>
                    <a:pt x="22" y="12"/>
                  </a:cubicBezTo>
                  <a:cubicBezTo>
                    <a:pt x="21" y="13"/>
                    <a:pt x="18" y="14"/>
                    <a:pt x="19" y="15"/>
                  </a:cubicBezTo>
                  <a:cubicBezTo>
                    <a:pt x="19" y="17"/>
                    <a:pt x="24" y="17"/>
                    <a:pt x="24" y="19"/>
                  </a:cubicBezTo>
                  <a:cubicBezTo>
                    <a:pt x="24" y="20"/>
                    <a:pt x="20" y="19"/>
                    <a:pt x="19" y="19"/>
                  </a:cubicBezTo>
                  <a:cubicBezTo>
                    <a:pt x="18" y="20"/>
                    <a:pt x="16" y="21"/>
                    <a:pt x="15" y="21"/>
                  </a:cubicBezTo>
                  <a:cubicBezTo>
                    <a:pt x="14" y="21"/>
                    <a:pt x="13" y="21"/>
                    <a:pt x="12" y="21"/>
                  </a:cubicBezTo>
                  <a:cubicBezTo>
                    <a:pt x="10" y="21"/>
                    <a:pt x="8" y="24"/>
                    <a:pt x="8" y="23"/>
                  </a:cubicBezTo>
                  <a:cubicBezTo>
                    <a:pt x="7" y="21"/>
                    <a:pt x="10" y="19"/>
                    <a:pt x="11" y="18"/>
                  </a:cubicBezTo>
                  <a:cubicBezTo>
                    <a:pt x="11" y="17"/>
                    <a:pt x="13" y="16"/>
                    <a:pt x="12" y="16"/>
                  </a:cubicBezTo>
                  <a:cubicBezTo>
                    <a:pt x="10" y="16"/>
                    <a:pt x="8" y="16"/>
                    <a:pt x="6" y="17"/>
                  </a:cubicBezTo>
                  <a:cubicBezTo>
                    <a:pt x="5" y="18"/>
                    <a:pt x="5" y="21"/>
                    <a:pt x="4" y="21"/>
                  </a:cubicBezTo>
                  <a:cubicBezTo>
                    <a:pt x="2" y="21"/>
                    <a:pt x="0" y="18"/>
                    <a:pt x="0" y="16"/>
                  </a:cubicBezTo>
                  <a:cubicBezTo>
                    <a:pt x="0" y="15"/>
                    <a:pt x="2" y="13"/>
                    <a:pt x="3" y="13"/>
                  </a:cubicBezTo>
                  <a:cubicBezTo>
                    <a:pt x="4" y="13"/>
                    <a:pt x="5" y="14"/>
                    <a:pt x="6" y="15"/>
                  </a:cubicBezTo>
                  <a:cubicBezTo>
                    <a:pt x="8" y="15"/>
                    <a:pt x="10" y="15"/>
                    <a:pt x="12" y="14"/>
                  </a:cubicBezTo>
                  <a:cubicBezTo>
                    <a:pt x="13" y="13"/>
                    <a:pt x="9" y="13"/>
                    <a:pt x="9" y="12"/>
                  </a:cubicBezTo>
                  <a:cubicBezTo>
                    <a:pt x="9" y="11"/>
                    <a:pt x="12" y="12"/>
                    <a:pt x="12" y="11"/>
                  </a:cubicBezTo>
                  <a:cubicBezTo>
                    <a:pt x="11" y="10"/>
                    <a:pt x="8" y="10"/>
                    <a:pt x="9" y="10"/>
                  </a:cubicBezTo>
                  <a:cubicBezTo>
                    <a:pt x="10" y="8"/>
                    <a:pt x="12" y="8"/>
                    <a:pt x="14" y="8"/>
                  </a:cubicBezTo>
                  <a:cubicBezTo>
                    <a:pt x="15" y="8"/>
                    <a:pt x="16" y="10"/>
                    <a:pt x="18" y="10"/>
                  </a:cubicBezTo>
                  <a:cubicBezTo>
                    <a:pt x="20" y="10"/>
                    <a:pt x="22" y="10"/>
                    <a:pt x="23" y="8"/>
                  </a:cubicBezTo>
                  <a:cubicBezTo>
                    <a:pt x="24" y="8"/>
                    <a:pt x="24" y="7"/>
                    <a:pt x="24" y="6"/>
                  </a:cubicBezTo>
                  <a:cubicBezTo>
                    <a:pt x="24" y="5"/>
                    <a:pt x="22" y="5"/>
                    <a:pt x="21" y="4"/>
                  </a:cubicBezTo>
                  <a:cubicBezTo>
                    <a:pt x="21" y="3"/>
                    <a:pt x="22" y="2"/>
                    <a:pt x="22" y="2"/>
                  </a:cubicBezTo>
                  <a:cubicBezTo>
                    <a:pt x="25" y="1"/>
                    <a:pt x="29" y="0"/>
                    <a:pt x="32" y="0"/>
                  </a:cubicBezTo>
                  <a:cubicBezTo>
                    <a:pt x="33" y="0"/>
                    <a:pt x="34" y="2"/>
                    <a:pt x="35" y="2"/>
                  </a:cubicBezTo>
                  <a:cubicBezTo>
                    <a:pt x="36" y="2"/>
                    <a:pt x="37" y="1"/>
                    <a:pt x="39" y="1"/>
                  </a:cubicBezTo>
                  <a:cubicBezTo>
                    <a:pt x="39" y="1"/>
                    <a:pt x="40" y="2"/>
                    <a:pt x="40" y="2"/>
                  </a:cubicBezTo>
                  <a:cubicBezTo>
                    <a:pt x="38" y="4"/>
                    <a:pt x="35" y="3"/>
                    <a:pt x="34" y="5"/>
                  </a:cubicBezTo>
                  <a:cubicBezTo>
                    <a:pt x="33" y="5"/>
                    <a:pt x="34" y="6"/>
                    <a:pt x="35" y="6"/>
                  </a:cubicBezTo>
                  <a:cubicBezTo>
                    <a:pt x="37" y="6"/>
                    <a:pt x="40" y="4"/>
                    <a:pt x="43" y="4"/>
                  </a:cubicBezTo>
                  <a:cubicBezTo>
                    <a:pt x="45" y="4"/>
                    <a:pt x="48" y="4"/>
                    <a:pt x="50"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1" name="Freeform 741"/>
            <p:cNvSpPr>
              <a:spLocks noChangeAspect="1"/>
            </p:cNvSpPr>
            <p:nvPr/>
          </p:nvSpPr>
          <p:spPr bwMode="auto">
            <a:xfrm>
              <a:off x="5220693" y="684645"/>
              <a:ext cx="73679" cy="18056"/>
            </a:xfrm>
            <a:custGeom>
              <a:avLst/>
              <a:gdLst>
                <a:gd name="T0" fmla="*/ 41194 w 39"/>
                <a:gd name="T1" fmla="*/ 0 h 12"/>
                <a:gd name="T2" fmla="*/ 67408 w 39"/>
                <a:gd name="T3" fmla="*/ 1852 h 12"/>
                <a:gd name="T4" fmla="*/ 73025 w 39"/>
                <a:gd name="T5" fmla="*/ 9260 h 12"/>
                <a:gd name="T6" fmla="*/ 65535 w 39"/>
                <a:gd name="T7" fmla="*/ 9260 h 12"/>
                <a:gd name="T8" fmla="*/ 52428 w 39"/>
                <a:gd name="T9" fmla="*/ 5556 h 12"/>
                <a:gd name="T10" fmla="*/ 46811 w 39"/>
                <a:gd name="T11" fmla="*/ 12965 h 12"/>
                <a:gd name="T12" fmla="*/ 39321 w 39"/>
                <a:gd name="T13" fmla="*/ 11113 h 12"/>
                <a:gd name="T14" fmla="*/ 28087 w 39"/>
                <a:gd name="T15" fmla="*/ 20373 h 12"/>
                <a:gd name="T16" fmla="*/ 20597 w 39"/>
                <a:gd name="T17" fmla="*/ 22225 h 12"/>
                <a:gd name="T18" fmla="*/ 18724 w 39"/>
                <a:gd name="T19" fmla="*/ 18521 h 12"/>
                <a:gd name="T20" fmla="*/ 11235 w 39"/>
                <a:gd name="T21" fmla="*/ 16669 h 12"/>
                <a:gd name="T22" fmla="*/ 1872 w 39"/>
                <a:gd name="T23" fmla="*/ 16669 h 12"/>
                <a:gd name="T24" fmla="*/ 5617 w 39"/>
                <a:gd name="T25" fmla="*/ 12965 h 12"/>
                <a:gd name="T26" fmla="*/ 24342 w 39"/>
                <a:gd name="T27" fmla="*/ 12965 h 12"/>
                <a:gd name="T28" fmla="*/ 35576 w 39"/>
                <a:gd name="T29" fmla="*/ 5556 h 12"/>
                <a:gd name="T30" fmla="*/ 41194 w 39"/>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12"/>
                <a:gd name="T50" fmla="*/ 39 w 3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12">
                  <a:moveTo>
                    <a:pt x="22" y="0"/>
                  </a:moveTo>
                  <a:cubicBezTo>
                    <a:pt x="26" y="0"/>
                    <a:pt x="31" y="0"/>
                    <a:pt x="36" y="1"/>
                  </a:cubicBezTo>
                  <a:cubicBezTo>
                    <a:pt x="37" y="2"/>
                    <a:pt x="39" y="3"/>
                    <a:pt x="39" y="5"/>
                  </a:cubicBezTo>
                  <a:cubicBezTo>
                    <a:pt x="39" y="6"/>
                    <a:pt x="36" y="6"/>
                    <a:pt x="35" y="5"/>
                  </a:cubicBezTo>
                  <a:cubicBezTo>
                    <a:pt x="32" y="5"/>
                    <a:pt x="30" y="3"/>
                    <a:pt x="28" y="3"/>
                  </a:cubicBezTo>
                  <a:cubicBezTo>
                    <a:pt x="26" y="3"/>
                    <a:pt x="26" y="6"/>
                    <a:pt x="25" y="7"/>
                  </a:cubicBezTo>
                  <a:cubicBezTo>
                    <a:pt x="24" y="7"/>
                    <a:pt x="22" y="6"/>
                    <a:pt x="21" y="6"/>
                  </a:cubicBezTo>
                  <a:cubicBezTo>
                    <a:pt x="19" y="7"/>
                    <a:pt x="17" y="9"/>
                    <a:pt x="15" y="11"/>
                  </a:cubicBezTo>
                  <a:cubicBezTo>
                    <a:pt x="13" y="11"/>
                    <a:pt x="12" y="12"/>
                    <a:pt x="11" y="12"/>
                  </a:cubicBezTo>
                  <a:cubicBezTo>
                    <a:pt x="10" y="12"/>
                    <a:pt x="11" y="10"/>
                    <a:pt x="10" y="10"/>
                  </a:cubicBezTo>
                  <a:cubicBezTo>
                    <a:pt x="9" y="9"/>
                    <a:pt x="7" y="9"/>
                    <a:pt x="6" y="9"/>
                  </a:cubicBezTo>
                  <a:cubicBezTo>
                    <a:pt x="4" y="9"/>
                    <a:pt x="2" y="10"/>
                    <a:pt x="1" y="9"/>
                  </a:cubicBezTo>
                  <a:cubicBezTo>
                    <a:pt x="0" y="8"/>
                    <a:pt x="2" y="7"/>
                    <a:pt x="3" y="7"/>
                  </a:cubicBezTo>
                  <a:cubicBezTo>
                    <a:pt x="7" y="6"/>
                    <a:pt x="10" y="7"/>
                    <a:pt x="13" y="7"/>
                  </a:cubicBezTo>
                  <a:cubicBezTo>
                    <a:pt x="15" y="6"/>
                    <a:pt x="17" y="5"/>
                    <a:pt x="19" y="3"/>
                  </a:cubicBezTo>
                  <a:cubicBezTo>
                    <a:pt x="20" y="2"/>
                    <a:pt x="20" y="1"/>
                    <a:pt x="2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2" name="Freeform 742"/>
            <p:cNvSpPr>
              <a:spLocks noChangeAspect="1"/>
            </p:cNvSpPr>
            <p:nvPr/>
          </p:nvSpPr>
          <p:spPr bwMode="auto">
            <a:xfrm>
              <a:off x="5321600" y="667878"/>
              <a:ext cx="11213" cy="11608"/>
            </a:xfrm>
            <a:custGeom>
              <a:avLst/>
              <a:gdLst>
                <a:gd name="T0" fmla="*/ 3704 w 6"/>
                <a:gd name="T1" fmla="*/ 1786 h 8"/>
                <a:gd name="T2" fmla="*/ 11113 w 6"/>
                <a:gd name="T3" fmla="*/ 5358 h 8"/>
                <a:gd name="T4" fmla="*/ 5557 w 6"/>
                <a:gd name="T5" fmla="*/ 10716 h 8"/>
                <a:gd name="T6" fmla="*/ 3704 w 6"/>
                <a:gd name="T7" fmla="*/ 14288 h 8"/>
                <a:gd name="T8" fmla="*/ 3704 w 6"/>
                <a:gd name="T9" fmla="*/ 1786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2" y="1"/>
                  </a:moveTo>
                  <a:cubicBezTo>
                    <a:pt x="3" y="0"/>
                    <a:pt x="6" y="2"/>
                    <a:pt x="6" y="3"/>
                  </a:cubicBezTo>
                  <a:cubicBezTo>
                    <a:pt x="6" y="5"/>
                    <a:pt x="4" y="5"/>
                    <a:pt x="3" y="6"/>
                  </a:cubicBezTo>
                  <a:cubicBezTo>
                    <a:pt x="3" y="7"/>
                    <a:pt x="2" y="8"/>
                    <a:pt x="2" y="8"/>
                  </a:cubicBezTo>
                  <a:cubicBezTo>
                    <a:pt x="1" y="6"/>
                    <a:pt x="0" y="3"/>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3" name="Freeform 743"/>
            <p:cNvSpPr>
              <a:spLocks noChangeAspect="1"/>
            </p:cNvSpPr>
            <p:nvPr/>
          </p:nvSpPr>
          <p:spPr bwMode="auto">
            <a:xfrm>
              <a:off x="5316796" y="705280"/>
              <a:ext cx="11212" cy="10318"/>
            </a:xfrm>
            <a:custGeom>
              <a:avLst/>
              <a:gdLst>
                <a:gd name="T0" fmla="*/ 0 w 6"/>
                <a:gd name="T1" fmla="*/ 5443 h 7"/>
                <a:gd name="T2" fmla="*/ 5556 w 6"/>
                <a:gd name="T3" fmla="*/ 0 h 7"/>
                <a:gd name="T4" fmla="*/ 11112 w 6"/>
                <a:gd name="T5" fmla="*/ 1814 h 7"/>
                <a:gd name="T6" fmla="*/ 9260 w 6"/>
                <a:gd name="T7" fmla="*/ 10886 h 7"/>
                <a:gd name="T8" fmla="*/ 1852 w 6"/>
                <a:gd name="T9" fmla="*/ 12700 h 7"/>
                <a:gd name="T10" fmla="*/ 0 w 6"/>
                <a:gd name="T11" fmla="*/ 5443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0" y="3"/>
                  </a:moveTo>
                  <a:cubicBezTo>
                    <a:pt x="0" y="2"/>
                    <a:pt x="2" y="1"/>
                    <a:pt x="3" y="0"/>
                  </a:cubicBezTo>
                  <a:cubicBezTo>
                    <a:pt x="4" y="0"/>
                    <a:pt x="6" y="0"/>
                    <a:pt x="6" y="1"/>
                  </a:cubicBezTo>
                  <a:cubicBezTo>
                    <a:pt x="6" y="2"/>
                    <a:pt x="6" y="5"/>
                    <a:pt x="5" y="6"/>
                  </a:cubicBezTo>
                  <a:cubicBezTo>
                    <a:pt x="4" y="7"/>
                    <a:pt x="2" y="7"/>
                    <a:pt x="1" y="7"/>
                  </a:cubicBezTo>
                  <a:cubicBezTo>
                    <a:pt x="0" y="6"/>
                    <a:pt x="0" y="5"/>
                    <a:pt x="0"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4" name="Freeform 744"/>
            <p:cNvSpPr>
              <a:spLocks noChangeAspect="1"/>
            </p:cNvSpPr>
            <p:nvPr/>
          </p:nvSpPr>
          <p:spPr bwMode="auto">
            <a:xfrm>
              <a:off x="5323203" y="713017"/>
              <a:ext cx="33636" cy="12897"/>
            </a:xfrm>
            <a:custGeom>
              <a:avLst/>
              <a:gdLst>
                <a:gd name="T0" fmla="*/ 1961 w 17"/>
                <a:gd name="T1" fmla="*/ 8819 h 9"/>
                <a:gd name="T2" fmla="*/ 7844 w 17"/>
                <a:gd name="T3" fmla="*/ 14111 h 9"/>
                <a:gd name="T4" fmla="*/ 31376 w 17"/>
                <a:gd name="T5" fmla="*/ 14111 h 9"/>
                <a:gd name="T6" fmla="*/ 31376 w 17"/>
                <a:gd name="T7" fmla="*/ 10583 h 9"/>
                <a:gd name="T8" fmla="*/ 25493 w 17"/>
                <a:gd name="T9" fmla="*/ 5292 h 9"/>
                <a:gd name="T10" fmla="*/ 19610 w 17"/>
                <a:gd name="T11" fmla="*/ 1764 h 9"/>
                <a:gd name="T12" fmla="*/ 13727 w 17"/>
                <a:gd name="T13" fmla="*/ 10583 h 9"/>
                <a:gd name="T14" fmla="*/ 1961 w 17"/>
                <a:gd name="T15" fmla="*/ 8819 h 9"/>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9"/>
                <a:gd name="T26" fmla="*/ 17 w 1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9">
                  <a:moveTo>
                    <a:pt x="1" y="5"/>
                  </a:moveTo>
                  <a:cubicBezTo>
                    <a:pt x="0" y="6"/>
                    <a:pt x="3" y="7"/>
                    <a:pt x="4" y="8"/>
                  </a:cubicBezTo>
                  <a:cubicBezTo>
                    <a:pt x="8" y="8"/>
                    <a:pt x="12" y="9"/>
                    <a:pt x="16" y="8"/>
                  </a:cubicBezTo>
                  <a:cubicBezTo>
                    <a:pt x="17" y="8"/>
                    <a:pt x="16" y="7"/>
                    <a:pt x="16" y="6"/>
                  </a:cubicBezTo>
                  <a:cubicBezTo>
                    <a:pt x="15" y="5"/>
                    <a:pt x="14" y="4"/>
                    <a:pt x="13" y="3"/>
                  </a:cubicBezTo>
                  <a:cubicBezTo>
                    <a:pt x="12" y="3"/>
                    <a:pt x="11" y="0"/>
                    <a:pt x="10" y="1"/>
                  </a:cubicBezTo>
                  <a:cubicBezTo>
                    <a:pt x="8" y="2"/>
                    <a:pt x="9" y="5"/>
                    <a:pt x="7" y="6"/>
                  </a:cubicBezTo>
                  <a:cubicBezTo>
                    <a:pt x="5" y="7"/>
                    <a:pt x="3" y="5"/>
                    <a:pt x="1"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5" name="Freeform 745"/>
            <p:cNvSpPr>
              <a:spLocks noChangeAspect="1"/>
            </p:cNvSpPr>
            <p:nvPr/>
          </p:nvSpPr>
          <p:spPr bwMode="auto">
            <a:xfrm>
              <a:off x="6950542" y="2772634"/>
              <a:ext cx="19221" cy="14187"/>
            </a:xfrm>
            <a:custGeom>
              <a:avLst/>
              <a:gdLst>
                <a:gd name="T0" fmla="*/ 1905 w 10"/>
                <a:gd name="T1" fmla="*/ 5821 h 9"/>
                <a:gd name="T2" fmla="*/ 11430 w 10"/>
                <a:gd name="T3" fmla="*/ 1940 h 9"/>
                <a:gd name="T4" fmla="*/ 17145 w 10"/>
                <a:gd name="T5" fmla="*/ 13582 h 9"/>
                <a:gd name="T6" fmla="*/ 7620 w 10"/>
                <a:gd name="T7" fmla="*/ 11642 h 9"/>
                <a:gd name="T8" fmla="*/ 1905 w 10"/>
                <a:gd name="T9" fmla="*/ 5821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6" name="Freeform 746"/>
            <p:cNvSpPr>
              <a:spLocks noChangeAspect="1"/>
            </p:cNvSpPr>
            <p:nvPr/>
          </p:nvSpPr>
          <p:spPr bwMode="auto">
            <a:xfrm>
              <a:off x="7285299" y="2660434"/>
              <a:ext cx="120129" cy="88988"/>
            </a:xfrm>
            <a:custGeom>
              <a:avLst/>
              <a:gdLst>
                <a:gd name="T0" fmla="*/ 109614 w 63"/>
                <a:gd name="T1" fmla="*/ 88763 h 58"/>
                <a:gd name="T2" fmla="*/ 109614 w 63"/>
                <a:gd name="T3" fmla="*/ 71766 h 58"/>
                <a:gd name="T4" fmla="*/ 119063 w 63"/>
                <a:gd name="T5" fmla="*/ 60434 h 58"/>
                <a:gd name="T6" fmla="*/ 111503 w 63"/>
                <a:gd name="T7" fmla="*/ 45326 h 58"/>
                <a:gd name="T8" fmla="*/ 109614 w 63"/>
                <a:gd name="T9" fmla="*/ 26440 h 58"/>
                <a:gd name="T10" fmla="*/ 102054 w 63"/>
                <a:gd name="T11" fmla="*/ 26440 h 58"/>
                <a:gd name="T12" fmla="*/ 109614 w 63"/>
                <a:gd name="T13" fmla="*/ 16997 h 58"/>
                <a:gd name="T14" fmla="*/ 102054 w 63"/>
                <a:gd name="T15" fmla="*/ 7554 h 58"/>
                <a:gd name="T16" fmla="*/ 90715 w 63"/>
                <a:gd name="T17" fmla="*/ 1889 h 58"/>
                <a:gd name="T18" fmla="*/ 85045 w 63"/>
                <a:gd name="T19" fmla="*/ 13220 h 58"/>
                <a:gd name="T20" fmla="*/ 77485 w 63"/>
                <a:gd name="T21" fmla="*/ 9443 h 58"/>
                <a:gd name="T22" fmla="*/ 75596 w 63"/>
                <a:gd name="T23" fmla="*/ 15109 h 58"/>
                <a:gd name="T24" fmla="*/ 68036 w 63"/>
                <a:gd name="T25" fmla="*/ 13220 h 58"/>
                <a:gd name="T26" fmla="*/ 64256 w 63"/>
                <a:gd name="T27" fmla="*/ 28329 h 58"/>
                <a:gd name="T28" fmla="*/ 56697 w 63"/>
                <a:gd name="T29" fmla="*/ 26440 h 58"/>
                <a:gd name="T30" fmla="*/ 54807 w 63"/>
                <a:gd name="T31" fmla="*/ 37771 h 58"/>
                <a:gd name="T32" fmla="*/ 43467 w 63"/>
                <a:gd name="T33" fmla="*/ 39660 h 58"/>
                <a:gd name="T34" fmla="*/ 47247 w 63"/>
                <a:gd name="T35" fmla="*/ 28329 h 58"/>
                <a:gd name="T36" fmla="*/ 35908 w 63"/>
                <a:gd name="T37" fmla="*/ 26440 h 58"/>
                <a:gd name="T38" fmla="*/ 26458 w 63"/>
                <a:gd name="T39" fmla="*/ 33994 h 58"/>
                <a:gd name="T40" fmla="*/ 15119 w 63"/>
                <a:gd name="T41" fmla="*/ 39660 h 58"/>
                <a:gd name="T42" fmla="*/ 1890 w 63"/>
                <a:gd name="T43" fmla="*/ 58546 h 58"/>
                <a:gd name="T44" fmla="*/ 3780 w 63"/>
                <a:gd name="T45" fmla="*/ 71766 h 58"/>
                <a:gd name="T46" fmla="*/ 20789 w 63"/>
                <a:gd name="T47" fmla="*/ 49103 h 58"/>
                <a:gd name="T48" fmla="*/ 22679 w 63"/>
                <a:gd name="T49" fmla="*/ 56657 h 58"/>
                <a:gd name="T50" fmla="*/ 30238 w 63"/>
                <a:gd name="T51" fmla="*/ 47214 h 58"/>
                <a:gd name="T52" fmla="*/ 37798 w 63"/>
                <a:gd name="T53" fmla="*/ 56657 h 58"/>
                <a:gd name="T54" fmla="*/ 43467 w 63"/>
                <a:gd name="T55" fmla="*/ 47214 h 58"/>
                <a:gd name="T56" fmla="*/ 60476 w 63"/>
                <a:gd name="T57" fmla="*/ 56657 h 58"/>
                <a:gd name="T58" fmla="*/ 51027 w 63"/>
                <a:gd name="T59" fmla="*/ 67988 h 58"/>
                <a:gd name="T60" fmla="*/ 58587 w 63"/>
                <a:gd name="T61" fmla="*/ 88763 h 58"/>
                <a:gd name="T62" fmla="*/ 77485 w 63"/>
                <a:gd name="T63" fmla="*/ 100094 h 58"/>
                <a:gd name="T64" fmla="*/ 85045 w 63"/>
                <a:gd name="T65" fmla="*/ 92540 h 58"/>
                <a:gd name="T66" fmla="*/ 88825 w 63"/>
                <a:gd name="T67" fmla="*/ 107648 h 58"/>
                <a:gd name="T68" fmla="*/ 96384 w 63"/>
                <a:gd name="T69" fmla="*/ 94428 h 58"/>
                <a:gd name="T70" fmla="*/ 90715 w 63"/>
                <a:gd name="T71" fmla="*/ 81208 h 58"/>
                <a:gd name="T72" fmla="*/ 86935 w 63"/>
                <a:gd name="T73" fmla="*/ 69877 h 58"/>
                <a:gd name="T74" fmla="*/ 98274 w 63"/>
                <a:gd name="T75" fmla="*/ 60434 h 58"/>
                <a:gd name="T76" fmla="*/ 102054 w 63"/>
                <a:gd name="T77" fmla="*/ 81208 h 58"/>
                <a:gd name="T78" fmla="*/ 109614 w 63"/>
                <a:gd name="T79" fmla="*/ 88763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7" name="Freeform 748"/>
            <p:cNvSpPr>
              <a:spLocks noChangeAspect="1"/>
            </p:cNvSpPr>
            <p:nvPr/>
          </p:nvSpPr>
          <p:spPr bwMode="auto">
            <a:xfrm>
              <a:off x="2528215" y="2746841"/>
              <a:ext cx="951417" cy="895037"/>
            </a:xfrm>
            <a:custGeom>
              <a:avLst/>
              <a:gdLst>
                <a:gd name="T0" fmla="*/ 546735 w 495"/>
                <a:gd name="T1" fmla="*/ 1065509 h 578"/>
                <a:gd name="T2" fmla="*/ 502920 w 495"/>
                <a:gd name="T3" fmla="*/ 1035012 h 578"/>
                <a:gd name="T4" fmla="*/ 426720 w 495"/>
                <a:gd name="T5" fmla="*/ 996890 h 578"/>
                <a:gd name="T6" fmla="*/ 508635 w 495"/>
                <a:gd name="T7" fmla="*/ 890148 h 578"/>
                <a:gd name="T8" fmla="*/ 493395 w 495"/>
                <a:gd name="T9" fmla="*/ 832965 h 578"/>
                <a:gd name="T10" fmla="*/ 443865 w 495"/>
                <a:gd name="T11" fmla="*/ 760533 h 578"/>
                <a:gd name="T12" fmla="*/ 394335 w 495"/>
                <a:gd name="T13" fmla="*/ 697632 h 578"/>
                <a:gd name="T14" fmla="*/ 386715 w 495"/>
                <a:gd name="T15" fmla="*/ 598515 h 578"/>
                <a:gd name="T16" fmla="*/ 337185 w 495"/>
                <a:gd name="T17" fmla="*/ 552769 h 578"/>
                <a:gd name="T18" fmla="*/ 278130 w 495"/>
                <a:gd name="T19" fmla="*/ 507022 h 578"/>
                <a:gd name="T20" fmla="*/ 205740 w 495"/>
                <a:gd name="T21" fmla="*/ 436497 h 578"/>
                <a:gd name="T22" fmla="*/ 129540 w 495"/>
                <a:gd name="T23" fmla="*/ 447933 h 578"/>
                <a:gd name="T24" fmla="*/ 80010 w 495"/>
                <a:gd name="T25" fmla="*/ 407905 h 578"/>
                <a:gd name="T26" fmla="*/ 5715 w 495"/>
                <a:gd name="T27" fmla="*/ 379314 h 578"/>
                <a:gd name="T28" fmla="*/ 28575 w 495"/>
                <a:gd name="T29" fmla="*/ 299257 h 578"/>
                <a:gd name="T30" fmla="*/ 97155 w 495"/>
                <a:gd name="T31" fmla="*/ 263042 h 578"/>
                <a:gd name="T32" fmla="*/ 99060 w 495"/>
                <a:gd name="T33" fmla="*/ 123896 h 578"/>
                <a:gd name="T34" fmla="*/ 135255 w 495"/>
                <a:gd name="T35" fmla="*/ 95305 h 578"/>
                <a:gd name="T36" fmla="*/ 167640 w 495"/>
                <a:gd name="T37" fmla="*/ 108648 h 578"/>
                <a:gd name="T38" fmla="*/ 230505 w 495"/>
                <a:gd name="T39" fmla="*/ 106742 h 578"/>
                <a:gd name="T40" fmla="*/ 253365 w 495"/>
                <a:gd name="T41" fmla="*/ 76244 h 578"/>
                <a:gd name="T42" fmla="*/ 234315 w 495"/>
                <a:gd name="T43" fmla="*/ 40028 h 578"/>
                <a:gd name="T44" fmla="*/ 272415 w 495"/>
                <a:gd name="T45" fmla="*/ 34310 h 578"/>
                <a:gd name="T46" fmla="*/ 331470 w 495"/>
                <a:gd name="T47" fmla="*/ 1906 h 578"/>
                <a:gd name="T48" fmla="*/ 350520 w 495"/>
                <a:gd name="T49" fmla="*/ 36216 h 578"/>
                <a:gd name="T50" fmla="*/ 356235 w 495"/>
                <a:gd name="T51" fmla="*/ 99117 h 578"/>
                <a:gd name="T52" fmla="*/ 384810 w 495"/>
                <a:gd name="T53" fmla="*/ 102929 h 578"/>
                <a:gd name="T54" fmla="*/ 428625 w 495"/>
                <a:gd name="T55" fmla="*/ 91493 h 578"/>
                <a:gd name="T56" fmla="*/ 457200 w 495"/>
                <a:gd name="T57" fmla="*/ 72432 h 578"/>
                <a:gd name="T58" fmla="*/ 497205 w 495"/>
                <a:gd name="T59" fmla="*/ 85774 h 578"/>
                <a:gd name="T60" fmla="*/ 542925 w 495"/>
                <a:gd name="T61" fmla="*/ 28591 h 578"/>
                <a:gd name="T62" fmla="*/ 573405 w 495"/>
                <a:gd name="T63" fmla="*/ 97211 h 578"/>
                <a:gd name="T64" fmla="*/ 560070 w 495"/>
                <a:gd name="T65" fmla="*/ 133427 h 578"/>
                <a:gd name="T66" fmla="*/ 491490 w 495"/>
                <a:gd name="T67" fmla="*/ 192516 h 578"/>
                <a:gd name="T68" fmla="*/ 527685 w 495"/>
                <a:gd name="T69" fmla="*/ 207765 h 578"/>
                <a:gd name="T70" fmla="*/ 561975 w 495"/>
                <a:gd name="T71" fmla="*/ 156300 h 578"/>
                <a:gd name="T72" fmla="*/ 607695 w 495"/>
                <a:gd name="T73" fmla="*/ 171549 h 578"/>
                <a:gd name="T74" fmla="*/ 590550 w 495"/>
                <a:gd name="T75" fmla="*/ 194422 h 578"/>
                <a:gd name="T76" fmla="*/ 598170 w 495"/>
                <a:gd name="T77" fmla="*/ 194422 h 578"/>
                <a:gd name="T78" fmla="*/ 661035 w 495"/>
                <a:gd name="T79" fmla="*/ 171549 h 578"/>
                <a:gd name="T80" fmla="*/ 710565 w 495"/>
                <a:gd name="T81" fmla="*/ 203953 h 578"/>
                <a:gd name="T82" fmla="*/ 781050 w 495"/>
                <a:gd name="T83" fmla="*/ 217295 h 578"/>
                <a:gd name="T84" fmla="*/ 880110 w 495"/>
                <a:gd name="T85" fmla="*/ 272572 h 578"/>
                <a:gd name="T86" fmla="*/ 941070 w 495"/>
                <a:gd name="T87" fmla="*/ 337379 h 578"/>
                <a:gd name="T88" fmla="*/ 878205 w 495"/>
                <a:gd name="T89" fmla="*/ 470806 h 578"/>
                <a:gd name="T90" fmla="*/ 847725 w 495"/>
                <a:gd name="T91" fmla="*/ 554675 h 578"/>
                <a:gd name="T92" fmla="*/ 828675 w 495"/>
                <a:gd name="T93" fmla="*/ 695726 h 578"/>
                <a:gd name="T94" fmla="*/ 779145 w 495"/>
                <a:gd name="T95" fmla="*/ 785313 h 578"/>
                <a:gd name="T96" fmla="*/ 720090 w 495"/>
                <a:gd name="T97" fmla="*/ 789125 h 578"/>
                <a:gd name="T98" fmla="*/ 630555 w 495"/>
                <a:gd name="T99" fmla="*/ 867275 h 578"/>
                <a:gd name="T100" fmla="*/ 630555 w 495"/>
                <a:gd name="T101" fmla="*/ 951143 h 578"/>
                <a:gd name="T102" fmla="*/ 567690 w 495"/>
                <a:gd name="T103" fmla="*/ 1042636 h 578"/>
                <a:gd name="T104" fmla="*/ 573405 w 495"/>
                <a:gd name="T105" fmla="*/ 991171 h 578"/>
                <a:gd name="T106" fmla="*/ 550545 w 495"/>
                <a:gd name="T107" fmla="*/ 1071227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8" name="Freeform 749"/>
            <p:cNvSpPr>
              <a:spLocks noChangeAspect="1"/>
            </p:cNvSpPr>
            <p:nvPr/>
          </p:nvSpPr>
          <p:spPr bwMode="auto">
            <a:xfrm>
              <a:off x="2640334" y="3082157"/>
              <a:ext cx="296318" cy="305654"/>
            </a:xfrm>
            <a:custGeom>
              <a:avLst/>
              <a:gdLst>
                <a:gd name="T0" fmla="*/ 186892 w 154"/>
                <a:gd name="T1" fmla="*/ 318943 h 197"/>
                <a:gd name="T2" fmla="*/ 192614 w 154"/>
                <a:gd name="T3" fmla="*/ 296025 h 197"/>
                <a:gd name="T4" fmla="*/ 238383 w 154"/>
                <a:gd name="T5" fmla="*/ 267377 h 197"/>
                <a:gd name="T6" fmla="*/ 284153 w 154"/>
                <a:gd name="T7" fmla="*/ 284566 h 197"/>
                <a:gd name="T8" fmla="*/ 293688 w 154"/>
                <a:gd name="T9" fmla="*/ 233000 h 197"/>
                <a:gd name="T10" fmla="*/ 272710 w 154"/>
                <a:gd name="T11" fmla="*/ 206262 h 197"/>
                <a:gd name="T12" fmla="*/ 276524 w 154"/>
                <a:gd name="T13" fmla="*/ 185254 h 197"/>
                <a:gd name="T14" fmla="*/ 230755 w 154"/>
                <a:gd name="T15" fmla="*/ 185254 h 197"/>
                <a:gd name="T16" fmla="*/ 221220 w 154"/>
                <a:gd name="T17" fmla="*/ 154697 h 197"/>
                <a:gd name="T18" fmla="*/ 226941 w 154"/>
                <a:gd name="T19" fmla="*/ 139418 h 197"/>
                <a:gd name="T20" fmla="*/ 221220 w 154"/>
                <a:gd name="T21" fmla="*/ 110771 h 197"/>
                <a:gd name="T22" fmla="*/ 184985 w 154"/>
                <a:gd name="T23" fmla="*/ 105041 h 197"/>
                <a:gd name="T24" fmla="*/ 167822 w 154"/>
                <a:gd name="T25" fmla="*/ 93582 h 197"/>
                <a:gd name="T26" fmla="*/ 144937 w 154"/>
                <a:gd name="T27" fmla="*/ 82123 h 197"/>
                <a:gd name="T28" fmla="*/ 104889 w 154"/>
                <a:gd name="T29" fmla="*/ 53475 h 197"/>
                <a:gd name="T30" fmla="*/ 95353 w 154"/>
                <a:gd name="T31" fmla="*/ 22918 h 197"/>
                <a:gd name="T32" fmla="*/ 70561 w 154"/>
                <a:gd name="T33" fmla="*/ 3820 h 197"/>
                <a:gd name="T34" fmla="*/ 45770 w 154"/>
                <a:gd name="T35" fmla="*/ 19098 h 197"/>
                <a:gd name="T36" fmla="*/ 19071 w 154"/>
                <a:gd name="T37" fmla="*/ 34377 h 197"/>
                <a:gd name="T38" fmla="*/ 0 w 154"/>
                <a:gd name="T39" fmla="*/ 32467 h 197"/>
                <a:gd name="T40" fmla="*/ 24792 w 154"/>
                <a:gd name="T41" fmla="*/ 89762 h 197"/>
                <a:gd name="T42" fmla="*/ 20978 w 154"/>
                <a:gd name="T43" fmla="*/ 112680 h 197"/>
                <a:gd name="T44" fmla="*/ 20978 w 154"/>
                <a:gd name="T45" fmla="*/ 126049 h 197"/>
                <a:gd name="T46" fmla="*/ 15257 w 154"/>
                <a:gd name="T47" fmla="*/ 158517 h 197"/>
                <a:gd name="T48" fmla="*/ 9535 w 154"/>
                <a:gd name="T49" fmla="*/ 204353 h 197"/>
                <a:gd name="T50" fmla="*/ 9535 w 154"/>
                <a:gd name="T51" fmla="*/ 223451 h 197"/>
                <a:gd name="T52" fmla="*/ 24792 w 154"/>
                <a:gd name="T53" fmla="*/ 259738 h 197"/>
                <a:gd name="T54" fmla="*/ 30513 w 154"/>
                <a:gd name="T55" fmla="*/ 280746 h 197"/>
                <a:gd name="T56" fmla="*/ 30513 w 154"/>
                <a:gd name="T57" fmla="*/ 290295 h 197"/>
                <a:gd name="T58" fmla="*/ 36234 w 154"/>
                <a:gd name="T59" fmla="*/ 307484 h 197"/>
                <a:gd name="T60" fmla="*/ 41955 w 154"/>
                <a:gd name="T61" fmla="*/ 317033 h 197"/>
                <a:gd name="T62" fmla="*/ 55305 w 154"/>
                <a:gd name="T63" fmla="*/ 359049 h 197"/>
                <a:gd name="T64" fmla="*/ 62933 w 154"/>
                <a:gd name="T65" fmla="*/ 370508 h 197"/>
                <a:gd name="T66" fmla="*/ 78190 w 154"/>
                <a:gd name="T67" fmla="*/ 360959 h 197"/>
                <a:gd name="T68" fmla="*/ 89632 w 154"/>
                <a:gd name="T69" fmla="*/ 351410 h 197"/>
                <a:gd name="T70" fmla="*/ 106796 w 154"/>
                <a:gd name="T71" fmla="*/ 349500 h 197"/>
                <a:gd name="T72" fmla="*/ 139216 w 154"/>
                <a:gd name="T73" fmla="*/ 372418 h 197"/>
                <a:gd name="T74" fmla="*/ 148751 w 154"/>
                <a:gd name="T75" fmla="*/ 345681 h 197"/>
                <a:gd name="T76" fmla="*/ 179264 w 154"/>
                <a:gd name="T77" fmla="*/ 353320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9" name="Freeform 750"/>
            <p:cNvSpPr>
              <a:spLocks noChangeAspect="1"/>
            </p:cNvSpPr>
            <p:nvPr/>
          </p:nvSpPr>
          <p:spPr bwMode="auto">
            <a:xfrm>
              <a:off x="2821329" y="3298823"/>
              <a:ext cx="208222" cy="192163"/>
            </a:xfrm>
            <a:custGeom>
              <a:avLst/>
              <a:gdLst>
                <a:gd name="T0" fmla="*/ 196908 w 109"/>
                <a:gd name="T1" fmla="*/ 179311 h 124"/>
                <a:gd name="T2" fmla="*/ 196908 w 109"/>
                <a:gd name="T3" fmla="*/ 167866 h 124"/>
                <a:gd name="T4" fmla="*/ 202588 w 109"/>
                <a:gd name="T5" fmla="*/ 152605 h 124"/>
                <a:gd name="T6" fmla="*/ 206375 w 109"/>
                <a:gd name="T7" fmla="*/ 131622 h 124"/>
                <a:gd name="T8" fmla="*/ 195015 w 109"/>
                <a:gd name="T9" fmla="*/ 125899 h 124"/>
                <a:gd name="T10" fmla="*/ 174188 w 109"/>
                <a:gd name="T11" fmla="*/ 129714 h 124"/>
                <a:gd name="T12" fmla="*/ 164721 w 109"/>
                <a:gd name="T13" fmla="*/ 114454 h 124"/>
                <a:gd name="T14" fmla="*/ 168508 w 109"/>
                <a:gd name="T15" fmla="*/ 87748 h 124"/>
                <a:gd name="T16" fmla="*/ 153361 w 109"/>
                <a:gd name="T17" fmla="*/ 80118 h 124"/>
                <a:gd name="T18" fmla="*/ 132534 w 109"/>
                <a:gd name="T19" fmla="*/ 78210 h 124"/>
                <a:gd name="T20" fmla="*/ 115494 w 109"/>
                <a:gd name="T21" fmla="*/ 78210 h 124"/>
                <a:gd name="T22" fmla="*/ 115494 w 109"/>
                <a:gd name="T23" fmla="*/ 72487 h 124"/>
                <a:gd name="T24" fmla="*/ 115494 w 109"/>
                <a:gd name="T25" fmla="*/ 45782 h 124"/>
                <a:gd name="T26" fmla="*/ 104134 w 109"/>
                <a:gd name="T27" fmla="*/ 34336 h 124"/>
                <a:gd name="T28" fmla="*/ 104134 w 109"/>
                <a:gd name="T29" fmla="*/ 17168 h 124"/>
                <a:gd name="T30" fmla="*/ 83307 w 109"/>
                <a:gd name="T31" fmla="*/ 1908 h 124"/>
                <a:gd name="T32" fmla="*/ 58694 w 109"/>
                <a:gd name="T33" fmla="*/ 0 h 124"/>
                <a:gd name="T34" fmla="*/ 17040 w 109"/>
                <a:gd name="T35" fmla="*/ 13353 h 124"/>
                <a:gd name="T36" fmla="*/ 13253 w 109"/>
                <a:gd name="T37" fmla="*/ 28613 h 124"/>
                <a:gd name="T38" fmla="*/ 5680 w 109"/>
                <a:gd name="T39" fmla="*/ 38151 h 124"/>
                <a:gd name="T40" fmla="*/ 7573 w 109"/>
                <a:gd name="T41" fmla="*/ 51504 h 124"/>
                <a:gd name="T42" fmla="*/ 0 w 109"/>
                <a:gd name="T43" fmla="*/ 85840 h 124"/>
                <a:gd name="T44" fmla="*/ 9467 w 109"/>
                <a:gd name="T45" fmla="*/ 97286 h 124"/>
                <a:gd name="T46" fmla="*/ 17040 w 109"/>
                <a:gd name="T47" fmla="*/ 112546 h 124"/>
                <a:gd name="T48" fmla="*/ 39760 w 109"/>
                <a:gd name="T49" fmla="*/ 125899 h 124"/>
                <a:gd name="T50" fmla="*/ 54907 w 109"/>
                <a:gd name="T51" fmla="*/ 137345 h 124"/>
                <a:gd name="T52" fmla="*/ 68161 w 109"/>
                <a:gd name="T53" fmla="*/ 137345 h 124"/>
                <a:gd name="T54" fmla="*/ 90881 w 109"/>
                <a:gd name="T55" fmla="*/ 156420 h 124"/>
                <a:gd name="T56" fmla="*/ 117388 w 109"/>
                <a:gd name="T57" fmla="*/ 164051 h 124"/>
                <a:gd name="T58" fmla="*/ 123068 w 109"/>
                <a:gd name="T59" fmla="*/ 173588 h 124"/>
                <a:gd name="T60" fmla="*/ 123068 w 109"/>
                <a:gd name="T61" fmla="*/ 194572 h 124"/>
                <a:gd name="T62" fmla="*/ 111708 w 109"/>
                <a:gd name="T63" fmla="*/ 198387 h 124"/>
                <a:gd name="T64" fmla="*/ 111708 w 109"/>
                <a:gd name="T65" fmla="*/ 211740 h 124"/>
                <a:gd name="T66" fmla="*/ 104134 w 109"/>
                <a:gd name="T67" fmla="*/ 228908 h 124"/>
                <a:gd name="T68" fmla="*/ 121174 w 109"/>
                <a:gd name="T69" fmla="*/ 228908 h 124"/>
                <a:gd name="T70" fmla="*/ 145788 w 109"/>
                <a:gd name="T71" fmla="*/ 236538 h 124"/>
                <a:gd name="T72" fmla="*/ 160935 w 109"/>
                <a:gd name="T73" fmla="*/ 230815 h 124"/>
                <a:gd name="T74" fmla="*/ 170401 w 109"/>
                <a:gd name="T75" fmla="*/ 232723 h 124"/>
                <a:gd name="T76" fmla="*/ 174188 w 109"/>
                <a:gd name="T77" fmla="*/ 234630 h 124"/>
                <a:gd name="T78" fmla="*/ 183655 w 109"/>
                <a:gd name="T79" fmla="*/ 217462 h 124"/>
                <a:gd name="T80" fmla="*/ 196908 w 109"/>
                <a:gd name="T81" fmla="*/ 206017 h 124"/>
                <a:gd name="T82" fmla="*/ 196908 w 109"/>
                <a:gd name="T83" fmla="*/ 194572 h 124"/>
                <a:gd name="T84" fmla="*/ 196908 w 109"/>
                <a:gd name="T85" fmla="*/ 179311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0" name="Freeform 751"/>
            <p:cNvSpPr>
              <a:spLocks noChangeAspect="1"/>
            </p:cNvSpPr>
            <p:nvPr/>
          </p:nvSpPr>
          <p:spPr bwMode="auto">
            <a:xfrm>
              <a:off x="2941457" y="3549021"/>
              <a:ext cx="126535" cy="121230"/>
            </a:xfrm>
            <a:custGeom>
              <a:avLst/>
              <a:gdLst>
                <a:gd name="T0" fmla="*/ 117812 w 66"/>
                <a:gd name="T1" fmla="*/ 107669 h 79"/>
                <a:gd name="T2" fmla="*/ 125413 w 66"/>
                <a:gd name="T3" fmla="*/ 113335 h 79"/>
                <a:gd name="T4" fmla="*/ 117812 w 66"/>
                <a:gd name="T5" fmla="*/ 124669 h 79"/>
                <a:gd name="T6" fmla="*/ 112112 w 66"/>
                <a:gd name="T7" fmla="*/ 132225 h 79"/>
                <a:gd name="T8" fmla="*/ 87409 w 66"/>
                <a:gd name="T9" fmla="*/ 147336 h 79"/>
                <a:gd name="T10" fmla="*/ 51305 w 66"/>
                <a:gd name="T11" fmla="*/ 147336 h 79"/>
                <a:gd name="T12" fmla="*/ 19002 w 66"/>
                <a:gd name="T13" fmla="*/ 136003 h 79"/>
                <a:gd name="T14" fmla="*/ 3800 w 66"/>
                <a:gd name="T15" fmla="*/ 124669 h 79"/>
                <a:gd name="T16" fmla="*/ 3800 w 66"/>
                <a:gd name="T17" fmla="*/ 102002 h 79"/>
                <a:gd name="T18" fmla="*/ 7601 w 66"/>
                <a:gd name="T19" fmla="*/ 86891 h 79"/>
                <a:gd name="T20" fmla="*/ 5701 w 66"/>
                <a:gd name="T21" fmla="*/ 77446 h 79"/>
                <a:gd name="T22" fmla="*/ 9501 w 66"/>
                <a:gd name="T23" fmla="*/ 71779 h 79"/>
                <a:gd name="T24" fmla="*/ 3800 w 66"/>
                <a:gd name="T25" fmla="*/ 58557 h 79"/>
                <a:gd name="T26" fmla="*/ 11401 w 66"/>
                <a:gd name="T27" fmla="*/ 45334 h 79"/>
                <a:gd name="T28" fmla="*/ 11401 w 66"/>
                <a:gd name="T29" fmla="*/ 20778 h 79"/>
                <a:gd name="T30" fmla="*/ 17102 w 66"/>
                <a:gd name="T31" fmla="*/ 9445 h 79"/>
                <a:gd name="T32" fmla="*/ 36104 w 66"/>
                <a:gd name="T33" fmla="*/ 3778 h 79"/>
                <a:gd name="T34" fmla="*/ 53206 w 66"/>
                <a:gd name="T35" fmla="*/ 34001 h 79"/>
                <a:gd name="T36" fmla="*/ 58906 w 66"/>
                <a:gd name="T37" fmla="*/ 30223 h 79"/>
                <a:gd name="T38" fmla="*/ 60806 w 66"/>
                <a:gd name="T39" fmla="*/ 26445 h 79"/>
                <a:gd name="T40" fmla="*/ 72207 w 66"/>
                <a:gd name="T41" fmla="*/ 39667 h 79"/>
                <a:gd name="T42" fmla="*/ 93110 w 66"/>
                <a:gd name="T43" fmla="*/ 47223 h 79"/>
                <a:gd name="T44" fmla="*/ 112112 w 66"/>
                <a:gd name="T45" fmla="*/ 66112 h 79"/>
                <a:gd name="T46" fmla="*/ 115912 w 66"/>
                <a:gd name="T47" fmla="*/ 73668 h 79"/>
                <a:gd name="T48" fmla="*/ 121613 w 66"/>
                <a:gd name="T49" fmla="*/ 77446 h 79"/>
                <a:gd name="T50" fmla="*/ 117812 w 66"/>
                <a:gd name="T51" fmla="*/ 90668 h 79"/>
                <a:gd name="T52" fmla="*/ 114012 w 66"/>
                <a:gd name="T53" fmla="*/ 96335 h 79"/>
                <a:gd name="T54" fmla="*/ 117812 w 66"/>
                <a:gd name="T55" fmla="*/ 107669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1" name="Freeform 752"/>
            <p:cNvSpPr>
              <a:spLocks noChangeAspect="1"/>
            </p:cNvSpPr>
            <p:nvPr/>
          </p:nvSpPr>
          <p:spPr bwMode="auto">
            <a:xfrm>
              <a:off x="2728429" y="4122928"/>
              <a:ext cx="54458" cy="69643"/>
            </a:xfrm>
            <a:custGeom>
              <a:avLst/>
              <a:gdLst>
                <a:gd name="T0" fmla="*/ 53975 w 28"/>
                <a:gd name="T1" fmla="*/ 81915 h 45"/>
                <a:gd name="T2" fmla="*/ 50120 w 28"/>
                <a:gd name="T3" fmla="*/ 80010 h 45"/>
                <a:gd name="T4" fmla="*/ 50120 w 28"/>
                <a:gd name="T5" fmla="*/ 85725 h 45"/>
                <a:gd name="T6" fmla="*/ 34698 w 28"/>
                <a:gd name="T7" fmla="*/ 81915 h 45"/>
                <a:gd name="T8" fmla="*/ 17349 w 28"/>
                <a:gd name="T9" fmla="*/ 80010 h 45"/>
                <a:gd name="T10" fmla="*/ 5783 w 28"/>
                <a:gd name="T11" fmla="*/ 81915 h 45"/>
                <a:gd name="T12" fmla="*/ 1928 w 28"/>
                <a:gd name="T13" fmla="*/ 72390 h 45"/>
                <a:gd name="T14" fmla="*/ 1928 w 28"/>
                <a:gd name="T15" fmla="*/ 64770 h 45"/>
                <a:gd name="T16" fmla="*/ 7711 w 28"/>
                <a:gd name="T17" fmla="*/ 70485 h 45"/>
                <a:gd name="T18" fmla="*/ 17349 w 28"/>
                <a:gd name="T19" fmla="*/ 68580 h 45"/>
                <a:gd name="T20" fmla="*/ 17349 w 28"/>
                <a:gd name="T21" fmla="*/ 64770 h 45"/>
                <a:gd name="T22" fmla="*/ 25060 w 28"/>
                <a:gd name="T23" fmla="*/ 62865 h 45"/>
                <a:gd name="T24" fmla="*/ 34698 w 28"/>
                <a:gd name="T25" fmla="*/ 70485 h 45"/>
                <a:gd name="T26" fmla="*/ 42409 w 28"/>
                <a:gd name="T27" fmla="*/ 70485 h 45"/>
                <a:gd name="T28" fmla="*/ 42409 w 28"/>
                <a:gd name="T29" fmla="*/ 66675 h 45"/>
                <a:gd name="T30" fmla="*/ 25060 w 28"/>
                <a:gd name="T31" fmla="*/ 57150 h 45"/>
                <a:gd name="T32" fmla="*/ 15421 w 28"/>
                <a:gd name="T33" fmla="*/ 51435 h 45"/>
                <a:gd name="T34" fmla="*/ 19277 w 28"/>
                <a:gd name="T35" fmla="*/ 43815 h 45"/>
                <a:gd name="T36" fmla="*/ 32771 w 28"/>
                <a:gd name="T37" fmla="*/ 36195 h 45"/>
                <a:gd name="T38" fmla="*/ 30843 w 28"/>
                <a:gd name="T39" fmla="*/ 28575 h 45"/>
                <a:gd name="T40" fmla="*/ 11566 w 28"/>
                <a:gd name="T41" fmla="*/ 36195 h 45"/>
                <a:gd name="T42" fmla="*/ 5783 w 28"/>
                <a:gd name="T43" fmla="*/ 22860 h 45"/>
                <a:gd name="T44" fmla="*/ 13494 w 28"/>
                <a:gd name="T45" fmla="*/ 17145 h 45"/>
                <a:gd name="T46" fmla="*/ 7711 w 28"/>
                <a:gd name="T47" fmla="*/ 9525 h 45"/>
                <a:gd name="T48" fmla="*/ 13494 w 28"/>
                <a:gd name="T49" fmla="*/ 11430 h 45"/>
                <a:gd name="T50" fmla="*/ 19277 w 28"/>
                <a:gd name="T51" fmla="*/ 11430 h 45"/>
                <a:gd name="T52" fmla="*/ 25060 w 28"/>
                <a:gd name="T53" fmla="*/ 0 h 45"/>
                <a:gd name="T54" fmla="*/ 34698 w 28"/>
                <a:gd name="T55" fmla="*/ 7620 h 45"/>
                <a:gd name="T56" fmla="*/ 42409 w 28"/>
                <a:gd name="T57" fmla="*/ 5715 h 45"/>
                <a:gd name="T58" fmla="*/ 53975 w 28"/>
                <a:gd name="T59" fmla="*/ 81915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2" name="Freeform 753"/>
            <p:cNvSpPr>
              <a:spLocks noChangeAspect="1"/>
            </p:cNvSpPr>
            <p:nvPr/>
          </p:nvSpPr>
          <p:spPr bwMode="auto">
            <a:xfrm>
              <a:off x="2645141" y="3356860"/>
              <a:ext cx="400428" cy="771228"/>
            </a:xfrm>
            <a:custGeom>
              <a:avLst/>
              <a:gdLst>
                <a:gd name="T0" fmla="*/ 106851 w 208"/>
                <a:gd name="T1" fmla="*/ 901668 h 498"/>
                <a:gd name="T2" fmla="*/ 114483 w 208"/>
                <a:gd name="T3" fmla="*/ 857824 h 498"/>
                <a:gd name="T4" fmla="*/ 133564 w 208"/>
                <a:gd name="T5" fmla="*/ 829230 h 498"/>
                <a:gd name="T6" fmla="*/ 162185 w 208"/>
                <a:gd name="T7" fmla="*/ 766323 h 498"/>
                <a:gd name="T8" fmla="*/ 124023 w 208"/>
                <a:gd name="T9" fmla="*/ 724385 h 498"/>
                <a:gd name="T10" fmla="*/ 158368 w 208"/>
                <a:gd name="T11" fmla="*/ 691978 h 498"/>
                <a:gd name="T12" fmla="*/ 179357 w 208"/>
                <a:gd name="T13" fmla="*/ 634790 h 498"/>
                <a:gd name="T14" fmla="*/ 192713 w 208"/>
                <a:gd name="T15" fmla="*/ 634790 h 498"/>
                <a:gd name="T16" fmla="*/ 188897 w 208"/>
                <a:gd name="T17" fmla="*/ 615727 h 498"/>
                <a:gd name="T18" fmla="*/ 167909 w 208"/>
                <a:gd name="T19" fmla="*/ 606196 h 498"/>
                <a:gd name="T20" fmla="*/ 166001 w 208"/>
                <a:gd name="T21" fmla="*/ 564258 h 498"/>
                <a:gd name="T22" fmla="*/ 206070 w 208"/>
                <a:gd name="T23" fmla="*/ 577601 h 498"/>
                <a:gd name="T24" fmla="*/ 227058 w 208"/>
                <a:gd name="T25" fmla="*/ 535663 h 498"/>
                <a:gd name="T26" fmla="*/ 240415 w 208"/>
                <a:gd name="T27" fmla="*/ 510882 h 498"/>
                <a:gd name="T28" fmla="*/ 328185 w 208"/>
                <a:gd name="T29" fmla="*/ 476569 h 498"/>
                <a:gd name="T30" fmla="*/ 335817 w 208"/>
                <a:gd name="T31" fmla="*/ 428912 h 498"/>
                <a:gd name="T32" fmla="*/ 328185 w 208"/>
                <a:gd name="T33" fmla="*/ 396505 h 498"/>
                <a:gd name="T34" fmla="*/ 295748 w 208"/>
                <a:gd name="T35" fmla="*/ 367911 h 498"/>
                <a:gd name="T36" fmla="*/ 301472 w 208"/>
                <a:gd name="T37" fmla="*/ 324067 h 498"/>
                <a:gd name="T38" fmla="*/ 297656 w 208"/>
                <a:gd name="T39" fmla="*/ 295473 h 498"/>
                <a:gd name="T40" fmla="*/ 311013 w 208"/>
                <a:gd name="T41" fmla="*/ 245910 h 498"/>
                <a:gd name="T42" fmla="*/ 360622 w 208"/>
                <a:gd name="T43" fmla="*/ 181096 h 498"/>
                <a:gd name="T44" fmla="*/ 393059 w 208"/>
                <a:gd name="T45" fmla="*/ 139158 h 498"/>
                <a:gd name="T46" fmla="*/ 381611 w 208"/>
                <a:gd name="T47" fmla="*/ 108658 h 498"/>
                <a:gd name="T48" fmla="*/ 372070 w 208"/>
                <a:gd name="T49" fmla="*/ 135346 h 498"/>
                <a:gd name="T50" fmla="*/ 345358 w 208"/>
                <a:gd name="T51" fmla="*/ 162033 h 498"/>
                <a:gd name="T52" fmla="*/ 295748 w 208"/>
                <a:gd name="T53" fmla="*/ 158221 h 498"/>
                <a:gd name="T54" fmla="*/ 286208 w 208"/>
                <a:gd name="T55" fmla="*/ 127720 h 498"/>
                <a:gd name="T56" fmla="*/ 291932 w 208"/>
                <a:gd name="T57" fmla="*/ 93407 h 498"/>
                <a:gd name="T58" fmla="*/ 228966 w 208"/>
                <a:gd name="T59" fmla="*/ 66720 h 498"/>
                <a:gd name="T60" fmla="*/ 183173 w 208"/>
                <a:gd name="T61" fmla="*/ 26688 h 498"/>
                <a:gd name="T62" fmla="*/ 143104 w 208"/>
                <a:gd name="T63" fmla="*/ 7625 h 498"/>
                <a:gd name="T64" fmla="*/ 125932 w 208"/>
                <a:gd name="T65" fmla="*/ 13344 h 498"/>
                <a:gd name="T66" fmla="*/ 83954 w 208"/>
                <a:gd name="T67" fmla="*/ 13344 h 498"/>
                <a:gd name="T68" fmla="*/ 64874 w 208"/>
                <a:gd name="T69" fmla="*/ 32407 h 498"/>
                <a:gd name="T70" fmla="*/ 43885 w 208"/>
                <a:gd name="T71" fmla="*/ 78157 h 498"/>
                <a:gd name="T72" fmla="*/ 40069 w 208"/>
                <a:gd name="T73" fmla="*/ 101033 h 498"/>
                <a:gd name="T74" fmla="*/ 41977 w 208"/>
                <a:gd name="T75" fmla="*/ 142971 h 498"/>
                <a:gd name="T76" fmla="*/ 30529 w 208"/>
                <a:gd name="T77" fmla="*/ 181096 h 498"/>
                <a:gd name="T78" fmla="*/ 13356 w 208"/>
                <a:gd name="T79" fmla="*/ 219222 h 498"/>
                <a:gd name="T80" fmla="*/ 7632 w 208"/>
                <a:gd name="T81" fmla="*/ 287848 h 498"/>
                <a:gd name="T82" fmla="*/ 20989 w 208"/>
                <a:gd name="T83" fmla="*/ 314535 h 498"/>
                <a:gd name="T84" fmla="*/ 26713 w 208"/>
                <a:gd name="T85" fmla="*/ 356473 h 498"/>
                <a:gd name="T86" fmla="*/ 19081 w 208"/>
                <a:gd name="T87" fmla="*/ 423193 h 498"/>
                <a:gd name="T88" fmla="*/ 19081 w 208"/>
                <a:gd name="T89" fmla="*/ 495632 h 498"/>
                <a:gd name="T90" fmla="*/ 3816 w 208"/>
                <a:gd name="T91" fmla="*/ 533757 h 498"/>
                <a:gd name="T92" fmla="*/ 9540 w 208"/>
                <a:gd name="T93" fmla="*/ 594758 h 498"/>
                <a:gd name="T94" fmla="*/ 13356 w 208"/>
                <a:gd name="T95" fmla="*/ 636696 h 498"/>
                <a:gd name="T96" fmla="*/ 17172 w 208"/>
                <a:gd name="T97" fmla="*/ 678634 h 498"/>
                <a:gd name="T98" fmla="*/ 32437 w 208"/>
                <a:gd name="T99" fmla="*/ 691978 h 498"/>
                <a:gd name="T100" fmla="*/ 34345 w 208"/>
                <a:gd name="T101" fmla="*/ 703416 h 498"/>
                <a:gd name="T102" fmla="*/ 30529 w 208"/>
                <a:gd name="T103" fmla="*/ 745354 h 498"/>
                <a:gd name="T104" fmla="*/ 13356 w 208"/>
                <a:gd name="T105" fmla="*/ 783479 h 498"/>
                <a:gd name="T106" fmla="*/ 15264 w 208"/>
                <a:gd name="T107" fmla="*/ 825417 h 498"/>
                <a:gd name="T108" fmla="*/ 15264 w 208"/>
                <a:gd name="T109" fmla="*/ 886418 h 498"/>
                <a:gd name="T110" fmla="*/ 41977 w 208"/>
                <a:gd name="T111" fmla="*/ 913106 h 498"/>
                <a:gd name="T112" fmla="*/ 110667 w 208"/>
                <a:gd name="T113" fmla="*/ 935981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3" name="Freeform 754"/>
            <p:cNvSpPr>
              <a:spLocks noChangeAspect="1"/>
            </p:cNvSpPr>
            <p:nvPr/>
          </p:nvSpPr>
          <p:spPr bwMode="auto">
            <a:xfrm>
              <a:off x="2584276" y="3262712"/>
              <a:ext cx="131341" cy="846029"/>
            </a:xfrm>
            <a:custGeom>
              <a:avLst/>
              <a:gdLst>
                <a:gd name="T0" fmla="*/ 112946 w 68"/>
                <a:gd name="T1" fmla="*/ 146596 h 547"/>
                <a:gd name="T2" fmla="*/ 97631 w 68"/>
                <a:gd name="T3" fmla="*/ 95192 h 547"/>
                <a:gd name="T4" fmla="*/ 86145 w 68"/>
                <a:gd name="T5" fmla="*/ 79961 h 547"/>
                <a:gd name="T6" fmla="*/ 86145 w 68"/>
                <a:gd name="T7" fmla="*/ 59019 h 547"/>
                <a:gd name="T8" fmla="*/ 74659 w 68"/>
                <a:gd name="T9" fmla="*/ 11423 h 547"/>
                <a:gd name="T10" fmla="*/ 55516 w 68"/>
                <a:gd name="T11" fmla="*/ 17135 h 547"/>
                <a:gd name="T12" fmla="*/ 53601 w 68"/>
                <a:gd name="T13" fmla="*/ 68538 h 547"/>
                <a:gd name="T14" fmla="*/ 53601 w 68"/>
                <a:gd name="T15" fmla="*/ 154211 h 547"/>
                <a:gd name="T16" fmla="*/ 53601 w 68"/>
                <a:gd name="T17" fmla="*/ 211326 h 547"/>
                <a:gd name="T18" fmla="*/ 51687 w 68"/>
                <a:gd name="T19" fmla="*/ 262730 h 547"/>
                <a:gd name="T20" fmla="*/ 44030 w 68"/>
                <a:gd name="T21" fmla="*/ 354114 h 547"/>
                <a:gd name="T22" fmla="*/ 47858 w 68"/>
                <a:gd name="T23" fmla="*/ 434075 h 547"/>
                <a:gd name="T24" fmla="*/ 42115 w 68"/>
                <a:gd name="T25" fmla="*/ 483575 h 547"/>
                <a:gd name="T26" fmla="*/ 21058 w 68"/>
                <a:gd name="T27" fmla="*/ 561633 h 547"/>
                <a:gd name="T28" fmla="*/ 19143 w 68"/>
                <a:gd name="T29" fmla="*/ 613036 h 547"/>
                <a:gd name="T30" fmla="*/ 19143 w 68"/>
                <a:gd name="T31" fmla="*/ 692997 h 547"/>
                <a:gd name="T32" fmla="*/ 42115 w 68"/>
                <a:gd name="T33" fmla="*/ 687286 h 547"/>
                <a:gd name="T34" fmla="*/ 53601 w 68"/>
                <a:gd name="T35" fmla="*/ 710132 h 547"/>
                <a:gd name="T36" fmla="*/ 57430 w 68"/>
                <a:gd name="T37" fmla="*/ 727266 h 547"/>
                <a:gd name="T38" fmla="*/ 53601 w 68"/>
                <a:gd name="T39" fmla="*/ 778670 h 547"/>
                <a:gd name="T40" fmla="*/ 59344 w 68"/>
                <a:gd name="T41" fmla="*/ 811035 h 547"/>
                <a:gd name="T42" fmla="*/ 44030 w 68"/>
                <a:gd name="T43" fmla="*/ 862439 h 547"/>
                <a:gd name="T44" fmla="*/ 15315 w 68"/>
                <a:gd name="T45" fmla="*/ 839593 h 547"/>
                <a:gd name="T46" fmla="*/ 7657 w 68"/>
                <a:gd name="T47" fmla="*/ 860535 h 547"/>
                <a:gd name="T48" fmla="*/ 42115 w 68"/>
                <a:gd name="T49" fmla="*/ 870054 h 547"/>
                <a:gd name="T50" fmla="*/ 26801 w 68"/>
                <a:gd name="T51" fmla="*/ 892900 h 547"/>
                <a:gd name="T52" fmla="*/ 57430 w 68"/>
                <a:gd name="T53" fmla="*/ 911939 h 547"/>
                <a:gd name="T54" fmla="*/ 34458 w 68"/>
                <a:gd name="T55" fmla="*/ 917650 h 547"/>
                <a:gd name="T56" fmla="*/ 45944 w 68"/>
                <a:gd name="T57" fmla="*/ 955727 h 547"/>
                <a:gd name="T58" fmla="*/ 47858 w 68"/>
                <a:gd name="T59" fmla="*/ 967150 h 547"/>
                <a:gd name="T60" fmla="*/ 53601 w 68"/>
                <a:gd name="T61" fmla="*/ 995708 h 547"/>
                <a:gd name="T62" fmla="*/ 65088 w 68"/>
                <a:gd name="T63" fmla="*/ 1014746 h 547"/>
                <a:gd name="T64" fmla="*/ 84231 w 68"/>
                <a:gd name="T65" fmla="*/ 1031881 h 547"/>
                <a:gd name="T66" fmla="*/ 91888 w 68"/>
                <a:gd name="T67" fmla="*/ 1022362 h 547"/>
                <a:gd name="T68" fmla="*/ 91888 w 68"/>
                <a:gd name="T69" fmla="*/ 997612 h 547"/>
                <a:gd name="T70" fmla="*/ 63173 w 68"/>
                <a:gd name="T71" fmla="*/ 955727 h 547"/>
                <a:gd name="T72" fmla="*/ 88060 w 68"/>
                <a:gd name="T73" fmla="*/ 910035 h 547"/>
                <a:gd name="T74" fmla="*/ 86145 w 68"/>
                <a:gd name="T75" fmla="*/ 870054 h 547"/>
                <a:gd name="T76" fmla="*/ 82317 w 68"/>
                <a:gd name="T77" fmla="*/ 831978 h 547"/>
                <a:gd name="T78" fmla="*/ 84231 w 68"/>
                <a:gd name="T79" fmla="*/ 803420 h 547"/>
                <a:gd name="T80" fmla="*/ 93803 w 68"/>
                <a:gd name="T81" fmla="*/ 795805 h 547"/>
                <a:gd name="T82" fmla="*/ 74659 w 68"/>
                <a:gd name="T83" fmla="*/ 757728 h 547"/>
                <a:gd name="T84" fmla="*/ 67002 w 68"/>
                <a:gd name="T85" fmla="*/ 725363 h 547"/>
                <a:gd name="T86" fmla="*/ 65088 w 68"/>
                <a:gd name="T87" fmla="*/ 666344 h 547"/>
                <a:gd name="T88" fmla="*/ 65088 w 68"/>
                <a:gd name="T89" fmla="*/ 620652 h 547"/>
                <a:gd name="T90" fmla="*/ 65088 w 68"/>
                <a:gd name="T91" fmla="*/ 546402 h 547"/>
                <a:gd name="T92" fmla="*/ 78488 w 68"/>
                <a:gd name="T93" fmla="*/ 510229 h 547"/>
                <a:gd name="T94" fmla="*/ 80402 w 68"/>
                <a:gd name="T95" fmla="*/ 451210 h 547"/>
                <a:gd name="T96" fmla="*/ 74659 w 68"/>
                <a:gd name="T97" fmla="*/ 413133 h 547"/>
                <a:gd name="T98" fmla="*/ 80402 w 68"/>
                <a:gd name="T99" fmla="*/ 357922 h 547"/>
                <a:gd name="T100" fmla="*/ 78488 w 68"/>
                <a:gd name="T101" fmla="*/ 312230 h 547"/>
                <a:gd name="T102" fmla="*/ 111032 w 68"/>
                <a:gd name="T103" fmla="*/ 272249 h 547"/>
                <a:gd name="T104" fmla="*/ 99546 w 68"/>
                <a:gd name="T105" fmla="*/ 226557 h 547"/>
                <a:gd name="T106" fmla="*/ 95717 w 68"/>
                <a:gd name="T107" fmla="*/ 203711 h 547"/>
                <a:gd name="T108" fmla="*/ 130175 w 68"/>
                <a:gd name="T109" fmla="*/ 161826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4" name="Freeform 755"/>
            <p:cNvSpPr>
              <a:spLocks noChangeAspect="1"/>
            </p:cNvSpPr>
            <p:nvPr/>
          </p:nvSpPr>
          <p:spPr bwMode="auto">
            <a:xfrm>
              <a:off x="2347222" y="2864202"/>
              <a:ext cx="323546" cy="416566"/>
            </a:xfrm>
            <a:custGeom>
              <a:avLst/>
              <a:gdLst>
                <a:gd name="T0" fmla="*/ 148885 w 168"/>
                <a:gd name="T1" fmla="*/ 1906 h 269"/>
                <a:gd name="T2" fmla="*/ 166064 w 168"/>
                <a:gd name="T3" fmla="*/ 17156 h 269"/>
                <a:gd name="T4" fmla="*/ 183243 w 168"/>
                <a:gd name="T5" fmla="*/ 34311 h 269"/>
                <a:gd name="T6" fmla="*/ 196604 w 168"/>
                <a:gd name="T7" fmla="*/ 45748 h 269"/>
                <a:gd name="T8" fmla="*/ 194696 w 168"/>
                <a:gd name="T9" fmla="*/ 60998 h 269"/>
                <a:gd name="T10" fmla="*/ 219510 w 168"/>
                <a:gd name="T11" fmla="*/ 64810 h 269"/>
                <a:gd name="T12" fmla="*/ 240506 w 168"/>
                <a:gd name="T13" fmla="*/ 64810 h 269"/>
                <a:gd name="T14" fmla="*/ 265320 w 168"/>
                <a:gd name="T15" fmla="*/ 60998 h 269"/>
                <a:gd name="T16" fmla="*/ 272956 w 168"/>
                <a:gd name="T17" fmla="*/ 68622 h 269"/>
                <a:gd name="T18" fmla="*/ 269138 w 168"/>
                <a:gd name="T19" fmla="*/ 99121 h 269"/>
                <a:gd name="T20" fmla="*/ 274864 w 168"/>
                <a:gd name="T21" fmla="*/ 108652 h 269"/>
                <a:gd name="T22" fmla="*/ 267229 w 168"/>
                <a:gd name="T23" fmla="*/ 116277 h 269"/>
                <a:gd name="T24" fmla="*/ 234780 w 168"/>
                <a:gd name="T25" fmla="*/ 125808 h 269"/>
                <a:gd name="T26" fmla="*/ 208057 w 168"/>
                <a:gd name="T27" fmla="*/ 141057 h 269"/>
                <a:gd name="T28" fmla="*/ 198513 w 168"/>
                <a:gd name="T29" fmla="*/ 167744 h 269"/>
                <a:gd name="T30" fmla="*/ 183243 w 168"/>
                <a:gd name="T31" fmla="*/ 188712 h 269"/>
                <a:gd name="T32" fmla="*/ 183243 w 168"/>
                <a:gd name="T33" fmla="*/ 217304 h 269"/>
                <a:gd name="T34" fmla="*/ 208057 w 168"/>
                <a:gd name="T35" fmla="*/ 247803 h 269"/>
                <a:gd name="T36" fmla="*/ 221418 w 168"/>
                <a:gd name="T37" fmla="*/ 264959 h 269"/>
                <a:gd name="T38" fmla="*/ 244324 w 168"/>
                <a:gd name="T39" fmla="*/ 280208 h 269"/>
                <a:gd name="T40" fmla="*/ 263412 w 168"/>
                <a:gd name="T41" fmla="*/ 263053 h 269"/>
                <a:gd name="T42" fmla="*/ 282499 w 168"/>
                <a:gd name="T43" fmla="*/ 303082 h 269"/>
                <a:gd name="T44" fmla="*/ 320675 w 168"/>
                <a:gd name="T45" fmla="*/ 346924 h 269"/>
                <a:gd name="T46" fmla="*/ 309222 w 168"/>
                <a:gd name="T47" fmla="*/ 367892 h 269"/>
                <a:gd name="T48" fmla="*/ 305405 w 168"/>
                <a:gd name="T49" fmla="*/ 381236 h 269"/>
                <a:gd name="T50" fmla="*/ 301587 w 168"/>
                <a:gd name="T51" fmla="*/ 415547 h 269"/>
                <a:gd name="T52" fmla="*/ 305405 w 168"/>
                <a:gd name="T53" fmla="*/ 459389 h 269"/>
                <a:gd name="T54" fmla="*/ 293952 w 168"/>
                <a:gd name="T55" fmla="*/ 478451 h 269"/>
                <a:gd name="T56" fmla="*/ 290135 w 168"/>
                <a:gd name="T57" fmla="*/ 491794 h 269"/>
                <a:gd name="T58" fmla="*/ 276773 w 168"/>
                <a:gd name="T59" fmla="*/ 512762 h 269"/>
                <a:gd name="T60" fmla="*/ 251959 w 168"/>
                <a:gd name="T61" fmla="*/ 486075 h 269"/>
                <a:gd name="T62" fmla="*/ 208057 w 168"/>
                <a:gd name="T63" fmla="*/ 457483 h 269"/>
                <a:gd name="T64" fmla="*/ 154611 w 168"/>
                <a:gd name="T65" fmla="*/ 421265 h 269"/>
                <a:gd name="T66" fmla="*/ 131706 w 168"/>
                <a:gd name="T67" fmla="*/ 392673 h 269"/>
                <a:gd name="T68" fmla="*/ 137432 w 168"/>
                <a:gd name="T69" fmla="*/ 373611 h 269"/>
                <a:gd name="T70" fmla="*/ 97348 w 168"/>
                <a:gd name="T71" fmla="*/ 312613 h 269"/>
                <a:gd name="T72" fmla="*/ 66807 w 168"/>
                <a:gd name="T73" fmla="*/ 236366 h 269"/>
                <a:gd name="T74" fmla="*/ 49628 w 168"/>
                <a:gd name="T75" fmla="*/ 194430 h 269"/>
                <a:gd name="T76" fmla="*/ 26723 w 168"/>
                <a:gd name="T77" fmla="*/ 181087 h 269"/>
                <a:gd name="T78" fmla="*/ 7635 w 168"/>
                <a:gd name="T79" fmla="*/ 158213 h 269"/>
                <a:gd name="T80" fmla="*/ 11453 w 168"/>
                <a:gd name="T81" fmla="*/ 146776 h 269"/>
                <a:gd name="T82" fmla="*/ 7635 w 168"/>
                <a:gd name="T83" fmla="*/ 135339 h 269"/>
                <a:gd name="T84" fmla="*/ 17179 w 168"/>
                <a:gd name="T85" fmla="*/ 99121 h 269"/>
                <a:gd name="T86" fmla="*/ 32449 w 168"/>
                <a:gd name="T87" fmla="*/ 101027 h 269"/>
                <a:gd name="T88" fmla="*/ 20997 w 168"/>
                <a:gd name="T89" fmla="*/ 108652 h 269"/>
                <a:gd name="T90" fmla="*/ 24814 w 168"/>
                <a:gd name="T91" fmla="*/ 121995 h 269"/>
                <a:gd name="T92" fmla="*/ 47719 w 168"/>
                <a:gd name="T93" fmla="*/ 120089 h 269"/>
                <a:gd name="T94" fmla="*/ 55355 w 168"/>
                <a:gd name="T95" fmla="*/ 135339 h 269"/>
                <a:gd name="T96" fmla="*/ 70625 w 168"/>
                <a:gd name="T97" fmla="*/ 91497 h 269"/>
                <a:gd name="T98" fmla="*/ 116436 w 168"/>
                <a:gd name="T99" fmla="*/ 68622 h 269"/>
                <a:gd name="T100" fmla="*/ 129797 w 168"/>
                <a:gd name="T101" fmla="*/ 51467 h 269"/>
                <a:gd name="T102" fmla="*/ 141250 w 168"/>
                <a:gd name="T103" fmla="*/ 28593 h 269"/>
                <a:gd name="T104" fmla="*/ 146976 w 168"/>
                <a:gd name="T105" fmla="*/ 13343 h 269"/>
                <a:gd name="T106" fmla="*/ 141250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5" name="Freeform 756"/>
            <p:cNvSpPr>
              <a:spLocks noChangeAspect="1"/>
            </p:cNvSpPr>
            <p:nvPr/>
          </p:nvSpPr>
          <p:spPr bwMode="auto">
            <a:xfrm>
              <a:off x="2355230" y="2833250"/>
              <a:ext cx="142552" cy="140575"/>
            </a:xfrm>
            <a:custGeom>
              <a:avLst/>
              <a:gdLst>
                <a:gd name="T0" fmla="*/ 19093 w 74"/>
                <a:gd name="T1" fmla="*/ 129302 h 91"/>
                <a:gd name="T2" fmla="*/ 30549 w 74"/>
                <a:gd name="T3" fmla="*/ 123598 h 91"/>
                <a:gd name="T4" fmla="*/ 34367 w 74"/>
                <a:gd name="T5" fmla="*/ 106484 h 91"/>
                <a:gd name="T6" fmla="*/ 30549 w 74"/>
                <a:gd name="T7" fmla="*/ 102681 h 91"/>
                <a:gd name="T8" fmla="*/ 26730 w 74"/>
                <a:gd name="T9" fmla="*/ 106484 h 91"/>
                <a:gd name="T10" fmla="*/ 21002 w 74"/>
                <a:gd name="T11" fmla="*/ 104583 h 91"/>
                <a:gd name="T12" fmla="*/ 15274 w 74"/>
                <a:gd name="T13" fmla="*/ 110287 h 91"/>
                <a:gd name="T14" fmla="*/ 1909 w 74"/>
                <a:gd name="T15" fmla="*/ 102681 h 91"/>
                <a:gd name="T16" fmla="*/ 3819 w 74"/>
                <a:gd name="T17" fmla="*/ 95075 h 91"/>
                <a:gd name="T18" fmla="*/ 7637 w 74"/>
                <a:gd name="T19" fmla="*/ 85568 h 91"/>
                <a:gd name="T20" fmla="*/ 3819 w 74"/>
                <a:gd name="T21" fmla="*/ 79863 h 91"/>
                <a:gd name="T22" fmla="*/ 3819 w 74"/>
                <a:gd name="T23" fmla="*/ 68454 h 91"/>
                <a:gd name="T24" fmla="*/ 11456 w 74"/>
                <a:gd name="T25" fmla="*/ 55144 h 91"/>
                <a:gd name="T26" fmla="*/ 7637 w 74"/>
                <a:gd name="T27" fmla="*/ 49439 h 91"/>
                <a:gd name="T28" fmla="*/ 19093 w 74"/>
                <a:gd name="T29" fmla="*/ 38030 h 91"/>
                <a:gd name="T30" fmla="*/ 21002 w 74"/>
                <a:gd name="T31" fmla="*/ 26621 h 91"/>
                <a:gd name="T32" fmla="*/ 21002 w 74"/>
                <a:gd name="T33" fmla="*/ 17114 h 91"/>
                <a:gd name="T34" fmla="*/ 32458 w 74"/>
                <a:gd name="T35" fmla="*/ 11409 h 91"/>
                <a:gd name="T36" fmla="*/ 43914 w 74"/>
                <a:gd name="T37" fmla="*/ 3803 h 91"/>
                <a:gd name="T38" fmla="*/ 51551 w 74"/>
                <a:gd name="T39" fmla="*/ 0 h 91"/>
                <a:gd name="T40" fmla="*/ 64916 w 74"/>
                <a:gd name="T41" fmla="*/ 5705 h 91"/>
                <a:gd name="T42" fmla="*/ 70644 w 74"/>
                <a:gd name="T43" fmla="*/ 11409 h 91"/>
                <a:gd name="T44" fmla="*/ 80190 w 74"/>
                <a:gd name="T45" fmla="*/ 17114 h 91"/>
                <a:gd name="T46" fmla="*/ 85918 w 74"/>
                <a:gd name="T47" fmla="*/ 24720 h 91"/>
                <a:gd name="T48" fmla="*/ 93556 w 74"/>
                <a:gd name="T49" fmla="*/ 24720 h 91"/>
                <a:gd name="T50" fmla="*/ 101193 w 74"/>
                <a:gd name="T51" fmla="*/ 28523 h 91"/>
                <a:gd name="T52" fmla="*/ 108830 w 74"/>
                <a:gd name="T53" fmla="*/ 28523 h 91"/>
                <a:gd name="T54" fmla="*/ 110739 w 74"/>
                <a:gd name="T55" fmla="*/ 24720 h 91"/>
                <a:gd name="T56" fmla="*/ 118376 w 74"/>
                <a:gd name="T57" fmla="*/ 26621 h 91"/>
                <a:gd name="T58" fmla="*/ 133651 w 74"/>
                <a:gd name="T59" fmla="*/ 38030 h 91"/>
                <a:gd name="T60" fmla="*/ 133651 w 74"/>
                <a:gd name="T61" fmla="*/ 41833 h 91"/>
                <a:gd name="T62" fmla="*/ 139379 w 74"/>
                <a:gd name="T63" fmla="*/ 51341 h 91"/>
                <a:gd name="T64" fmla="*/ 139379 w 74"/>
                <a:gd name="T65" fmla="*/ 62750 h 91"/>
                <a:gd name="T66" fmla="*/ 133651 w 74"/>
                <a:gd name="T67" fmla="*/ 66553 h 91"/>
                <a:gd name="T68" fmla="*/ 129832 w 74"/>
                <a:gd name="T69" fmla="*/ 81765 h 91"/>
                <a:gd name="T70" fmla="*/ 122195 w 74"/>
                <a:gd name="T71" fmla="*/ 89371 h 91"/>
                <a:gd name="T72" fmla="*/ 110739 w 74"/>
                <a:gd name="T73" fmla="*/ 100780 h 91"/>
                <a:gd name="T74" fmla="*/ 108830 w 74"/>
                <a:gd name="T75" fmla="*/ 106484 h 91"/>
                <a:gd name="T76" fmla="*/ 72553 w 74"/>
                <a:gd name="T77" fmla="*/ 121696 h 91"/>
                <a:gd name="T78" fmla="*/ 63007 w 74"/>
                <a:gd name="T79" fmla="*/ 129302 h 91"/>
                <a:gd name="T80" fmla="*/ 57279 w 74"/>
                <a:gd name="T81" fmla="*/ 159726 h 91"/>
                <a:gd name="T82" fmla="*/ 47732 w 74"/>
                <a:gd name="T83" fmla="*/ 173037 h 91"/>
                <a:gd name="T84" fmla="*/ 43914 w 74"/>
                <a:gd name="T85" fmla="*/ 171135 h 91"/>
                <a:gd name="T86" fmla="*/ 40095 w 74"/>
                <a:gd name="T87" fmla="*/ 157825 h 91"/>
                <a:gd name="T88" fmla="*/ 26730 w 74"/>
                <a:gd name="T89" fmla="*/ 154022 h 91"/>
                <a:gd name="T90" fmla="*/ 17184 w 74"/>
                <a:gd name="T91" fmla="*/ 159726 h 91"/>
                <a:gd name="T92" fmla="*/ 17184 w 74"/>
                <a:gd name="T93" fmla="*/ 154022 h 91"/>
                <a:gd name="T94" fmla="*/ 13365 w 74"/>
                <a:gd name="T95" fmla="*/ 146416 h 91"/>
                <a:gd name="T96" fmla="*/ 22912 w 74"/>
                <a:gd name="T97" fmla="*/ 142613 h 91"/>
                <a:gd name="T98" fmla="*/ 24821 w 74"/>
                <a:gd name="T99" fmla="*/ 138810 h 91"/>
                <a:gd name="T100" fmla="*/ 19093 w 74"/>
                <a:gd name="T101" fmla="*/ 129302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6" name="Freeform 757"/>
            <p:cNvSpPr>
              <a:spLocks noChangeAspect="1"/>
            </p:cNvSpPr>
            <p:nvPr/>
          </p:nvSpPr>
          <p:spPr bwMode="auto">
            <a:xfrm>
              <a:off x="2585877" y="2417973"/>
              <a:ext cx="91298" cy="46429"/>
            </a:xfrm>
            <a:custGeom>
              <a:avLst/>
              <a:gdLst>
                <a:gd name="T0" fmla="*/ 7701 w 47"/>
                <a:gd name="T1" fmla="*/ 47625 h 30"/>
                <a:gd name="T2" fmla="*/ 13477 w 47"/>
                <a:gd name="T3" fmla="*/ 57150 h 30"/>
                <a:gd name="T4" fmla="*/ 23103 w 47"/>
                <a:gd name="T5" fmla="*/ 41910 h 30"/>
                <a:gd name="T6" fmla="*/ 38506 w 47"/>
                <a:gd name="T7" fmla="*/ 43815 h 30"/>
                <a:gd name="T8" fmla="*/ 53908 w 47"/>
                <a:gd name="T9" fmla="*/ 38100 h 30"/>
                <a:gd name="T10" fmla="*/ 78936 w 47"/>
                <a:gd name="T11" fmla="*/ 40005 h 30"/>
                <a:gd name="T12" fmla="*/ 88563 w 47"/>
                <a:gd name="T13" fmla="*/ 30480 h 30"/>
                <a:gd name="T14" fmla="*/ 75086 w 47"/>
                <a:gd name="T15" fmla="*/ 19050 h 30"/>
                <a:gd name="T16" fmla="*/ 57758 w 47"/>
                <a:gd name="T17" fmla="*/ 11430 h 30"/>
                <a:gd name="T18" fmla="*/ 46207 w 47"/>
                <a:gd name="T19" fmla="*/ 7620 h 30"/>
                <a:gd name="T20" fmla="*/ 25029 w 47"/>
                <a:gd name="T21" fmla="*/ 0 h 30"/>
                <a:gd name="T22" fmla="*/ 7701 w 47"/>
                <a:gd name="T23" fmla="*/ 1905 h 30"/>
                <a:gd name="T24" fmla="*/ 9626 w 47"/>
                <a:gd name="T25" fmla="*/ 15240 h 30"/>
                <a:gd name="T26" fmla="*/ 5776 w 47"/>
                <a:gd name="T27" fmla="*/ 20955 h 30"/>
                <a:gd name="T28" fmla="*/ 7701 w 47"/>
                <a:gd name="T29" fmla="*/ 26670 h 30"/>
                <a:gd name="T30" fmla="*/ 0 w 47"/>
                <a:gd name="T31" fmla="*/ 34290 h 30"/>
                <a:gd name="T32" fmla="*/ 9626 w 47"/>
                <a:gd name="T33" fmla="*/ 43815 h 30"/>
                <a:gd name="T34" fmla="*/ 7701 w 47"/>
                <a:gd name="T35" fmla="*/ 47625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7" name="Freeform 758"/>
            <p:cNvSpPr>
              <a:spLocks noChangeAspect="1"/>
            </p:cNvSpPr>
            <p:nvPr/>
          </p:nvSpPr>
          <p:spPr bwMode="auto">
            <a:xfrm>
              <a:off x="1539959" y="2114899"/>
              <a:ext cx="695143" cy="424305"/>
            </a:xfrm>
            <a:custGeom>
              <a:avLst/>
              <a:gdLst>
                <a:gd name="T0" fmla="*/ 656530 w 361"/>
                <a:gd name="T1" fmla="*/ 407918 h 274"/>
                <a:gd name="T2" fmla="*/ 667981 w 361"/>
                <a:gd name="T3" fmla="*/ 385044 h 274"/>
                <a:gd name="T4" fmla="*/ 688975 w 361"/>
                <a:gd name="T5" fmla="*/ 339297 h 274"/>
                <a:gd name="T6" fmla="*/ 627902 w 361"/>
                <a:gd name="T7" fmla="*/ 331672 h 274"/>
                <a:gd name="T8" fmla="*/ 589732 w 361"/>
                <a:gd name="T9" fmla="*/ 388857 h 274"/>
                <a:gd name="T10" fmla="*/ 578281 w 361"/>
                <a:gd name="T11" fmla="*/ 406012 h 274"/>
                <a:gd name="T12" fmla="*/ 553470 w 361"/>
                <a:gd name="T13" fmla="*/ 411731 h 274"/>
                <a:gd name="T14" fmla="*/ 538202 w 361"/>
                <a:gd name="T15" fmla="*/ 409824 h 274"/>
                <a:gd name="T16" fmla="*/ 469495 w 361"/>
                <a:gd name="T17" fmla="*/ 404106 h 274"/>
                <a:gd name="T18" fmla="*/ 427508 w 361"/>
                <a:gd name="T19" fmla="*/ 324047 h 274"/>
                <a:gd name="T20" fmla="*/ 435142 w 361"/>
                <a:gd name="T21" fmla="*/ 320235 h 274"/>
                <a:gd name="T22" fmla="*/ 429417 w 361"/>
                <a:gd name="T23" fmla="*/ 242082 h 274"/>
                <a:gd name="T24" fmla="*/ 446593 w 361"/>
                <a:gd name="T25" fmla="*/ 203959 h 274"/>
                <a:gd name="T26" fmla="*/ 398880 w 361"/>
                <a:gd name="T27" fmla="*/ 169648 h 274"/>
                <a:gd name="T28" fmla="*/ 372161 w 361"/>
                <a:gd name="T29" fmla="*/ 99120 h 274"/>
                <a:gd name="T30" fmla="*/ 330174 w 361"/>
                <a:gd name="T31" fmla="*/ 87683 h 274"/>
                <a:gd name="T32" fmla="*/ 301546 w 361"/>
                <a:gd name="T33" fmla="*/ 99120 h 274"/>
                <a:gd name="T34" fmla="*/ 257650 w 361"/>
                <a:gd name="T35" fmla="*/ 40029 h 274"/>
                <a:gd name="T36" fmla="*/ 141230 w 361"/>
                <a:gd name="T37" fmla="*/ 38123 h 274"/>
                <a:gd name="T38" fmla="*/ 9543 w 361"/>
                <a:gd name="T39" fmla="*/ 0 h 274"/>
                <a:gd name="T40" fmla="*/ 11451 w 361"/>
                <a:gd name="T41" fmla="*/ 34311 h 274"/>
                <a:gd name="T42" fmla="*/ 19085 w 361"/>
                <a:gd name="T43" fmla="*/ 72434 h 274"/>
                <a:gd name="T44" fmla="*/ 51530 w 361"/>
                <a:gd name="T45" fmla="*/ 121994 h 274"/>
                <a:gd name="T46" fmla="*/ 57256 w 361"/>
                <a:gd name="T47" fmla="*/ 144868 h 274"/>
                <a:gd name="T48" fmla="*/ 30536 w 361"/>
                <a:gd name="T49" fmla="*/ 142962 h 274"/>
                <a:gd name="T50" fmla="*/ 72524 w 361"/>
                <a:gd name="T51" fmla="*/ 169648 h 274"/>
                <a:gd name="T52" fmla="*/ 87792 w 361"/>
                <a:gd name="T53" fmla="*/ 221115 h 274"/>
                <a:gd name="T54" fmla="*/ 114511 w 361"/>
                <a:gd name="T55" fmla="*/ 249707 h 274"/>
                <a:gd name="T56" fmla="*/ 150773 w 361"/>
                <a:gd name="T57" fmla="*/ 272581 h 274"/>
                <a:gd name="T58" fmla="*/ 131688 w 361"/>
                <a:gd name="T59" fmla="*/ 249707 h 274"/>
                <a:gd name="T60" fmla="*/ 116420 w 361"/>
                <a:gd name="T61" fmla="*/ 188710 h 274"/>
                <a:gd name="T62" fmla="*/ 85883 w 361"/>
                <a:gd name="T63" fmla="*/ 144868 h 274"/>
                <a:gd name="T64" fmla="*/ 64890 w 361"/>
                <a:gd name="T65" fmla="*/ 95308 h 274"/>
                <a:gd name="T66" fmla="*/ 49621 w 361"/>
                <a:gd name="T67" fmla="*/ 28592 h 274"/>
                <a:gd name="T68" fmla="*/ 83975 w 361"/>
                <a:gd name="T69" fmla="*/ 41936 h 274"/>
                <a:gd name="T70" fmla="*/ 97334 w 361"/>
                <a:gd name="T71" fmla="*/ 106745 h 274"/>
                <a:gd name="T72" fmla="*/ 135505 w 361"/>
                <a:gd name="T73" fmla="*/ 148681 h 274"/>
                <a:gd name="T74" fmla="*/ 150773 w 361"/>
                <a:gd name="T75" fmla="*/ 173461 h 274"/>
                <a:gd name="T76" fmla="*/ 158407 w 361"/>
                <a:gd name="T77" fmla="*/ 192522 h 274"/>
                <a:gd name="T78" fmla="*/ 187035 w 361"/>
                <a:gd name="T79" fmla="*/ 219208 h 274"/>
                <a:gd name="T80" fmla="*/ 219480 w 361"/>
                <a:gd name="T81" fmla="*/ 272581 h 274"/>
                <a:gd name="T82" fmla="*/ 234748 w 361"/>
                <a:gd name="T83" fmla="*/ 345015 h 274"/>
                <a:gd name="T84" fmla="*/ 242382 w 361"/>
                <a:gd name="T85" fmla="*/ 379326 h 274"/>
                <a:gd name="T86" fmla="*/ 314905 w 361"/>
                <a:gd name="T87" fmla="*/ 423168 h 274"/>
                <a:gd name="T88" fmla="*/ 400789 w 361"/>
                <a:gd name="T89" fmla="*/ 468915 h 274"/>
                <a:gd name="T90" fmla="*/ 479038 w 361"/>
                <a:gd name="T91" fmla="*/ 476540 h 274"/>
                <a:gd name="T92" fmla="*/ 509574 w 361"/>
                <a:gd name="T93" fmla="*/ 482259 h 274"/>
                <a:gd name="T94" fmla="*/ 547745 w 361"/>
                <a:gd name="T95" fmla="*/ 505133 h 274"/>
                <a:gd name="T96" fmla="*/ 585915 w 361"/>
                <a:gd name="T97" fmla="*/ 463197 h 274"/>
                <a:gd name="T98" fmla="*/ 580190 w 361"/>
                <a:gd name="T99" fmla="*/ 434605 h 274"/>
                <a:gd name="T100" fmla="*/ 639354 w 361"/>
                <a:gd name="T101" fmla="*/ 421261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8" name="Freeform 759"/>
            <p:cNvSpPr>
              <a:spLocks noChangeAspect="1"/>
            </p:cNvSpPr>
            <p:nvPr/>
          </p:nvSpPr>
          <p:spPr bwMode="auto">
            <a:xfrm>
              <a:off x="2167830" y="2451505"/>
              <a:ext cx="32034" cy="55456"/>
            </a:xfrm>
            <a:custGeom>
              <a:avLst/>
              <a:gdLst>
                <a:gd name="T0" fmla="*/ 9338 w 17"/>
                <a:gd name="T1" fmla="*/ 68262 h 36"/>
                <a:gd name="T2" fmla="*/ 14941 w 17"/>
                <a:gd name="T3" fmla="*/ 58781 h 36"/>
                <a:gd name="T4" fmla="*/ 24279 w 17"/>
                <a:gd name="T5" fmla="*/ 51196 h 36"/>
                <a:gd name="T6" fmla="*/ 24279 w 17"/>
                <a:gd name="T7" fmla="*/ 32235 h 36"/>
                <a:gd name="T8" fmla="*/ 26147 w 17"/>
                <a:gd name="T9" fmla="*/ 20858 h 36"/>
                <a:gd name="T10" fmla="*/ 31750 w 17"/>
                <a:gd name="T11" fmla="*/ 3792 h 36"/>
                <a:gd name="T12" fmla="*/ 24279 w 17"/>
                <a:gd name="T13" fmla="*/ 5688 h 36"/>
                <a:gd name="T14" fmla="*/ 26147 w 17"/>
                <a:gd name="T15" fmla="*/ 0 h 36"/>
                <a:gd name="T16" fmla="*/ 16809 w 17"/>
                <a:gd name="T17" fmla="*/ 7585 h 36"/>
                <a:gd name="T18" fmla="*/ 13074 w 17"/>
                <a:gd name="T19" fmla="*/ 17066 h 36"/>
                <a:gd name="T20" fmla="*/ 7471 w 17"/>
                <a:gd name="T21" fmla="*/ 15169 h 36"/>
                <a:gd name="T22" fmla="*/ 3735 w 17"/>
                <a:gd name="T23" fmla="*/ 18962 h 36"/>
                <a:gd name="T24" fmla="*/ 5603 w 17"/>
                <a:gd name="T25" fmla="*/ 37923 h 36"/>
                <a:gd name="T26" fmla="*/ 0 w 17"/>
                <a:gd name="T27" fmla="*/ 68262 h 36"/>
                <a:gd name="T28" fmla="*/ 9338 w 17"/>
                <a:gd name="T29" fmla="*/ 68262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9" name="Freeform 760"/>
            <p:cNvSpPr>
              <a:spLocks noChangeAspect="1"/>
            </p:cNvSpPr>
            <p:nvPr/>
          </p:nvSpPr>
          <p:spPr bwMode="auto">
            <a:xfrm>
              <a:off x="2090948" y="2466981"/>
              <a:ext cx="100908" cy="88988"/>
            </a:xfrm>
            <a:custGeom>
              <a:avLst/>
              <a:gdLst>
                <a:gd name="T0" fmla="*/ 75481 w 53"/>
                <a:gd name="T1" fmla="*/ 88763 h 58"/>
                <a:gd name="T2" fmla="*/ 75481 w 53"/>
                <a:gd name="T3" fmla="*/ 77431 h 58"/>
                <a:gd name="T4" fmla="*/ 84916 w 53"/>
                <a:gd name="T5" fmla="*/ 71766 h 58"/>
                <a:gd name="T6" fmla="*/ 98125 w 53"/>
                <a:gd name="T7" fmla="*/ 62323 h 58"/>
                <a:gd name="T8" fmla="*/ 100012 w 53"/>
                <a:gd name="T9" fmla="*/ 56657 h 58"/>
                <a:gd name="T10" fmla="*/ 92464 w 53"/>
                <a:gd name="T11" fmla="*/ 52880 h 58"/>
                <a:gd name="T12" fmla="*/ 84916 w 53"/>
                <a:gd name="T13" fmla="*/ 49103 h 58"/>
                <a:gd name="T14" fmla="*/ 75481 w 53"/>
                <a:gd name="T15" fmla="*/ 49103 h 58"/>
                <a:gd name="T16" fmla="*/ 81142 w 53"/>
                <a:gd name="T17" fmla="*/ 18886 h 58"/>
                <a:gd name="T18" fmla="*/ 79255 w 53"/>
                <a:gd name="T19" fmla="*/ 0 h 58"/>
                <a:gd name="T20" fmla="*/ 33966 w 53"/>
                <a:gd name="T21" fmla="*/ 1889 h 58"/>
                <a:gd name="T22" fmla="*/ 32079 w 53"/>
                <a:gd name="T23" fmla="*/ 16997 h 58"/>
                <a:gd name="T24" fmla="*/ 22644 w 53"/>
                <a:gd name="T25" fmla="*/ 18886 h 58"/>
                <a:gd name="T26" fmla="*/ 32079 w 53"/>
                <a:gd name="T27" fmla="*/ 28329 h 58"/>
                <a:gd name="T28" fmla="*/ 39627 w 53"/>
                <a:gd name="T29" fmla="*/ 30217 h 58"/>
                <a:gd name="T30" fmla="*/ 41514 w 53"/>
                <a:gd name="T31" fmla="*/ 35883 h 58"/>
                <a:gd name="T32" fmla="*/ 43401 w 53"/>
                <a:gd name="T33" fmla="*/ 49103 h 58"/>
                <a:gd name="T34" fmla="*/ 13209 w 53"/>
                <a:gd name="T35" fmla="*/ 47214 h 58"/>
                <a:gd name="T36" fmla="*/ 1887 w 53"/>
                <a:gd name="T37" fmla="*/ 71766 h 58"/>
                <a:gd name="T38" fmla="*/ 3774 w 53"/>
                <a:gd name="T39" fmla="*/ 81208 h 58"/>
                <a:gd name="T40" fmla="*/ 0 w 53"/>
                <a:gd name="T41" fmla="*/ 88763 h 58"/>
                <a:gd name="T42" fmla="*/ 7548 w 53"/>
                <a:gd name="T43" fmla="*/ 96317 h 58"/>
                <a:gd name="T44" fmla="*/ 18870 w 53"/>
                <a:gd name="T45" fmla="*/ 103871 h 58"/>
                <a:gd name="T46" fmla="*/ 35853 w 53"/>
                <a:gd name="T47" fmla="*/ 107648 h 58"/>
                <a:gd name="T48" fmla="*/ 47175 w 53"/>
                <a:gd name="T49" fmla="*/ 109537 h 58"/>
                <a:gd name="T50" fmla="*/ 54724 w 53"/>
                <a:gd name="T51" fmla="*/ 103871 h 58"/>
                <a:gd name="T52" fmla="*/ 60385 w 53"/>
                <a:gd name="T53" fmla="*/ 103871 h 58"/>
                <a:gd name="T54" fmla="*/ 64159 w 53"/>
                <a:gd name="T55" fmla="*/ 90651 h 58"/>
                <a:gd name="T56" fmla="*/ 71707 w 53"/>
                <a:gd name="T57" fmla="*/ 88763 h 58"/>
                <a:gd name="T58" fmla="*/ 75481 w 53"/>
                <a:gd name="T59" fmla="*/ 88763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0" name="Freeform 761"/>
            <p:cNvSpPr>
              <a:spLocks noChangeAspect="1"/>
            </p:cNvSpPr>
            <p:nvPr/>
          </p:nvSpPr>
          <p:spPr bwMode="auto">
            <a:xfrm>
              <a:off x="2139000" y="2539203"/>
              <a:ext cx="62466" cy="33532"/>
            </a:xfrm>
            <a:custGeom>
              <a:avLst/>
              <a:gdLst>
                <a:gd name="T0" fmla="*/ 60036 w 33"/>
                <a:gd name="T1" fmla="*/ 31894 h 22"/>
                <a:gd name="T2" fmla="*/ 60036 w 33"/>
                <a:gd name="T3" fmla="*/ 22514 h 22"/>
                <a:gd name="T4" fmla="*/ 56284 w 33"/>
                <a:gd name="T5" fmla="*/ 16885 h 22"/>
                <a:gd name="T6" fmla="*/ 45027 w 33"/>
                <a:gd name="T7" fmla="*/ 18761 h 22"/>
                <a:gd name="T8" fmla="*/ 45027 w 33"/>
                <a:gd name="T9" fmla="*/ 11257 h 22"/>
                <a:gd name="T10" fmla="*/ 37522 w 33"/>
                <a:gd name="T11" fmla="*/ 9381 h 22"/>
                <a:gd name="T12" fmla="*/ 31894 w 33"/>
                <a:gd name="T13" fmla="*/ 5628 h 22"/>
                <a:gd name="T14" fmla="*/ 28142 w 33"/>
                <a:gd name="T15" fmla="*/ 0 h 22"/>
                <a:gd name="T16" fmla="*/ 24390 w 33"/>
                <a:gd name="T17" fmla="*/ 0 h 22"/>
                <a:gd name="T18" fmla="*/ 16885 w 33"/>
                <a:gd name="T19" fmla="*/ 1876 h 22"/>
                <a:gd name="T20" fmla="*/ 13133 w 33"/>
                <a:gd name="T21" fmla="*/ 15009 h 22"/>
                <a:gd name="T22" fmla="*/ 7504 w 33"/>
                <a:gd name="T23" fmla="*/ 15009 h 22"/>
                <a:gd name="T24" fmla="*/ 0 w 33"/>
                <a:gd name="T25" fmla="*/ 20638 h 22"/>
                <a:gd name="T26" fmla="*/ 9381 w 33"/>
                <a:gd name="T27" fmla="*/ 24390 h 22"/>
                <a:gd name="T28" fmla="*/ 13133 w 33"/>
                <a:gd name="T29" fmla="*/ 30018 h 22"/>
                <a:gd name="T30" fmla="*/ 26266 w 33"/>
                <a:gd name="T31" fmla="*/ 31894 h 22"/>
                <a:gd name="T32" fmla="*/ 30018 w 33"/>
                <a:gd name="T33" fmla="*/ 35647 h 22"/>
                <a:gd name="T34" fmla="*/ 41275 w 33"/>
                <a:gd name="T35" fmla="*/ 33770 h 22"/>
                <a:gd name="T36" fmla="*/ 48779 w 33"/>
                <a:gd name="T37" fmla="*/ 39399 h 22"/>
                <a:gd name="T38" fmla="*/ 54408 w 33"/>
                <a:gd name="T39" fmla="*/ 39399 h 22"/>
                <a:gd name="T40" fmla="*/ 56284 w 33"/>
                <a:gd name="T41" fmla="*/ 33770 h 22"/>
                <a:gd name="T42" fmla="*/ 60036 w 33"/>
                <a:gd name="T43" fmla="*/ 31894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1" name="Freeform 762"/>
            <p:cNvSpPr>
              <a:spLocks noChangeAspect="1"/>
            </p:cNvSpPr>
            <p:nvPr/>
          </p:nvSpPr>
          <p:spPr bwMode="auto">
            <a:xfrm>
              <a:off x="2167830" y="2508251"/>
              <a:ext cx="144153" cy="68353"/>
            </a:xfrm>
            <a:custGeom>
              <a:avLst/>
              <a:gdLst>
                <a:gd name="T0" fmla="*/ 32385 w 75"/>
                <a:gd name="T1" fmla="*/ 70752 h 44"/>
                <a:gd name="T2" fmla="*/ 32385 w 75"/>
                <a:gd name="T3" fmla="*/ 61191 h 44"/>
                <a:gd name="T4" fmla="*/ 28575 w 75"/>
                <a:gd name="T5" fmla="*/ 55454 h 44"/>
                <a:gd name="T6" fmla="*/ 17145 w 75"/>
                <a:gd name="T7" fmla="*/ 57366 h 44"/>
                <a:gd name="T8" fmla="*/ 17145 w 75"/>
                <a:gd name="T9" fmla="*/ 49717 h 44"/>
                <a:gd name="T10" fmla="*/ 9525 w 75"/>
                <a:gd name="T11" fmla="*/ 47805 h 44"/>
                <a:gd name="T12" fmla="*/ 3810 w 75"/>
                <a:gd name="T13" fmla="*/ 43981 h 44"/>
                <a:gd name="T14" fmla="*/ 0 w 75"/>
                <a:gd name="T15" fmla="*/ 38244 h 44"/>
                <a:gd name="T16" fmla="*/ 0 w 75"/>
                <a:gd name="T17" fmla="*/ 26771 h 44"/>
                <a:gd name="T18" fmla="*/ 9525 w 75"/>
                <a:gd name="T19" fmla="*/ 21034 h 44"/>
                <a:gd name="T20" fmla="*/ 22860 w 75"/>
                <a:gd name="T21" fmla="*/ 11473 h 44"/>
                <a:gd name="T22" fmla="*/ 24765 w 75"/>
                <a:gd name="T23" fmla="*/ 5737 h 44"/>
                <a:gd name="T24" fmla="*/ 34290 w 75"/>
                <a:gd name="T25" fmla="*/ 0 h 44"/>
                <a:gd name="T26" fmla="*/ 43815 w 75"/>
                <a:gd name="T27" fmla="*/ 1912 h 44"/>
                <a:gd name="T28" fmla="*/ 47625 w 75"/>
                <a:gd name="T29" fmla="*/ 5737 h 44"/>
                <a:gd name="T30" fmla="*/ 64770 w 75"/>
                <a:gd name="T31" fmla="*/ 5737 h 44"/>
                <a:gd name="T32" fmla="*/ 78105 w 75"/>
                <a:gd name="T33" fmla="*/ 0 h 44"/>
                <a:gd name="T34" fmla="*/ 85725 w 75"/>
                <a:gd name="T35" fmla="*/ 0 h 44"/>
                <a:gd name="T36" fmla="*/ 100965 w 75"/>
                <a:gd name="T37" fmla="*/ 1912 h 44"/>
                <a:gd name="T38" fmla="*/ 112395 w 75"/>
                <a:gd name="T39" fmla="*/ 3824 h 44"/>
                <a:gd name="T40" fmla="*/ 120015 w 75"/>
                <a:gd name="T41" fmla="*/ 3824 h 44"/>
                <a:gd name="T42" fmla="*/ 127635 w 75"/>
                <a:gd name="T43" fmla="*/ 9561 h 44"/>
                <a:gd name="T44" fmla="*/ 127635 w 75"/>
                <a:gd name="T45" fmla="*/ 11473 h 44"/>
                <a:gd name="T46" fmla="*/ 120015 w 75"/>
                <a:gd name="T47" fmla="*/ 9561 h 44"/>
                <a:gd name="T48" fmla="*/ 120015 w 75"/>
                <a:gd name="T49" fmla="*/ 17210 h 44"/>
                <a:gd name="T50" fmla="*/ 121920 w 75"/>
                <a:gd name="T51" fmla="*/ 19122 h 44"/>
                <a:gd name="T52" fmla="*/ 131445 w 75"/>
                <a:gd name="T53" fmla="*/ 19122 h 44"/>
                <a:gd name="T54" fmla="*/ 131445 w 75"/>
                <a:gd name="T55" fmla="*/ 17210 h 44"/>
                <a:gd name="T56" fmla="*/ 131445 w 75"/>
                <a:gd name="T57" fmla="*/ 13385 h 44"/>
                <a:gd name="T58" fmla="*/ 140970 w 75"/>
                <a:gd name="T59" fmla="*/ 21034 h 44"/>
                <a:gd name="T60" fmla="*/ 140970 w 75"/>
                <a:gd name="T61" fmla="*/ 28683 h 44"/>
                <a:gd name="T62" fmla="*/ 129540 w 75"/>
                <a:gd name="T63" fmla="*/ 28683 h 44"/>
                <a:gd name="T64" fmla="*/ 123825 w 75"/>
                <a:gd name="T65" fmla="*/ 32507 h 44"/>
                <a:gd name="T66" fmla="*/ 108585 w 75"/>
                <a:gd name="T67" fmla="*/ 38244 h 44"/>
                <a:gd name="T68" fmla="*/ 104775 w 75"/>
                <a:gd name="T69" fmla="*/ 32507 h 44"/>
                <a:gd name="T70" fmla="*/ 95250 w 75"/>
                <a:gd name="T71" fmla="*/ 40156 h 44"/>
                <a:gd name="T72" fmla="*/ 93345 w 75"/>
                <a:gd name="T73" fmla="*/ 47805 h 44"/>
                <a:gd name="T74" fmla="*/ 80010 w 75"/>
                <a:gd name="T75" fmla="*/ 55454 h 44"/>
                <a:gd name="T76" fmla="*/ 70485 w 75"/>
                <a:gd name="T77" fmla="*/ 55454 h 44"/>
                <a:gd name="T78" fmla="*/ 64770 w 75"/>
                <a:gd name="T79" fmla="*/ 61191 h 44"/>
                <a:gd name="T80" fmla="*/ 55245 w 75"/>
                <a:gd name="T81" fmla="*/ 61191 h 44"/>
                <a:gd name="T82" fmla="*/ 55245 w 75"/>
                <a:gd name="T83" fmla="*/ 74576 h 44"/>
                <a:gd name="T84" fmla="*/ 47625 w 75"/>
                <a:gd name="T85" fmla="*/ 84137 h 44"/>
                <a:gd name="T86" fmla="*/ 41910 w 75"/>
                <a:gd name="T87" fmla="*/ 84137 h 44"/>
                <a:gd name="T88" fmla="*/ 38100 w 75"/>
                <a:gd name="T89" fmla="*/ 78400 h 44"/>
                <a:gd name="T90" fmla="*/ 32385 w 75"/>
                <a:gd name="T91" fmla="*/ 70752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2" name="Freeform 763"/>
            <p:cNvSpPr>
              <a:spLocks noChangeAspect="1"/>
            </p:cNvSpPr>
            <p:nvPr/>
          </p:nvSpPr>
          <p:spPr bwMode="auto">
            <a:xfrm>
              <a:off x="2198262" y="2530175"/>
              <a:ext cx="110519" cy="96726"/>
            </a:xfrm>
            <a:custGeom>
              <a:avLst/>
              <a:gdLst>
                <a:gd name="T0" fmla="*/ 49103 w 58"/>
                <a:gd name="T1" fmla="*/ 103944 h 63"/>
                <a:gd name="T2" fmla="*/ 66101 w 58"/>
                <a:gd name="T3" fmla="*/ 111503 h 63"/>
                <a:gd name="T4" fmla="*/ 73655 w 58"/>
                <a:gd name="T5" fmla="*/ 111503 h 63"/>
                <a:gd name="T6" fmla="*/ 81209 w 58"/>
                <a:gd name="T7" fmla="*/ 117173 h 63"/>
                <a:gd name="T8" fmla="*/ 94429 w 58"/>
                <a:gd name="T9" fmla="*/ 117173 h 63"/>
                <a:gd name="T10" fmla="*/ 96318 w 58"/>
                <a:gd name="T11" fmla="*/ 111503 h 63"/>
                <a:gd name="T12" fmla="*/ 90652 w 58"/>
                <a:gd name="T13" fmla="*/ 100164 h 63"/>
                <a:gd name="T14" fmla="*/ 94429 w 58"/>
                <a:gd name="T15" fmla="*/ 86935 h 63"/>
                <a:gd name="T16" fmla="*/ 92541 w 58"/>
                <a:gd name="T17" fmla="*/ 75596 h 63"/>
                <a:gd name="T18" fmla="*/ 98206 w 58"/>
                <a:gd name="T19" fmla="*/ 66146 h 63"/>
                <a:gd name="T20" fmla="*/ 98206 w 58"/>
                <a:gd name="T21" fmla="*/ 41578 h 63"/>
                <a:gd name="T22" fmla="*/ 107649 w 58"/>
                <a:gd name="T23" fmla="*/ 24569 h 63"/>
                <a:gd name="T24" fmla="*/ 107649 w 58"/>
                <a:gd name="T25" fmla="*/ 11339 h 63"/>
                <a:gd name="T26" fmla="*/ 109538 w 58"/>
                <a:gd name="T27" fmla="*/ 1890 h 63"/>
                <a:gd name="T28" fmla="*/ 98206 w 58"/>
                <a:gd name="T29" fmla="*/ 1890 h 63"/>
                <a:gd name="T30" fmla="*/ 92541 w 58"/>
                <a:gd name="T31" fmla="*/ 5670 h 63"/>
                <a:gd name="T32" fmla="*/ 77432 w 58"/>
                <a:gd name="T33" fmla="*/ 11339 h 63"/>
                <a:gd name="T34" fmla="*/ 73655 w 58"/>
                <a:gd name="T35" fmla="*/ 5670 h 63"/>
                <a:gd name="T36" fmla="*/ 64212 w 58"/>
                <a:gd name="T37" fmla="*/ 13229 h 63"/>
                <a:gd name="T38" fmla="*/ 62323 w 58"/>
                <a:gd name="T39" fmla="*/ 20789 h 63"/>
                <a:gd name="T40" fmla="*/ 49103 w 58"/>
                <a:gd name="T41" fmla="*/ 28348 h 63"/>
                <a:gd name="T42" fmla="*/ 39660 w 58"/>
                <a:gd name="T43" fmla="*/ 28348 h 63"/>
                <a:gd name="T44" fmla="*/ 33995 w 58"/>
                <a:gd name="T45" fmla="*/ 34018 h 63"/>
                <a:gd name="T46" fmla="*/ 24552 w 58"/>
                <a:gd name="T47" fmla="*/ 34018 h 63"/>
                <a:gd name="T48" fmla="*/ 24552 w 58"/>
                <a:gd name="T49" fmla="*/ 47247 h 63"/>
                <a:gd name="T50" fmla="*/ 16997 w 58"/>
                <a:gd name="T51" fmla="*/ 56697 h 63"/>
                <a:gd name="T52" fmla="*/ 11332 w 58"/>
                <a:gd name="T53" fmla="*/ 56697 h 63"/>
                <a:gd name="T54" fmla="*/ 7554 w 58"/>
                <a:gd name="T55" fmla="*/ 58587 h 63"/>
                <a:gd name="T56" fmla="*/ 1889 w 58"/>
                <a:gd name="T57" fmla="*/ 52917 h 63"/>
                <a:gd name="T58" fmla="*/ 1889 w 58"/>
                <a:gd name="T59" fmla="*/ 60476 h 63"/>
                <a:gd name="T60" fmla="*/ 24552 w 58"/>
                <a:gd name="T61" fmla="*/ 85045 h 63"/>
                <a:gd name="T62" fmla="*/ 43437 w 58"/>
                <a:gd name="T63" fmla="*/ 105834 h 63"/>
                <a:gd name="T64" fmla="*/ 47215 w 58"/>
                <a:gd name="T65" fmla="*/ 103944 h 63"/>
                <a:gd name="T66" fmla="*/ 43437 w 58"/>
                <a:gd name="T67" fmla="*/ 94494 h 63"/>
                <a:gd name="T68" fmla="*/ 41549 w 58"/>
                <a:gd name="T69" fmla="*/ 81265 h 63"/>
                <a:gd name="T70" fmla="*/ 43437 w 58"/>
                <a:gd name="T71" fmla="*/ 79375 h 63"/>
                <a:gd name="T72" fmla="*/ 56658 w 58"/>
                <a:gd name="T73" fmla="*/ 88825 h 63"/>
                <a:gd name="T74" fmla="*/ 67989 w 58"/>
                <a:gd name="T75" fmla="*/ 102054 h 63"/>
                <a:gd name="T76" fmla="*/ 67989 w 58"/>
                <a:gd name="T77" fmla="*/ 107724 h 63"/>
                <a:gd name="T78" fmla="*/ 50992 w 58"/>
                <a:gd name="T79" fmla="*/ 100164 h 63"/>
                <a:gd name="T80" fmla="*/ 49103 w 58"/>
                <a:gd name="T81" fmla="*/ 103944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3" name="Freeform 764"/>
            <p:cNvSpPr>
              <a:spLocks noChangeAspect="1"/>
            </p:cNvSpPr>
            <p:nvPr/>
          </p:nvSpPr>
          <p:spPr bwMode="auto">
            <a:xfrm>
              <a:off x="2311984" y="2650116"/>
              <a:ext cx="134544" cy="56746"/>
            </a:xfrm>
            <a:custGeom>
              <a:avLst/>
              <a:gdLst>
                <a:gd name="T0" fmla="*/ 120015 w 70"/>
                <a:gd name="T1" fmla="*/ 64029 h 36"/>
                <a:gd name="T2" fmla="*/ 125730 w 70"/>
                <a:gd name="T3" fmla="*/ 56268 h 36"/>
                <a:gd name="T4" fmla="*/ 131445 w 70"/>
                <a:gd name="T5" fmla="*/ 56268 h 36"/>
                <a:gd name="T6" fmla="*/ 133350 w 70"/>
                <a:gd name="T7" fmla="*/ 42686 h 36"/>
                <a:gd name="T8" fmla="*/ 129540 w 70"/>
                <a:gd name="T9" fmla="*/ 34925 h 36"/>
                <a:gd name="T10" fmla="*/ 133350 w 70"/>
                <a:gd name="T11" fmla="*/ 29104 h 36"/>
                <a:gd name="T12" fmla="*/ 121920 w 70"/>
                <a:gd name="T13" fmla="*/ 15522 h 36"/>
                <a:gd name="T14" fmla="*/ 102870 w 70"/>
                <a:gd name="T15" fmla="*/ 9701 h 36"/>
                <a:gd name="T16" fmla="*/ 89535 w 70"/>
                <a:gd name="T17" fmla="*/ 1940 h 36"/>
                <a:gd name="T18" fmla="*/ 80010 w 70"/>
                <a:gd name="T19" fmla="*/ 7761 h 36"/>
                <a:gd name="T20" fmla="*/ 62865 w 70"/>
                <a:gd name="T21" fmla="*/ 11642 h 36"/>
                <a:gd name="T22" fmla="*/ 41910 w 70"/>
                <a:gd name="T23" fmla="*/ 23283 h 36"/>
                <a:gd name="T24" fmla="*/ 30480 w 70"/>
                <a:gd name="T25" fmla="*/ 19403 h 36"/>
                <a:gd name="T26" fmla="*/ 20955 w 70"/>
                <a:gd name="T27" fmla="*/ 19403 h 36"/>
                <a:gd name="T28" fmla="*/ 15240 w 70"/>
                <a:gd name="T29" fmla="*/ 7761 h 36"/>
                <a:gd name="T30" fmla="*/ 5715 w 70"/>
                <a:gd name="T31" fmla="*/ 1940 h 36"/>
                <a:gd name="T32" fmla="*/ 3810 w 70"/>
                <a:gd name="T33" fmla="*/ 13582 h 36"/>
                <a:gd name="T34" fmla="*/ 9525 w 70"/>
                <a:gd name="T35" fmla="*/ 21343 h 36"/>
                <a:gd name="T36" fmla="*/ 3810 w 70"/>
                <a:gd name="T37" fmla="*/ 27164 h 36"/>
                <a:gd name="T38" fmla="*/ 3810 w 70"/>
                <a:gd name="T39" fmla="*/ 34925 h 36"/>
                <a:gd name="T40" fmla="*/ 0 w 70"/>
                <a:gd name="T41" fmla="*/ 40746 h 36"/>
                <a:gd name="T42" fmla="*/ 17145 w 70"/>
                <a:gd name="T43" fmla="*/ 40746 h 36"/>
                <a:gd name="T44" fmla="*/ 30480 w 70"/>
                <a:gd name="T45" fmla="*/ 40746 h 36"/>
                <a:gd name="T46" fmla="*/ 34290 w 70"/>
                <a:gd name="T47" fmla="*/ 52387 h 36"/>
                <a:gd name="T48" fmla="*/ 38100 w 70"/>
                <a:gd name="T49" fmla="*/ 58208 h 36"/>
                <a:gd name="T50" fmla="*/ 43815 w 70"/>
                <a:gd name="T51" fmla="*/ 48507 h 36"/>
                <a:gd name="T52" fmla="*/ 47625 w 70"/>
                <a:gd name="T53" fmla="*/ 60149 h 36"/>
                <a:gd name="T54" fmla="*/ 55245 w 70"/>
                <a:gd name="T55" fmla="*/ 67910 h 36"/>
                <a:gd name="T56" fmla="*/ 70485 w 70"/>
                <a:gd name="T57" fmla="*/ 62089 h 36"/>
                <a:gd name="T58" fmla="*/ 64770 w 70"/>
                <a:gd name="T59" fmla="*/ 50447 h 36"/>
                <a:gd name="T60" fmla="*/ 59055 w 70"/>
                <a:gd name="T61" fmla="*/ 40746 h 36"/>
                <a:gd name="T62" fmla="*/ 66675 w 70"/>
                <a:gd name="T63" fmla="*/ 36865 h 36"/>
                <a:gd name="T64" fmla="*/ 74295 w 70"/>
                <a:gd name="T65" fmla="*/ 31044 h 36"/>
                <a:gd name="T66" fmla="*/ 74295 w 70"/>
                <a:gd name="T67" fmla="*/ 21343 h 36"/>
                <a:gd name="T68" fmla="*/ 89535 w 70"/>
                <a:gd name="T69" fmla="*/ 15522 h 36"/>
                <a:gd name="T70" fmla="*/ 102870 w 70"/>
                <a:gd name="T71" fmla="*/ 25224 h 36"/>
                <a:gd name="T72" fmla="*/ 110490 w 70"/>
                <a:gd name="T73" fmla="*/ 29104 h 36"/>
                <a:gd name="T74" fmla="*/ 114300 w 70"/>
                <a:gd name="T75" fmla="*/ 42686 h 36"/>
                <a:gd name="T76" fmla="*/ 108585 w 70"/>
                <a:gd name="T77" fmla="*/ 44626 h 36"/>
                <a:gd name="T78" fmla="*/ 112395 w 70"/>
                <a:gd name="T79" fmla="*/ 56268 h 36"/>
                <a:gd name="T80" fmla="*/ 120015 w 70"/>
                <a:gd name="T81" fmla="*/ 64029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4" name="Freeform 765"/>
            <p:cNvSpPr>
              <a:spLocks noChangeAspect="1"/>
            </p:cNvSpPr>
            <p:nvPr/>
          </p:nvSpPr>
          <p:spPr bwMode="auto">
            <a:xfrm>
              <a:off x="2239906" y="2615294"/>
              <a:ext cx="81688" cy="72222"/>
            </a:xfrm>
            <a:custGeom>
              <a:avLst/>
              <a:gdLst>
                <a:gd name="T0" fmla="*/ 77108 w 42"/>
                <a:gd name="T1" fmla="*/ 45396 h 47"/>
                <a:gd name="T2" fmla="*/ 75180 w 42"/>
                <a:gd name="T3" fmla="*/ 41613 h 47"/>
                <a:gd name="T4" fmla="*/ 69397 w 42"/>
                <a:gd name="T5" fmla="*/ 35938 h 47"/>
                <a:gd name="T6" fmla="*/ 57831 w 42"/>
                <a:gd name="T7" fmla="*/ 24589 h 47"/>
                <a:gd name="T8" fmla="*/ 57831 w 42"/>
                <a:gd name="T9" fmla="*/ 13240 h 47"/>
                <a:gd name="T10" fmla="*/ 55903 w 42"/>
                <a:gd name="T11" fmla="*/ 7566 h 47"/>
                <a:gd name="T12" fmla="*/ 53975 w 42"/>
                <a:gd name="T13" fmla="*/ 13240 h 47"/>
                <a:gd name="T14" fmla="*/ 40482 w 42"/>
                <a:gd name="T15" fmla="*/ 13240 h 47"/>
                <a:gd name="T16" fmla="*/ 32771 w 42"/>
                <a:gd name="T17" fmla="*/ 7566 h 47"/>
                <a:gd name="T18" fmla="*/ 25060 w 42"/>
                <a:gd name="T19" fmla="*/ 7566 h 47"/>
                <a:gd name="T20" fmla="*/ 7711 w 42"/>
                <a:gd name="T21" fmla="*/ 0 h 47"/>
                <a:gd name="T22" fmla="*/ 5783 w 42"/>
                <a:gd name="T23" fmla="*/ 0 h 47"/>
                <a:gd name="T24" fmla="*/ 1928 w 42"/>
                <a:gd name="T25" fmla="*/ 1891 h 47"/>
                <a:gd name="T26" fmla="*/ 0 w 42"/>
                <a:gd name="T27" fmla="*/ 7566 h 47"/>
                <a:gd name="T28" fmla="*/ 1928 w 42"/>
                <a:gd name="T29" fmla="*/ 13240 h 47"/>
                <a:gd name="T30" fmla="*/ 1928 w 42"/>
                <a:gd name="T31" fmla="*/ 18915 h 47"/>
                <a:gd name="T32" fmla="*/ 0 w 42"/>
                <a:gd name="T33" fmla="*/ 30264 h 47"/>
                <a:gd name="T34" fmla="*/ 1928 w 42"/>
                <a:gd name="T35" fmla="*/ 35938 h 47"/>
                <a:gd name="T36" fmla="*/ 11566 w 42"/>
                <a:gd name="T37" fmla="*/ 41613 h 47"/>
                <a:gd name="T38" fmla="*/ 19277 w 42"/>
                <a:gd name="T39" fmla="*/ 43504 h 47"/>
                <a:gd name="T40" fmla="*/ 19277 w 42"/>
                <a:gd name="T41" fmla="*/ 39721 h 47"/>
                <a:gd name="T42" fmla="*/ 15422 w 42"/>
                <a:gd name="T43" fmla="*/ 30264 h 47"/>
                <a:gd name="T44" fmla="*/ 17349 w 42"/>
                <a:gd name="T45" fmla="*/ 28372 h 47"/>
                <a:gd name="T46" fmla="*/ 25060 w 42"/>
                <a:gd name="T47" fmla="*/ 35938 h 47"/>
                <a:gd name="T48" fmla="*/ 28915 w 42"/>
                <a:gd name="T49" fmla="*/ 45396 h 47"/>
                <a:gd name="T50" fmla="*/ 44337 w 42"/>
                <a:gd name="T51" fmla="*/ 51070 h 47"/>
                <a:gd name="T52" fmla="*/ 53975 w 42"/>
                <a:gd name="T53" fmla="*/ 60528 h 47"/>
                <a:gd name="T54" fmla="*/ 53975 w 42"/>
                <a:gd name="T55" fmla="*/ 73768 h 47"/>
                <a:gd name="T56" fmla="*/ 61686 w 42"/>
                <a:gd name="T57" fmla="*/ 79443 h 47"/>
                <a:gd name="T58" fmla="*/ 57831 w 42"/>
                <a:gd name="T59" fmla="*/ 73768 h 47"/>
                <a:gd name="T60" fmla="*/ 57831 w 42"/>
                <a:gd name="T61" fmla="*/ 68094 h 47"/>
                <a:gd name="T62" fmla="*/ 63614 w 42"/>
                <a:gd name="T63" fmla="*/ 73768 h 47"/>
                <a:gd name="T64" fmla="*/ 71325 w 42"/>
                <a:gd name="T65" fmla="*/ 87009 h 47"/>
                <a:gd name="T66" fmla="*/ 71325 w 42"/>
                <a:gd name="T67" fmla="*/ 83226 h 47"/>
                <a:gd name="T68" fmla="*/ 75180 w 42"/>
                <a:gd name="T69" fmla="*/ 77551 h 47"/>
                <a:gd name="T70" fmla="*/ 75180 w 42"/>
                <a:gd name="T71" fmla="*/ 69985 h 47"/>
                <a:gd name="T72" fmla="*/ 80963 w 42"/>
                <a:gd name="T73" fmla="*/ 64311 h 47"/>
                <a:gd name="T74" fmla="*/ 75180 w 42"/>
                <a:gd name="T75" fmla="*/ 56745 h 47"/>
                <a:gd name="T76" fmla="*/ 77108 w 42"/>
                <a:gd name="T77" fmla="*/ 45396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5" name="Freeform 766"/>
            <p:cNvSpPr>
              <a:spLocks noChangeAspect="1"/>
            </p:cNvSpPr>
            <p:nvPr/>
          </p:nvSpPr>
          <p:spPr bwMode="auto">
            <a:xfrm>
              <a:off x="2404884" y="2586921"/>
              <a:ext cx="293112" cy="372718"/>
            </a:xfrm>
            <a:custGeom>
              <a:avLst/>
              <a:gdLst>
                <a:gd name="T0" fmla="*/ 51604 w 152"/>
                <a:gd name="T1" fmla="*/ 127547 h 241"/>
                <a:gd name="T2" fmla="*/ 64983 w 152"/>
                <a:gd name="T3" fmla="*/ 102799 h 241"/>
                <a:gd name="T4" fmla="*/ 80273 w 152"/>
                <a:gd name="T5" fmla="*/ 79955 h 241"/>
                <a:gd name="T6" fmla="*/ 97474 w 152"/>
                <a:gd name="T7" fmla="*/ 45688 h 241"/>
                <a:gd name="T8" fmla="*/ 116587 w 152"/>
                <a:gd name="T9" fmla="*/ 41881 h 241"/>
                <a:gd name="T10" fmla="*/ 150990 w 152"/>
                <a:gd name="T11" fmla="*/ 28555 h 241"/>
                <a:gd name="T12" fmla="*/ 173925 w 152"/>
                <a:gd name="T13" fmla="*/ 9518 h 241"/>
                <a:gd name="T14" fmla="*/ 193038 w 152"/>
                <a:gd name="T15" fmla="*/ 13326 h 241"/>
                <a:gd name="T16" fmla="*/ 164369 w 152"/>
                <a:gd name="T17" fmla="*/ 38074 h 241"/>
                <a:gd name="T18" fmla="*/ 135700 w 152"/>
                <a:gd name="T19" fmla="*/ 93281 h 241"/>
                <a:gd name="T20" fmla="*/ 154812 w 152"/>
                <a:gd name="T21" fmla="*/ 95184 h 241"/>
                <a:gd name="T22" fmla="*/ 164369 w 152"/>
                <a:gd name="T23" fmla="*/ 142776 h 241"/>
                <a:gd name="T24" fmla="*/ 193038 w 152"/>
                <a:gd name="T25" fmla="*/ 148487 h 241"/>
                <a:gd name="T26" fmla="*/ 215973 w 152"/>
                <a:gd name="T27" fmla="*/ 152295 h 241"/>
                <a:gd name="T28" fmla="*/ 242730 w 152"/>
                <a:gd name="T29" fmla="*/ 173235 h 241"/>
                <a:gd name="T30" fmla="*/ 277133 w 152"/>
                <a:gd name="T31" fmla="*/ 173235 h 241"/>
                <a:gd name="T32" fmla="*/ 271399 w 152"/>
                <a:gd name="T33" fmla="*/ 203694 h 241"/>
                <a:gd name="T34" fmla="*/ 273311 w 152"/>
                <a:gd name="T35" fmla="*/ 236057 h 241"/>
                <a:gd name="T36" fmla="*/ 265666 w 152"/>
                <a:gd name="T37" fmla="*/ 262709 h 241"/>
                <a:gd name="T38" fmla="*/ 290512 w 152"/>
                <a:gd name="T39" fmla="*/ 304590 h 241"/>
                <a:gd name="T40" fmla="*/ 273311 w 152"/>
                <a:gd name="T41" fmla="*/ 281745 h 241"/>
                <a:gd name="T42" fmla="*/ 258021 w 152"/>
                <a:gd name="T43" fmla="*/ 291264 h 241"/>
                <a:gd name="T44" fmla="*/ 231263 w 152"/>
                <a:gd name="T45" fmla="*/ 308397 h 241"/>
                <a:gd name="T46" fmla="*/ 221706 w 152"/>
                <a:gd name="T47" fmla="*/ 319819 h 241"/>
                <a:gd name="T48" fmla="*/ 225529 w 152"/>
                <a:gd name="T49" fmla="*/ 357893 h 241"/>
                <a:gd name="T50" fmla="*/ 219795 w 152"/>
                <a:gd name="T51" fmla="*/ 458788 h 241"/>
                <a:gd name="T52" fmla="*/ 212150 w 152"/>
                <a:gd name="T53" fmla="*/ 439751 h 241"/>
                <a:gd name="T54" fmla="*/ 208328 w 152"/>
                <a:gd name="T55" fmla="*/ 409292 h 241"/>
                <a:gd name="T56" fmla="*/ 183481 w 152"/>
                <a:gd name="T57" fmla="*/ 405485 h 241"/>
                <a:gd name="T58" fmla="*/ 147167 w 152"/>
                <a:gd name="T59" fmla="*/ 403581 h 241"/>
                <a:gd name="T60" fmla="*/ 139522 w 152"/>
                <a:gd name="T61" fmla="*/ 386448 h 241"/>
                <a:gd name="T62" fmla="*/ 112765 w 152"/>
                <a:gd name="T63" fmla="*/ 369315 h 241"/>
                <a:gd name="T64" fmla="*/ 91741 w 152"/>
                <a:gd name="T65" fmla="*/ 342663 h 241"/>
                <a:gd name="T66" fmla="*/ 61160 w 152"/>
                <a:gd name="T67" fmla="*/ 327434 h 241"/>
                <a:gd name="T68" fmla="*/ 43959 w 152"/>
                <a:gd name="T69" fmla="*/ 327434 h 241"/>
                <a:gd name="T70" fmla="*/ 21024 w 152"/>
                <a:gd name="T71" fmla="*/ 314108 h 241"/>
                <a:gd name="T72" fmla="*/ 1911 w 152"/>
                <a:gd name="T73" fmla="*/ 295071 h 241"/>
                <a:gd name="T74" fmla="*/ 5734 w 152"/>
                <a:gd name="T75" fmla="*/ 279842 h 241"/>
                <a:gd name="T76" fmla="*/ 30580 w 152"/>
                <a:gd name="T77" fmla="*/ 266516 h 241"/>
                <a:gd name="T78" fmla="*/ 45870 w 152"/>
                <a:gd name="T79" fmla="*/ 236057 h 241"/>
                <a:gd name="T80" fmla="*/ 32491 w 152"/>
                <a:gd name="T81" fmla="*/ 222731 h 241"/>
                <a:gd name="T82" fmla="*/ 32491 w 152"/>
                <a:gd name="T83" fmla="*/ 192272 h 241"/>
                <a:gd name="T84" fmla="*/ 40137 w 152"/>
                <a:gd name="T85" fmla="*/ 165621 h 241"/>
                <a:gd name="T86" fmla="*/ 26758 w 152"/>
                <a:gd name="T87" fmla="*/ 140873 h 241"/>
                <a:gd name="T88" fmla="*/ 40137 w 152"/>
                <a:gd name="T89" fmla="*/ 119932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6" name="Freeform 767"/>
            <p:cNvSpPr>
              <a:spLocks noChangeAspect="1"/>
            </p:cNvSpPr>
            <p:nvPr/>
          </p:nvSpPr>
          <p:spPr bwMode="auto">
            <a:xfrm>
              <a:off x="2542631" y="2594659"/>
              <a:ext cx="331554" cy="255356"/>
            </a:xfrm>
            <a:custGeom>
              <a:avLst/>
              <a:gdLst>
                <a:gd name="T0" fmla="*/ 288723 w 173"/>
                <a:gd name="T1" fmla="*/ 165735 h 165"/>
                <a:gd name="T2" fmla="*/ 303919 w 173"/>
                <a:gd name="T3" fmla="*/ 146685 h 165"/>
                <a:gd name="T4" fmla="*/ 302019 w 173"/>
                <a:gd name="T5" fmla="*/ 129540 h 165"/>
                <a:gd name="T6" fmla="*/ 328612 w 173"/>
                <a:gd name="T7" fmla="*/ 106680 h 165"/>
                <a:gd name="T8" fmla="*/ 298220 w 173"/>
                <a:gd name="T9" fmla="*/ 99060 h 165"/>
                <a:gd name="T10" fmla="*/ 303919 w 173"/>
                <a:gd name="T11" fmla="*/ 78105 h 165"/>
                <a:gd name="T12" fmla="*/ 265929 w 173"/>
                <a:gd name="T13" fmla="*/ 60960 h 165"/>
                <a:gd name="T14" fmla="*/ 275426 w 173"/>
                <a:gd name="T15" fmla="*/ 40005 h 165"/>
                <a:gd name="T16" fmla="*/ 227939 w 173"/>
                <a:gd name="T17" fmla="*/ 43815 h 165"/>
                <a:gd name="T18" fmla="*/ 212743 w 173"/>
                <a:gd name="T19" fmla="*/ 53340 h 165"/>
                <a:gd name="T20" fmla="*/ 174753 w 173"/>
                <a:gd name="T21" fmla="*/ 45720 h 165"/>
                <a:gd name="T22" fmla="*/ 131065 w 173"/>
                <a:gd name="T23" fmla="*/ 49530 h 165"/>
                <a:gd name="T24" fmla="*/ 112070 w 173"/>
                <a:gd name="T25" fmla="*/ 19050 h 165"/>
                <a:gd name="T26" fmla="*/ 89276 w 173"/>
                <a:gd name="T27" fmla="*/ 5715 h 165"/>
                <a:gd name="T28" fmla="*/ 79779 w 173"/>
                <a:gd name="T29" fmla="*/ 15240 h 165"/>
                <a:gd name="T30" fmla="*/ 81678 w 173"/>
                <a:gd name="T31" fmla="*/ 20955 h 165"/>
                <a:gd name="T32" fmla="*/ 53186 w 173"/>
                <a:gd name="T33" fmla="*/ 36195 h 165"/>
                <a:gd name="T34" fmla="*/ 55085 w 173"/>
                <a:gd name="T35" fmla="*/ 66675 h 165"/>
                <a:gd name="T36" fmla="*/ 37990 w 173"/>
                <a:gd name="T37" fmla="*/ 76200 h 165"/>
                <a:gd name="T38" fmla="*/ 43688 w 173"/>
                <a:gd name="T39" fmla="*/ 45720 h 165"/>
                <a:gd name="T40" fmla="*/ 36090 w 173"/>
                <a:gd name="T41" fmla="*/ 15240 h 165"/>
                <a:gd name="T42" fmla="*/ 34191 w 173"/>
                <a:gd name="T43" fmla="*/ 13335 h 165"/>
                <a:gd name="T44" fmla="*/ 13296 w 173"/>
                <a:gd name="T45" fmla="*/ 64770 h 165"/>
                <a:gd name="T46" fmla="*/ 9497 w 173"/>
                <a:gd name="T47" fmla="*/ 83820 h 165"/>
                <a:gd name="T48" fmla="*/ 24693 w 173"/>
                <a:gd name="T49" fmla="*/ 121920 h 165"/>
                <a:gd name="T50" fmla="*/ 47487 w 173"/>
                <a:gd name="T51" fmla="*/ 137160 h 165"/>
                <a:gd name="T52" fmla="*/ 70281 w 173"/>
                <a:gd name="T53" fmla="*/ 142875 h 165"/>
                <a:gd name="T54" fmla="*/ 102573 w 173"/>
                <a:gd name="T55" fmla="*/ 161925 h 165"/>
                <a:gd name="T56" fmla="*/ 134864 w 173"/>
                <a:gd name="T57" fmla="*/ 161925 h 165"/>
                <a:gd name="T58" fmla="*/ 132964 w 173"/>
                <a:gd name="T59" fmla="*/ 188595 h 165"/>
                <a:gd name="T60" fmla="*/ 136763 w 173"/>
                <a:gd name="T61" fmla="*/ 215265 h 165"/>
                <a:gd name="T62" fmla="*/ 140562 w 173"/>
                <a:gd name="T63" fmla="*/ 240030 h 165"/>
                <a:gd name="T64" fmla="*/ 144361 w 173"/>
                <a:gd name="T65" fmla="*/ 268605 h 165"/>
                <a:gd name="T66" fmla="*/ 184251 w 173"/>
                <a:gd name="T67" fmla="*/ 310515 h 165"/>
                <a:gd name="T68" fmla="*/ 212743 w 173"/>
                <a:gd name="T69" fmla="*/ 289560 h 165"/>
                <a:gd name="T70" fmla="*/ 218441 w 173"/>
                <a:gd name="T71" fmla="*/ 278130 h 165"/>
                <a:gd name="T72" fmla="*/ 239336 w 173"/>
                <a:gd name="T73" fmla="*/ 266700 h 165"/>
                <a:gd name="T74" fmla="*/ 218441 w 173"/>
                <a:gd name="T75" fmla="*/ 259080 h 165"/>
                <a:gd name="T76" fmla="*/ 220341 w 173"/>
                <a:gd name="T77" fmla="*/ 238125 h 165"/>
                <a:gd name="T78" fmla="*/ 218441 w 173"/>
                <a:gd name="T79" fmla="*/ 219075 h 165"/>
                <a:gd name="T80" fmla="*/ 254532 w 173"/>
                <a:gd name="T81" fmla="*/ 228600 h 165"/>
                <a:gd name="T82" fmla="*/ 290622 w 173"/>
                <a:gd name="T83" fmla="*/ 211455 h 165"/>
                <a:gd name="T84" fmla="*/ 303919 w 173"/>
                <a:gd name="T85" fmla="*/ 188595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7" name="Freeform 768"/>
            <p:cNvSpPr>
              <a:spLocks noChangeAspect="1"/>
            </p:cNvSpPr>
            <p:nvPr/>
          </p:nvSpPr>
          <p:spPr bwMode="auto">
            <a:xfrm>
              <a:off x="2830939" y="2681067"/>
              <a:ext cx="120128" cy="159920"/>
            </a:xfrm>
            <a:custGeom>
              <a:avLst/>
              <a:gdLst>
                <a:gd name="T0" fmla="*/ 119062 w 63"/>
                <a:gd name="T1" fmla="*/ 172005 h 103"/>
                <a:gd name="T2" fmla="*/ 113392 w 63"/>
                <a:gd name="T3" fmla="*/ 164360 h 103"/>
                <a:gd name="T4" fmla="*/ 107723 w 63"/>
                <a:gd name="T5" fmla="*/ 154804 h 103"/>
                <a:gd name="T6" fmla="*/ 103943 w 63"/>
                <a:gd name="T7" fmla="*/ 139515 h 103"/>
                <a:gd name="T8" fmla="*/ 100163 w 63"/>
                <a:gd name="T9" fmla="*/ 137604 h 103"/>
                <a:gd name="T10" fmla="*/ 100163 w 63"/>
                <a:gd name="T11" fmla="*/ 129959 h 103"/>
                <a:gd name="T12" fmla="*/ 94494 w 63"/>
                <a:gd name="T13" fmla="*/ 129959 h 103"/>
                <a:gd name="T14" fmla="*/ 83154 w 63"/>
                <a:gd name="T15" fmla="*/ 112759 h 103"/>
                <a:gd name="T16" fmla="*/ 86934 w 63"/>
                <a:gd name="T17" fmla="*/ 101292 h 103"/>
                <a:gd name="T18" fmla="*/ 88824 w 63"/>
                <a:gd name="T19" fmla="*/ 89825 h 103"/>
                <a:gd name="T20" fmla="*/ 98273 w 63"/>
                <a:gd name="T21" fmla="*/ 89825 h 103"/>
                <a:gd name="T22" fmla="*/ 102053 w 63"/>
                <a:gd name="T23" fmla="*/ 82180 h 103"/>
                <a:gd name="T24" fmla="*/ 100163 w 63"/>
                <a:gd name="T25" fmla="*/ 70713 h 103"/>
                <a:gd name="T26" fmla="*/ 105833 w 63"/>
                <a:gd name="T27" fmla="*/ 63068 h 103"/>
                <a:gd name="T28" fmla="*/ 102053 w 63"/>
                <a:gd name="T29" fmla="*/ 55424 h 103"/>
                <a:gd name="T30" fmla="*/ 94494 w 63"/>
                <a:gd name="T31" fmla="*/ 49690 h 103"/>
                <a:gd name="T32" fmla="*/ 83154 w 63"/>
                <a:gd name="T33" fmla="*/ 42046 h 103"/>
                <a:gd name="T34" fmla="*/ 73705 w 63"/>
                <a:gd name="T35" fmla="*/ 40134 h 103"/>
                <a:gd name="T36" fmla="*/ 69925 w 63"/>
                <a:gd name="T37" fmla="*/ 49690 h 103"/>
                <a:gd name="T38" fmla="*/ 69925 w 63"/>
                <a:gd name="T39" fmla="*/ 40134 h 103"/>
                <a:gd name="T40" fmla="*/ 69925 w 63"/>
                <a:gd name="T41" fmla="*/ 28667 h 103"/>
                <a:gd name="T42" fmla="*/ 62366 w 63"/>
                <a:gd name="T43" fmla="*/ 13378 h 103"/>
                <a:gd name="T44" fmla="*/ 56696 w 63"/>
                <a:gd name="T45" fmla="*/ 7645 h 103"/>
                <a:gd name="T46" fmla="*/ 47247 w 63"/>
                <a:gd name="T47" fmla="*/ 1911 h 103"/>
                <a:gd name="T48" fmla="*/ 43467 w 63"/>
                <a:gd name="T49" fmla="*/ 0 h 103"/>
                <a:gd name="T50" fmla="*/ 35908 w 63"/>
                <a:gd name="T51" fmla="*/ 3822 h 103"/>
                <a:gd name="T52" fmla="*/ 26458 w 63"/>
                <a:gd name="T53" fmla="*/ 11467 h 103"/>
                <a:gd name="T54" fmla="*/ 17009 w 63"/>
                <a:gd name="T55" fmla="*/ 22934 h 103"/>
                <a:gd name="T56" fmla="*/ 22678 w 63"/>
                <a:gd name="T57" fmla="*/ 30579 h 103"/>
                <a:gd name="T58" fmla="*/ 30238 w 63"/>
                <a:gd name="T59" fmla="*/ 34401 h 103"/>
                <a:gd name="T60" fmla="*/ 18899 w 63"/>
                <a:gd name="T61" fmla="*/ 40134 h 103"/>
                <a:gd name="T62" fmla="*/ 5670 w 63"/>
                <a:gd name="T63" fmla="*/ 43957 h 103"/>
                <a:gd name="T64" fmla="*/ 3780 w 63"/>
                <a:gd name="T65" fmla="*/ 49690 h 103"/>
                <a:gd name="T66" fmla="*/ 3780 w 63"/>
                <a:gd name="T67" fmla="*/ 59246 h 103"/>
                <a:gd name="T68" fmla="*/ 0 w 63"/>
                <a:gd name="T69" fmla="*/ 61157 h 103"/>
                <a:gd name="T70" fmla="*/ 18899 w 63"/>
                <a:gd name="T71" fmla="*/ 82180 h 103"/>
                <a:gd name="T72" fmla="*/ 32128 w 63"/>
                <a:gd name="T73" fmla="*/ 82180 h 103"/>
                <a:gd name="T74" fmla="*/ 34018 w 63"/>
                <a:gd name="T75" fmla="*/ 89825 h 103"/>
                <a:gd name="T76" fmla="*/ 30238 w 63"/>
                <a:gd name="T77" fmla="*/ 95558 h 103"/>
                <a:gd name="T78" fmla="*/ 32128 w 63"/>
                <a:gd name="T79" fmla="*/ 101292 h 103"/>
                <a:gd name="T80" fmla="*/ 43467 w 63"/>
                <a:gd name="T81" fmla="*/ 101292 h 103"/>
                <a:gd name="T82" fmla="*/ 43467 w 63"/>
                <a:gd name="T83" fmla="*/ 112759 h 103"/>
                <a:gd name="T84" fmla="*/ 51027 w 63"/>
                <a:gd name="T85" fmla="*/ 116581 h 103"/>
                <a:gd name="T86" fmla="*/ 35908 w 63"/>
                <a:gd name="T87" fmla="*/ 126137 h 103"/>
                <a:gd name="T88" fmla="*/ 35908 w 63"/>
                <a:gd name="T89" fmla="*/ 152893 h 103"/>
                <a:gd name="T90" fmla="*/ 41577 w 63"/>
                <a:gd name="T91" fmla="*/ 158627 h 103"/>
                <a:gd name="T92" fmla="*/ 41577 w 63"/>
                <a:gd name="T93" fmla="*/ 168183 h 103"/>
                <a:gd name="T94" fmla="*/ 45357 w 63"/>
                <a:gd name="T95" fmla="*/ 173916 h 103"/>
                <a:gd name="T96" fmla="*/ 56696 w 63"/>
                <a:gd name="T97" fmla="*/ 179650 h 103"/>
                <a:gd name="T98" fmla="*/ 56696 w 63"/>
                <a:gd name="T99" fmla="*/ 187294 h 103"/>
                <a:gd name="T100" fmla="*/ 64256 w 63"/>
                <a:gd name="T101" fmla="*/ 193028 h 103"/>
                <a:gd name="T102" fmla="*/ 71815 w 63"/>
                <a:gd name="T103" fmla="*/ 194939 h 103"/>
                <a:gd name="T104" fmla="*/ 69925 w 63"/>
                <a:gd name="T105" fmla="*/ 187294 h 103"/>
                <a:gd name="T106" fmla="*/ 79375 w 63"/>
                <a:gd name="T107" fmla="*/ 179650 h 103"/>
                <a:gd name="T108" fmla="*/ 85044 w 63"/>
                <a:gd name="T109" fmla="*/ 183472 h 103"/>
                <a:gd name="T110" fmla="*/ 88824 w 63"/>
                <a:gd name="T111" fmla="*/ 173916 h 103"/>
                <a:gd name="T112" fmla="*/ 96384 w 63"/>
                <a:gd name="T113" fmla="*/ 173916 h 103"/>
                <a:gd name="T114" fmla="*/ 100163 w 63"/>
                <a:gd name="T115" fmla="*/ 170094 h 103"/>
                <a:gd name="T116" fmla="*/ 107723 w 63"/>
                <a:gd name="T117" fmla="*/ 172005 h 103"/>
                <a:gd name="T118" fmla="*/ 119062 w 63"/>
                <a:gd name="T119" fmla="*/ 172005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8" name="Freeform 769"/>
            <p:cNvSpPr>
              <a:spLocks noChangeAspect="1"/>
            </p:cNvSpPr>
            <p:nvPr/>
          </p:nvSpPr>
          <p:spPr bwMode="auto">
            <a:xfrm>
              <a:off x="1410220" y="1697042"/>
              <a:ext cx="1353446" cy="604860"/>
            </a:xfrm>
            <a:custGeom>
              <a:avLst/>
              <a:gdLst>
                <a:gd name="T0" fmla="*/ 722166 w 704"/>
                <a:gd name="T1" fmla="*/ 0 h 391"/>
                <a:gd name="T2" fmla="*/ 817439 w 704"/>
                <a:gd name="T3" fmla="*/ 28563 h 391"/>
                <a:gd name="T4" fmla="*/ 806006 w 704"/>
                <a:gd name="T5" fmla="*/ 66647 h 391"/>
                <a:gd name="T6" fmla="*/ 882224 w 704"/>
                <a:gd name="T7" fmla="*/ 45701 h 391"/>
                <a:gd name="T8" fmla="*/ 939388 w 704"/>
                <a:gd name="T9" fmla="*/ 72359 h 391"/>
                <a:gd name="T10" fmla="*/ 926049 w 704"/>
                <a:gd name="T11" fmla="*/ 95209 h 391"/>
                <a:gd name="T12" fmla="*/ 878413 w 704"/>
                <a:gd name="T13" fmla="*/ 129485 h 391"/>
                <a:gd name="T14" fmla="*/ 861264 w 704"/>
                <a:gd name="T15" fmla="*/ 209461 h 391"/>
                <a:gd name="T16" fmla="*/ 897468 w 704"/>
                <a:gd name="T17" fmla="*/ 163760 h 391"/>
                <a:gd name="T18" fmla="*/ 931766 w 704"/>
                <a:gd name="T19" fmla="*/ 116156 h 391"/>
                <a:gd name="T20" fmla="*/ 971780 w 704"/>
                <a:gd name="T21" fmla="*/ 146623 h 391"/>
                <a:gd name="T22" fmla="*/ 981308 w 704"/>
                <a:gd name="T23" fmla="*/ 161856 h 391"/>
                <a:gd name="T24" fmla="*/ 954631 w 704"/>
                <a:gd name="T25" fmla="*/ 224694 h 391"/>
                <a:gd name="T26" fmla="*/ 1067053 w 704"/>
                <a:gd name="T27" fmla="*/ 201844 h 391"/>
                <a:gd name="T28" fmla="*/ 1110878 w 704"/>
                <a:gd name="T29" fmla="*/ 182802 h 391"/>
                <a:gd name="T30" fmla="*/ 1160420 w 704"/>
                <a:gd name="T31" fmla="*/ 131389 h 391"/>
                <a:gd name="T32" fmla="*/ 1267125 w 704"/>
                <a:gd name="T33" fmla="*/ 110443 h 391"/>
                <a:gd name="T34" fmla="*/ 1309045 w 704"/>
                <a:gd name="T35" fmla="*/ 49509 h 391"/>
                <a:gd name="T36" fmla="*/ 1339533 w 704"/>
                <a:gd name="T37" fmla="*/ 100922 h 391"/>
                <a:gd name="T38" fmla="*/ 1272842 w 704"/>
                <a:gd name="T39" fmla="*/ 169473 h 391"/>
                <a:gd name="T40" fmla="*/ 1240449 w 704"/>
                <a:gd name="T41" fmla="*/ 236119 h 391"/>
                <a:gd name="T42" fmla="*/ 1168042 w 704"/>
                <a:gd name="T43" fmla="*/ 270395 h 391"/>
                <a:gd name="T44" fmla="*/ 1135649 w 704"/>
                <a:gd name="T45" fmla="*/ 319904 h 391"/>
                <a:gd name="T46" fmla="*/ 1114689 w 704"/>
                <a:gd name="T47" fmla="*/ 333233 h 391"/>
                <a:gd name="T48" fmla="*/ 1107068 w 704"/>
                <a:gd name="T49" fmla="*/ 354179 h 391"/>
                <a:gd name="T50" fmla="*/ 1114689 w 704"/>
                <a:gd name="T51" fmla="*/ 413209 h 391"/>
                <a:gd name="T52" fmla="*/ 1091824 w 704"/>
                <a:gd name="T53" fmla="*/ 443676 h 391"/>
                <a:gd name="T54" fmla="*/ 1023228 w 704"/>
                <a:gd name="T55" fmla="*/ 493185 h 391"/>
                <a:gd name="T56" fmla="*/ 967969 w 704"/>
                <a:gd name="T57" fmla="*/ 571257 h 391"/>
                <a:gd name="T58" fmla="*/ 977497 w 704"/>
                <a:gd name="T59" fmla="*/ 653137 h 391"/>
                <a:gd name="T60" fmla="*/ 973686 w 704"/>
                <a:gd name="T61" fmla="*/ 744538 h 391"/>
                <a:gd name="T62" fmla="*/ 943198 w 704"/>
                <a:gd name="T63" fmla="*/ 712167 h 391"/>
                <a:gd name="T64" fmla="*/ 927955 w 704"/>
                <a:gd name="T65" fmla="*/ 656945 h 391"/>
                <a:gd name="T66" fmla="*/ 889846 w 704"/>
                <a:gd name="T67" fmla="*/ 597915 h 391"/>
                <a:gd name="T68" fmla="*/ 838399 w 704"/>
                <a:gd name="T69" fmla="*/ 586490 h 391"/>
                <a:gd name="T70" fmla="*/ 773613 w 704"/>
                <a:gd name="T71" fmla="*/ 588395 h 391"/>
                <a:gd name="T72" fmla="*/ 773613 w 704"/>
                <a:gd name="T73" fmla="*/ 599820 h 391"/>
                <a:gd name="T74" fmla="*/ 752653 w 704"/>
                <a:gd name="T75" fmla="*/ 616957 h 391"/>
                <a:gd name="T76" fmla="*/ 708828 w 704"/>
                <a:gd name="T77" fmla="*/ 605532 h 391"/>
                <a:gd name="T78" fmla="*/ 638326 w 704"/>
                <a:gd name="T79" fmla="*/ 605532 h 391"/>
                <a:gd name="T80" fmla="*/ 579257 w 704"/>
                <a:gd name="T81" fmla="*/ 658850 h 391"/>
                <a:gd name="T82" fmla="*/ 565919 w 704"/>
                <a:gd name="T83" fmla="*/ 710263 h 391"/>
                <a:gd name="T84" fmla="*/ 506850 w 704"/>
                <a:gd name="T85" fmla="*/ 632191 h 391"/>
                <a:gd name="T86" fmla="*/ 455403 w 704"/>
                <a:gd name="T87" fmla="*/ 607436 h 391"/>
                <a:gd name="T88" fmla="*/ 402050 w 704"/>
                <a:gd name="T89" fmla="*/ 571257 h 391"/>
                <a:gd name="T90" fmla="*/ 266763 w 704"/>
                <a:gd name="T91" fmla="*/ 552215 h 391"/>
                <a:gd name="T92" fmla="*/ 125760 w 704"/>
                <a:gd name="T93" fmla="*/ 502706 h 391"/>
                <a:gd name="T94" fmla="*/ 55258 w 704"/>
                <a:gd name="T95" fmla="*/ 441772 h 391"/>
                <a:gd name="T96" fmla="*/ 28582 w 704"/>
                <a:gd name="T97" fmla="*/ 354179 h 391"/>
                <a:gd name="T98" fmla="*/ 34298 w 704"/>
                <a:gd name="T99" fmla="*/ 344658 h 391"/>
                <a:gd name="T100" fmla="*/ 0 w 704"/>
                <a:gd name="T101" fmla="*/ 283724 h 391"/>
                <a:gd name="T102" fmla="*/ 9527 w 704"/>
                <a:gd name="T103" fmla="*/ 201844 h 391"/>
                <a:gd name="T104" fmla="*/ 45731 w 704"/>
                <a:gd name="T105" fmla="*/ 93305 h 391"/>
                <a:gd name="T106" fmla="*/ 55258 w 704"/>
                <a:gd name="T107" fmla="*/ 26659 h 391"/>
                <a:gd name="T108" fmla="*/ 78124 w 704"/>
                <a:gd name="T109" fmla="*/ 53317 h 391"/>
                <a:gd name="T110" fmla="*/ 93367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9" name="Freeform 770"/>
            <p:cNvSpPr>
              <a:spLocks noChangeAspect="1"/>
            </p:cNvSpPr>
            <p:nvPr/>
          </p:nvSpPr>
          <p:spPr bwMode="auto">
            <a:xfrm>
              <a:off x="2914228" y="2731365"/>
              <a:ext cx="99306" cy="88989"/>
            </a:xfrm>
            <a:custGeom>
              <a:avLst/>
              <a:gdLst>
                <a:gd name="T0" fmla="*/ 79126 w 51"/>
                <a:gd name="T1" fmla="*/ 96318 h 58"/>
                <a:gd name="T2" fmla="*/ 75266 w 51"/>
                <a:gd name="T3" fmla="*/ 90652 h 58"/>
                <a:gd name="T4" fmla="*/ 71406 w 51"/>
                <a:gd name="T5" fmla="*/ 92541 h 58"/>
                <a:gd name="T6" fmla="*/ 63687 w 51"/>
                <a:gd name="T7" fmla="*/ 94429 h 58"/>
                <a:gd name="T8" fmla="*/ 54037 w 51"/>
                <a:gd name="T9" fmla="*/ 90652 h 58"/>
                <a:gd name="T10" fmla="*/ 46318 w 51"/>
                <a:gd name="T11" fmla="*/ 100095 h 58"/>
                <a:gd name="T12" fmla="*/ 54037 w 51"/>
                <a:gd name="T13" fmla="*/ 105761 h 58"/>
                <a:gd name="T14" fmla="*/ 46318 w 51"/>
                <a:gd name="T15" fmla="*/ 109538 h 58"/>
                <a:gd name="T16" fmla="*/ 36668 w 51"/>
                <a:gd name="T17" fmla="*/ 109538 h 58"/>
                <a:gd name="T18" fmla="*/ 30878 w 51"/>
                <a:gd name="T19" fmla="*/ 101984 h 58"/>
                <a:gd name="T20" fmla="*/ 25089 w 51"/>
                <a:gd name="T21" fmla="*/ 92541 h 58"/>
                <a:gd name="T22" fmla="*/ 21229 w 51"/>
                <a:gd name="T23" fmla="*/ 77432 h 58"/>
                <a:gd name="T24" fmla="*/ 17369 w 51"/>
                <a:gd name="T25" fmla="*/ 75543 h 58"/>
                <a:gd name="T26" fmla="*/ 17369 w 51"/>
                <a:gd name="T27" fmla="*/ 67989 h 58"/>
                <a:gd name="T28" fmla="*/ 11579 w 51"/>
                <a:gd name="T29" fmla="*/ 67989 h 58"/>
                <a:gd name="T30" fmla="*/ 0 w 51"/>
                <a:gd name="T31" fmla="*/ 50992 h 58"/>
                <a:gd name="T32" fmla="*/ 3860 w 51"/>
                <a:gd name="T33" fmla="*/ 39660 h 58"/>
                <a:gd name="T34" fmla="*/ 5790 w 51"/>
                <a:gd name="T35" fmla="*/ 28329 h 58"/>
                <a:gd name="T36" fmla="*/ 15439 w 51"/>
                <a:gd name="T37" fmla="*/ 28329 h 58"/>
                <a:gd name="T38" fmla="*/ 19299 w 51"/>
                <a:gd name="T39" fmla="*/ 20774 h 58"/>
                <a:gd name="T40" fmla="*/ 17369 w 51"/>
                <a:gd name="T41" fmla="*/ 9443 h 58"/>
                <a:gd name="T42" fmla="*/ 23159 w 51"/>
                <a:gd name="T43" fmla="*/ 1889 h 58"/>
                <a:gd name="T44" fmla="*/ 38598 w 51"/>
                <a:gd name="T45" fmla="*/ 3777 h 58"/>
                <a:gd name="T46" fmla="*/ 50177 w 51"/>
                <a:gd name="T47" fmla="*/ 7554 h 58"/>
                <a:gd name="T48" fmla="*/ 59827 w 51"/>
                <a:gd name="T49" fmla="*/ 0 h 58"/>
                <a:gd name="T50" fmla="*/ 67547 w 51"/>
                <a:gd name="T51" fmla="*/ 3777 h 58"/>
                <a:gd name="T52" fmla="*/ 75266 w 51"/>
                <a:gd name="T53" fmla="*/ 3777 h 58"/>
                <a:gd name="T54" fmla="*/ 84916 w 51"/>
                <a:gd name="T55" fmla="*/ 3777 h 58"/>
                <a:gd name="T56" fmla="*/ 92635 w 51"/>
                <a:gd name="T57" fmla="*/ 3777 h 58"/>
                <a:gd name="T58" fmla="*/ 98425 w 51"/>
                <a:gd name="T59" fmla="*/ 9443 h 58"/>
                <a:gd name="T60" fmla="*/ 94565 w 51"/>
                <a:gd name="T61" fmla="*/ 18886 h 58"/>
                <a:gd name="T62" fmla="*/ 84916 w 51"/>
                <a:gd name="T63" fmla="*/ 32106 h 58"/>
                <a:gd name="T64" fmla="*/ 90705 w 51"/>
                <a:gd name="T65" fmla="*/ 52880 h 58"/>
                <a:gd name="T66" fmla="*/ 96495 w 51"/>
                <a:gd name="T67" fmla="*/ 64212 h 58"/>
                <a:gd name="T68" fmla="*/ 90705 w 51"/>
                <a:gd name="T69" fmla="*/ 75543 h 58"/>
                <a:gd name="T70" fmla="*/ 88775 w 51"/>
                <a:gd name="T71" fmla="*/ 92541 h 58"/>
                <a:gd name="T72" fmla="*/ 79126 w 51"/>
                <a:gd name="T73" fmla="*/ 96318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0" name="Freeform 771"/>
            <p:cNvSpPr>
              <a:spLocks noChangeAspect="1"/>
            </p:cNvSpPr>
            <p:nvPr/>
          </p:nvSpPr>
          <p:spPr bwMode="auto">
            <a:xfrm>
              <a:off x="2994313" y="2737813"/>
              <a:ext cx="80086" cy="79960"/>
            </a:xfrm>
            <a:custGeom>
              <a:avLst/>
              <a:gdLst>
                <a:gd name="T0" fmla="*/ 79375 w 42"/>
                <a:gd name="T1" fmla="*/ 43534 h 52"/>
                <a:gd name="T2" fmla="*/ 73705 w 42"/>
                <a:gd name="T3" fmla="*/ 34070 h 52"/>
                <a:gd name="T4" fmla="*/ 66146 w 42"/>
                <a:gd name="T5" fmla="*/ 34070 h 52"/>
                <a:gd name="T6" fmla="*/ 52917 w 42"/>
                <a:gd name="T7" fmla="*/ 20821 h 52"/>
                <a:gd name="T8" fmla="*/ 47247 w 42"/>
                <a:gd name="T9" fmla="*/ 11357 h 52"/>
                <a:gd name="T10" fmla="*/ 35908 w 42"/>
                <a:gd name="T11" fmla="*/ 9464 h 52"/>
                <a:gd name="T12" fmla="*/ 26458 w 42"/>
                <a:gd name="T13" fmla="*/ 1893 h 52"/>
                <a:gd name="T14" fmla="*/ 18899 w 42"/>
                <a:gd name="T15" fmla="*/ 1893 h 52"/>
                <a:gd name="T16" fmla="*/ 15119 w 42"/>
                <a:gd name="T17" fmla="*/ 11357 h 52"/>
                <a:gd name="T18" fmla="*/ 5670 w 42"/>
                <a:gd name="T19" fmla="*/ 24606 h 52"/>
                <a:gd name="T20" fmla="*/ 11339 w 42"/>
                <a:gd name="T21" fmla="*/ 45427 h 52"/>
                <a:gd name="T22" fmla="*/ 17009 w 42"/>
                <a:gd name="T23" fmla="*/ 56784 h 52"/>
                <a:gd name="T24" fmla="*/ 11339 w 42"/>
                <a:gd name="T25" fmla="*/ 68140 h 52"/>
                <a:gd name="T26" fmla="*/ 9449 w 42"/>
                <a:gd name="T27" fmla="*/ 85175 h 52"/>
                <a:gd name="T28" fmla="*/ 0 w 42"/>
                <a:gd name="T29" fmla="*/ 88961 h 52"/>
                <a:gd name="T30" fmla="*/ 9449 w 42"/>
                <a:gd name="T31" fmla="*/ 96532 h 52"/>
                <a:gd name="T32" fmla="*/ 18899 w 42"/>
                <a:gd name="T33" fmla="*/ 96532 h 52"/>
                <a:gd name="T34" fmla="*/ 24568 w 42"/>
                <a:gd name="T35" fmla="*/ 92747 h 52"/>
                <a:gd name="T36" fmla="*/ 32128 w 42"/>
                <a:gd name="T37" fmla="*/ 92747 h 52"/>
                <a:gd name="T38" fmla="*/ 35908 w 42"/>
                <a:gd name="T39" fmla="*/ 96532 h 52"/>
                <a:gd name="T40" fmla="*/ 47247 w 42"/>
                <a:gd name="T41" fmla="*/ 96532 h 52"/>
                <a:gd name="T42" fmla="*/ 52917 w 42"/>
                <a:gd name="T43" fmla="*/ 85175 h 52"/>
                <a:gd name="T44" fmla="*/ 56696 w 42"/>
                <a:gd name="T45" fmla="*/ 66248 h 52"/>
                <a:gd name="T46" fmla="*/ 66146 w 42"/>
                <a:gd name="T47" fmla="*/ 52998 h 52"/>
                <a:gd name="T48" fmla="*/ 79375 w 42"/>
                <a:gd name="T49" fmla="*/ 43534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1" name="Freeform 772"/>
            <p:cNvSpPr>
              <a:spLocks noChangeAspect="1"/>
            </p:cNvSpPr>
            <p:nvPr/>
          </p:nvSpPr>
          <p:spPr bwMode="auto">
            <a:xfrm>
              <a:off x="1200396" y="1003195"/>
              <a:ext cx="1854782" cy="874403"/>
            </a:xfrm>
            <a:custGeom>
              <a:avLst/>
              <a:gdLst>
                <a:gd name="T0" fmla="*/ 1489710 w 965"/>
                <a:gd name="T1" fmla="*/ 899160 h 565"/>
                <a:gd name="T2" fmla="*/ 1623060 w 965"/>
                <a:gd name="T3" fmla="*/ 807720 h 565"/>
                <a:gd name="T4" fmla="*/ 1777365 w 965"/>
                <a:gd name="T5" fmla="*/ 775335 h 565"/>
                <a:gd name="T6" fmla="*/ 1834515 w 965"/>
                <a:gd name="T7" fmla="*/ 712470 h 565"/>
                <a:gd name="T8" fmla="*/ 1765935 w 965"/>
                <a:gd name="T9" fmla="*/ 691515 h 565"/>
                <a:gd name="T10" fmla="*/ 1773555 w 965"/>
                <a:gd name="T11" fmla="*/ 645795 h 565"/>
                <a:gd name="T12" fmla="*/ 1704975 w 965"/>
                <a:gd name="T13" fmla="*/ 590550 h 565"/>
                <a:gd name="T14" fmla="*/ 1714500 w 965"/>
                <a:gd name="T15" fmla="*/ 539115 h 565"/>
                <a:gd name="T16" fmla="*/ 1685925 w 965"/>
                <a:gd name="T17" fmla="*/ 491490 h 565"/>
                <a:gd name="T18" fmla="*/ 1632585 w 965"/>
                <a:gd name="T19" fmla="*/ 521970 h 565"/>
                <a:gd name="T20" fmla="*/ 1548765 w 965"/>
                <a:gd name="T21" fmla="*/ 514350 h 565"/>
                <a:gd name="T22" fmla="*/ 1564005 w 965"/>
                <a:gd name="T23" fmla="*/ 445770 h 565"/>
                <a:gd name="T24" fmla="*/ 1504950 w 965"/>
                <a:gd name="T25" fmla="*/ 394335 h 565"/>
                <a:gd name="T26" fmla="*/ 1409700 w 965"/>
                <a:gd name="T27" fmla="*/ 375285 h 565"/>
                <a:gd name="T28" fmla="*/ 1392555 w 965"/>
                <a:gd name="T29" fmla="*/ 453390 h 565"/>
                <a:gd name="T30" fmla="*/ 1386840 w 965"/>
                <a:gd name="T31" fmla="*/ 554355 h 565"/>
                <a:gd name="T32" fmla="*/ 1320165 w 965"/>
                <a:gd name="T33" fmla="*/ 704850 h 565"/>
                <a:gd name="T34" fmla="*/ 1268730 w 965"/>
                <a:gd name="T35" fmla="*/ 779145 h 565"/>
                <a:gd name="T36" fmla="*/ 1253490 w 965"/>
                <a:gd name="T37" fmla="*/ 657225 h 565"/>
                <a:gd name="T38" fmla="*/ 1114425 w 965"/>
                <a:gd name="T39" fmla="*/ 588645 h 565"/>
                <a:gd name="T40" fmla="*/ 1036320 w 965"/>
                <a:gd name="T41" fmla="*/ 518160 h 565"/>
                <a:gd name="T42" fmla="*/ 1053465 w 965"/>
                <a:gd name="T43" fmla="*/ 401955 h 565"/>
                <a:gd name="T44" fmla="*/ 1089660 w 965"/>
                <a:gd name="T45" fmla="*/ 335280 h 565"/>
                <a:gd name="T46" fmla="*/ 1211580 w 965"/>
                <a:gd name="T47" fmla="*/ 291465 h 565"/>
                <a:gd name="T48" fmla="*/ 1242060 w 965"/>
                <a:gd name="T49" fmla="*/ 222885 h 565"/>
                <a:gd name="T50" fmla="*/ 1303020 w 965"/>
                <a:gd name="T51" fmla="*/ 230505 h 565"/>
                <a:gd name="T52" fmla="*/ 1356360 w 965"/>
                <a:gd name="T53" fmla="*/ 135255 h 565"/>
                <a:gd name="T54" fmla="*/ 1316355 w 965"/>
                <a:gd name="T55" fmla="*/ 91440 h 565"/>
                <a:gd name="T56" fmla="*/ 1240155 w 965"/>
                <a:gd name="T57" fmla="*/ 192405 h 565"/>
                <a:gd name="T58" fmla="*/ 1194435 w 965"/>
                <a:gd name="T59" fmla="*/ 129540 h 565"/>
                <a:gd name="T60" fmla="*/ 1144905 w 965"/>
                <a:gd name="T61" fmla="*/ 106680 h 565"/>
                <a:gd name="T62" fmla="*/ 1150620 w 965"/>
                <a:gd name="T63" fmla="*/ 32385 h 565"/>
                <a:gd name="T64" fmla="*/ 1085850 w 965"/>
                <a:gd name="T65" fmla="*/ 22860 h 565"/>
                <a:gd name="T66" fmla="*/ 1108710 w 965"/>
                <a:gd name="T67" fmla="*/ 102870 h 565"/>
                <a:gd name="T68" fmla="*/ 1104900 w 965"/>
                <a:gd name="T69" fmla="*/ 129540 h 565"/>
                <a:gd name="T70" fmla="*/ 1042035 w 965"/>
                <a:gd name="T71" fmla="*/ 211455 h 565"/>
                <a:gd name="T72" fmla="*/ 1003935 w 965"/>
                <a:gd name="T73" fmla="*/ 154305 h 565"/>
                <a:gd name="T74" fmla="*/ 895350 w 965"/>
                <a:gd name="T75" fmla="*/ 163830 h 565"/>
                <a:gd name="T76" fmla="*/ 853440 w 965"/>
                <a:gd name="T77" fmla="*/ 142875 h 565"/>
                <a:gd name="T78" fmla="*/ 792480 w 965"/>
                <a:gd name="T79" fmla="*/ 198120 h 565"/>
                <a:gd name="T80" fmla="*/ 640080 w 965"/>
                <a:gd name="T81" fmla="*/ 171450 h 565"/>
                <a:gd name="T82" fmla="*/ 558165 w 965"/>
                <a:gd name="T83" fmla="*/ 108585 h 565"/>
                <a:gd name="T84" fmla="*/ 447675 w 965"/>
                <a:gd name="T85" fmla="*/ 108585 h 565"/>
                <a:gd name="T86" fmla="*/ 323850 w 965"/>
                <a:gd name="T87" fmla="*/ 114300 h 565"/>
                <a:gd name="T88" fmla="*/ 344805 w 965"/>
                <a:gd name="T89" fmla="*/ 78105 h 565"/>
                <a:gd name="T90" fmla="*/ 169545 w 965"/>
                <a:gd name="T91" fmla="*/ 118110 h 565"/>
                <a:gd name="T92" fmla="*/ 43815 w 965"/>
                <a:gd name="T93" fmla="*/ 478155 h 565"/>
                <a:gd name="T94" fmla="*/ 137160 w 965"/>
                <a:gd name="T95" fmla="*/ 525780 h 565"/>
                <a:gd name="T96" fmla="*/ 207645 w 965"/>
                <a:gd name="T97" fmla="*/ 643890 h 565"/>
                <a:gd name="T98" fmla="*/ 209550 w 965"/>
                <a:gd name="T99" fmla="*/ 685800 h 565"/>
                <a:gd name="T100" fmla="*/ 211455 w 965"/>
                <a:gd name="T101" fmla="*/ 763905 h 565"/>
                <a:gd name="T102" fmla="*/ 268605 w 965"/>
                <a:gd name="T103" fmla="*/ 828675 h 565"/>
                <a:gd name="T104" fmla="*/ 942975 w 965"/>
                <a:gd name="T105" fmla="*/ 857250 h 565"/>
                <a:gd name="T106" fmla="*/ 1076325 w 965"/>
                <a:gd name="T107" fmla="*/ 861060 h 565"/>
                <a:gd name="T108" fmla="*/ 1156335 w 965"/>
                <a:gd name="T109" fmla="*/ 889635 h 565"/>
                <a:gd name="T110" fmla="*/ 1223010 w 965"/>
                <a:gd name="T111" fmla="*/ 950595 h 565"/>
                <a:gd name="T112" fmla="*/ 1230630 w 965"/>
                <a:gd name="T113" fmla="*/ 984885 h 565"/>
                <a:gd name="T114" fmla="*/ 1190625 w 965"/>
                <a:gd name="T115" fmla="*/ 1066800 h 565"/>
                <a:gd name="T116" fmla="*/ 1274445 w 965"/>
                <a:gd name="T117" fmla="*/ 1051560 h 565"/>
                <a:gd name="T118" fmla="*/ 1337310 w 965"/>
                <a:gd name="T119" fmla="*/ 100774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2" name="Freeform 773"/>
            <p:cNvSpPr>
              <a:spLocks noChangeAspect="1"/>
            </p:cNvSpPr>
            <p:nvPr/>
          </p:nvSpPr>
          <p:spPr bwMode="auto">
            <a:xfrm>
              <a:off x="2568258" y="1684145"/>
              <a:ext cx="342766" cy="159920"/>
            </a:xfrm>
            <a:custGeom>
              <a:avLst/>
              <a:gdLst>
                <a:gd name="T0" fmla="*/ 206125 w 178"/>
                <a:gd name="T1" fmla="*/ 143337 h 103"/>
                <a:gd name="T2" fmla="*/ 217577 w 178"/>
                <a:gd name="T3" fmla="*/ 133782 h 103"/>
                <a:gd name="T4" fmla="*/ 227120 w 178"/>
                <a:gd name="T5" fmla="*/ 131870 h 103"/>
                <a:gd name="T6" fmla="*/ 232845 w 178"/>
                <a:gd name="T7" fmla="*/ 139515 h 103"/>
                <a:gd name="T8" fmla="*/ 261474 w 178"/>
                <a:gd name="T9" fmla="*/ 122315 h 103"/>
                <a:gd name="T10" fmla="*/ 253839 w 178"/>
                <a:gd name="T11" fmla="*/ 133782 h 103"/>
                <a:gd name="T12" fmla="*/ 284377 w 178"/>
                <a:gd name="T13" fmla="*/ 137604 h 103"/>
                <a:gd name="T14" fmla="*/ 261474 w 178"/>
                <a:gd name="T15" fmla="*/ 147160 h 103"/>
                <a:gd name="T16" fmla="*/ 238571 w 178"/>
                <a:gd name="T17" fmla="*/ 145249 h 103"/>
                <a:gd name="T18" fmla="*/ 215668 w 178"/>
                <a:gd name="T19" fmla="*/ 173916 h 103"/>
                <a:gd name="T20" fmla="*/ 225211 w 178"/>
                <a:gd name="T21" fmla="*/ 194939 h 103"/>
                <a:gd name="T22" fmla="*/ 250022 w 178"/>
                <a:gd name="T23" fmla="*/ 173916 h 103"/>
                <a:gd name="T24" fmla="*/ 269108 w 178"/>
                <a:gd name="T25" fmla="*/ 162449 h 103"/>
                <a:gd name="T26" fmla="*/ 316822 w 178"/>
                <a:gd name="T27" fmla="*/ 145249 h 103"/>
                <a:gd name="T28" fmla="*/ 330182 w 178"/>
                <a:gd name="T29" fmla="*/ 128048 h 103"/>
                <a:gd name="T30" fmla="*/ 318731 w 178"/>
                <a:gd name="T31" fmla="*/ 118492 h 103"/>
                <a:gd name="T32" fmla="*/ 299645 w 178"/>
                <a:gd name="T33" fmla="*/ 120403 h 103"/>
                <a:gd name="T34" fmla="*/ 271017 w 178"/>
                <a:gd name="T35" fmla="*/ 112759 h 103"/>
                <a:gd name="T36" fmla="*/ 271017 w 178"/>
                <a:gd name="T37" fmla="*/ 107025 h 103"/>
                <a:gd name="T38" fmla="*/ 251931 w 178"/>
                <a:gd name="T39" fmla="*/ 93647 h 103"/>
                <a:gd name="T40" fmla="*/ 250022 w 178"/>
                <a:gd name="T41" fmla="*/ 78358 h 103"/>
                <a:gd name="T42" fmla="*/ 253839 w 178"/>
                <a:gd name="T43" fmla="*/ 68802 h 103"/>
                <a:gd name="T44" fmla="*/ 253839 w 178"/>
                <a:gd name="T45" fmla="*/ 53513 h 103"/>
                <a:gd name="T46" fmla="*/ 234754 w 178"/>
                <a:gd name="T47" fmla="*/ 55424 h 103"/>
                <a:gd name="T48" fmla="*/ 211851 w 178"/>
                <a:gd name="T49" fmla="*/ 43957 h 103"/>
                <a:gd name="T50" fmla="*/ 250022 w 178"/>
                <a:gd name="T51" fmla="*/ 42046 h 103"/>
                <a:gd name="T52" fmla="*/ 272925 w 178"/>
                <a:gd name="T53" fmla="*/ 19112 h 103"/>
                <a:gd name="T54" fmla="*/ 253839 w 178"/>
                <a:gd name="T55" fmla="*/ 1911 h 103"/>
                <a:gd name="T56" fmla="*/ 211851 w 178"/>
                <a:gd name="T57" fmla="*/ 15289 h 103"/>
                <a:gd name="T58" fmla="*/ 177497 w 178"/>
                <a:gd name="T59" fmla="*/ 30579 h 103"/>
                <a:gd name="T60" fmla="*/ 143143 w 178"/>
                <a:gd name="T61" fmla="*/ 61157 h 103"/>
                <a:gd name="T62" fmla="*/ 118331 w 178"/>
                <a:gd name="T63" fmla="*/ 84091 h 103"/>
                <a:gd name="T64" fmla="*/ 89703 w 178"/>
                <a:gd name="T65" fmla="*/ 95558 h 103"/>
                <a:gd name="T66" fmla="*/ 62983 w 178"/>
                <a:gd name="T67" fmla="*/ 112759 h 103"/>
                <a:gd name="T68" fmla="*/ 36263 w 178"/>
                <a:gd name="T69" fmla="*/ 137604 h 103"/>
                <a:gd name="T70" fmla="*/ 11451 w 178"/>
                <a:gd name="T71" fmla="*/ 147160 h 103"/>
                <a:gd name="T72" fmla="*/ 11451 w 178"/>
                <a:gd name="T73" fmla="*/ 147160 h 103"/>
                <a:gd name="T74" fmla="*/ 95428 w 178"/>
                <a:gd name="T75" fmla="*/ 147160 h 103"/>
                <a:gd name="T76" fmla="*/ 103063 w 178"/>
                <a:gd name="T77" fmla="*/ 135693 h 103"/>
                <a:gd name="T78" fmla="*/ 118331 w 178"/>
                <a:gd name="T79" fmla="*/ 126137 h 103"/>
                <a:gd name="T80" fmla="*/ 127874 w 178"/>
                <a:gd name="T81" fmla="*/ 108936 h 103"/>
                <a:gd name="T82" fmla="*/ 137417 w 178"/>
                <a:gd name="T83" fmla="*/ 91736 h 103"/>
                <a:gd name="T84" fmla="*/ 160320 w 178"/>
                <a:gd name="T85" fmla="*/ 64980 h 103"/>
                <a:gd name="T86" fmla="*/ 175588 w 178"/>
                <a:gd name="T87" fmla="*/ 68802 h 103"/>
                <a:gd name="T88" fmla="*/ 190857 w 178"/>
                <a:gd name="T89" fmla="*/ 74535 h 103"/>
                <a:gd name="T90" fmla="*/ 190857 w 178"/>
                <a:gd name="T91" fmla="*/ 116581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3" name="Freeform 774"/>
            <p:cNvSpPr>
              <a:spLocks noChangeAspect="1"/>
            </p:cNvSpPr>
            <p:nvPr/>
          </p:nvSpPr>
          <p:spPr bwMode="auto">
            <a:xfrm>
              <a:off x="641399" y="1026409"/>
              <a:ext cx="756008" cy="509423"/>
            </a:xfrm>
            <a:custGeom>
              <a:avLst/>
              <a:gdLst>
                <a:gd name="T0" fmla="*/ 730282 w 394"/>
                <a:gd name="T1" fmla="*/ 627063 h 329"/>
                <a:gd name="T2" fmla="*/ 724577 w 394"/>
                <a:gd name="T3" fmla="*/ 585132 h 329"/>
                <a:gd name="T4" fmla="*/ 709363 w 394"/>
                <a:gd name="T5" fmla="*/ 581320 h 329"/>
                <a:gd name="T6" fmla="*/ 686541 w 394"/>
                <a:gd name="T7" fmla="*/ 545106 h 329"/>
                <a:gd name="T8" fmla="*/ 665622 w 394"/>
                <a:gd name="T9" fmla="*/ 493645 h 329"/>
                <a:gd name="T10" fmla="*/ 667524 w 394"/>
                <a:gd name="T11" fmla="*/ 514611 h 329"/>
                <a:gd name="T12" fmla="*/ 659917 w 394"/>
                <a:gd name="T13" fmla="*/ 550824 h 329"/>
                <a:gd name="T14" fmla="*/ 640899 w 394"/>
                <a:gd name="T15" fmla="*/ 489833 h 329"/>
                <a:gd name="T16" fmla="*/ 623783 w 394"/>
                <a:gd name="T17" fmla="*/ 510799 h 329"/>
                <a:gd name="T18" fmla="*/ 566729 w 394"/>
                <a:gd name="T19" fmla="*/ 472680 h 329"/>
                <a:gd name="T20" fmla="*/ 540105 w 394"/>
                <a:gd name="T21" fmla="*/ 451714 h 329"/>
                <a:gd name="T22" fmla="*/ 467837 w 394"/>
                <a:gd name="T23" fmla="*/ 428842 h 329"/>
                <a:gd name="T24" fmla="*/ 435507 w 394"/>
                <a:gd name="T25" fmla="*/ 407877 h 329"/>
                <a:gd name="T26" fmla="*/ 393668 w 394"/>
                <a:gd name="T27" fmla="*/ 405971 h 329"/>
                <a:gd name="T28" fmla="*/ 365141 w 394"/>
                <a:gd name="T29" fmla="*/ 444090 h 329"/>
                <a:gd name="T30" fmla="*/ 298579 w 394"/>
                <a:gd name="T31" fmla="*/ 470774 h 329"/>
                <a:gd name="T32" fmla="*/ 317597 w 394"/>
                <a:gd name="T33" fmla="*/ 430748 h 329"/>
                <a:gd name="T34" fmla="*/ 382257 w 394"/>
                <a:gd name="T35" fmla="*/ 402159 h 329"/>
                <a:gd name="T36" fmla="*/ 348025 w 394"/>
                <a:gd name="T37" fmla="*/ 390723 h 329"/>
                <a:gd name="T38" fmla="*/ 292874 w 394"/>
                <a:gd name="T39" fmla="*/ 445996 h 329"/>
                <a:gd name="T40" fmla="*/ 260543 w 394"/>
                <a:gd name="T41" fmla="*/ 487927 h 329"/>
                <a:gd name="T42" fmla="*/ 205392 w 394"/>
                <a:gd name="T43" fmla="*/ 529859 h 329"/>
                <a:gd name="T44" fmla="*/ 135026 w 394"/>
                <a:gd name="T45" fmla="*/ 566072 h 329"/>
                <a:gd name="T46" fmla="*/ 91285 w 394"/>
                <a:gd name="T47" fmla="*/ 592756 h 329"/>
                <a:gd name="T48" fmla="*/ 24723 w 394"/>
                <a:gd name="T49" fmla="*/ 617533 h 329"/>
                <a:gd name="T50" fmla="*/ 43741 w 394"/>
                <a:gd name="T51" fmla="*/ 588944 h 329"/>
                <a:gd name="T52" fmla="*/ 135026 w 394"/>
                <a:gd name="T53" fmla="*/ 543201 h 329"/>
                <a:gd name="T54" fmla="*/ 182571 w 394"/>
                <a:gd name="T55" fmla="*/ 482209 h 329"/>
                <a:gd name="T56" fmla="*/ 135026 w 394"/>
                <a:gd name="T57" fmla="*/ 506987 h 329"/>
                <a:gd name="T58" fmla="*/ 110303 w 394"/>
                <a:gd name="T59" fmla="*/ 480304 h 329"/>
                <a:gd name="T60" fmla="*/ 74169 w 394"/>
                <a:gd name="T61" fmla="*/ 484115 h 329"/>
                <a:gd name="T62" fmla="*/ 81776 w 394"/>
                <a:gd name="T63" fmla="*/ 436466 h 329"/>
                <a:gd name="T64" fmla="*/ 45643 w 394"/>
                <a:gd name="T65" fmla="*/ 451714 h 329"/>
                <a:gd name="T66" fmla="*/ 47544 w 394"/>
                <a:gd name="T67" fmla="*/ 411689 h 329"/>
                <a:gd name="T68" fmla="*/ 26625 w 394"/>
                <a:gd name="T69" fmla="*/ 396441 h 329"/>
                <a:gd name="T70" fmla="*/ 66562 w 394"/>
                <a:gd name="T71" fmla="*/ 335450 h 329"/>
                <a:gd name="T72" fmla="*/ 144535 w 394"/>
                <a:gd name="T73" fmla="*/ 314484 h 329"/>
                <a:gd name="T74" fmla="*/ 167356 w 394"/>
                <a:gd name="T75" fmla="*/ 274459 h 329"/>
                <a:gd name="T76" fmla="*/ 119812 w 394"/>
                <a:gd name="T77" fmla="*/ 278271 h 329"/>
                <a:gd name="T78" fmla="*/ 64660 w 394"/>
                <a:gd name="T79" fmla="*/ 242058 h 329"/>
                <a:gd name="T80" fmla="*/ 95089 w 394"/>
                <a:gd name="T81" fmla="*/ 211562 h 329"/>
                <a:gd name="T82" fmla="*/ 127419 w 394"/>
                <a:gd name="T83" fmla="*/ 211562 h 329"/>
                <a:gd name="T84" fmla="*/ 174963 w 394"/>
                <a:gd name="T85" fmla="*/ 184879 h 329"/>
                <a:gd name="T86" fmla="*/ 182571 w 394"/>
                <a:gd name="T87" fmla="*/ 184879 h 329"/>
                <a:gd name="T88" fmla="*/ 136928 w 394"/>
                <a:gd name="T89" fmla="*/ 150571 h 329"/>
                <a:gd name="T90" fmla="*/ 176865 w 394"/>
                <a:gd name="T91" fmla="*/ 95298 h 329"/>
                <a:gd name="T92" fmla="*/ 262445 w 394"/>
                <a:gd name="T93" fmla="*/ 38119 h 329"/>
                <a:gd name="T94" fmla="*/ 344222 w 394"/>
                <a:gd name="T95" fmla="*/ 19060 h 329"/>
                <a:gd name="T96" fmla="*/ 374650 w 394"/>
                <a:gd name="T97" fmla="*/ 26684 h 329"/>
                <a:gd name="T98" fmla="*/ 405078 w 394"/>
                <a:gd name="T99" fmla="*/ 30495 h 329"/>
                <a:gd name="T100" fmla="*/ 446917 w 394"/>
                <a:gd name="T101" fmla="*/ 32401 h 329"/>
                <a:gd name="T102" fmla="*/ 509676 w 394"/>
                <a:gd name="T103" fmla="*/ 36213 h 329"/>
                <a:gd name="T104" fmla="*/ 593354 w 394"/>
                <a:gd name="T105" fmla="*/ 60991 h 329"/>
                <a:gd name="T106" fmla="*/ 671327 w 394"/>
                <a:gd name="T107" fmla="*/ 72427 h 329"/>
                <a:gd name="T108" fmla="*/ 581944 w 394"/>
                <a:gd name="T109" fmla="*/ 426936 h 329"/>
                <a:gd name="T110" fmla="*/ 616176 w 394"/>
                <a:gd name="T111" fmla="*/ 482209 h 329"/>
                <a:gd name="T112" fmla="*/ 648506 w 394"/>
                <a:gd name="T113" fmla="*/ 459338 h 329"/>
                <a:gd name="T114" fmla="*/ 684640 w 394"/>
                <a:gd name="T115" fmla="*/ 482209 h 329"/>
                <a:gd name="T116" fmla="*/ 718872 w 394"/>
                <a:gd name="T117" fmla="*/ 564166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4" name="Oval 775"/>
            <p:cNvSpPr>
              <a:spLocks noChangeAspect="1" noChangeArrowheads="1"/>
            </p:cNvSpPr>
            <p:nvPr/>
          </p:nvSpPr>
          <p:spPr bwMode="auto">
            <a:xfrm>
              <a:off x="3729499" y="2531465"/>
              <a:ext cx="9610" cy="644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5" name="Freeform 776"/>
            <p:cNvSpPr>
              <a:spLocks noChangeAspect="1"/>
            </p:cNvSpPr>
            <p:nvPr/>
          </p:nvSpPr>
          <p:spPr bwMode="auto">
            <a:xfrm>
              <a:off x="3751923" y="2526306"/>
              <a:ext cx="9610" cy="6448"/>
            </a:xfrm>
            <a:custGeom>
              <a:avLst/>
              <a:gdLst>
                <a:gd name="T0" fmla="*/ 3810 w 5"/>
                <a:gd name="T1" fmla="*/ 0 h 4"/>
                <a:gd name="T2" fmla="*/ 9525 w 5"/>
                <a:gd name="T3" fmla="*/ 3969 h 4"/>
                <a:gd name="T4" fmla="*/ 3810 w 5"/>
                <a:gd name="T5" fmla="*/ 7937 h 4"/>
                <a:gd name="T6" fmla="*/ 0 w 5"/>
                <a:gd name="T7" fmla="*/ 3969 h 4"/>
                <a:gd name="T8" fmla="*/ 3810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4"/>
                    <a:pt x="3" y="4"/>
                    <a:pt x="2" y="4"/>
                  </a:cubicBezTo>
                  <a:cubicBezTo>
                    <a:pt x="1" y="4"/>
                    <a:pt x="0"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6" name="Oval 777"/>
            <p:cNvSpPr>
              <a:spLocks noChangeAspect="1" noChangeArrowheads="1"/>
            </p:cNvSpPr>
            <p:nvPr/>
          </p:nvSpPr>
          <p:spPr bwMode="auto">
            <a:xfrm>
              <a:off x="3767940" y="2503092"/>
              <a:ext cx="9610"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7" name="Freeform 778"/>
            <p:cNvSpPr>
              <a:spLocks noChangeAspect="1"/>
            </p:cNvSpPr>
            <p:nvPr/>
          </p:nvSpPr>
          <p:spPr bwMode="auto">
            <a:xfrm>
              <a:off x="3735906" y="2494063"/>
              <a:ext cx="11213" cy="6449"/>
            </a:xfrm>
            <a:custGeom>
              <a:avLst/>
              <a:gdLst>
                <a:gd name="T0" fmla="*/ 5557 w 6"/>
                <a:gd name="T1" fmla="*/ 0 h 4"/>
                <a:gd name="T2" fmla="*/ 9261 w 6"/>
                <a:gd name="T3" fmla="*/ 3969 h 4"/>
                <a:gd name="T4" fmla="*/ 3704 w 6"/>
                <a:gd name="T5" fmla="*/ 5953 h 4"/>
                <a:gd name="T6" fmla="*/ 0 w 6"/>
                <a:gd name="T7" fmla="*/ 1985 h 4"/>
                <a:gd name="T8" fmla="*/ 5557 w 6"/>
                <a:gd name="T9" fmla="*/ 0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3" y="0"/>
                  </a:moveTo>
                  <a:cubicBezTo>
                    <a:pt x="4" y="0"/>
                    <a:pt x="6" y="1"/>
                    <a:pt x="5" y="2"/>
                  </a:cubicBezTo>
                  <a:cubicBezTo>
                    <a:pt x="5" y="3"/>
                    <a:pt x="3" y="4"/>
                    <a:pt x="2" y="3"/>
                  </a:cubicBezTo>
                  <a:cubicBezTo>
                    <a:pt x="1" y="3"/>
                    <a:pt x="0"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8" name="Freeform 779"/>
            <p:cNvSpPr>
              <a:spLocks noChangeAspect="1"/>
            </p:cNvSpPr>
            <p:nvPr/>
          </p:nvSpPr>
          <p:spPr bwMode="auto">
            <a:xfrm>
              <a:off x="3767940" y="2491484"/>
              <a:ext cx="6407" cy="3869"/>
            </a:xfrm>
            <a:custGeom>
              <a:avLst/>
              <a:gdLst>
                <a:gd name="T0" fmla="*/ 2117 w 3"/>
                <a:gd name="T1" fmla="*/ 0 h 3"/>
                <a:gd name="T2" fmla="*/ 6350 w 3"/>
                <a:gd name="T3" fmla="*/ 1588 h 3"/>
                <a:gd name="T4" fmla="*/ 4233 w 3"/>
                <a:gd name="T5" fmla="*/ 4763 h 3"/>
                <a:gd name="T6" fmla="*/ 0 w 3"/>
                <a:gd name="T7" fmla="*/ 1588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2"/>
                    <a:pt x="2" y="3"/>
                  </a:cubicBezTo>
                  <a:cubicBezTo>
                    <a:pt x="1" y="3"/>
                    <a:pt x="0" y="2"/>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9" name="Freeform 780"/>
            <p:cNvSpPr>
              <a:spLocks noChangeAspect="1"/>
            </p:cNvSpPr>
            <p:nvPr/>
          </p:nvSpPr>
          <p:spPr bwMode="auto">
            <a:xfrm>
              <a:off x="3719889" y="2487616"/>
              <a:ext cx="6407" cy="5158"/>
            </a:xfrm>
            <a:custGeom>
              <a:avLst/>
              <a:gdLst>
                <a:gd name="T0" fmla="*/ 2117 w 3"/>
                <a:gd name="T1" fmla="*/ 0 h 3"/>
                <a:gd name="T2" fmla="*/ 6350 w 3"/>
                <a:gd name="T3" fmla="*/ 2117 h 3"/>
                <a:gd name="T4" fmla="*/ 4233 w 3"/>
                <a:gd name="T5" fmla="*/ 6350 h 3"/>
                <a:gd name="T6" fmla="*/ 0 w 3"/>
                <a:gd name="T7" fmla="*/ 4233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3"/>
                    <a:pt x="2" y="3"/>
                  </a:cubicBezTo>
                  <a:cubicBezTo>
                    <a:pt x="1" y="3"/>
                    <a:pt x="0" y="2"/>
                    <a:pt x="0" y="2"/>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0" name="Freeform 781"/>
            <p:cNvSpPr>
              <a:spLocks noChangeAspect="1"/>
            </p:cNvSpPr>
            <p:nvPr/>
          </p:nvSpPr>
          <p:spPr bwMode="auto">
            <a:xfrm>
              <a:off x="3758329" y="2525016"/>
              <a:ext cx="8009" cy="5158"/>
            </a:xfrm>
            <a:custGeom>
              <a:avLst/>
              <a:gdLst>
                <a:gd name="T0" fmla="*/ 3969 w 4"/>
                <a:gd name="T1" fmla="*/ 0 h 3"/>
                <a:gd name="T2" fmla="*/ 7938 w 4"/>
                <a:gd name="T3" fmla="*/ 2117 h 3"/>
                <a:gd name="T4" fmla="*/ 3969 w 4"/>
                <a:gd name="T5" fmla="*/ 4233 h 3"/>
                <a:gd name="T6" fmla="*/ 0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2" y="0"/>
                    <a:pt x="4" y="0"/>
                    <a:pt x="4" y="1"/>
                  </a:cubicBezTo>
                  <a:cubicBezTo>
                    <a:pt x="4" y="2"/>
                    <a:pt x="3" y="2"/>
                    <a:pt x="2" y="2"/>
                  </a:cubicBezTo>
                  <a:cubicBezTo>
                    <a:pt x="1" y="3"/>
                    <a:pt x="0" y="2"/>
                    <a:pt x="0" y="1"/>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1" name="Freeform 782"/>
            <p:cNvSpPr>
              <a:spLocks noChangeAspect="1"/>
            </p:cNvSpPr>
            <p:nvPr/>
          </p:nvSpPr>
          <p:spPr bwMode="auto">
            <a:xfrm>
              <a:off x="3719889" y="2532755"/>
              <a:ext cx="6407" cy="3869"/>
            </a:xfrm>
            <a:custGeom>
              <a:avLst/>
              <a:gdLst>
                <a:gd name="T0" fmla="*/ 2117 w 3"/>
                <a:gd name="T1" fmla="*/ 0 h 2"/>
                <a:gd name="T2" fmla="*/ 6350 w 3"/>
                <a:gd name="T3" fmla="*/ 2382 h 2"/>
                <a:gd name="T4" fmla="*/ 4233 w 3"/>
                <a:gd name="T5" fmla="*/ 4763 h 2"/>
                <a:gd name="T6" fmla="*/ 0 w 3"/>
                <a:gd name="T7" fmla="*/ 4763 h 2"/>
                <a:gd name="T8" fmla="*/ 2117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2"/>
                    <a:pt x="0" y="2"/>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2" name="Freeform 783"/>
            <p:cNvSpPr>
              <a:spLocks noChangeAspect="1"/>
            </p:cNvSpPr>
            <p:nvPr/>
          </p:nvSpPr>
          <p:spPr bwMode="auto">
            <a:xfrm>
              <a:off x="3713482" y="2479878"/>
              <a:ext cx="9610" cy="6448"/>
            </a:xfrm>
            <a:custGeom>
              <a:avLst/>
              <a:gdLst>
                <a:gd name="T0" fmla="*/ 1905 w 5"/>
                <a:gd name="T1" fmla="*/ 1984 h 4"/>
                <a:gd name="T2" fmla="*/ 7620 w 5"/>
                <a:gd name="T3" fmla="*/ 1984 h 4"/>
                <a:gd name="T4" fmla="*/ 5715 w 5"/>
                <a:gd name="T5" fmla="*/ 7937 h 4"/>
                <a:gd name="T6" fmla="*/ 0 w 5"/>
                <a:gd name="T7" fmla="*/ 5953 h 4"/>
                <a:gd name="T8" fmla="*/ 1905 w 5"/>
                <a:gd name="T9" fmla="*/ 1984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1" y="1"/>
                  </a:moveTo>
                  <a:cubicBezTo>
                    <a:pt x="2" y="0"/>
                    <a:pt x="4" y="1"/>
                    <a:pt x="4" y="1"/>
                  </a:cubicBezTo>
                  <a:cubicBezTo>
                    <a:pt x="5" y="2"/>
                    <a:pt x="4" y="4"/>
                    <a:pt x="3" y="4"/>
                  </a:cubicBezTo>
                  <a:cubicBezTo>
                    <a:pt x="2" y="4"/>
                    <a:pt x="0" y="4"/>
                    <a:pt x="0" y="3"/>
                  </a:cubicBezTo>
                  <a:cubicBezTo>
                    <a:pt x="0"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3" name="Freeform 784"/>
            <p:cNvSpPr>
              <a:spLocks noChangeAspect="1"/>
            </p:cNvSpPr>
            <p:nvPr/>
          </p:nvSpPr>
          <p:spPr bwMode="auto">
            <a:xfrm>
              <a:off x="3649413" y="1969165"/>
              <a:ext cx="9610" cy="3868"/>
            </a:xfrm>
            <a:custGeom>
              <a:avLst/>
              <a:gdLst>
                <a:gd name="T0" fmla="*/ 7620 w 5"/>
                <a:gd name="T1" fmla="*/ 2381 h 2"/>
                <a:gd name="T2" fmla="*/ 9525 w 5"/>
                <a:gd name="T3" fmla="*/ 4762 h 2"/>
                <a:gd name="T4" fmla="*/ 5715 w 5"/>
                <a:gd name="T5" fmla="*/ 4762 h 2"/>
                <a:gd name="T6" fmla="*/ 1905 w 5"/>
                <a:gd name="T7" fmla="*/ 2381 h 2"/>
                <a:gd name="T8" fmla="*/ 7620 w 5"/>
                <a:gd name="T9" fmla="*/ 2381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1"/>
                  </a:moveTo>
                  <a:cubicBezTo>
                    <a:pt x="4" y="1"/>
                    <a:pt x="5" y="1"/>
                    <a:pt x="5" y="2"/>
                  </a:cubicBezTo>
                  <a:cubicBezTo>
                    <a:pt x="5" y="2"/>
                    <a:pt x="4" y="2"/>
                    <a:pt x="3" y="2"/>
                  </a:cubicBezTo>
                  <a:cubicBezTo>
                    <a:pt x="2" y="2"/>
                    <a:pt x="0" y="1"/>
                    <a:pt x="1" y="1"/>
                  </a:cubicBezTo>
                  <a:cubicBezTo>
                    <a:pt x="1" y="0"/>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4" name="Freeform 785"/>
            <p:cNvSpPr>
              <a:spLocks noChangeAspect="1"/>
            </p:cNvSpPr>
            <p:nvPr/>
          </p:nvSpPr>
          <p:spPr bwMode="auto">
            <a:xfrm>
              <a:off x="3659023" y="1962716"/>
              <a:ext cx="9610" cy="5158"/>
            </a:xfrm>
            <a:custGeom>
              <a:avLst/>
              <a:gdLst>
                <a:gd name="T0" fmla="*/ 7620 w 5"/>
                <a:gd name="T1" fmla="*/ 4233 h 3"/>
                <a:gd name="T2" fmla="*/ 9525 w 5"/>
                <a:gd name="T3" fmla="*/ 6350 h 3"/>
                <a:gd name="T4" fmla="*/ 5715 w 5"/>
                <a:gd name="T5" fmla="*/ 6350 h 3"/>
                <a:gd name="T6" fmla="*/ 1905 w 5"/>
                <a:gd name="T7" fmla="*/ 2117 h 3"/>
                <a:gd name="T8" fmla="*/ 762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5" y="2"/>
                    <a:pt x="5" y="3"/>
                  </a:cubicBezTo>
                  <a:cubicBezTo>
                    <a:pt x="5" y="3"/>
                    <a:pt x="3" y="3"/>
                    <a:pt x="3" y="3"/>
                  </a:cubicBezTo>
                  <a:cubicBezTo>
                    <a:pt x="2" y="2"/>
                    <a:pt x="0" y="2"/>
                    <a:pt x="1" y="1"/>
                  </a:cubicBezTo>
                  <a:cubicBezTo>
                    <a:pt x="1"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5" name="Freeform 786"/>
            <p:cNvSpPr>
              <a:spLocks noChangeAspect="1"/>
            </p:cNvSpPr>
            <p:nvPr/>
          </p:nvSpPr>
          <p:spPr bwMode="auto">
            <a:xfrm>
              <a:off x="3715084" y="1988510"/>
              <a:ext cx="12814" cy="6449"/>
            </a:xfrm>
            <a:custGeom>
              <a:avLst/>
              <a:gdLst>
                <a:gd name="T0" fmla="*/ 3629 w 7"/>
                <a:gd name="T1" fmla="*/ 3969 h 4"/>
                <a:gd name="T2" fmla="*/ 0 w 7"/>
                <a:gd name="T3" fmla="*/ 0 h 4"/>
                <a:gd name="T4" fmla="*/ 7257 w 7"/>
                <a:gd name="T5" fmla="*/ 0 h 4"/>
                <a:gd name="T6" fmla="*/ 10886 w 7"/>
                <a:gd name="T7" fmla="*/ 5953 h 4"/>
                <a:gd name="T8" fmla="*/ 3629 w 7"/>
                <a:gd name="T9" fmla="*/ 3969 h 4"/>
                <a:gd name="T10" fmla="*/ 0 60000 65536"/>
                <a:gd name="T11" fmla="*/ 0 60000 65536"/>
                <a:gd name="T12" fmla="*/ 0 60000 65536"/>
                <a:gd name="T13" fmla="*/ 0 60000 65536"/>
                <a:gd name="T14" fmla="*/ 0 60000 65536"/>
                <a:gd name="T15" fmla="*/ 0 w 7"/>
                <a:gd name="T16" fmla="*/ 0 h 4"/>
                <a:gd name="T17" fmla="*/ 7 w 7"/>
                <a:gd name="T18" fmla="*/ 4 h 4"/>
              </a:gdLst>
              <a:ahLst/>
              <a:cxnLst>
                <a:cxn ang="T10">
                  <a:pos x="T0" y="T1"/>
                </a:cxn>
                <a:cxn ang="T11">
                  <a:pos x="T2" y="T3"/>
                </a:cxn>
                <a:cxn ang="T12">
                  <a:pos x="T4" y="T5"/>
                </a:cxn>
                <a:cxn ang="T13">
                  <a:pos x="T6" y="T7"/>
                </a:cxn>
                <a:cxn ang="T14">
                  <a:pos x="T8" y="T9"/>
                </a:cxn>
              </a:cxnLst>
              <a:rect l="T15" t="T16" r="T17" b="T18"/>
              <a:pathLst>
                <a:path w="7" h="4">
                  <a:moveTo>
                    <a:pt x="2" y="2"/>
                  </a:moveTo>
                  <a:cubicBezTo>
                    <a:pt x="1" y="2"/>
                    <a:pt x="0" y="1"/>
                    <a:pt x="0" y="0"/>
                  </a:cubicBezTo>
                  <a:cubicBezTo>
                    <a:pt x="1" y="0"/>
                    <a:pt x="3" y="0"/>
                    <a:pt x="4" y="0"/>
                  </a:cubicBezTo>
                  <a:cubicBezTo>
                    <a:pt x="5" y="1"/>
                    <a:pt x="7" y="2"/>
                    <a:pt x="6" y="3"/>
                  </a:cubicBezTo>
                  <a:cubicBezTo>
                    <a:pt x="6" y="4"/>
                    <a:pt x="4" y="3"/>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6" name="Freeform 787"/>
            <p:cNvSpPr>
              <a:spLocks noChangeAspect="1"/>
            </p:cNvSpPr>
            <p:nvPr/>
          </p:nvSpPr>
          <p:spPr bwMode="auto">
            <a:xfrm>
              <a:off x="3585345" y="1939502"/>
              <a:ext cx="4806" cy="5158"/>
            </a:xfrm>
            <a:custGeom>
              <a:avLst/>
              <a:gdLst>
                <a:gd name="T0" fmla="*/ 4763 w 2"/>
                <a:gd name="T1" fmla="*/ 4233 h 3"/>
                <a:gd name="T2" fmla="*/ 2382 w 2"/>
                <a:gd name="T3" fmla="*/ 6350 h 3"/>
                <a:gd name="T4" fmla="*/ 0 w 2"/>
                <a:gd name="T5" fmla="*/ 4233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7" name="Freeform 788"/>
            <p:cNvSpPr>
              <a:spLocks noChangeAspect="1"/>
            </p:cNvSpPr>
            <p:nvPr/>
          </p:nvSpPr>
          <p:spPr bwMode="auto">
            <a:xfrm>
              <a:off x="3678244" y="1961427"/>
              <a:ext cx="6407" cy="5158"/>
            </a:xfrm>
            <a:custGeom>
              <a:avLst/>
              <a:gdLst>
                <a:gd name="T0" fmla="*/ 4233 w 3"/>
                <a:gd name="T1" fmla="*/ 2117 h 3"/>
                <a:gd name="T2" fmla="*/ 6350 w 3"/>
                <a:gd name="T3" fmla="*/ 4233 h 3"/>
                <a:gd name="T4" fmla="*/ 2117 w 3"/>
                <a:gd name="T5" fmla="*/ 6350 h 3"/>
                <a:gd name="T6" fmla="*/ 0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8" name="Freeform 789"/>
            <p:cNvSpPr>
              <a:spLocks noChangeAspect="1"/>
            </p:cNvSpPr>
            <p:nvPr/>
          </p:nvSpPr>
          <p:spPr bwMode="auto">
            <a:xfrm>
              <a:off x="3724694" y="2013015"/>
              <a:ext cx="3203" cy="5158"/>
            </a:xfrm>
            <a:custGeom>
              <a:avLst/>
              <a:gdLst>
                <a:gd name="T0" fmla="*/ 3175 w 2"/>
                <a:gd name="T1" fmla="*/ 2117 h 3"/>
                <a:gd name="T2" fmla="*/ 3175 w 2"/>
                <a:gd name="T3" fmla="*/ 4233 h 3"/>
                <a:gd name="T4" fmla="*/ 1588 w 2"/>
                <a:gd name="T5" fmla="*/ 4233 h 3"/>
                <a:gd name="T6" fmla="*/ 0 w 2"/>
                <a:gd name="T7" fmla="*/ 0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1" y="3"/>
                    <a:pt x="1" y="2"/>
                    <a:pt x="1" y="2"/>
                  </a:cubicBezTo>
                  <a:cubicBezTo>
                    <a:pt x="0" y="1"/>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9" name="Oval 790"/>
            <p:cNvSpPr>
              <a:spLocks noChangeAspect="1" noChangeArrowheads="1"/>
            </p:cNvSpPr>
            <p:nvPr/>
          </p:nvSpPr>
          <p:spPr bwMode="auto">
            <a:xfrm>
              <a:off x="3662227" y="1954978"/>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0" name="Freeform 791"/>
            <p:cNvSpPr>
              <a:spLocks noChangeAspect="1"/>
            </p:cNvSpPr>
            <p:nvPr/>
          </p:nvSpPr>
          <p:spPr bwMode="auto">
            <a:xfrm>
              <a:off x="1070658" y="1369464"/>
              <a:ext cx="16017" cy="10318"/>
            </a:xfrm>
            <a:custGeom>
              <a:avLst/>
              <a:gdLst>
                <a:gd name="T0" fmla="*/ 9922 w 8"/>
                <a:gd name="T1" fmla="*/ 9071 h 7"/>
                <a:gd name="T2" fmla="*/ 1984 w 8"/>
                <a:gd name="T3" fmla="*/ 10886 h 7"/>
                <a:gd name="T4" fmla="*/ 3969 w 8"/>
                <a:gd name="T5" fmla="*/ 5443 h 7"/>
                <a:gd name="T6" fmla="*/ 13891 w 8"/>
                <a:gd name="T7" fmla="*/ 1814 h 7"/>
                <a:gd name="T8" fmla="*/ 9922 w 8"/>
                <a:gd name="T9" fmla="*/ 9071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1" name="Freeform 792"/>
            <p:cNvSpPr>
              <a:spLocks noChangeAspect="1"/>
            </p:cNvSpPr>
            <p:nvPr/>
          </p:nvSpPr>
          <p:spPr bwMode="auto">
            <a:xfrm>
              <a:off x="2555444" y="2436028"/>
              <a:ext cx="9610" cy="5158"/>
            </a:xfrm>
            <a:custGeom>
              <a:avLst/>
              <a:gdLst>
                <a:gd name="T0" fmla="*/ 7620 w 5"/>
                <a:gd name="T1" fmla="*/ 3175 h 4"/>
                <a:gd name="T2" fmla="*/ 9525 w 5"/>
                <a:gd name="T3" fmla="*/ 6350 h 4"/>
                <a:gd name="T4" fmla="*/ 3810 w 5"/>
                <a:gd name="T5" fmla="*/ 4762 h 4"/>
                <a:gd name="T6" fmla="*/ 1905 w 5"/>
                <a:gd name="T7" fmla="*/ 0 h 4"/>
                <a:gd name="T8" fmla="*/ 7620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2" name="Freeform 793"/>
            <p:cNvSpPr>
              <a:spLocks noChangeAspect="1"/>
            </p:cNvSpPr>
            <p:nvPr/>
          </p:nvSpPr>
          <p:spPr bwMode="auto">
            <a:xfrm>
              <a:off x="1607231" y="2189699"/>
              <a:ext cx="11212" cy="9029"/>
            </a:xfrm>
            <a:custGeom>
              <a:avLst/>
              <a:gdLst>
                <a:gd name="T0" fmla="*/ 7408 w 6"/>
                <a:gd name="T1" fmla="*/ 5557 h 6"/>
                <a:gd name="T2" fmla="*/ 9260 w 6"/>
                <a:gd name="T3" fmla="*/ 11113 h 6"/>
                <a:gd name="T4" fmla="*/ 3704 w 6"/>
                <a:gd name="T5" fmla="*/ 7409 h 6"/>
                <a:gd name="T6" fmla="*/ 1852 w 6"/>
                <a:gd name="T7" fmla="*/ 0 h 6"/>
                <a:gd name="T8" fmla="*/ 7408 w 6"/>
                <a:gd name="T9" fmla="*/ 5557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3" name="Freeform 794"/>
            <p:cNvSpPr>
              <a:spLocks noChangeAspect="1"/>
            </p:cNvSpPr>
            <p:nvPr/>
          </p:nvSpPr>
          <p:spPr bwMode="auto">
            <a:xfrm>
              <a:off x="1567188" y="2214204"/>
              <a:ext cx="1602" cy="7738"/>
            </a:xfrm>
            <a:custGeom>
              <a:avLst/>
              <a:gdLst>
                <a:gd name="T0" fmla="*/ 1588 w 1"/>
                <a:gd name="T1" fmla="*/ 5715 h 5"/>
                <a:gd name="T2" fmla="*/ 1588 w 1"/>
                <a:gd name="T3" fmla="*/ 9525 h 5"/>
                <a:gd name="T4" fmla="*/ 0 w 1"/>
                <a:gd name="T5" fmla="*/ 5715 h 5"/>
                <a:gd name="T6" fmla="*/ 1588 w 1"/>
                <a:gd name="T7" fmla="*/ 1905 h 5"/>
                <a:gd name="T8" fmla="*/ 1588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4" name="Freeform 795"/>
            <p:cNvSpPr>
              <a:spLocks noChangeAspect="1"/>
            </p:cNvSpPr>
            <p:nvPr/>
          </p:nvSpPr>
          <p:spPr bwMode="auto">
            <a:xfrm>
              <a:off x="1493509" y="2198728"/>
              <a:ext cx="3203" cy="7738"/>
            </a:xfrm>
            <a:custGeom>
              <a:avLst/>
              <a:gdLst>
                <a:gd name="T0" fmla="*/ 3175 w 1"/>
                <a:gd name="T1" fmla="*/ 5715 h 5"/>
                <a:gd name="T2" fmla="*/ 0 w 1"/>
                <a:gd name="T3" fmla="*/ 9525 h 5"/>
                <a:gd name="T4" fmla="*/ 0 w 1"/>
                <a:gd name="T5" fmla="*/ 5715 h 5"/>
                <a:gd name="T6" fmla="*/ 3175 w 1"/>
                <a:gd name="T7" fmla="*/ 0 h 5"/>
                <a:gd name="T8" fmla="*/ 3175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5" name="Freeform 796"/>
            <p:cNvSpPr>
              <a:spLocks noChangeAspect="1"/>
            </p:cNvSpPr>
            <p:nvPr/>
          </p:nvSpPr>
          <p:spPr bwMode="auto">
            <a:xfrm>
              <a:off x="1498314" y="2121347"/>
              <a:ext cx="8008" cy="7738"/>
            </a:xfrm>
            <a:custGeom>
              <a:avLst/>
              <a:gdLst>
                <a:gd name="T0" fmla="*/ 3969 w 4"/>
                <a:gd name="T1" fmla="*/ 5715 h 5"/>
                <a:gd name="T2" fmla="*/ 0 w 4"/>
                <a:gd name="T3" fmla="*/ 7620 h 5"/>
                <a:gd name="T4" fmla="*/ 1984 w 4"/>
                <a:gd name="T5" fmla="*/ 3810 h 5"/>
                <a:gd name="T6" fmla="*/ 5953 w 4"/>
                <a:gd name="T7" fmla="*/ 1905 h 5"/>
                <a:gd name="T8" fmla="*/ 3969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6" name="Freeform 797"/>
            <p:cNvSpPr>
              <a:spLocks noChangeAspect="1"/>
            </p:cNvSpPr>
            <p:nvPr/>
          </p:nvSpPr>
          <p:spPr bwMode="auto">
            <a:xfrm>
              <a:off x="532482" y="2385731"/>
              <a:ext cx="9610" cy="3869"/>
            </a:xfrm>
            <a:custGeom>
              <a:avLst/>
              <a:gdLst>
                <a:gd name="T0" fmla="*/ 3810 w 5"/>
                <a:gd name="T1" fmla="*/ 4763 h 2"/>
                <a:gd name="T2" fmla="*/ 1905 w 5"/>
                <a:gd name="T3" fmla="*/ 2382 h 2"/>
                <a:gd name="T4" fmla="*/ 5715 w 5"/>
                <a:gd name="T5" fmla="*/ 0 h 2"/>
                <a:gd name="T6" fmla="*/ 9525 w 5"/>
                <a:gd name="T7" fmla="*/ 2382 h 2"/>
                <a:gd name="T8" fmla="*/ 3810 w 5"/>
                <a:gd name="T9" fmla="*/ 476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1"/>
                    <a:pt x="1" y="1"/>
                  </a:cubicBezTo>
                  <a:cubicBezTo>
                    <a:pt x="1" y="0"/>
                    <a:pt x="2" y="0"/>
                    <a:pt x="3" y="0"/>
                  </a:cubicBezTo>
                  <a:cubicBezTo>
                    <a:pt x="4" y="0"/>
                    <a:pt x="5" y="0"/>
                    <a:pt x="5" y="1"/>
                  </a:cubicBezTo>
                  <a:cubicBezTo>
                    <a:pt x="5"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7" name="Freeform 798"/>
            <p:cNvSpPr>
              <a:spLocks noChangeAspect="1"/>
            </p:cNvSpPr>
            <p:nvPr/>
          </p:nvSpPr>
          <p:spPr bwMode="auto">
            <a:xfrm>
              <a:off x="729493" y="1423631"/>
              <a:ext cx="14415" cy="9029"/>
            </a:xfrm>
            <a:custGeom>
              <a:avLst/>
              <a:gdLst>
                <a:gd name="T0" fmla="*/ 5358 w 8"/>
                <a:gd name="T1" fmla="*/ 7409 h 6"/>
                <a:gd name="T2" fmla="*/ 0 w 8"/>
                <a:gd name="T3" fmla="*/ 9261 h 6"/>
                <a:gd name="T4" fmla="*/ 5358 w 8"/>
                <a:gd name="T5" fmla="*/ 5557 h 6"/>
                <a:gd name="T6" fmla="*/ 14287 w 8"/>
                <a:gd name="T7" fmla="*/ 1852 h 6"/>
                <a:gd name="T8" fmla="*/ 5358 w 8"/>
                <a:gd name="T9" fmla="*/ 7409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8" name="Freeform 801"/>
            <p:cNvSpPr>
              <a:spLocks noChangeAspect="1"/>
            </p:cNvSpPr>
            <p:nvPr/>
          </p:nvSpPr>
          <p:spPr bwMode="auto">
            <a:xfrm>
              <a:off x="708671" y="1521646"/>
              <a:ext cx="6407" cy="7738"/>
            </a:xfrm>
            <a:custGeom>
              <a:avLst/>
              <a:gdLst>
                <a:gd name="T0" fmla="*/ 3175 w 4"/>
                <a:gd name="T1" fmla="*/ 5715 h 5"/>
                <a:gd name="T2" fmla="*/ 0 w 4"/>
                <a:gd name="T3" fmla="*/ 7620 h 5"/>
                <a:gd name="T4" fmla="*/ 1588 w 4"/>
                <a:gd name="T5" fmla="*/ 3810 h 5"/>
                <a:gd name="T6" fmla="*/ 4762 w 4"/>
                <a:gd name="T7" fmla="*/ 1905 h 5"/>
                <a:gd name="T8" fmla="*/ 3175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0" y="4"/>
                  </a:cubicBezTo>
                  <a:cubicBezTo>
                    <a:pt x="0" y="4"/>
                    <a:pt x="1" y="3"/>
                    <a:pt x="1" y="2"/>
                  </a:cubicBezTo>
                  <a:cubicBezTo>
                    <a:pt x="2" y="1"/>
                    <a:pt x="3" y="0"/>
                    <a:pt x="3" y="1"/>
                  </a:cubicBezTo>
                  <a:cubicBezTo>
                    <a:pt x="4" y="1"/>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9" name="Freeform 802"/>
            <p:cNvSpPr>
              <a:spLocks noChangeAspect="1"/>
            </p:cNvSpPr>
            <p:nvPr/>
          </p:nvSpPr>
          <p:spPr bwMode="auto">
            <a:xfrm>
              <a:off x="843214" y="1489404"/>
              <a:ext cx="9610" cy="5158"/>
            </a:xfrm>
            <a:custGeom>
              <a:avLst/>
              <a:gdLst>
                <a:gd name="T0" fmla="*/ 3810 w 5"/>
                <a:gd name="T1" fmla="*/ 4233 h 3"/>
                <a:gd name="T2" fmla="*/ 1905 w 5"/>
                <a:gd name="T3" fmla="*/ 6350 h 3"/>
                <a:gd name="T4" fmla="*/ 3810 w 5"/>
                <a:gd name="T5" fmla="*/ 2117 h 3"/>
                <a:gd name="T6" fmla="*/ 7620 w 5"/>
                <a:gd name="T7" fmla="*/ 0 h 3"/>
                <a:gd name="T8" fmla="*/ 381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2"/>
                  </a:moveTo>
                  <a:cubicBezTo>
                    <a:pt x="2" y="3"/>
                    <a:pt x="1" y="3"/>
                    <a:pt x="1" y="3"/>
                  </a:cubicBezTo>
                  <a:cubicBezTo>
                    <a:pt x="0" y="2"/>
                    <a:pt x="1" y="1"/>
                    <a:pt x="2" y="1"/>
                  </a:cubicBezTo>
                  <a:cubicBezTo>
                    <a:pt x="3" y="0"/>
                    <a:pt x="4" y="0"/>
                    <a:pt x="4" y="0"/>
                  </a:cubicBezTo>
                  <a:cubicBezTo>
                    <a:pt x="5" y="1"/>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0" name="Freeform 803"/>
            <p:cNvSpPr>
              <a:spLocks noChangeAspect="1"/>
            </p:cNvSpPr>
            <p:nvPr/>
          </p:nvSpPr>
          <p:spPr bwMode="auto">
            <a:xfrm>
              <a:off x="1113904" y="1387520"/>
              <a:ext cx="4805" cy="6449"/>
            </a:xfrm>
            <a:custGeom>
              <a:avLst/>
              <a:gdLst>
                <a:gd name="T0" fmla="*/ 1587 w 3"/>
                <a:gd name="T1" fmla="*/ 5953 h 4"/>
                <a:gd name="T2" fmla="*/ 0 w 3"/>
                <a:gd name="T3" fmla="*/ 7938 h 4"/>
                <a:gd name="T4" fmla="*/ 1587 w 3"/>
                <a:gd name="T5" fmla="*/ 3969 h 4"/>
                <a:gd name="T6" fmla="*/ 4762 w 3"/>
                <a:gd name="T7" fmla="*/ 0 h 4"/>
                <a:gd name="T8" fmla="*/ 1587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3"/>
                  </a:moveTo>
                  <a:cubicBezTo>
                    <a:pt x="1" y="4"/>
                    <a:pt x="0" y="4"/>
                    <a:pt x="0" y="4"/>
                  </a:cubicBezTo>
                  <a:cubicBezTo>
                    <a:pt x="0" y="4"/>
                    <a:pt x="0" y="3"/>
                    <a:pt x="1" y="2"/>
                  </a:cubicBezTo>
                  <a:cubicBezTo>
                    <a:pt x="1" y="1"/>
                    <a:pt x="2" y="0"/>
                    <a:pt x="3" y="0"/>
                  </a:cubicBezTo>
                  <a:cubicBezTo>
                    <a:pt x="3" y="1"/>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1" name="Freeform 804"/>
            <p:cNvSpPr>
              <a:spLocks noChangeAspect="1"/>
            </p:cNvSpPr>
            <p:nvPr/>
          </p:nvSpPr>
          <p:spPr bwMode="auto">
            <a:xfrm>
              <a:off x="1048233" y="1370754"/>
              <a:ext cx="6407" cy="7738"/>
            </a:xfrm>
            <a:custGeom>
              <a:avLst/>
              <a:gdLst>
                <a:gd name="T0" fmla="*/ 4233 w 3"/>
                <a:gd name="T1" fmla="*/ 7620 h 5"/>
                <a:gd name="T2" fmla="*/ 0 w 3"/>
                <a:gd name="T3" fmla="*/ 9525 h 5"/>
                <a:gd name="T4" fmla="*/ 2117 w 3"/>
                <a:gd name="T5" fmla="*/ 3810 h 5"/>
                <a:gd name="T6" fmla="*/ 6350 w 3"/>
                <a:gd name="T7" fmla="*/ 1905 h 5"/>
                <a:gd name="T8" fmla="*/ 4233 w 3"/>
                <a:gd name="T9" fmla="*/ 762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2" y="4"/>
                    <a:pt x="1" y="5"/>
                    <a:pt x="0" y="5"/>
                  </a:cubicBezTo>
                  <a:cubicBezTo>
                    <a:pt x="0" y="4"/>
                    <a:pt x="0" y="3"/>
                    <a:pt x="1" y="2"/>
                  </a:cubicBezTo>
                  <a:cubicBezTo>
                    <a:pt x="1" y="2"/>
                    <a:pt x="2" y="0"/>
                    <a:pt x="3"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2" name="Freeform 805"/>
            <p:cNvSpPr>
              <a:spLocks noChangeAspect="1"/>
            </p:cNvSpPr>
            <p:nvPr/>
          </p:nvSpPr>
          <p:spPr bwMode="auto">
            <a:xfrm>
              <a:off x="1315720" y="1525516"/>
              <a:ext cx="9610" cy="9027"/>
            </a:xfrm>
            <a:custGeom>
              <a:avLst/>
              <a:gdLst>
                <a:gd name="T0" fmla="*/ 7620 w 5"/>
                <a:gd name="T1" fmla="*/ 7408 h 6"/>
                <a:gd name="T2" fmla="*/ 7620 w 5"/>
                <a:gd name="T3" fmla="*/ 11112 h 6"/>
                <a:gd name="T4" fmla="*/ 3810 w 5"/>
                <a:gd name="T5" fmla="*/ 7408 h 6"/>
                <a:gd name="T6" fmla="*/ 0 w 5"/>
                <a:gd name="T7" fmla="*/ 0 h 6"/>
                <a:gd name="T8" fmla="*/ 7620 w 5"/>
                <a:gd name="T9" fmla="*/ 7408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3" name="Freeform 806"/>
            <p:cNvSpPr>
              <a:spLocks noChangeAspect="1"/>
            </p:cNvSpPr>
            <p:nvPr/>
          </p:nvSpPr>
          <p:spPr bwMode="auto">
            <a:xfrm>
              <a:off x="1277279" y="1470059"/>
              <a:ext cx="3203" cy="7738"/>
            </a:xfrm>
            <a:custGeom>
              <a:avLst/>
              <a:gdLst>
                <a:gd name="T0" fmla="*/ 1588 w 2"/>
                <a:gd name="T1" fmla="*/ 7620 h 5"/>
                <a:gd name="T2" fmla="*/ 0 w 2"/>
                <a:gd name="T3" fmla="*/ 9525 h 5"/>
                <a:gd name="T4" fmla="*/ 0 w 2"/>
                <a:gd name="T5" fmla="*/ 5715 h 5"/>
                <a:gd name="T6" fmla="*/ 1588 w 2"/>
                <a:gd name="T7" fmla="*/ 1905 h 5"/>
                <a:gd name="T8" fmla="*/ 1588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4" name="Freeform 807"/>
            <p:cNvSpPr>
              <a:spLocks noChangeAspect="1"/>
            </p:cNvSpPr>
            <p:nvPr/>
          </p:nvSpPr>
          <p:spPr bwMode="auto">
            <a:xfrm>
              <a:off x="1344551" y="1490694"/>
              <a:ext cx="8008" cy="6449"/>
            </a:xfrm>
            <a:custGeom>
              <a:avLst/>
              <a:gdLst>
                <a:gd name="T0" fmla="*/ 5953 w 4"/>
                <a:gd name="T1" fmla="*/ 3969 h 4"/>
                <a:gd name="T2" fmla="*/ 5953 w 4"/>
                <a:gd name="T3" fmla="*/ 7938 h 4"/>
                <a:gd name="T4" fmla="*/ 1984 w 4"/>
                <a:gd name="T5" fmla="*/ 5953 h 4"/>
                <a:gd name="T6" fmla="*/ 0 w 4"/>
                <a:gd name="T7" fmla="*/ 1985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3" y="4"/>
                    <a:pt x="2" y="3"/>
                    <a:pt x="1" y="3"/>
                  </a:cubicBezTo>
                  <a:cubicBezTo>
                    <a:pt x="1" y="2"/>
                    <a:pt x="0" y="1"/>
                    <a:pt x="0"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5" name="Freeform 808"/>
            <p:cNvSpPr>
              <a:spLocks noChangeAspect="1"/>
            </p:cNvSpPr>
            <p:nvPr/>
          </p:nvSpPr>
          <p:spPr bwMode="auto">
            <a:xfrm>
              <a:off x="1368575" y="1566785"/>
              <a:ext cx="9610" cy="9027"/>
            </a:xfrm>
            <a:custGeom>
              <a:avLst/>
              <a:gdLst>
                <a:gd name="T0" fmla="*/ 7620 w 5"/>
                <a:gd name="T1" fmla="*/ 5556 h 6"/>
                <a:gd name="T2" fmla="*/ 7620 w 5"/>
                <a:gd name="T3" fmla="*/ 11112 h 6"/>
                <a:gd name="T4" fmla="*/ 3810 w 5"/>
                <a:gd name="T5" fmla="*/ 7408 h 6"/>
                <a:gd name="T6" fmla="*/ 1905 w 5"/>
                <a:gd name="T7" fmla="*/ 0 h 6"/>
                <a:gd name="T8" fmla="*/ 7620 w 5"/>
                <a:gd name="T9" fmla="*/ 555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4"/>
                    <a:pt x="2" y="4"/>
                  </a:cubicBezTo>
                  <a:cubicBezTo>
                    <a:pt x="1" y="2"/>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6" name="Freeform 809"/>
            <p:cNvSpPr>
              <a:spLocks noChangeAspect="1"/>
            </p:cNvSpPr>
            <p:nvPr/>
          </p:nvSpPr>
          <p:spPr bwMode="auto">
            <a:xfrm>
              <a:off x="1386195" y="1589999"/>
              <a:ext cx="6407" cy="7738"/>
            </a:xfrm>
            <a:custGeom>
              <a:avLst/>
              <a:gdLst>
                <a:gd name="T0" fmla="*/ 6350 w 3"/>
                <a:gd name="T1" fmla="*/ 5715 h 5"/>
                <a:gd name="T2" fmla="*/ 6350 w 3"/>
                <a:gd name="T3" fmla="*/ 9525 h 5"/>
                <a:gd name="T4" fmla="*/ 2117 w 3"/>
                <a:gd name="T5" fmla="*/ 5715 h 5"/>
                <a:gd name="T6" fmla="*/ 2117 w 3"/>
                <a:gd name="T7" fmla="*/ 1905 h 5"/>
                <a:gd name="T8" fmla="*/ 635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4"/>
                    <a:pt x="3" y="5"/>
                    <a:pt x="3" y="5"/>
                  </a:cubicBezTo>
                  <a:cubicBezTo>
                    <a:pt x="2" y="5"/>
                    <a:pt x="1" y="4"/>
                    <a:pt x="1"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7" name="Freeform 810"/>
            <p:cNvSpPr>
              <a:spLocks noChangeAspect="1"/>
            </p:cNvSpPr>
            <p:nvPr/>
          </p:nvSpPr>
          <p:spPr bwMode="auto">
            <a:xfrm>
              <a:off x="1498314" y="1711230"/>
              <a:ext cx="3203" cy="10318"/>
            </a:xfrm>
            <a:custGeom>
              <a:avLst/>
              <a:gdLst>
                <a:gd name="T0" fmla="*/ 3175 w 2"/>
                <a:gd name="T1" fmla="*/ 7257 h 7"/>
                <a:gd name="T2" fmla="*/ 3175 w 2"/>
                <a:gd name="T3" fmla="*/ 10886 h 7"/>
                <a:gd name="T4" fmla="*/ 0 w 2"/>
                <a:gd name="T5" fmla="*/ 7257 h 7"/>
                <a:gd name="T6" fmla="*/ 0 w 2"/>
                <a:gd name="T7" fmla="*/ 0 h 7"/>
                <a:gd name="T8" fmla="*/ 3175 w 2"/>
                <a:gd name="T9" fmla="*/ 7257 h 7"/>
                <a:gd name="T10" fmla="*/ 0 60000 65536"/>
                <a:gd name="T11" fmla="*/ 0 60000 65536"/>
                <a:gd name="T12" fmla="*/ 0 60000 65536"/>
                <a:gd name="T13" fmla="*/ 0 60000 65536"/>
                <a:gd name="T14" fmla="*/ 0 60000 65536"/>
                <a:gd name="T15" fmla="*/ 0 w 2"/>
                <a:gd name="T16" fmla="*/ 0 h 7"/>
                <a:gd name="T17" fmla="*/ 2 w 2"/>
                <a:gd name="T18" fmla="*/ 7 h 7"/>
              </a:gdLst>
              <a:ahLst/>
              <a:cxnLst>
                <a:cxn ang="T10">
                  <a:pos x="T0" y="T1"/>
                </a:cxn>
                <a:cxn ang="T11">
                  <a:pos x="T2" y="T3"/>
                </a:cxn>
                <a:cxn ang="T12">
                  <a:pos x="T4" y="T5"/>
                </a:cxn>
                <a:cxn ang="T13">
                  <a:pos x="T6" y="T7"/>
                </a:cxn>
                <a:cxn ang="T14">
                  <a:pos x="T8" y="T9"/>
                </a:cxn>
              </a:cxnLst>
              <a:rect l="T15" t="T16" r="T17" b="T18"/>
              <a:pathLst>
                <a:path w="2" h="7">
                  <a:moveTo>
                    <a:pt x="2" y="4"/>
                  </a:moveTo>
                  <a:cubicBezTo>
                    <a:pt x="2" y="5"/>
                    <a:pt x="2" y="7"/>
                    <a:pt x="2" y="6"/>
                  </a:cubicBezTo>
                  <a:cubicBezTo>
                    <a:pt x="1" y="6"/>
                    <a:pt x="1" y="5"/>
                    <a:pt x="0" y="4"/>
                  </a:cubicBezTo>
                  <a:cubicBezTo>
                    <a:pt x="0" y="3"/>
                    <a:pt x="0" y="0"/>
                    <a:pt x="0" y="0"/>
                  </a:cubicBezTo>
                  <a:cubicBezTo>
                    <a:pt x="1" y="0"/>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8" name="Freeform 811"/>
            <p:cNvSpPr>
              <a:spLocks noChangeAspect="1"/>
            </p:cNvSpPr>
            <p:nvPr/>
          </p:nvSpPr>
          <p:spPr bwMode="auto">
            <a:xfrm>
              <a:off x="3345087" y="615003"/>
              <a:ext cx="8009" cy="5158"/>
            </a:xfrm>
            <a:custGeom>
              <a:avLst/>
              <a:gdLst>
                <a:gd name="T0" fmla="*/ 5953 w 4"/>
                <a:gd name="T1" fmla="*/ 4233 h 3"/>
                <a:gd name="T2" fmla="*/ 7938 w 4"/>
                <a:gd name="T3" fmla="*/ 6350 h 3"/>
                <a:gd name="T4" fmla="*/ 3969 w 4"/>
                <a:gd name="T5" fmla="*/ 4233 h 3"/>
                <a:gd name="T6" fmla="*/ 0 w 4"/>
                <a:gd name="T7" fmla="*/ 0 h 3"/>
                <a:gd name="T8" fmla="*/ 5953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9" name="Freeform 812"/>
            <p:cNvSpPr>
              <a:spLocks noChangeAspect="1"/>
            </p:cNvSpPr>
            <p:nvPr/>
          </p:nvSpPr>
          <p:spPr bwMode="auto">
            <a:xfrm>
              <a:off x="3367512" y="600816"/>
              <a:ext cx="14416" cy="9029"/>
            </a:xfrm>
            <a:custGeom>
              <a:avLst/>
              <a:gdLst>
                <a:gd name="T0" fmla="*/ 10716 w 8"/>
                <a:gd name="T1" fmla="*/ 5557 h 6"/>
                <a:gd name="T2" fmla="*/ 14288 w 8"/>
                <a:gd name="T3" fmla="*/ 11113 h 6"/>
                <a:gd name="T4" fmla="*/ 7144 w 8"/>
                <a:gd name="T5" fmla="*/ 7409 h 6"/>
                <a:gd name="T6" fmla="*/ 1786 w 8"/>
                <a:gd name="T7" fmla="*/ 1852 h 6"/>
                <a:gd name="T8" fmla="*/ 10716 w 8"/>
                <a:gd name="T9" fmla="*/ 5557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0" name="Freeform 813"/>
            <p:cNvSpPr>
              <a:spLocks noChangeAspect="1"/>
            </p:cNvSpPr>
            <p:nvPr/>
          </p:nvSpPr>
          <p:spPr bwMode="auto">
            <a:xfrm>
              <a:off x="3497252" y="584050"/>
              <a:ext cx="28831" cy="9027"/>
            </a:xfrm>
            <a:custGeom>
              <a:avLst/>
              <a:gdLst>
                <a:gd name="T0" fmla="*/ 17145 w 15"/>
                <a:gd name="T1" fmla="*/ 5556 h 6"/>
                <a:gd name="T2" fmla="*/ 26670 w 15"/>
                <a:gd name="T3" fmla="*/ 9260 h 6"/>
                <a:gd name="T4" fmla="*/ 15240 w 15"/>
                <a:gd name="T5" fmla="*/ 9260 h 6"/>
                <a:gd name="T6" fmla="*/ 1905 w 15"/>
                <a:gd name="T7" fmla="*/ 3704 h 6"/>
                <a:gd name="T8" fmla="*/ 17145 w 15"/>
                <a:gd name="T9" fmla="*/ 5556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1" name="Freeform 814"/>
            <p:cNvSpPr>
              <a:spLocks noChangeAspect="1"/>
            </p:cNvSpPr>
            <p:nvPr/>
          </p:nvSpPr>
          <p:spPr bwMode="auto">
            <a:xfrm>
              <a:off x="2284755" y="914208"/>
              <a:ext cx="9610" cy="5158"/>
            </a:xfrm>
            <a:custGeom>
              <a:avLst/>
              <a:gdLst>
                <a:gd name="T0" fmla="*/ 3810 w 5"/>
                <a:gd name="T1" fmla="*/ 4762 h 4"/>
                <a:gd name="T2" fmla="*/ 1905 w 5"/>
                <a:gd name="T3" fmla="*/ 6350 h 4"/>
                <a:gd name="T4" fmla="*/ 3810 w 5"/>
                <a:gd name="T5" fmla="*/ 3175 h 4"/>
                <a:gd name="T6" fmla="*/ 7620 w 5"/>
                <a:gd name="T7" fmla="*/ 1588 h 4"/>
                <a:gd name="T8" fmla="*/ 3810 w 5"/>
                <a:gd name="T9" fmla="*/ 476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3"/>
                  </a:moveTo>
                  <a:cubicBezTo>
                    <a:pt x="2" y="4"/>
                    <a:pt x="1" y="4"/>
                    <a:pt x="1" y="4"/>
                  </a:cubicBezTo>
                  <a:cubicBezTo>
                    <a:pt x="0" y="3"/>
                    <a:pt x="1" y="2"/>
                    <a:pt x="2" y="2"/>
                  </a:cubicBezTo>
                  <a:cubicBezTo>
                    <a:pt x="3" y="1"/>
                    <a:pt x="4" y="0"/>
                    <a:pt x="4"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2" name="Freeform 815"/>
            <p:cNvSpPr>
              <a:spLocks noChangeAspect="1"/>
            </p:cNvSpPr>
            <p:nvPr/>
          </p:nvSpPr>
          <p:spPr bwMode="auto">
            <a:xfrm>
              <a:off x="2294365" y="836827"/>
              <a:ext cx="9610" cy="2579"/>
            </a:xfrm>
            <a:custGeom>
              <a:avLst/>
              <a:gdLst>
                <a:gd name="T0" fmla="*/ 3810 w 5"/>
                <a:gd name="T1" fmla="*/ 3175 h 2"/>
                <a:gd name="T2" fmla="*/ 0 w 5"/>
                <a:gd name="T3" fmla="*/ 1588 h 2"/>
                <a:gd name="T4" fmla="*/ 3810 w 5"/>
                <a:gd name="T5" fmla="*/ 0 h 2"/>
                <a:gd name="T6" fmla="*/ 7620 w 5"/>
                <a:gd name="T7" fmla="*/ 1588 h 2"/>
                <a:gd name="T8" fmla="*/ 381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2"/>
                    <a:pt x="0" y="1"/>
                  </a:cubicBezTo>
                  <a:cubicBezTo>
                    <a:pt x="0" y="1"/>
                    <a:pt x="1" y="0"/>
                    <a:pt x="2" y="0"/>
                  </a:cubicBezTo>
                  <a:cubicBezTo>
                    <a:pt x="3" y="0"/>
                    <a:pt x="5" y="0"/>
                    <a:pt x="4" y="1"/>
                  </a:cubicBezTo>
                  <a:cubicBezTo>
                    <a:pt x="4"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3" name="Freeform 816"/>
            <p:cNvSpPr>
              <a:spLocks noChangeAspect="1"/>
            </p:cNvSpPr>
            <p:nvPr/>
          </p:nvSpPr>
          <p:spPr bwMode="auto">
            <a:xfrm>
              <a:off x="2681979" y="1302400"/>
              <a:ext cx="16017" cy="5158"/>
            </a:xfrm>
            <a:custGeom>
              <a:avLst/>
              <a:gdLst>
                <a:gd name="T0" fmla="*/ 11906 w 8"/>
                <a:gd name="T1" fmla="*/ 2117 h 3"/>
                <a:gd name="T2" fmla="*/ 15875 w 8"/>
                <a:gd name="T3" fmla="*/ 4233 h 3"/>
                <a:gd name="T4" fmla="*/ 7938 w 8"/>
                <a:gd name="T5" fmla="*/ 6350 h 3"/>
                <a:gd name="T6" fmla="*/ 1984 w 8"/>
                <a:gd name="T7" fmla="*/ 2117 h 3"/>
                <a:gd name="T8" fmla="*/ 11906 w 8"/>
                <a:gd name="T9" fmla="*/ 2117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4" name="Freeform 817"/>
            <p:cNvSpPr>
              <a:spLocks noChangeAspect="1"/>
            </p:cNvSpPr>
            <p:nvPr/>
          </p:nvSpPr>
          <p:spPr bwMode="auto">
            <a:xfrm>
              <a:off x="2478562" y="1203096"/>
              <a:ext cx="8008" cy="14186"/>
            </a:xfrm>
            <a:custGeom>
              <a:avLst/>
              <a:gdLst>
                <a:gd name="T0" fmla="*/ 5953 w 4"/>
                <a:gd name="T1" fmla="*/ 9701 h 9"/>
                <a:gd name="T2" fmla="*/ 3969 w 4"/>
                <a:gd name="T3" fmla="*/ 17462 h 9"/>
                <a:gd name="T4" fmla="*/ 0 w 4"/>
                <a:gd name="T5" fmla="*/ 9701 h 9"/>
                <a:gd name="T6" fmla="*/ 1984 w 4"/>
                <a:gd name="T7" fmla="*/ 0 h 9"/>
                <a:gd name="T8" fmla="*/ 5953 w 4"/>
                <a:gd name="T9" fmla="*/ 9701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5" name="Freeform 818"/>
            <p:cNvSpPr>
              <a:spLocks noChangeAspect="1"/>
            </p:cNvSpPr>
            <p:nvPr/>
          </p:nvSpPr>
          <p:spPr bwMode="auto">
            <a:xfrm>
              <a:off x="2206271" y="1134743"/>
              <a:ext cx="9610" cy="7738"/>
            </a:xfrm>
            <a:custGeom>
              <a:avLst/>
              <a:gdLst>
                <a:gd name="T0" fmla="*/ 7620 w 5"/>
                <a:gd name="T1" fmla="*/ 5715 h 5"/>
                <a:gd name="T2" fmla="*/ 7620 w 5"/>
                <a:gd name="T3" fmla="*/ 9525 h 5"/>
                <a:gd name="T4" fmla="*/ 3810 w 5"/>
                <a:gd name="T5" fmla="*/ 5715 h 5"/>
                <a:gd name="T6" fmla="*/ 1905 w 5"/>
                <a:gd name="T7" fmla="*/ 0 h 5"/>
                <a:gd name="T8" fmla="*/ 7620 w 5"/>
                <a:gd name="T9" fmla="*/ 571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3"/>
                  </a:moveTo>
                  <a:cubicBezTo>
                    <a:pt x="4" y="3"/>
                    <a:pt x="5" y="4"/>
                    <a:pt x="4" y="5"/>
                  </a:cubicBezTo>
                  <a:cubicBezTo>
                    <a:pt x="3" y="5"/>
                    <a:pt x="2" y="4"/>
                    <a:pt x="2" y="3"/>
                  </a:cubicBezTo>
                  <a:cubicBezTo>
                    <a:pt x="1" y="2"/>
                    <a:pt x="0" y="1"/>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6" name="Freeform 819"/>
            <p:cNvSpPr>
              <a:spLocks noChangeAspect="1"/>
            </p:cNvSpPr>
            <p:nvPr/>
          </p:nvSpPr>
          <p:spPr bwMode="auto">
            <a:xfrm>
              <a:off x="2494580" y="2330275"/>
              <a:ext cx="6407" cy="6448"/>
            </a:xfrm>
            <a:custGeom>
              <a:avLst/>
              <a:gdLst>
                <a:gd name="T0" fmla="*/ 4762 w 4"/>
                <a:gd name="T1" fmla="*/ 3969 h 4"/>
                <a:gd name="T2" fmla="*/ 6350 w 4"/>
                <a:gd name="T3" fmla="*/ 7937 h 4"/>
                <a:gd name="T4" fmla="*/ 1588 w 4"/>
                <a:gd name="T5" fmla="*/ 5953 h 4"/>
                <a:gd name="T6" fmla="*/ 0 w 4"/>
                <a:gd name="T7" fmla="*/ 1984 h 4"/>
                <a:gd name="T8" fmla="*/ 4762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7" name="Freeform 820"/>
            <p:cNvSpPr>
              <a:spLocks noChangeAspect="1"/>
            </p:cNvSpPr>
            <p:nvPr/>
          </p:nvSpPr>
          <p:spPr bwMode="auto">
            <a:xfrm>
              <a:off x="2500986" y="2307061"/>
              <a:ext cx="12814" cy="9027"/>
            </a:xfrm>
            <a:custGeom>
              <a:avLst/>
              <a:gdLst>
                <a:gd name="T0" fmla="*/ 8467 w 6"/>
                <a:gd name="T1" fmla="*/ 5556 h 6"/>
                <a:gd name="T2" fmla="*/ 12700 w 6"/>
                <a:gd name="T3" fmla="*/ 11112 h 6"/>
                <a:gd name="T4" fmla="*/ 6350 w 6"/>
                <a:gd name="T5" fmla="*/ 7408 h 6"/>
                <a:gd name="T6" fmla="*/ 2117 w 6"/>
                <a:gd name="T7" fmla="*/ 0 h 6"/>
                <a:gd name="T8" fmla="*/ 8467 w 6"/>
                <a:gd name="T9" fmla="*/ 555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8" name="Freeform 821"/>
            <p:cNvSpPr>
              <a:spLocks noChangeAspect="1"/>
            </p:cNvSpPr>
            <p:nvPr/>
          </p:nvSpPr>
          <p:spPr bwMode="auto">
            <a:xfrm>
              <a:off x="2513800" y="2336724"/>
              <a:ext cx="11212" cy="9029"/>
            </a:xfrm>
            <a:custGeom>
              <a:avLst/>
              <a:gdLst>
                <a:gd name="T0" fmla="*/ 7408 w 6"/>
                <a:gd name="T1" fmla="*/ 5557 h 6"/>
                <a:gd name="T2" fmla="*/ 9260 w 6"/>
                <a:gd name="T3" fmla="*/ 11113 h 6"/>
                <a:gd name="T4" fmla="*/ 3704 w 6"/>
                <a:gd name="T5" fmla="*/ 5557 h 6"/>
                <a:gd name="T6" fmla="*/ 1852 w 6"/>
                <a:gd name="T7" fmla="*/ 0 h 6"/>
                <a:gd name="T8" fmla="*/ 7408 w 6"/>
                <a:gd name="T9" fmla="*/ 5557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9" name="Freeform 822"/>
            <p:cNvSpPr>
              <a:spLocks noChangeAspect="1"/>
            </p:cNvSpPr>
            <p:nvPr/>
          </p:nvSpPr>
          <p:spPr bwMode="auto">
            <a:xfrm>
              <a:off x="2353629" y="2430870"/>
              <a:ext cx="9610" cy="2579"/>
            </a:xfrm>
            <a:custGeom>
              <a:avLst/>
              <a:gdLst>
                <a:gd name="T0" fmla="*/ 5715 w 5"/>
                <a:gd name="T1" fmla="*/ 0 h 2"/>
                <a:gd name="T2" fmla="*/ 9525 w 5"/>
                <a:gd name="T3" fmla="*/ 1588 h 2"/>
                <a:gd name="T4" fmla="*/ 3810 w 5"/>
                <a:gd name="T5" fmla="*/ 3175 h 2"/>
                <a:gd name="T6" fmla="*/ 0 w 5"/>
                <a:gd name="T7" fmla="*/ 0 h 2"/>
                <a:gd name="T8" fmla="*/ 571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4" y="2"/>
                    <a:pt x="3" y="2"/>
                    <a:pt x="2" y="2"/>
                  </a:cubicBezTo>
                  <a:cubicBezTo>
                    <a:pt x="1" y="1"/>
                    <a:pt x="0" y="1"/>
                    <a:pt x="0" y="0"/>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0" name="Freeform 823"/>
            <p:cNvSpPr>
              <a:spLocks noChangeAspect="1"/>
            </p:cNvSpPr>
            <p:nvPr/>
          </p:nvSpPr>
          <p:spPr bwMode="auto">
            <a:xfrm>
              <a:off x="2228696" y="2494063"/>
              <a:ext cx="9610" cy="5158"/>
            </a:xfrm>
            <a:custGeom>
              <a:avLst/>
              <a:gdLst>
                <a:gd name="T0" fmla="*/ 5715 w 5"/>
                <a:gd name="T1" fmla="*/ 2117 h 3"/>
                <a:gd name="T2" fmla="*/ 9525 w 5"/>
                <a:gd name="T3" fmla="*/ 2117 h 3"/>
                <a:gd name="T4" fmla="*/ 5715 w 5"/>
                <a:gd name="T5" fmla="*/ 4233 h 3"/>
                <a:gd name="T6" fmla="*/ 0 w 5"/>
                <a:gd name="T7" fmla="*/ 6350 h 3"/>
                <a:gd name="T8" fmla="*/ 5715 w 5"/>
                <a:gd name="T9" fmla="*/ 211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3" y="1"/>
                    <a:pt x="4" y="0"/>
                    <a:pt x="5" y="1"/>
                  </a:cubicBezTo>
                  <a:cubicBezTo>
                    <a:pt x="5" y="1"/>
                    <a:pt x="4" y="2"/>
                    <a:pt x="3" y="2"/>
                  </a:cubicBezTo>
                  <a:cubicBezTo>
                    <a:pt x="2" y="3"/>
                    <a:pt x="1" y="3"/>
                    <a:pt x="0" y="3"/>
                  </a:cubicBezTo>
                  <a:cubicBezTo>
                    <a:pt x="0" y="2"/>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1" name="Freeform 824"/>
            <p:cNvSpPr>
              <a:spLocks noChangeAspect="1"/>
            </p:cNvSpPr>
            <p:nvPr/>
          </p:nvSpPr>
          <p:spPr bwMode="auto">
            <a:xfrm>
              <a:off x="2227094" y="2405076"/>
              <a:ext cx="8009" cy="3868"/>
            </a:xfrm>
            <a:custGeom>
              <a:avLst/>
              <a:gdLst>
                <a:gd name="T0" fmla="*/ 3969 w 4"/>
                <a:gd name="T1" fmla="*/ 1587 h 3"/>
                <a:gd name="T2" fmla="*/ 7938 w 4"/>
                <a:gd name="T3" fmla="*/ 0 h 3"/>
                <a:gd name="T4" fmla="*/ 3969 w 4"/>
                <a:gd name="T5" fmla="*/ 3175 h 3"/>
                <a:gd name="T6" fmla="*/ 0 w 4"/>
                <a:gd name="T7" fmla="*/ 4762 h 3"/>
                <a:gd name="T8" fmla="*/ 3969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2" y="0"/>
                    <a:pt x="3" y="0"/>
                    <a:pt x="4" y="0"/>
                  </a:cubicBezTo>
                  <a:cubicBezTo>
                    <a:pt x="4" y="1"/>
                    <a:pt x="3" y="2"/>
                    <a:pt x="2" y="2"/>
                  </a:cubicBezTo>
                  <a:cubicBezTo>
                    <a:pt x="2" y="3"/>
                    <a:pt x="0" y="3"/>
                    <a:pt x="0" y="3"/>
                  </a:cubicBezTo>
                  <a:cubicBezTo>
                    <a:pt x="0" y="2"/>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2" name="Freeform 825"/>
            <p:cNvSpPr>
              <a:spLocks noChangeAspect="1"/>
            </p:cNvSpPr>
            <p:nvPr/>
          </p:nvSpPr>
          <p:spPr bwMode="auto">
            <a:xfrm>
              <a:off x="2199865" y="2468270"/>
              <a:ext cx="6407" cy="6449"/>
            </a:xfrm>
            <a:custGeom>
              <a:avLst/>
              <a:gdLst>
                <a:gd name="T0" fmla="*/ 4233 w 3"/>
                <a:gd name="T1" fmla="*/ 1985 h 4"/>
                <a:gd name="T2" fmla="*/ 6350 w 3"/>
                <a:gd name="T3" fmla="*/ 1985 h 4"/>
                <a:gd name="T4" fmla="*/ 4233 w 3"/>
                <a:gd name="T5" fmla="*/ 3969 h 4"/>
                <a:gd name="T6" fmla="*/ 2117 w 3"/>
                <a:gd name="T7" fmla="*/ 5953 h 4"/>
                <a:gd name="T8" fmla="*/ 4233 w 3"/>
                <a:gd name="T9" fmla="*/ 198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1"/>
                  </a:moveTo>
                  <a:cubicBezTo>
                    <a:pt x="2" y="1"/>
                    <a:pt x="3" y="0"/>
                    <a:pt x="3" y="1"/>
                  </a:cubicBezTo>
                  <a:cubicBezTo>
                    <a:pt x="3" y="1"/>
                    <a:pt x="3" y="2"/>
                    <a:pt x="2" y="2"/>
                  </a:cubicBezTo>
                  <a:cubicBezTo>
                    <a:pt x="2" y="3"/>
                    <a:pt x="1" y="4"/>
                    <a:pt x="1" y="3"/>
                  </a:cubicBezTo>
                  <a:cubicBezTo>
                    <a:pt x="0" y="3"/>
                    <a:pt x="1" y="2"/>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3" name="Freeform 826"/>
            <p:cNvSpPr>
              <a:spLocks noChangeAspect="1"/>
            </p:cNvSpPr>
            <p:nvPr/>
          </p:nvSpPr>
          <p:spPr bwMode="auto">
            <a:xfrm>
              <a:off x="2561852" y="2356069"/>
              <a:ext cx="14415" cy="3868"/>
            </a:xfrm>
            <a:custGeom>
              <a:avLst/>
              <a:gdLst>
                <a:gd name="T0" fmla="*/ 8929 w 8"/>
                <a:gd name="T1" fmla="*/ 2381 h 2"/>
                <a:gd name="T2" fmla="*/ 14287 w 8"/>
                <a:gd name="T3" fmla="*/ 4762 h 2"/>
                <a:gd name="T4" fmla="*/ 7144 w 8"/>
                <a:gd name="T5" fmla="*/ 4762 h 2"/>
                <a:gd name="T6" fmla="*/ 0 w 8"/>
                <a:gd name="T7" fmla="*/ 2381 h 2"/>
                <a:gd name="T8" fmla="*/ 8929 w 8"/>
                <a:gd name="T9" fmla="*/ 2381 h 2"/>
                <a:gd name="T10" fmla="*/ 0 60000 65536"/>
                <a:gd name="T11" fmla="*/ 0 60000 65536"/>
                <a:gd name="T12" fmla="*/ 0 60000 65536"/>
                <a:gd name="T13" fmla="*/ 0 60000 65536"/>
                <a:gd name="T14" fmla="*/ 0 60000 65536"/>
                <a:gd name="T15" fmla="*/ 0 w 8"/>
                <a:gd name="T16" fmla="*/ 0 h 2"/>
                <a:gd name="T17" fmla="*/ 8 w 8"/>
                <a:gd name="T18" fmla="*/ 2 h 2"/>
              </a:gdLst>
              <a:ahLst/>
              <a:cxnLst>
                <a:cxn ang="T10">
                  <a:pos x="T0" y="T1"/>
                </a:cxn>
                <a:cxn ang="T11">
                  <a:pos x="T2" y="T3"/>
                </a:cxn>
                <a:cxn ang="T12">
                  <a:pos x="T4" y="T5"/>
                </a:cxn>
                <a:cxn ang="T13">
                  <a:pos x="T6" y="T7"/>
                </a:cxn>
                <a:cxn ang="T14">
                  <a:pos x="T8" y="T9"/>
                </a:cxn>
              </a:cxnLst>
              <a:rect l="T15" t="T16" r="T17" b="T18"/>
              <a:pathLst>
                <a:path w="8" h="2">
                  <a:moveTo>
                    <a:pt x="5" y="1"/>
                  </a:moveTo>
                  <a:cubicBezTo>
                    <a:pt x="6" y="1"/>
                    <a:pt x="8" y="1"/>
                    <a:pt x="8" y="2"/>
                  </a:cubicBezTo>
                  <a:cubicBezTo>
                    <a:pt x="7" y="2"/>
                    <a:pt x="5" y="2"/>
                    <a:pt x="4" y="2"/>
                  </a:cubicBezTo>
                  <a:cubicBezTo>
                    <a:pt x="3" y="2"/>
                    <a:pt x="0" y="2"/>
                    <a:pt x="0" y="1"/>
                  </a:cubicBezTo>
                  <a:cubicBezTo>
                    <a:pt x="1" y="0"/>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4" name="Freeform 827"/>
            <p:cNvSpPr>
              <a:spLocks noChangeAspect="1"/>
            </p:cNvSpPr>
            <p:nvPr/>
          </p:nvSpPr>
          <p:spPr bwMode="auto">
            <a:xfrm>
              <a:off x="2536224" y="2354779"/>
              <a:ext cx="9610" cy="11608"/>
            </a:xfrm>
            <a:custGeom>
              <a:avLst/>
              <a:gdLst>
                <a:gd name="T0" fmla="*/ 5715 w 5"/>
                <a:gd name="T1" fmla="*/ 4082 h 7"/>
                <a:gd name="T2" fmla="*/ 9525 w 5"/>
                <a:gd name="T3" fmla="*/ 0 h 7"/>
                <a:gd name="T4" fmla="*/ 5715 w 5"/>
                <a:gd name="T5" fmla="*/ 6123 h 7"/>
                <a:gd name="T6" fmla="*/ 0 w 5"/>
                <a:gd name="T7" fmla="*/ 12247 h 7"/>
                <a:gd name="T8" fmla="*/ 5715 w 5"/>
                <a:gd name="T9" fmla="*/ 4082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5" name="Freeform 828"/>
            <p:cNvSpPr>
              <a:spLocks noChangeAspect="1"/>
            </p:cNvSpPr>
            <p:nvPr/>
          </p:nvSpPr>
          <p:spPr bwMode="auto">
            <a:xfrm>
              <a:off x="2845354" y="2534045"/>
              <a:ext cx="8009" cy="7738"/>
            </a:xfrm>
            <a:custGeom>
              <a:avLst/>
              <a:gdLst>
                <a:gd name="T0" fmla="*/ 5953 w 4"/>
                <a:gd name="T1" fmla="*/ 5715 h 5"/>
                <a:gd name="T2" fmla="*/ 7938 w 4"/>
                <a:gd name="T3" fmla="*/ 9525 h 5"/>
                <a:gd name="T4" fmla="*/ 3969 w 4"/>
                <a:gd name="T5" fmla="*/ 5715 h 5"/>
                <a:gd name="T6" fmla="*/ 1985 w 4"/>
                <a:gd name="T7" fmla="*/ 0 h 5"/>
                <a:gd name="T8" fmla="*/ 5953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4" y="4"/>
                    <a:pt x="4" y="5"/>
                    <a:pt x="4" y="5"/>
                  </a:cubicBezTo>
                  <a:cubicBezTo>
                    <a:pt x="3" y="5"/>
                    <a:pt x="2" y="4"/>
                    <a:pt x="2" y="3"/>
                  </a:cubicBezTo>
                  <a:cubicBezTo>
                    <a:pt x="1" y="2"/>
                    <a:pt x="0" y="1"/>
                    <a:pt x="1" y="0"/>
                  </a:cubicBezTo>
                  <a:cubicBezTo>
                    <a:pt x="2" y="0"/>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6" name="Freeform 829"/>
            <p:cNvSpPr>
              <a:spLocks noChangeAspect="1"/>
            </p:cNvSpPr>
            <p:nvPr/>
          </p:nvSpPr>
          <p:spPr bwMode="auto">
            <a:xfrm>
              <a:off x="2830939" y="2497934"/>
              <a:ext cx="1601" cy="9027"/>
            </a:xfrm>
            <a:custGeom>
              <a:avLst/>
              <a:gdLst>
                <a:gd name="T0" fmla="*/ 1587 w 1"/>
                <a:gd name="T1" fmla="*/ 7408 h 6"/>
                <a:gd name="T2" fmla="*/ 0 w 1"/>
                <a:gd name="T3" fmla="*/ 11112 h 6"/>
                <a:gd name="T4" fmla="*/ 0 w 1"/>
                <a:gd name="T5" fmla="*/ 5556 h 6"/>
                <a:gd name="T6" fmla="*/ 0 w 1"/>
                <a:gd name="T7" fmla="*/ 0 h 6"/>
                <a:gd name="T8" fmla="*/ 1587 w 1"/>
                <a:gd name="T9" fmla="*/ 7408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7" name="Freeform 830"/>
            <p:cNvSpPr>
              <a:spLocks noChangeAspect="1"/>
            </p:cNvSpPr>
            <p:nvPr/>
          </p:nvSpPr>
          <p:spPr bwMode="auto">
            <a:xfrm>
              <a:off x="2846956" y="2549521"/>
              <a:ext cx="3203" cy="7738"/>
            </a:xfrm>
            <a:custGeom>
              <a:avLst/>
              <a:gdLst>
                <a:gd name="T0" fmla="*/ 3175 w 1"/>
                <a:gd name="T1" fmla="*/ 5715 h 5"/>
                <a:gd name="T2" fmla="*/ 0 w 1"/>
                <a:gd name="T3" fmla="*/ 9525 h 5"/>
                <a:gd name="T4" fmla="*/ 0 w 1"/>
                <a:gd name="T5" fmla="*/ 5715 h 5"/>
                <a:gd name="T6" fmla="*/ 3175 w 1"/>
                <a:gd name="T7" fmla="*/ 0 h 5"/>
                <a:gd name="T8" fmla="*/ 3175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8" name="Freeform 831"/>
            <p:cNvSpPr>
              <a:spLocks noChangeAspect="1"/>
            </p:cNvSpPr>
            <p:nvPr/>
          </p:nvSpPr>
          <p:spPr bwMode="auto">
            <a:xfrm>
              <a:off x="2645141" y="2592080"/>
              <a:ext cx="12814" cy="3869"/>
            </a:xfrm>
            <a:custGeom>
              <a:avLst/>
              <a:gdLst>
                <a:gd name="T0" fmla="*/ 8467 w 6"/>
                <a:gd name="T1" fmla="*/ 1588 h 3"/>
                <a:gd name="T2" fmla="*/ 12700 w 6"/>
                <a:gd name="T3" fmla="*/ 4763 h 3"/>
                <a:gd name="T4" fmla="*/ 6350 w 6"/>
                <a:gd name="T5" fmla="*/ 4763 h 3"/>
                <a:gd name="T6" fmla="*/ 0 w 6"/>
                <a:gd name="T7" fmla="*/ 1588 h 3"/>
                <a:gd name="T8" fmla="*/ 8467 w 6"/>
                <a:gd name="T9" fmla="*/ 1588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4" y="1"/>
                  </a:moveTo>
                  <a:cubicBezTo>
                    <a:pt x="5" y="2"/>
                    <a:pt x="6" y="2"/>
                    <a:pt x="6" y="3"/>
                  </a:cubicBezTo>
                  <a:cubicBezTo>
                    <a:pt x="5" y="3"/>
                    <a:pt x="4" y="3"/>
                    <a:pt x="3" y="3"/>
                  </a:cubicBezTo>
                  <a:cubicBezTo>
                    <a:pt x="2" y="2"/>
                    <a:pt x="0" y="1"/>
                    <a:pt x="0" y="1"/>
                  </a:cubicBezTo>
                  <a:cubicBezTo>
                    <a:pt x="1" y="0"/>
                    <a:pt x="3"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9" name="Freeform 832"/>
            <p:cNvSpPr>
              <a:spLocks noChangeAspect="1"/>
            </p:cNvSpPr>
            <p:nvPr/>
          </p:nvSpPr>
          <p:spPr bwMode="auto">
            <a:xfrm>
              <a:off x="3084010" y="2869361"/>
              <a:ext cx="8008" cy="7738"/>
            </a:xfrm>
            <a:custGeom>
              <a:avLst/>
              <a:gdLst>
                <a:gd name="T0" fmla="*/ 3969 w 4"/>
                <a:gd name="T1" fmla="*/ 7620 h 5"/>
                <a:gd name="T2" fmla="*/ 1984 w 4"/>
                <a:gd name="T3" fmla="*/ 9525 h 5"/>
                <a:gd name="T4" fmla="*/ 1984 w 4"/>
                <a:gd name="T5" fmla="*/ 5715 h 5"/>
                <a:gd name="T6" fmla="*/ 7937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0" name="Freeform 833"/>
            <p:cNvSpPr>
              <a:spLocks noChangeAspect="1"/>
            </p:cNvSpPr>
            <p:nvPr/>
          </p:nvSpPr>
          <p:spPr bwMode="auto">
            <a:xfrm>
              <a:off x="3082407" y="2864202"/>
              <a:ext cx="9610" cy="9027"/>
            </a:xfrm>
            <a:custGeom>
              <a:avLst/>
              <a:gdLst>
                <a:gd name="T0" fmla="*/ 5715 w 5"/>
                <a:gd name="T1" fmla="*/ 7408 h 6"/>
                <a:gd name="T2" fmla="*/ 1905 w 5"/>
                <a:gd name="T3" fmla="*/ 9260 h 6"/>
                <a:gd name="T4" fmla="*/ 3810 w 5"/>
                <a:gd name="T5" fmla="*/ 5556 h 6"/>
                <a:gd name="T6" fmla="*/ 7620 w 5"/>
                <a:gd name="T7" fmla="*/ 1852 h 6"/>
                <a:gd name="T8" fmla="*/ 5715 w 5"/>
                <a:gd name="T9" fmla="*/ 7408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1" name="Freeform 834"/>
            <p:cNvSpPr>
              <a:spLocks noChangeAspect="1"/>
            </p:cNvSpPr>
            <p:nvPr/>
          </p:nvSpPr>
          <p:spPr bwMode="auto">
            <a:xfrm>
              <a:off x="3098425" y="2812615"/>
              <a:ext cx="4806" cy="6448"/>
            </a:xfrm>
            <a:custGeom>
              <a:avLst/>
              <a:gdLst>
                <a:gd name="T0" fmla="*/ 4763 w 3"/>
                <a:gd name="T1" fmla="*/ 3969 h 4"/>
                <a:gd name="T2" fmla="*/ 4763 w 3"/>
                <a:gd name="T3" fmla="*/ 7937 h 4"/>
                <a:gd name="T4" fmla="*/ 1588 w 3"/>
                <a:gd name="T5" fmla="*/ 5953 h 4"/>
                <a:gd name="T6" fmla="*/ 0 w 3"/>
                <a:gd name="T7" fmla="*/ 0 h 4"/>
                <a:gd name="T8" fmla="*/ 476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2" name="Freeform 835"/>
            <p:cNvSpPr>
              <a:spLocks noChangeAspect="1"/>
            </p:cNvSpPr>
            <p:nvPr/>
          </p:nvSpPr>
          <p:spPr bwMode="auto">
            <a:xfrm>
              <a:off x="2145407" y="2878389"/>
              <a:ext cx="8008" cy="6449"/>
            </a:xfrm>
            <a:custGeom>
              <a:avLst/>
              <a:gdLst>
                <a:gd name="T0" fmla="*/ 3969 w 4"/>
                <a:gd name="T1" fmla="*/ 5953 h 4"/>
                <a:gd name="T2" fmla="*/ 0 w 4"/>
                <a:gd name="T3" fmla="*/ 5953 h 4"/>
                <a:gd name="T4" fmla="*/ 1984 w 4"/>
                <a:gd name="T5" fmla="*/ 3969 h 4"/>
                <a:gd name="T6" fmla="*/ 7937 w 4"/>
                <a:gd name="T7" fmla="*/ 1985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2"/>
                  </a:cubicBezTo>
                  <a:cubicBezTo>
                    <a:pt x="2" y="1"/>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3" name="Freeform 836"/>
            <p:cNvSpPr>
              <a:spLocks noChangeAspect="1"/>
            </p:cNvSpPr>
            <p:nvPr/>
          </p:nvSpPr>
          <p:spPr bwMode="auto">
            <a:xfrm>
              <a:off x="2606699" y="3932057"/>
              <a:ext cx="4805" cy="7738"/>
            </a:xfrm>
            <a:custGeom>
              <a:avLst/>
              <a:gdLst>
                <a:gd name="T0" fmla="*/ 4762 w 2"/>
                <a:gd name="T1" fmla="*/ 5715 h 5"/>
                <a:gd name="T2" fmla="*/ 4762 w 2"/>
                <a:gd name="T3" fmla="*/ 9525 h 5"/>
                <a:gd name="T4" fmla="*/ 0 w 2"/>
                <a:gd name="T5" fmla="*/ 5715 h 5"/>
                <a:gd name="T6" fmla="*/ 0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0" y="4"/>
                    <a:pt x="0" y="3"/>
                  </a:cubicBezTo>
                  <a:cubicBezTo>
                    <a:pt x="0" y="2"/>
                    <a:pt x="0" y="0"/>
                    <a:pt x="0" y="0"/>
                  </a:cubicBezTo>
                  <a:cubicBezTo>
                    <a:pt x="1"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4" name="Freeform 837"/>
            <p:cNvSpPr>
              <a:spLocks noChangeAspect="1"/>
            </p:cNvSpPr>
            <p:nvPr/>
          </p:nvSpPr>
          <p:spPr bwMode="auto">
            <a:xfrm>
              <a:off x="2606699" y="3889496"/>
              <a:ext cx="8008" cy="3869"/>
            </a:xfrm>
            <a:custGeom>
              <a:avLst/>
              <a:gdLst>
                <a:gd name="T0" fmla="*/ 3969 w 4"/>
                <a:gd name="T1" fmla="*/ 4763 h 3"/>
                <a:gd name="T2" fmla="*/ 0 w 4"/>
                <a:gd name="T3" fmla="*/ 4763 h 3"/>
                <a:gd name="T4" fmla="*/ 1984 w 4"/>
                <a:gd name="T5" fmla="*/ 1588 h 3"/>
                <a:gd name="T6" fmla="*/ 7937 w 4"/>
                <a:gd name="T7" fmla="*/ 1588 h 3"/>
                <a:gd name="T8" fmla="*/ 3969 w 4"/>
                <a:gd name="T9" fmla="*/ 476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0" y="3"/>
                    <a:pt x="0" y="3"/>
                  </a:cubicBezTo>
                  <a:cubicBezTo>
                    <a:pt x="0" y="2"/>
                    <a:pt x="1" y="1"/>
                    <a:pt x="1" y="1"/>
                  </a:cubicBezTo>
                  <a:cubicBezTo>
                    <a:pt x="2" y="1"/>
                    <a:pt x="4" y="0"/>
                    <a:pt x="4" y="1"/>
                  </a:cubicBezTo>
                  <a:cubicBezTo>
                    <a:pt x="4" y="2"/>
                    <a:pt x="3"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5" name="Freeform 838"/>
            <p:cNvSpPr>
              <a:spLocks noChangeAspect="1"/>
            </p:cNvSpPr>
            <p:nvPr/>
          </p:nvSpPr>
          <p:spPr bwMode="auto">
            <a:xfrm>
              <a:off x="2597088" y="3885628"/>
              <a:ext cx="9610" cy="7738"/>
            </a:xfrm>
            <a:custGeom>
              <a:avLst/>
              <a:gdLst>
                <a:gd name="T0" fmla="*/ 3810 w 5"/>
                <a:gd name="T1" fmla="*/ 7620 h 5"/>
                <a:gd name="T2" fmla="*/ 0 w 5"/>
                <a:gd name="T3" fmla="*/ 7620 h 5"/>
                <a:gd name="T4" fmla="*/ 3810 w 5"/>
                <a:gd name="T5" fmla="*/ 3810 h 5"/>
                <a:gd name="T6" fmla="*/ 9525 w 5"/>
                <a:gd name="T7" fmla="*/ 1905 h 5"/>
                <a:gd name="T8" fmla="*/ 3810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2" y="4"/>
                  </a:moveTo>
                  <a:cubicBezTo>
                    <a:pt x="2" y="4"/>
                    <a:pt x="0" y="5"/>
                    <a:pt x="0" y="4"/>
                  </a:cubicBezTo>
                  <a:cubicBezTo>
                    <a:pt x="0" y="3"/>
                    <a:pt x="1" y="2"/>
                    <a:pt x="2" y="2"/>
                  </a:cubicBezTo>
                  <a:cubicBezTo>
                    <a:pt x="3" y="1"/>
                    <a:pt x="5" y="0"/>
                    <a:pt x="5" y="1"/>
                  </a:cubicBezTo>
                  <a:cubicBezTo>
                    <a:pt x="5" y="2"/>
                    <a:pt x="4" y="3"/>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6" name="Freeform 839"/>
            <p:cNvSpPr>
              <a:spLocks noChangeAspect="1"/>
            </p:cNvSpPr>
            <p:nvPr/>
          </p:nvSpPr>
          <p:spPr bwMode="auto">
            <a:xfrm>
              <a:off x="2601894" y="3993961"/>
              <a:ext cx="8009" cy="7738"/>
            </a:xfrm>
            <a:custGeom>
              <a:avLst/>
              <a:gdLst>
                <a:gd name="T0" fmla="*/ 5953 w 4"/>
                <a:gd name="T1" fmla="*/ 5715 h 5"/>
                <a:gd name="T2" fmla="*/ 5953 w 4"/>
                <a:gd name="T3" fmla="*/ 9525 h 5"/>
                <a:gd name="T4" fmla="*/ 1985 w 4"/>
                <a:gd name="T5" fmla="*/ 5715 h 5"/>
                <a:gd name="T6" fmla="*/ 1985 w 4"/>
                <a:gd name="T7" fmla="*/ 1905 h 5"/>
                <a:gd name="T8" fmla="*/ 5953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2" y="5"/>
                    <a:pt x="2" y="4"/>
                    <a:pt x="1"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7" name="Freeform 840"/>
            <p:cNvSpPr>
              <a:spLocks noChangeAspect="1"/>
            </p:cNvSpPr>
            <p:nvPr/>
          </p:nvSpPr>
          <p:spPr bwMode="auto">
            <a:xfrm>
              <a:off x="2616310" y="4086817"/>
              <a:ext cx="6407" cy="7738"/>
            </a:xfrm>
            <a:custGeom>
              <a:avLst/>
              <a:gdLst>
                <a:gd name="T0" fmla="*/ 4233 w 3"/>
                <a:gd name="T1" fmla="*/ 5715 h 5"/>
                <a:gd name="T2" fmla="*/ 0 w 3"/>
                <a:gd name="T3" fmla="*/ 7620 h 5"/>
                <a:gd name="T4" fmla="*/ 2117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4"/>
                  </a:cubicBezTo>
                  <a:cubicBezTo>
                    <a:pt x="0" y="4"/>
                    <a:pt x="0" y="3"/>
                    <a:pt x="1"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8" name="Freeform 841"/>
            <p:cNvSpPr>
              <a:spLocks noChangeAspect="1"/>
            </p:cNvSpPr>
            <p:nvPr/>
          </p:nvSpPr>
          <p:spPr bwMode="auto">
            <a:xfrm>
              <a:off x="2600293" y="4044258"/>
              <a:ext cx="4805" cy="6449"/>
            </a:xfrm>
            <a:custGeom>
              <a:avLst/>
              <a:gdLst>
                <a:gd name="T0" fmla="*/ 4762 w 3"/>
                <a:gd name="T1" fmla="*/ 3969 h 4"/>
                <a:gd name="T2" fmla="*/ 4762 w 3"/>
                <a:gd name="T3" fmla="*/ 7938 h 4"/>
                <a:gd name="T4" fmla="*/ 1587 w 3"/>
                <a:gd name="T5" fmla="*/ 3969 h 4"/>
                <a:gd name="T6" fmla="*/ 1587 w 3"/>
                <a:gd name="T7" fmla="*/ 0 h 4"/>
                <a:gd name="T8" fmla="*/ 4762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2" y="3"/>
                    <a:pt x="1" y="2"/>
                  </a:cubicBezTo>
                  <a:cubicBezTo>
                    <a:pt x="1" y="1"/>
                    <a:pt x="0" y="0"/>
                    <a:pt x="1" y="0"/>
                  </a:cubicBezTo>
                  <a:cubicBezTo>
                    <a:pt x="2"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9" name="Freeform 842"/>
            <p:cNvSpPr>
              <a:spLocks noChangeAspect="1"/>
            </p:cNvSpPr>
            <p:nvPr/>
          </p:nvSpPr>
          <p:spPr bwMode="auto">
            <a:xfrm>
              <a:off x="2629124" y="4067472"/>
              <a:ext cx="6407" cy="7738"/>
            </a:xfrm>
            <a:custGeom>
              <a:avLst/>
              <a:gdLst>
                <a:gd name="T0" fmla="*/ 4762 w 4"/>
                <a:gd name="T1" fmla="*/ 5715 h 5"/>
                <a:gd name="T2" fmla="*/ 4762 w 4"/>
                <a:gd name="T3" fmla="*/ 9525 h 5"/>
                <a:gd name="T4" fmla="*/ 3175 w 4"/>
                <a:gd name="T5" fmla="*/ 5715 h 5"/>
                <a:gd name="T6" fmla="*/ 1588 w 4"/>
                <a:gd name="T7" fmla="*/ 1905 h 5"/>
                <a:gd name="T8" fmla="*/ 4762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3" y="5"/>
                    <a:pt x="2" y="4"/>
                    <a:pt x="2"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0" name="Freeform 843"/>
            <p:cNvSpPr>
              <a:spLocks noChangeAspect="1"/>
            </p:cNvSpPr>
            <p:nvPr/>
          </p:nvSpPr>
          <p:spPr bwMode="auto">
            <a:xfrm>
              <a:off x="2624317" y="4086817"/>
              <a:ext cx="8009" cy="5158"/>
            </a:xfrm>
            <a:custGeom>
              <a:avLst/>
              <a:gdLst>
                <a:gd name="T0" fmla="*/ 3969 w 4"/>
                <a:gd name="T1" fmla="*/ 4233 h 3"/>
                <a:gd name="T2" fmla="*/ 0 w 4"/>
                <a:gd name="T3" fmla="*/ 4233 h 3"/>
                <a:gd name="T4" fmla="*/ 3969 w 4"/>
                <a:gd name="T5" fmla="*/ 2117 h 3"/>
                <a:gd name="T6" fmla="*/ 7938 w 4"/>
                <a:gd name="T7" fmla="*/ 0 h 3"/>
                <a:gd name="T8" fmla="*/ 3969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2"/>
                    <a:pt x="0" y="3"/>
                    <a:pt x="0" y="2"/>
                  </a:cubicBezTo>
                  <a:cubicBezTo>
                    <a:pt x="0" y="2"/>
                    <a:pt x="1" y="1"/>
                    <a:pt x="2" y="1"/>
                  </a:cubicBezTo>
                  <a:cubicBezTo>
                    <a:pt x="2" y="0"/>
                    <a:pt x="4" y="0"/>
                    <a:pt x="4" y="0"/>
                  </a:cubicBezTo>
                  <a:cubicBezTo>
                    <a:pt x="4"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1" name="Freeform 844"/>
            <p:cNvSpPr>
              <a:spLocks noChangeAspect="1"/>
            </p:cNvSpPr>
            <p:nvPr/>
          </p:nvSpPr>
          <p:spPr bwMode="auto">
            <a:xfrm>
              <a:off x="2624317" y="4094556"/>
              <a:ext cx="4806" cy="14186"/>
            </a:xfrm>
            <a:custGeom>
              <a:avLst/>
              <a:gdLst>
                <a:gd name="T0" fmla="*/ 2382 w 2"/>
                <a:gd name="T1" fmla="*/ 11641 h 9"/>
                <a:gd name="T2" fmla="*/ 0 w 2"/>
                <a:gd name="T3" fmla="*/ 17462 h 9"/>
                <a:gd name="T4" fmla="*/ 0 w 2"/>
                <a:gd name="T5" fmla="*/ 9701 h 9"/>
                <a:gd name="T6" fmla="*/ 2382 w 2"/>
                <a:gd name="T7" fmla="*/ 1940 h 9"/>
                <a:gd name="T8" fmla="*/ 2382 w 2"/>
                <a:gd name="T9" fmla="*/ 11641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1" y="6"/>
                  </a:moveTo>
                  <a:cubicBezTo>
                    <a:pt x="1" y="7"/>
                    <a:pt x="1" y="9"/>
                    <a:pt x="0" y="9"/>
                  </a:cubicBezTo>
                  <a:cubicBezTo>
                    <a:pt x="0" y="8"/>
                    <a:pt x="0" y="6"/>
                    <a:pt x="0" y="5"/>
                  </a:cubicBezTo>
                  <a:cubicBezTo>
                    <a:pt x="0" y="3"/>
                    <a:pt x="1" y="0"/>
                    <a:pt x="1" y="1"/>
                  </a:cubicBezTo>
                  <a:cubicBezTo>
                    <a:pt x="2" y="1"/>
                    <a:pt x="2" y="4"/>
                    <a:pt x="1"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2" name="Freeform 845"/>
            <p:cNvSpPr>
              <a:spLocks noChangeAspect="1"/>
            </p:cNvSpPr>
            <p:nvPr/>
          </p:nvSpPr>
          <p:spPr bwMode="auto">
            <a:xfrm>
              <a:off x="2630725" y="4099714"/>
              <a:ext cx="1602" cy="9027"/>
            </a:xfrm>
            <a:custGeom>
              <a:avLst/>
              <a:gdLst>
                <a:gd name="T0" fmla="*/ 1588 w 1"/>
                <a:gd name="T1" fmla="*/ 7408 h 6"/>
                <a:gd name="T2" fmla="*/ 0 w 1"/>
                <a:gd name="T3" fmla="*/ 11112 h 6"/>
                <a:gd name="T4" fmla="*/ 0 w 1"/>
                <a:gd name="T5" fmla="*/ 5556 h 6"/>
                <a:gd name="T6" fmla="*/ 0 w 1"/>
                <a:gd name="T7" fmla="*/ 0 h 6"/>
                <a:gd name="T8" fmla="*/ 1588 w 1"/>
                <a:gd name="T9" fmla="*/ 7408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0"/>
                    <a:pt x="1" y="3"/>
                    <a:pt x="1"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3" name="Freeform 846"/>
            <p:cNvSpPr>
              <a:spLocks noChangeAspect="1"/>
            </p:cNvSpPr>
            <p:nvPr/>
          </p:nvSpPr>
          <p:spPr bwMode="auto">
            <a:xfrm>
              <a:off x="2648343" y="4112611"/>
              <a:ext cx="6407" cy="5158"/>
            </a:xfrm>
            <a:custGeom>
              <a:avLst/>
              <a:gdLst>
                <a:gd name="T0" fmla="*/ 4762 w 4"/>
                <a:gd name="T1" fmla="*/ 3175 h 4"/>
                <a:gd name="T2" fmla="*/ 6350 w 4"/>
                <a:gd name="T3" fmla="*/ 4762 h 4"/>
                <a:gd name="T4" fmla="*/ 3175 w 4"/>
                <a:gd name="T5" fmla="*/ 4762 h 4"/>
                <a:gd name="T6" fmla="*/ 1588 w 4"/>
                <a:gd name="T7" fmla="*/ 0 h 4"/>
                <a:gd name="T8" fmla="*/ 4762 w 4"/>
                <a:gd name="T9" fmla="*/ 317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3" y="4"/>
                    <a:pt x="2" y="3"/>
                    <a:pt x="2" y="3"/>
                  </a:cubicBezTo>
                  <a:cubicBezTo>
                    <a:pt x="1" y="2"/>
                    <a:pt x="0" y="1"/>
                    <a:pt x="1"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4" name="Freeform 847"/>
            <p:cNvSpPr>
              <a:spLocks noChangeAspect="1"/>
            </p:cNvSpPr>
            <p:nvPr/>
          </p:nvSpPr>
          <p:spPr bwMode="auto">
            <a:xfrm>
              <a:off x="2643539" y="4104873"/>
              <a:ext cx="9610" cy="5158"/>
            </a:xfrm>
            <a:custGeom>
              <a:avLst/>
              <a:gdLst>
                <a:gd name="T0" fmla="*/ 5715 w 5"/>
                <a:gd name="T1" fmla="*/ 3175 h 4"/>
                <a:gd name="T2" fmla="*/ 7620 w 5"/>
                <a:gd name="T3" fmla="*/ 6350 h 4"/>
                <a:gd name="T4" fmla="*/ 3810 w 5"/>
                <a:gd name="T5" fmla="*/ 4762 h 4"/>
                <a:gd name="T6" fmla="*/ 1905 w 5"/>
                <a:gd name="T7" fmla="*/ 1588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4"/>
                  </a:cubicBezTo>
                  <a:cubicBezTo>
                    <a:pt x="4" y="4"/>
                    <a:pt x="3" y="3"/>
                    <a:pt x="2" y="3"/>
                  </a:cubicBezTo>
                  <a:cubicBezTo>
                    <a:pt x="1" y="2"/>
                    <a:pt x="0" y="1"/>
                    <a:pt x="1" y="1"/>
                  </a:cubicBezTo>
                  <a:cubicBezTo>
                    <a:pt x="1"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5" name="Freeform 848"/>
            <p:cNvSpPr>
              <a:spLocks noChangeAspect="1"/>
            </p:cNvSpPr>
            <p:nvPr/>
          </p:nvSpPr>
          <p:spPr bwMode="auto">
            <a:xfrm>
              <a:off x="2633928" y="4098424"/>
              <a:ext cx="8009" cy="6449"/>
            </a:xfrm>
            <a:custGeom>
              <a:avLst/>
              <a:gdLst>
                <a:gd name="T0" fmla="*/ 5953 w 4"/>
                <a:gd name="T1" fmla="*/ 3969 h 4"/>
                <a:gd name="T2" fmla="*/ 7938 w 4"/>
                <a:gd name="T3" fmla="*/ 5953 h 4"/>
                <a:gd name="T4" fmla="*/ 3969 w 4"/>
                <a:gd name="T5" fmla="*/ 3969 h 4"/>
                <a:gd name="T6" fmla="*/ 1985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4" y="4"/>
                    <a:pt x="3" y="3"/>
                    <a:pt x="2" y="2"/>
                  </a:cubicBezTo>
                  <a:cubicBezTo>
                    <a:pt x="1" y="2"/>
                    <a:pt x="0" y="1"/>
                    <a:pt x="1"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6" name="Freeform 849"/>
            <p:cNvSpPr>
              <a:spLocks noChangeAspect="1"/>
            </p:cNvSpPr>
            <p:nvPr/>
          </p:nvSpPr>
          <p:spPr bwMode="auto">
            <a:xfrm>
              <a:off x="2670768" y="4177095"/>
              <a:ext cx="9610" cy="2579"/>
            </a:xfrm>
            <a:custGeom>
              <a:avLst/>
              <a:gdLst>
                <a:gd name="T0" fmla="*/ 3810 w 5"/>
                <a:gd name="T1" fmla="*/ 3175 h 2"/>
                <a:gd name="T2" fmla="*/ 0 w 5"/>
                <a:gd name="T3" fmla="*/ 1588 h 2"/>
                <a:gd name="T4" fmla="*/ 3810 w 5"/>
                <a:gd name="T5" fmla="*/ 0 h 2"/>
                <a:gd name="T6" fmla="*/ 9525 w 5"/>
                <a:gd name="T7" fmla="*/ 1588 h 2"/>
                <a:gd name="T8" fmla="*/ 381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1"/>
                    <a:pt x="0" y="1"/>
                  </a:cubicBezTo>
                  <a:cubicBezTo>
                    <a:pt x="0" y="0"/>
                    <a:pt x="1" y="0"/>
                    <a:pt x="2" y="0"/>
                  </a:cubicBezTo>
                  <a:cubicBezTo>
                    <a:pt x="3" y="0"/>
                    <a:pt x="5" y="0"/>
                    <a:pt x="5" y="1"/>
                  </a:cubicBezTo>
                  <a:cubicBezTo>
                    <a:pt x="4" y="2"/>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7" name="Freeform 850"/>
            <p:cNvSpPr>
              <a:spLocks noChangeAspect="1"/>
            </p:cNvSpPr>
            <p:nvPr/>
          </p:nvSpPr>
          <p:spPr bwMode="auto">
            <a:xfrm>
              <a:off x="1632859" y="2198728"/>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8" name="Freeform 852"/>
            <p:cNvSpPr>
              <a:spLocks noChangeAspect="1"/>
            </p:cNvSpPr>
            <p:nvPr/>
          </p:nvSpPr>
          <p:spPr bwMode="auto">
            <a:xfrm>
              <a:off x="699061" y="1520357"/>
              <a:ext cx="4806" cy="5158"/>
            </a:xfrm>
            <a:custGeom>
              <a:avLst/>
              <a:gdLst>
                <a:gd name="T0" fmla="*/ 4763 w 3"/>
                <a:gd name="T1" fmla="*/ 4233 h 3"/>
                <a:gd name="T2" fmla="*/ 1588 w 3"/>
                <a:gd name="T3" fmla="*/ 6350 h 3"/>
                <a:gd name="T4" fmla="*/ 0 w 3"/>
                <a:gd name="T5" fmla="*/ 2117 h 3"/>
                <a:gd name="T6" fmla="*/ 3175 w 3"/>
                <a:gd name="T7" fmla="*/ 0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9" name="Freeform 853"/>
            <p:cNvSpPr>
              <a:spLocks noChangeAspect="1"/>
            </p:cNvSpPr>
            <p:nvPr/>
          </p:nvSpPr>
          <p:spPr bwMode="auto">
            <a:xfrm>
              <a:off x="1365372" y="1552598"/>
              <a:ext cx="3203" cy="6449"/>
            </a:xfrm>
            <a:custGeom>
              <a:avLst/>
              <a:gdLst>
                <a:gd name="T0" fmla="*/ 3175 w 2"/>
                <a:gd name="T1" fmla="*/ 5953 h 4"/>
                <a:gd name="T2" fmla="*/ 1588 w 2"/>
                <a:gd name="T3" fmla="*/ 7938 h 4"/>
                <a:gd name="T4" fmla="*/ 0 w 2"/>
                <a:gd name="T5" fmla="*/ 3969 h 4"/>
                <a:gd name="T6" fmla="*/ 1588 w 2"/>
                <a:gd name="T7" fmla="*/ 0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0" name="Freeform 854"/>
            <p:cNvSpPr>
              <a:spLocks noChangeAspect="1"/>
            </p:cNvSpPr>
            <p:nvPr/>
          </p:nvSpPr>
          <p:spPr bwMode="auto">
            <a:xfrm>
              <a:off x="1333338" y="1490694"/>
              <a:ext cx="4806" cy="5158"/>
            </a:xfrm>
            <a:custGeom>
              <a:avLst/>
              <a:gdLst>
                <a:gd name="T0" fmla="*/ 3175 w 3"/>
                <a:gd name="T1" fmla="*/ 4233 h 3"/>
                <a:gd name="T2" fmla="*/ 0 w 3"/>
                <a:gd name="T3" fmla="*/ 6350 h 3"/>
                <a:gd name="T4" fmla="*/ 0 w 3"/>
                <a:gd name="T5" fmla="*/ 2117 h 3"/>
                <a:gd name="T6" fmla="*/ 3175 w 3"/>
                <a:gd name="T7" fmla="*/ 0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3"/>
                  </a:cubicBezTo>
                  <a:cubicBezTo>
                    <a:pt x="0" y="2"/>
                    <a:pt x="0" y="2"/>
                    <a:pt x="0" y="1"/>
                  </a:cubicBezTo>
                  <a:cubicBezTo>
                    <a:pt x="0" y="1"/>
                    <a:pt x="1" y="0"/>
                    <a:pt x="2"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1" name="Freeform 855"/>
            <p:cNvSpPr>
              <a:spLocks noChangeAspect="1"/>
            </p:cNvSpPr>
            <p:nvPr/>
          </p:nvSpPr>
          <p:spPr bwMode="auto">
            <a:xfrm>
              <a:off x="3514870" y="581471"/>
              <a:ext cx="8009" cy="3868"/>
            </a:xfrm>
            <a:custGeom>
              <a:avLst/>
              <a:gdLst>
                <a:gd name="T0" fmla="*/ 5953 w 4"/>
                <a:gd name="T1" fmla="*/ 1587 h 3"/>
                <a:gd name="T2" fmla="*/ 7938 w 4"/>
                <a:gd name="T3" fmla="*/ 4762 h 3"/>
                <a:gd name="T4" fmla="*/ 3969 w 4"/>
                <a:gd name="T5" fmla="*/ 4762 h 3"/>
                <a:gd name="T6" fmla="*/ 1985 w 4"/>
                <a:gd name="T7" fmla="*/ 1587 h 3"/>
                <a:gd name="T8" fmla="*/ 5953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2" name="Freeform 856"/>
            <p:cNvSpPr>
              <a:spLocks noChangeAspect="1"/>
            </p:cNvSpPr>
            <p:nvPr/>
          </p:nvSpPr>
          <p:spPr bwMode="auto">
            <a:xfrm>
              <a:off x="3321063" y="604685"/>
              <a:ext cx="4805" cy="3868"/>
            </a:xfrm>
            <a:custGeom>
              <a:avLst/>
              <a:gdLst>
                <a:gd name="T0" fmla="*/ 3175 w 3"/>
                <a:gd name="T1" fmla="*/ 1587 h 3"/>
                <a:gd name="T2" fmla="*/ 4762 w 3"/>
                <a:gd name="T3" fmla="*/ 3175 h 3"/>
                <a:gd name="T4" fmla="*/ 1587 w 3"/>
                <a:gd name="T5" fmla="*/ 4762 h 3"/>
                <a:gd name="T6" fmla="*/ 0 w 3"/>
                <a:gd name="T7" fmla="*/ 1587 h 3"/>
                <a:gd name="T8" fmla="*/ 3175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3" name="Freeform 857"/>
            <p:cNvSpPr>
              <a:spLocks noChangeAspect="1"/>
            </p:cNvSpPr>
            <p:nvPr/>
          </p:nvSpPr>
          <p:spPr bwMode="auto">
            <a:xfrm>
              <a:off x="3186519" y="1026409"/>
              <a:ext cx="8008" cy="10318"/>
            </a:xfrm>
            <a:custGeom>
              <a:avLst/>
              <a:gdLst>
                <a:gd name="T0" fmla="*/ 5953 w 4"/>
                <a:gd name="T1" fmla="*/ 8467 h 6"/>
                <a:gd name="T2" fmla="*/ 3969 w 4"/>
                <a:gd name="T3" fmla="*/ 12700 h 6"/>
                <a:gd name="T4" fmla="*/ 0 w 4"/>
                <a:gd name="T5" fmla="*/ 6350 h 6"/>
                <a:gd name="T6" fmla="*/ 3969 w 4"/>
                <a:gd name="T7" fmla="*/ 0 h 6"/>
                <a:gd name="T8" fmla="*/ 5953 w 4"/>
                <a:gd name="T9" fmla="*/ 846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4"/>
                  </a:moveTo>
                  <a:cubicBezTo>
                    <a:pt x="3" y="5"/>
                    <a:pt x="3" y="6"/>
                    <a:pt x="2" y="6"/>
                  </a:cubicBezTo>
                  <a:cubicBezTo>
                    <a:pt x="0" y="6"/>
                    <a:pt x="0" y="4"/>
                    <a:pt x="0" y="3"/>
                  </a:cubicBezTo>
                  <a:cubicBezTo>
                    <a:pt x="0" y="2"/>
                    <a:pt x="0" y="0"/>
                    <a:pt x="2" y="0"/>
                  </a:cubicBezTo>
                  <a:cubicBezTo>
                    <a:pt x="4" y="1"/>
                    <a:pt x="3" y="3"/>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4" name="Freeform 858"/>
            <p:cNvSpPr>
              <a:spLocks noChangeAspect="1"/>
            </p:cNvSpPr>
            <p:nvPr/>
          </p:nvSpPr>
          <p:spPr bwMode="auto">
            <a:xfrm>
              <a:off x="3229765" y="1077996"/>
              <a:ext cx="8009" cy="9029"/>
            </a:xfrm>
            <a:custGeom>
              <a:avLst/>
              <a:gdLst>
                <a:gd name="T0" fmla="*/ 7938 w 4"/>
                <a:gd name="T1" fmla="*/ 5557 h 6"/>
                <a:gd name="T2" fmla="*/ 3969 w 4"/>
                <a:gd name="T3" fmla="*/ 9261 h 6"/>
                <a:gd name="T4" fmla="*/ 1985 w 4"/>
                <a:gd name="T5" fmla="*/ 5557 h 6"/>
                <a:gd name="T6" fmla="*/ 3969 w 4"/>
                <a:gd name="T7" fmla="*/ 0 h 6"/>
                <a:gd name="T8" fmla="*/ 7938 w 4"/>
                <a:gd name="T9" fmla="*/ 555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3" y="6"/>
                    <a:pt x="2" y="5"/>
                  </a:cubicBezTo>
                  <a:cubicBezTo>
                    <a:pt x="1" y="5"/>
                    <a:pt x="0" y="4"/>
                    <a:pt x="1" y="3"/>
                  </a:cubicBezTo>
                  <a:cubicBezTo>
                    <a:pt x="1" y="2"/>
                    <a:pt x="1" y="0"/>
                    <a:pt x="2" y="0"/>
                  </a:cubicBezTo>
                  <a:cubicBezTo>
                    <a:pt x="4" y="0"/>
                    <a:pt x="4"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5" name="Freeform 859"/>
            <p:cNvSpPr>
              <a:spLocks noChangeAspect="1"/>
            </p:cNvSpPr>
            <p:nvPr/>
          </p:nvSpPr>
          <p:spPr bwMode="auto">
            <a:xfrm>
              <a:off x="3197730" y="1025119"/>
              <a:ext cx="12814" cy="7738"/>
            </a:xfrm>
            <a:custGeom>
              <a:avLst/>
              <a:gdLst>
                <a:gd name="T0" fmla="*/ 9071 w 7"/>
                <a:gd name="T1" fmla="*/ 1905 h 5"/>
                <a:gd name="T2" fmla="*/ 10886 w 7"/>
                <a:gd name="T3" fmla="*/ 5715 h 5"/>
                <a:gd name="T4" fmla="*/ 5443 w 7"/>
                <a:gd name="T5" fmla="*/ 7620 h 5"/>
                <a:gd name="T6" fmla="*/ 1814 w 7"/>
                <a:gd name="T7" fmla="*/ 3810 h 5"/>
                <a:gd name="T8" fmla="*/ 9071 w 7"/>
                <a:gd name="T9" fmla="*/ 1905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5" y="1"/>
                  </a:moveTo>
                  <a:cubicBezTo>
                    <a:pt x="5" y="1"/>
                    <a:pt x="7" y="2"/>
                    <a:pt x="6" y="3"/>
                  </a:cubicBezTo>
                  <a:cubicBezTo>
                    <a:pt x="6" y="5"/>
                    <a:pt x="4" y="5"/>
                    <a:pt x="3" y="4"/>
                  </a:cubicBezTo>
                  <a:cubicBezTo>
                    <a:pt x="2" y="4"/>
                    <a:pt x="0" y="3"/>
                    <a:pt x="1" y="2"/>
                  </a:cubicBezTo>
                  <a:cubicBezTo>
                    <a:pt x="1" y="0"/>
                    <a:pt x="3"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6" name="Freeform 860"/>
            <p:cNvSpPr>
              <a:spLocks noChangeAspect="1"/>
            </p:cNvSpPr>
            <p:nvPr/>
          </p:nvSpPr>
          <p:spPr bwMode="auto">
            <a:xfrm>
              <a:off x="3149679" y="974823"/>
              <a:ext cx="11213" cy="9029"/>
            </a:xfrm>
            <a:custGeom>
              <a:avLst/>
              <a:gdLst>
                <a:gd name="T0" fmla="*/ 5557 w 6"/>
                <a:gd name="T1" fmla="*/ 1852 h 6"/>
                <a:gd name="T2" fmla="*/ 9261 w 6"/>
                <a:gd name="T3" fmla="*/ 1852 h 6"/>
                <a:gd name="T4" fmla="*/ 9261 w 6"/>
                <a:gd name="T5" fmla="*/ 7409 h 6"/>
                <a:gd name="T6" fmla="*/ 1852 w 6"/>
                <a:gd name="T7" fmla="*/ 9261 h 6"/>
                <a:gd name="T8" fmla="*/ 5557 w 6"/>
                <a:gd name="T9" fmla="*/ 1852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3" y="1"/>
                  </a:moveTo>
                  <a:cubicBezTo>
                    <a:pt x="3" y="0"/>
                    <a:pt x="4" y="0"/>
                    <a:pt x="5" y="1"/>
                  </a:cubicBezTo>
                  <a:cubicBezTo>
                    <a:pt x="6" y="2"/>
                    <a:pt x="5" y="3"/>
                    <a:pt x="5" y="4"/>
                  </a:cubicBezTo>
                  <a:cubicBezTo>
                    <a:pt x="4" y="5"/>
                    <a:pt x="2" y="6"/>
                    <a:pt x="1" y="5"/>
                  </a:cubicBezTo>
                  <a:cubicBezTo>
                    <a:pt x="0" y="3"/>
                    <a:pt x="2" y="2"/>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7" name="Freeform 861"/>
            <p:cNvSpPr>
              <a:spLocks noChangeAspect="1"/>
            </p:cNvSpPr>
            <p:nvPr/>
          </p:nvSpPr>
          <p:spPr bwMode="auto">
            <a:xfrm>
              <a:off x="2140601" y="1044464"/>
              <a:ext cx="8009" cy="5158"/>
            </a:xfrm>
            <a:custGeom>
              <a:avLst/>
              <a:gdLst>
                <a:gd name="T0" fmla="*/ 5953 w 4"/>
                <a:gd name="T1" fmla="*/ 3175 h 4"/>
                <a:gd name="T2" fmla="*/ 5953 w 4"/>
                <a:gd name="T3" fmla="*/ 4762 h 4"/>
                <a:gd name="T4" fmla="*/ 3969 w 4"/>
                <a:gd name="T5" fmla="*/ 4762 h 4"/>
                <a:gd name="T6" fmla="*/ 1985 w 4"/>
                <a:gd name="T7" fmla="*/ 1588 h 4"/>
                <a:gd name="T8" fmla="*/ 5953 w 4"/>
                <a:gd name="T9" fmla="*/ 317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2" y="3"/>
                  </a:cubicBezTo>
                  <a:cubicBezTo>
                    <a:pt x="1" y="2"/>
                    <a:pt x="0" y="1"/>
                    <a:pt x="1" y="1"/>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8" name="Freeform 862"/>
            <p:cNvSpPr>
              <a:spLocks noChangeAspect="1"/>
            </p:cNvSpPr>
            <p:nvPr/>
          </p:nvSpPr>
          <p:spPr bwMode="auto">
            <a:xfrm>
              <a:off x="2193457" y="1048334"/>
              <a:ext cx="6407" cy="7738"/>
            </a:xfrm>
            <a:custGeom>
              <a:avLst/>
              <a:gdLst>
                <a:gd name="T0" fmla="*/ 4233 w 3"/>
                <a:gd name="T1" fmla="*/ 5715 h 5"/>
                <a:gd name="T2" fmla="*/ 2117 w 3"/>
                <a:gd name="T3" fmla="*/ 7620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2" y="4"/>
                    <a:pt x="2" y="5"/>
                    <a:pt x="1" y="4"/>
                  </a:cubicBezTo>
                  <a:cubicBezTo>
                    <a:pt x="0" y="4"/>
                    <a:pt x="0" y="3"/>
                    <a:pt x="0" y="2"/>
                  </a:cubicBezTo>
                  <a:cubicBezTo>
                    <a:pt x="0" y="2"/>
                    <a:pt x="1" y="0"/>
                    <a:pt x="2" y="0"/>
                  </a:cubicBezTo>
                  <a:cubicBezTo>
                    <a:pt x="3"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9" name="Freeform 863"/>
            <p:cNvSpPr>
              <a:spLocks noChangeAspect="1"/>
            </p:cNvSpPr>
            <p:nvPr/>
          </p:nvSpPr>
          <p:spPr bwMode="auto">
            <a:xfrm>
              <a:off x="2331205" y="914208"/>
              <a:ext cx="6407" cy="3868"/>
            </a:xfrm>
            <a:custGeom>
              <a:avLst/>
              <a:gdLst>
                <a:gd name="T0" fmla="*/ 4762 w 4"/>
                <a:gd name="T1" fmla="*/ 1587 h 3"/>
                <a:gd name="T2" fmla="*/ 4762 w 4"/>
                <a:gd name="T3" fmla="*/ 4762 h 3"/>
                <a:gd name="T4" fmla="*/ 3175 w 4"/>
                <a:gd name="T5" fmla="*/ 3175 h 3"/>
                <a:gd name="T6" fmla="*/ 1588 w 4"/>
                <a:gd name="T7" fmla="*/ 1587 h 3"/>
                <a:gd name="T8" fmla="*/ 4762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3" y="3"/>
                  </a:cubicBezTo>
                  <a:cubicBezTo>
                    <a:pt x="3" y="3"/>
                    <a:pt x="2" y="3"/>
                    <a:pt x="2" y="2"/>
                  </a:cubicBezTo>
                  <a:cubicBezTo>
                    <a:pt x="1" y="2"/>
                    <a:pt x="0" y="1"/>
                    <a:pt x="1" y="1"/>
                  </a:cubicBezTo>
                  <a:cubicBezTo>
                    <a:pt x="2" y="0"/>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0" name="Freeform 864"/>
            <p:cNvSpPr>
              <a:spLocks noChangeAspect="1"/>
            </p:cNvSpPr>
            <p:nvPr/>
          </p:nvSpPr>
          <p:spPr bwMode="auto">
            <a:xfrm>
              <a:off x="2776481" y="1017382"/>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1" name="Freeform 865"/>
            <p:cNvSpPr>
              <a:spLocks noChangeAspect="1"/>
            </p:cNvSpPr>
            <p:nvPr/>
          </p:nvSpPr>
          <p:spPr bwMode="auto">
            <a:xfrm>
              <a:off x="2632327" y="1117977"/>
              <a:ext cx="6407" cy="5158"/>
            </a:xfrm>
            <a:custGeom>
              <a:avLst/>
              <a:gdLst>
                <a:gd name="T0" fmla="*/ 4233 w 3"/>
                <a:gd name="T1" fmla="*/ 4233 h 3"/>
                <a:gd name="T2" fmla="*/ 0 w 3"/>
                <a:gd name="T3" fmla="*/ 6350 h 3"/>
                <a:gd name="T4" fmla="*/ 0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0" y="3"/>
                  </a:cubicBezTo>
                  <a:cubicBezTo>
                    <a:pt x="0" y="3"/>
                    <a:pt x="0" y="2"/>
                    <a:pt x="0" y="1"/>
                  </a:cubicBezTo>
                  <a:cubicBezTo>
                    <a:pt x="0" y="1"/>
                    <a:pt x="1" y="0"/>
                    <a:pt x="2"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2" name="Freeform 866"/>
            <p:cNvSpPr>
              <a:spLocks noChangeAspect="1"/>
            </p:cNvSpPr>
            <p:nvPr/>
          </p:nvSpPr>
          <p:spPr bwMode="auto">
            <a:xfrm>
              <a:off x="2895008" y="1307559"/>
              <a:ext cx="12814" cy="7738"/>
            </a:xfrm>
            <a:custGeom>
              <a:avLst/>
              <a:gdLst>
                <a:gd name="T0" fmla="*/ 6350 w 6"/>
                <a:gd name="T1" fmla="*/ 9525 h 5"/>
                <a:gd name="T2" fmla="*/ 0 w 6"/>
                <a:gd name="T3" fmla="*/ 7620 h 5"/>
                <a:gd name="T4" fmla="*/ 4233 w 6"/>
                <a:gd name="T5" fmla="*/ 1905 h 5"/>
                <a:gd name="T6" fmla="*/ 12700 w 6"/>
                <a:gd name="T7" fmla="*/ 3810 h 5"/>
                <a:gd name="T8" fmla="*/ 6350 w 6"/>
                <a:gd name="T9" fmla="*/ 952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3" y="5"/>
                  </a:moveTo>
                  <a:cubicBezTo>
                    <a:pt x="2" y="5"/>
                    <a:pt x="1" y="5"/>
                    <a:pt x="0" y="4"/>
                  </a:cubicBezTo>
                  <a:cubicBezTo>
                    <a:pt x="0" y="3"/>
                    <a:pt x="1" y="2"/>
                    <a:pt x="2" y="1"/>
                  </a:cubicBezTo>
                  <a:cubicBezTo>
                    <a:pt x="3" y="1"/>
                    <a:pt x="5" y="0"/>
                    <a:pt x="6" y="2"/>
                  </a:cubicBezTo>
                  <a:cubicBezTo>
                    <a:pt x="6" y="3"/>
                    <a:pt x="4" y="4"/>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3" name="Freeform 867"/>
            <p:cNvSpPr>
              <a:spLocks noChangeAspect="1"/>
            </p:cNvSpPr>
            <p:nvPr/>
          </p:nvSpPr>
          <p:spPr bwMode="auto">
            <a:xfrm>
              <a:off x="2452935" y="2323827"/>
              <a:ext cx="4805" cy="7738"/>
            </a:xfrm>
            <a:custGeom>
              <a:avLst/>
              <a:gdLst>
                <a:gd name="T0" fmla="*/ 4762 w 2"/>
                <a:gd name="T1" fmla="*/ 5715 h 5"/>
                <a:gd name="T2" fmla="*/ 2381 w 2"/>
                <a:gd name="T3" fmla="*/ 9525 h 5"/>
                <a:gd name="T4" fmla="*/ 0 w 2"/>
                <a:gd name="T5" fmla="*/ 3810 h 5"/>
                <a:gd name="T6" fmla="*/ 2381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4" name="Freeform 868"/>
            <p:cNvSpPr>
              <a:spLocks noChangeAspect="1"/>
            </p:cNvSpPr>
            <p:nvPr/>
          </p:nvSpPr>
          <p:spPr bwMode="auto">
            <a:xfrm>
              <a:off x="2533021" y="2350910"/>
              <a:ext cx="6407" cy="2579"/>
            </a:xfrm>
            <a:custGeom>
              <a:avLst/>
              <a:gdLst>
                <a:gd name="T0" fmla="*/ 3175 w 4"/>
                <a:gd name="T1" fmla="*/ 3175 h 2"/>
                <a:gd name="T2" fmla="*/ 0 w 4"/>
                <a:gd name="T3" fmla="*/ 1588 h 2"/>
                <a:gd name="T4" fmla="*/ 3175 w 4"/>
                <a:gd name="T5" fmla="*/ 0 h 2"/>
                <a:gd name="T6" fmla="*/ 6350 w 4"/>
                <a:gd name="T7" fmla="*/ 1588 h 2"/>
                <a:gd name="T8" fmla="*/ 3175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1"/>
                    <a:pt x="0" y="1"/>
                  </a:cubicBezTo>
                  <a:cubicBezTo>
                    <a:pt x="0" y="0"/>
                    <a:pt x="1" y="0"/>
                    <a:pt x="2" y="0"/>
                  </a:cubicBezTo>
                  <a:cubicBezTo>
                    <a:pt x="2" y="0"/>
                    <a:pt x="4" y="0"/>
                    <a:pt x="4" y="1"/>
                  </a:cubicBezTo>
                  <a:cubicBezTo>
                    <a:pt x="4"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5" name="Freeform 869"/>
            <p:cNvSpPr>
              <a:spLocks noChangeAspect="1"/>
            </p:cNvSpPr>
            <p:nvPr/>
          </p:nvSpPr>
          <p:spPr bwMode="auto">
            <a:xfrm>
              <a:off x="2834142" y="2494063"/>
              <a:ext cx="6407" cy="6449"/>
            </a:xfrm>
            <a:custGeom>
              <a:avLst/>
              <a:gdLst>
                <a:gd name="T0" fmla="*/ 6350 w 3"/>
                <a:gd name="T1" fmla="*/ 3969 h 4"/>
                <a:gd name="T2" fmla="*/ 6350 w 3"/>
                <a:gd name="T3" fmla="*/ 5953 h 4"/>
                <a:gd name="T4" fmla="*/ 2117 w 3"/>
                <a:gd name="T5" fmla="*/ 5953 h 4"/>
                <a:gd name="T6" fmla="*/ 2117 w 3"/>
                <a:gd name="T7" fmla="*/ 1985 h 4"/>
                <a:gd name="T8" fmla="*/ 6350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3"/>
                  </a:cubicBezTo>
                  <a:cubicBezTo>
                    <a:pt x="2" y="4"/>
                    <a:pt x="2" y="3"/>
                    <a:pt x="1" y="3"/>
                  </a:cubicBezTo>
                  <a:cubicBezTo>
                    <a:pt x="1" y="3"/>
                    <a:pt x="0" y="2"/>
                    <a:pt x="1"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6" name="Freeform 870"/>
            <p:cNvSpPr>
              <a:spLocks noChangeAspect="1"/>
            </p:cNvSpPr>
            <p:nvPr/>
          </p:nvSpPr>
          <p:spPr bwMode="auto">
            <a:xfrm>
              <a:off x="2832540" y="2517278"/>
              <a:ext cx="4806" cy="6449"/>
            </a:xfrm>
            <a:custGeom>
              <a:avLst/>
              <a:gdLst>
                <a:gd name="T0" fmla="*/ 4763 w 3"/>
                <a:gd name="T1" fmla="*/ 3969 h 4"/>
                <a:gd name="T2" fmla="*/ 3175 w 3"/>
                <a:gd name="T3" fmla="*/ 7938 h 4"/>
                <a:gd name="T4" fmla="*/ 0 w 3"/>
                <a:gd name="T5" fmla="*/ 3969 h 4"/>
                <a:gd name="T6" fmla="*/ 1588 w 3"/>
                <a:gd name="T7" fmla="*/ 0 h 4"/>
                <a:gd name="T8" fmla="*/ 476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2" y="4"/>
                  </a:cubicBezTo>
                  <a:cubicBezTo>
                    <a:pt x="1" y="4"/>
                    <a:pt x="1" y="3"/>
                    <a:pt x="0" y="2"/>
                  </a:cubicBezTo>
                  <a:cubicBezTo>
                    <a:pt x="0" y="2"/>
                    <a:pt x="0" y="0"/>
                    <a:pt x="1" y="0"/>
                  </a:cubicBezTo>
                  <a:cubicBezTo>
                    <a:pt x="2"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7" name="Freeform 871"/>
            <p:cNvSpPr>
              <a:spLocks noChangeAspect="1"/>
            </p:cNvSpPr>
            <p:nvPr/>
          </p:nvSpPr>
          <p:spPr bwMode="auto">
            <a:xfrm>
              <a:off x="2624317" y="2585632"/>
              <a:ext cx="9610" cy="2579"/>
            </a:xfrm>
            <a:custGeom>
              <a:avLst/>
              <a:gdLst>
                <a:gd name="T0" fmla="*/ 7620 w 5"/>
                <a:gd name="T1" fmla="*/ 3175 h 2"/>
                <a:gd name="T2" fmla="*/ 3810 w 5"/>
                <a:gd name="T3" fmla="*/ 3175 h 2"/>
                <a:gd name="T4" fmla="*/ 1905 w 5"/>
                <a:gd name="T5" fmla="*/ 1588 h 2"/>
                <a:gd name="T6" fmla="*/ 5715 w 5"/>
                <a:gd name="T7" fmla="*/ 0 h 2"/>
                <a:gd name="T8" fmla="*/ 762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2"/>
                  </a:moveTo>
                  <a:cubicBezTo>
                    <a:pt x="4" y="2"/>
                    <a:pt x="3" y="2"/>
                    <a:pt x="2" y="2"/>
                  </a:cubicBezTo>
                  <a:cubicBezTo>
                    <a:pt x="1" y="2"/>
                    <a:pt x="0" y="1"/>
                    <a:pt x="1" y="1"/>
                  </a:cubicBezTo>
                  <a:cubicBezTo>
                    <a:pt x="1" y="0"/>
                    <a:pt x="1" y="0"/>
                    <a:pt x="3" y="0"/>
                  </a:cubicBezTo>
                  <a:cubicBezTo>
                    <a:pt x="5"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8" name="Freeform 872"/>
            <p:cNvSpPr>
              <a:spLocks noChangeAspect="1"/>
            </p:cNvSpPr>
            <p:nvPr/>
          </p:nvSpPr>
          <p:spPr bwMode="auto">
            <a:xfrm>
              <a:off x="2669166" y="2593370"/>
              <a:ext cx="4806" cy="5158"/>
            </a:xfrm>
            <a:custGeom>
              <a:avLst/>
              <a:gdLst>
                <a:gd name="T0" fmla="*/ 4763 w 3"/>
                <a:gd name="T1" fmla="*/ 4233 h 3"/>
                <a:gd name="T2" fmla="*/ 1588 w 3"/>
                <a:gd name="T3" fmla="*/ 6350 h 3"/>
                <a:gd name="T4" fmla="*/ 0 w 3"/>
                <a:gd name="T5" fmla="*/ 2117 h 3"/>
                <a:gd name="T6" fmla="*/ 3175 w 3"/>
                <a:gd name="T7" fmla="*/ 2117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3"/>
                    <a:pt x="2" y="3"/>
                    <a:pt x="1" y="3"/>
                  </a:cubicBezTo>
                  <a:cubicBezTo>
                    <a:pt x="0" y="2"/>
                    <a:pt x="0" y="2"/>
                    <a:pt x="0" y="1"/>
                  </a:cubicBezTo>
                  <a:cubicBezTo>
                    <a:pt x="0" y="1"/>
                    <a:pt x="0" y="0"/>
                    <a:pt x="2" y="1"/>
                  </a:cubicBezTo>
                  <a:cubicBezTo>
                    <a:pt x="3" y="1"/>
                    <a:pt x="3"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9" name="Freeform 873"/>
            <p:cNvSpPr>
              <a:spLocks noChangeAspect="1"/>
            </p:cNvSpPr>
            <p:nvPr/>
          </p:nvSpPr>
          <p:spPr bwMode="auto">
            <a:xfrm>
              <a:off x="3117645" y="2862912"/>
              <a:ext cx="9610" cy="3869"/>
            </a:xfrm>
            <a:custGeom>
              <a:avLst/>
              <a:gdLst>
                <a:gd name="T0" fmla="*/ 3810 w 5"/>
                <a:gd name="T1" fmla="*/ 4763 h 3"/>
                <a:gd name="T2" fmla="*/ 0 w 5"/>
                <a:gd name="T3" fmla="*/ 3175 h 3"/>
                <a:gd name="T4" fmla="*/ 3810 w 5"/>
                <a:gd name="T5" fmla="*/ 0 h 3"/>
                <a:gd name="T6" fmla="*/ 9525 w 5"/>
                <a:gd name="T7" fmla="*/ 1588 h 3"/>
                <a:gd name="T8" fmla="*/ 3810 w 5"/>
                <a:gd name="T9" fmla="*/ 476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0" name="Freeform 874"/>
            <p:cNvSpPr>
              <a:spLocks noChangeAspect="1"/>
            </p:cNvSpPr>
            <p:nvPr/>
          </p:nvSpPr>
          <p:spPr bwMode="auto">
            <a:xfrm>
              <a:off x="2122983" y="2873230"/>
              <a:ext cx="6407" cy="5158"/>
            </a:xfrm>
            <a:custGeom>
              <a:avLst/>
              <a:gdLst>
                <a:gd name="T0" fmla="*/ 6350 w 3"/>
                <a:gd name="T1" fmla="*/ 4233 h 3"/>
                <a:gd name="T2" fmla="*/ 2117 w 3"/>
                <a:gd name="T3" fmla="*/ 6350 h 3"/>
                <a:gd name="T4" fmla="*/ 0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1" y="3"/>
                  </a:cubicBezTo>
                  <a:cubicBezTo>
                    <a:pt x="0" y="3"/>
                    <a:pt x="0" y="2"/>
                    <a:pt x="0" y="2"/>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1" name="Freeform 875"/>
            <p:cNvSpPr>
              <a:spLocks noChangeAspect="1"/>
            </p:cNvSpPr>
            <p:nvPr/>
          </p:nvSpPr>
          <p:spPr bwMode="auto">
            <a:xfrm>
              <a:off x="2606699" y="4059735"/>
              <a:ext cx="8008" cy="3869"/>
            </a:xfrm>
            <a:custGeom>
              <a:avLst/>
              <a:gdLst>
                <a:gd name="T0" fmla="*/ 3969 w 4"/>
                <a:gd name="T1" fmla="*/ 3175 h 3"/>
                <a:gd name="T2" fmla="*/ 1984 w 4"/>
                <a:gd name="T3" fmla="*/ 4763 h 3"/>
                <a:gd name="T4" fmla="*/ 1984 w 4"/>
                <a:gd name="T5" fmla="*/ 1588 h 3"/>
                <a:gd name="T6" fmla="*/ 5953 w 4"/>
                <a:gd name="T7" fmla="*/ 0 h 3"/>
                <a:gd name="T8" fmla="*/ 3969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3"/>
                  </a:cubicBezTo>
                  <a:cubicBezTo>
                    <a:pt x="0" y="2"/>
                    <a:pt x="1" y="1"/>
                    <a:pt x="1" y="1"/>
                  </a:cubicBezTo>
                  <a:cubicBezTo>
                    <a:pt x="1" y="0"/>
                    <a:pt x="2" y="0"/>
                    <a:pt x="3" y="0"/>
                  </a:cubicBezTo>
                  <a:cubicBezTo>
                    <a:pt x="4"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2" name="Freeform 876"/>
            <p:cNvSpPr>
              <a:spLocks noChangeAspect="1"/>
            </p:cNvSpPr>
            <p:nvPr/>
          </p:nvSpPr>
          <p:spPr bwMode="auto">
            <a:xfrm>
              <a:off x="2609902" y="4066183"/>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5"/>
                    <a:pt x="0" y="4"/>
                    <a:pt x="0" y="3"/>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3" name="Freeform 877"/>
            <p:cNvSpPr>
              <a:spLocks noChangeAspect="1"/>
            </p:cNvSpPr>
            <p:nvPr/>
          </p:nvSpPr>
          <p:spPr bwMode="auto">
            <a:xfrm>
              <a:off x="2653148" y="4121638"/>
              <a:ext cx="4806" cy="6449"/>
            </a:xfrm>
            <a:custGeom>
              <a:avLst/>
              <a:gdLst>
                <a:gd name="T0" fmla="*/ 4763 w 2"/>
                <a:gd name="T1" fmla="*/ 5953 h 4"/>
                <a:gd name="T2" fmla="*/ 2382 w 2"/>
                <a:gd name="T3" fmla="*/ 7938 h 4"/>
                <a:gd name="T4" fmla="*/ 0 w 2"/>
                <a:gd name="T5" fmla="*/ 3969 h 4"/>
                <a:gd name="T6" fmla="*/ 2382 w 2"/>
                <a:gd name="T7" fmla="*/ 0 h 4"/>
                <a:gd name="T8" fmla="*/ 4763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4" name="Freeform 878"/>
            <p:cNvSpPr>
              <a:spLocks noChangeAspect="1"/>
            </p:cNvSpPr>
            <p:nvPr/>
          </p:nvSpPr>
          <p:spPr bwMode="auto">
            <a:xfrm>
              <a:off x="2814922" y="4215786"/>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0" y="3"/>
                    <a:pt x="0" y="3"/>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5" name="Freeform 879"/>
            <p:cNvSpPr>
              <a:spLocks noChangeAspect="1"/>
            </p:cNvSpPr>
            <p:nvPr/>
          </p:nvSpPr>
          <p:spPr bwMode="auto">
            <a:xfrm>
              <a:off x="2722023" y="4189992"/>
              <a:ext cx="6407" cy="2579"/>
            </a:xfrm>
            <a:custGeom>
              <a:avLst/>
              <a:gdLst>
                <a:gd name="T0" fmla="*/ 4233 w 3"/>
                <a:gd name="T1" fmla="*/ 0 h 2"/>
                <a:gd name="T2" fmla="*/ 6350 w 3"/>
                <a:gd name="T3" fmla="*/ 1588 h 2"/>
                <a:gd name="T4" fmla="*/ 4233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6" name="Freeform 880"/>
            <p:cNvSpPr>
              <a:spLocks noChangeAspect="1"/>
            </p:cNvSpPr>
            <p:nvPr/>
          </p:nvSpPr>
          <p:spPr bwMode="auto">
            <a:xfrm>
              <a:off x="463609" y="2367675"/>
              <a:ext cx="3203" cy="3869"/>
            </a:xfrm>
            <a:custGeom>
              <a:avLst/>
              <a:gdLst>
                <a:gd name="T0" fmla="*/ 1588 w 2"/>
                <a:gd name="T1" fmla="*/ 3175 h 3"/>
                <a:gd name="T2" fmla="*/ 0 w 2"/>
                <a:gd name="T3" fmla="*/ 4763 h 3"/>
                <a:gd name="T4" fmla="*/ 0 w 2"/>
                <a:gd name="T5" fmla="*/ 1588 h 3"/>
                <a:gd name="T6" fmla="*/ 1588 w 2"/>
                <a:gd name="T7" fmla="*/ 1588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1"/>
                  </a:cubicBezTo>
                  <a:cubicBezTo>
                    <a:pt x="0" y="1"/>
                    <a:pt x="1" y="0"/>
                    <a:pt x="1"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7" name="Freeform 881"/>
            <p:cNvSpPr>
              <a:spLocks noChangeAspect="1"/>
            </p:cNvSpPr>
            <p:nvPr/>
          </p:nvSpPr>
          <p:spPr bwMode="auto">
            <a:xfrm>
              <a:off x="534084" y="2393469"/>
              <a:ext cx="6407" cy="3869"/>
            </a:xfrm>
            <a:custGeom>
              <a:avLst/>
              <a:gdLst>
                <a:gd name="T0" fmla="*/ 4233 w 3"/>
                <a:gd name="T1" fmla="*/ 2382 h 2"/>
                <a:gd name="T2" fmla="*/ 4233 w 3"/>
                <a:gd name="T3" fmla="*/ 4763 h 2"/>
                <a:gd name="T4" fmla="*/ 2117 w 3"/>
                <a:gd name="T5" fmla="*/ 4763 h 2"/>
                <a:gd name="T6" fmla="*/ 0 w 3"/>
                <a:gd name="T7" fmla="*/ 0 h 2"/>
                <a:gd name="T8" fmla="*/ 4233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1" y="1"/>
                    <a:pt x="0" y="1"/>
                    <a:pt x="0"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8" name="Freeform 883"/>
            <p:cNvSpPr>
              <a:spLocks noChangeAspect="1"/>
            </p:cNvSpPr>
            <p:nvPr/>
          </p:nvSpPr>
          <p:spPr bwMode="auto">
            <a:xfrm>
              <a:off x="503651" y="1463611"/>
              <a:ext cx="11213" cy="3868"/>
            </a:xfrm>
            <a:custGeom>
              <a:avLst/>
              <a:gdLst>
                <a:gd name="T0" fmla="*/ 5557 w 6"/>
                <a:gd name="T1" fmla="*/ 3175 h 3"/>
                <a:gd name="T2" fmla="*/ 1852 w 6"/>
                <a:gd name="T3" fmla="*/ 4762 h 3"/>
                <a:gd name="T4" fmla="*/ 3704 w 6"/>
                <a:gd name="T5" fmla="*/ 1587 h 3"/>
                <a:gd name="T6" fmla="*/ 9261 w 6"/>
                <a:gd name="T7" fmla="*/ 0 h 3"/>
                <a:gd name="T8" fmla="*/ 5557 w 6"/>
                <a:gd name="T9" fmla="*/ 3175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3" y="2"/>
                  </a:moveTo>
                  <a:cubicBezTo>
                    <a:pt x="3" y="3"/>
                    <a:pt x="1" y="3"/>
                    <a:pt x="1" y="3"/>
                  </a:cubicBezTo>
                  <a:cubicBezTo>
                    <a:pt x="0" y="2"/>
                    <a:pt x="2" y="1"/>
                    <a:pt x="2" y="1"/>
                  </a:cubicBezTo>
                  <a:cubicBezTo>
                    <a:pt x="4" y="0"/>
                    <a:pt x="5" y="0"/>
                    <a:pt x="5" y="0"/>
                  </a:cubicBezTo>
                  <a:cubicBezTo>
                    <a:pt x="6" y="1"/>
                    <a:pt x="5"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9" name="Oval 884"/>
            <p:cNvSpPr>
              <a:spLocks noChangeAspect="1" noChangeArrowheads="1"/>
            </p:cNvSpPr>
            <p:nvPr/>
          </p:nvSpPr>
          <p:spPr bwMode="auto">
            <a:xfrm>
              <a:off x="511659" y="1481667"/>
              <a:ext cx="6407" cy="128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0" name="Freeform 887"/>
            <p:cNvSpPr>
              <a:spLocks noChangeAspect="1"/>
            </p:cNvSpPr>
            <p:nvPr/>
          </p:nvSpPr>
          <p:spPr bwMode="auto">
            <a:xfrm>
              <a:off x="570923" y="1550019"/>
              <a:ext cx="4806" cy="1290"/>
            </a:xfrm>
            <a:custGeom>
              <a:avLst/>
              <a:gdLst>
                <a:gd name="T0" fmla="*/ 0 w 2"/>
                <a:gd name="T1" fmla="*/ 1588 h 1"/>
                <a:gd name="T2" fmla="*/ 0 w 2"/>
                <a:gd name="T3" fmla="*/ 1588 h 1"/>
                <a:gd name="T4" fmla="*/ 2382 w 2"/>
                <a:gd name="T5" fmla="*/ 0 h 1"/>
                <a:gd name="T6" fmla="*/ 4763 w 2"/>
                <a:gd name="T7" fmla="*/ 1588 h 1"/>
                <a:gd name="T8" fmla="*/ 0 w 2"/>
                <a:gd name="T9" fmla="*/ 1588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0" y="1"/>
                    <a:pt x="0" y="1"/>
                    <a:pt x="0" y="1"/>
                  </a:cubicBezTo>
                  <a:cubicBezTo>
                    <a:pt x="0" y="0"/>
                    <a:pt x="0" y="0"/>
                    <a:pt x="1" y="0"/>
                  </a:cubicBezTo>
                  <a:cubicBezTo>
                    <a:pt x="1" y="0"/>
                    <a:pt x="2" y="0"/>
                    <a:pt x="2" y="1"/>
                  </a:cubicBezTo>
                  <a:cubicBezTo>
                    <a:pt x="2" y="1"/>
                    <a:pt x="1"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1" name="Freeform 888"/>
            <p:cNvSpPr>
              <a:spLocks noChangeAspect="1"/>
            </p:cNvSpPr>
            <p:nvPr/>
          </p:nvSpPr>
          <p:spPr bwMode="auto">
            <a:xfrm>
              <a:off x="465210" y="1589999"/>
              <a:ext cx="4806" cy="3868"/>
            </a:xfrm>
            <a:custGeom>
              <a:avLst/>
              <a:gdLst>
                <a:gd name="T0" fmla="*/ 2382 w 2"/>
                <a:gd name="T1" fmla="*/ 4762 h 2"/>
                <a:gd name="T2" fmla="*/ 0 w 2"/>
                <a:gd name="T3" fmla="*/ 2381 h 2"/>
                <a:gd name="T4" fmla="*/ 2382 w 2"/>
                <a:gd name="T5" fmla="*/ 0 h 2"/>
                <a:gd name="T6" fmla="*/ 4763 w 2"/>
                <a:gd name="T7" fmla="*/ 2381 h 2"/>
                <a:gd name="T8" fmla="*/ 2382 w 2"/>
                <a:gd name="T9" fmla="*/ 476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0" y="2"/>
                    <a:pt x="0" y="2"/>
                    <a:pt x="0" y="1"/>
                  </a:cubicBezTo>
                  <a:cubicBezTo>
                    <a:pt x="0" y="1"/>
                    <a:pt x="0" y="0"/>
                    <a:pt x="1" y="0"/>
                  </a:cubicBezTo>
                  <a:cubicBezTo>
                    <a:pt x="1" y="0"/>
                    <a:pt x="2" y="0"/>
                    <a:pt x="2" y="1"/>
                  </a:cubicBezTo>
                  <a:cubicBezTo>
                    <a:pt x="2" y="2"/>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2" name="Freeform 889"/>
            <p:cNvSpPr>
              <a:spLocks noChangeAspect="1"/>
            </p:cNvSpPr>
            <p:nvPr/>
          </p:nvSpPr>
          <p:spPr bwMode="auto">
            <a:xfrm>
              <a:off x="820790" y="1504881"/>
              <a:ext cx="4806" cy="5158"/>
            </a:xfrm>
            <a:custGeom>
              <a:avLst/>
              <a:gdLst>
                <a:gd name="T0" fmla="*/ 4763 w 2"/>
                <a:gd name="T1" fmla="*/ 4233 h 3"/>
                <a:gd name="T2" fmla="*/ 2382 w 2"/>
                <a:gd name="T3" fmla="*/ 6350 h 3"/>
                <a:gd name="T4" fmla="*/ 2382 w 2"/>
                <a:gd name="T5" fmla="*/ 4233 h 3"/>
                <a:gd name="T6" fmla="*/ 4763 w 2"/>
                <a:gd name="T7" fmla="*/ 2117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1" y="2"/>
                  </a:cubicBezTo>
                  <a:cubicBezTo>
                    <a:pt x="1" y="1"/>
                    <a:pt x="1" y="0"/>
                    <a:pt x="2"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3" name="Freeform 890"/>
            <p:cNvSpPr>
              <a:spLocks noChangeAspect="1"/>
            </p:cNvSpPr>
            <p:nvPr/>
          </p:nvSpPr>
          <p:spPr bwMode="auto">
            <a:xfrm>
              <a:off x="1366974" y="1539702"/>
              <a:ext cx="1601" cy="3869"/>
            </a:xfrm>
            <a:custGeom>
              <a:avLst/>
              <a:gdLst>
                <a:gd name="T0" fmla="*/ 1587 w 1"/>
                <a:gd name="T1" fmla="*/ 3175 h 3"/>
                <a:gd name="T2" fmla="*/ 0 w 1"/>
                <a:gd name="T3" fmla="*/ 3175 h 3"/>
                <a:gd name="T4" fmla="*/ 0 w 1"/>
                <a:gd name="T5" fmla="*/ 1588 h 3"/>
                <a:gd name="T6" fmla="*/ 0 w 1"/>
                <a:gd name="T7" fmla="*/ 0 h 3"/>
                <a:gd name="T8" fmla="*/ 1587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4" name="Oval 891"/>
            <p:cNvSpPr>
              <a:spLocks noChangeAspect="1" noChangeArrowheads="1"/>
            </p:cNvSpPr>
            <p:nvPr/>
          </p:nvSpPr>
          <p:spPr bwMode="auto">
            <a:xfrm>
              <a:off x="1355761" y="1525516"/>
              <a:ext cx="3203"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5" name="Freeform 892"/>
            <p:cNvSpPr>
              <a:spLocks noChangeAspect="1"/>
            </p:cNvSpPr>
            <p:nvPr/>
          </p:nvSpPr>
          <p:spPr bwMode="auto">
            <a:xfrm>
              <a:off x="1349355" y="1521646"/>
              <a:ext cx="4806" cy="5158"/>
            </a:xfrm>
            <a:custGeom>
              <a:avLst/>
              <a:gdLst>
                <a:gd name="T0" fmla="*/ 4763 w 2"/>
                <a:gd name="T1" fmla="*/ 4233 h 3"/>
                <a:gd name="T2" fmla="*/ 2382 w 2"/>
                <a:gd name="T3" fmla="*/ 4233 h 3"/>
                <a:gd name="T4" fmla="*/ 0 w 2"/>
                <a:gd name="T5" fmla="*/ 2117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6" name="Freeform 893"/>
            <p:cNvSpPr>
              <a:spLocks noChangeAspect="1"/>
            </p:cNvSpPr>
            <p:nvPr/>
          </p:nvSpPr>
          <p:spPr bwMode="auto">
            <a:xfrm>
              <a:off x="1402212" y="1622241"/>
              <a:ext cx="3203" cy="5158"/>
            </a:xfrm>
            <a:custGeom>
              <a:avLst/>
              <a:gdLst>
                <a:gd name="T0" fmla="*/ 3175 w 2"/>
                <a:gd name="T1" fmla="*/ 4233 h 3"/>
                <a:gd name="T2" fmla="*/ 1588 w 2"/>
                <a:gd name="T3" fmla="*/ 6350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7" name="Freeform 894"/>
            <p:cNvSpPr>
              <a:spLocks noChangeAspect="1"/>
            </p:cNvSpPr>
            <p:nvPr/>
          </p:nvSpPr>
          <p:spPr bwMode="auto">
            <a:xfrm>
              <a:off x="1491908" y="1706070"/>
              <a:ext cx="1601" cy="3868"/>
            </a:xfrm>
            <a:custGeom>
              <a:avLst/>
              <a:gdLst>
                <a:gd name="T0" fmla="*/ 1587 w 1"/>
                <a:gd name="T1" fmla="*/ 2381 h 2"/>
                <a:gd name="T2" fmla="*/ 1587 w 1"/>
                <a:gd name="T3" fmla="*/ 4762 h 2"/>
                <a:gd name="T4" fmla="*/ 0 w 1"/>
                <a:gd name="T5" fmla="*/ 2381 h 2"/>
                <a:gd name="T6" fmla="*/ 0 w 1"/>
                <a:gd name="T7" fmla="*/ 0 h 2"/>
                <a:gd name="T8" fmla="*/ 1587 w 1"/>
                <a:gd name="T9" fmla="*/ 238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0" y="2"/>
                    <a:pt x="0" y="2"/>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8" name="Freeform 895"/>
            <p:cNvSpPr>
              <a:spLocks noChangeAspect="1"/>
            </p:cNvSpPr>
            <p:nvPr/>
          </p:nvSpPr>
          <p:spPr bwMode="auto">
            <a:xfrm>
              <a:off x="3498853" y="1212123"/>
              <a:ext cx="9610" cy="6449"/>
            </a:xfrm>
            <a:custGeom>
              <a:avLst/>
              <a:gdLst>
                <a:gd name="T0" fmla="*/ 7620 w 5"/>
                <a:gd name="T1" fmla="*/ 3969 h 4"/>
                <a:gd name="T2" fmla="*/ 7620 w 5"/>
                <a:gd name="T3" fmla="*/ 7938 h 4"/>
                <a:gd name="T4" fmla="*/ 3810 w 5"/>
                <a:gd name="T5" fmla="*/ 5953 h 4"/>
                <a:gd name="T6" fmla="*/ 1905 w 5"/>
                <a:gd name="T7" fmla="*/ 0 h 4"/>
                <a:gd name="T8" fmla="*/ 7620 w 5"/>
                <a:gd name="T9" fmla="*/ 3969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9" name="Freeform 896"/>
            <p:cNvSpPr>
              <a:spLocks noChangeAspect="1"/>
            </p:cNvSpPr>
            <p:nvPr/>
          </p:nvSpPr>
          <p:spPr bwMode="auto">
            <a:xfrm>
              <a:off x="3146475" y="937423"/>
              <a:ext cx="4806" cy="2579"/>
            </a:xfrm>
            <a:custGeom>
              <a:avLst/>
              <a:gdLst>
                <a:gd name="T0" fmla="*/ 3175 w 3"/>
                <a:gd name="T1" fmla="*/ 0 h 2"/>
                <a:gd name="T2" fmla="*/ 4763 w 3"/>
                <a:gd name="T3" fmla="*/ 1588 h 2"/>
                <a:gd name="T4" fmla="*/ 1588 w 3"/>
                <a:gd name="T5" fmla="*/ 3175 h 2"/>
                <a:gd name="T6" fmla="*/ 0 w 3"/>
                <a:gd name="T7" fmla="*/ 1588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1"/>
                  </a:cubicBezTo>
                  <a:cubicBezTo>
                    <a:pt x="2" y="2"/>
                    <a:pt x="2" y="2"/>
                    <a:pt x="1" y="2"/>
                  </a:cubicBezTo>
                  <a:cubicBezTo>
                    <a:pt x="1" y="2"/>
                    <a:pt x="0" y="1"/>
                    <a:pt x="0" y="1"/>
                  </a:cubicBezTo>
                  <a:cubicBezTo>
                    <a:pt x="1"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0" name="Freeform 897"/>
            <p:cNvSpPr>
              <a:spLocks noChangeAspect="1"/>
            </p:cNvSpPr>
            <p:nvPr/>
          </p:nvSpPr>
          <p:spPr bwMode="auto">
            <a:xfrm>
              <a:off x="1990040" y="821351"/>
              <a:ext cx="6407" cy="2579"/>
            </a:xfrm>
            <a:custGeom>
              <a:avLst/>
              <a:gdLst>
                <a:gd name="T0" fmla="*/ 4233 w 3"/>
                <a:gd name="T1" fmla="*/ 1588 h 2"/>
                <a:gd name="T2" fmla="*/ 4233 w 3"/>
                <a:gd name="T3" fmla="*/ 3175 h 2"/>
                <a:gd name="T4" fmla="*/ 2117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2" y="2"/>
                    <a:pt x="1" y="2"/>
                  </a:cubicBezTo>
                  <a:cubicBezTo>
                    <a:pt x="1" y="2"/>
                    <a:pt x="0" y="2"/>
                    <a:pt x="0" y="1"/>
                  </a:cubicBezTo>
                  <a:cubicBezTo>
                    <a:pt x="0"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1" name="Freeform 898"/>
            <p:cNvSpPr>
              <a:spLocks noChangeAspect="1"/>
            </p:cNvSpPr>
            <p:nvPr/>
          </p:nvSpPr>
          <p:spPr bwMode="auto">
            <a:xfrm>
              <a:off x="2190255" y="822640"/>
              <a:ext cx="3203" cy="2579"/>
            </a:xfrm>
            <a:custGeom>
              <a:avLst/>
              <a:gdLst>
                <a:gd name="T0" fmla="*/ 1588 w 2"/>
                <a:gd name="T1" fmla="*/ 0 h 2"/>
                <a:gd name="T2" fmla="*/ 3175 w 2"/>
                <a:gd name="T3" fmla="*/ 0 h 2"/>
                <a:gd name="T4" fmla="*/ 3175 w 2"/>
                <a:gd name="T5" fmla="*/ 3175 h 2"/>
                <a:gd name="T6" fmla="*/ 0 w 2"/>
                <a:gd name="T7" fmla="*/ 1588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2"/>
                  </a:cubicBezTo>
                  <a:cubicBezTo>
                    <a:pt x="1" y="2"/>
                    <a:pt x="0" y="2"/>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2" name="Freeform 899"/>
            <p:cNvSpPr>
              <a:spLocks noChangeAspect="1"/>
            </p:cNvSpPr>
            <p:nvPr/>
          </p:nvSpPr>
          <p:spPr bwMode="auto">
            <a:xfrm>
              <a:off x="2318391" y="829089"/>
              <a:ext cx="4805" cy="2579"/>
            </a:xfrm>
            <a:custGeom>
              <a:avLst/>
              <a:gdLst>
                <a:gd name="T0" fmla="*/ 2381 w 2"/>
                <a:gd name="T1" fmla="*/ 0 h 2"/>
                <a:gd name="T2" fmla="*/ 4762 w 2"/>
                <a:gd name="T3" fmla="*/ 0 h 2"/>
                <a:gd name="T4" fmla="*/ 4762 w 2"/>
                <a:gd name="T5" fmla="*/ 1588 h 2"/>
                <a:gd name="T6" fmla="*/ 0 w 2"/>
                <a:gd name="T7" fmla="*/ 1588 h 2"/>
                <a:gd name="T8" fmla="*/ 238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1"/>
                  </a:cubicBezTo>
                  <a:cubicBezTo>
                    <a:pt x="1" y="2"/>
                    <a:pt x="0" y="2"/>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3" name="Freeform 900"/>
            <p:cNvSpPr>
              <a:spLocks noChangeAspect="1"/>
            </p:cNvSpPr>
            <p:nvPr/>
          </p:nvSpPr>
          <p:spPr bwMode="auto">
            <a:xfrm>
              <a:off x="2344018" y="863909"/>
              <a:ext cx="3203" cy="3869"/>
            </a:xfrm>
            <a:custGeom>
              <a:avLst/>
              <a:gdLst>
                <a:gd name="T0" fmla="*/ 0 w 2"/>
                <a:gd name="T1" fmla="*/ 2382 h 2"/>
                <a:gd name="T2" fmla="*/ 1588 w 2"/>
                <a:gd name="T3" fmla="*/ 0 h 2"/>
                <a:gd name="T4" fmla="*/ 3175 w 2"/>
                <a:gd name="T5" fmla="*/ 2382 h 2"/>
                <a:gd name="T6" fmla="*/ 1588 w 2"/>
                <a:gd name="T7" fmla="*/ 4763 h 2"/>
                <a:gd name="T8" fmla="*/ 0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cubicBezTo>
                    <a:pt x="0" y="1"/>
                    <a:pt x="0" y="0"/>
                    <a:pt x="1" y="0"/>
                  </a:cubicBezTo>
                  <a:cubicBezTo>
                    <a:pt x="1" y="0"/>
                    <a:pt x="2" y="0"/>
                    <a:pt x="2" y="1"/>
                  </a:cubicBezTo>
                  <a:cubicBezTo>
                    <a:pt x="2" y="1"/>
                    <a:pt x="2" y="2"/>
                    <a:pt x="1" y="2"/>
                  </a:cubicBezTo>
                  <a:cubicBezTo>
                    <a:pt x="0" y="2"/>
                    <a:pt x="0"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4" name="Freeform 901"/>
            <p:cNvSpPr>
              <a:spLocks noChangeAspect="1"/>
            </p:cNvSpPr>
            <p:nvPr/>
          </p:nvSpPr>
          <p:spPr bwMode="auto">
            <a:xfrm>
              <a:off x="2395273" y="780081"/>
              <a:ext cx="4805" cy="5158"/>
            </a:xfrm>
            <a:custGeom>
              <a:avLst/>
              <a:gdLst>
                <a:gd name="T0" fmla="*/ 0 w 2"/>
                <a:gd name="T1" fmla="*/ 4233 h 3"/>
                <a:gd name="T2" fmla="*/ 0 w 2"/>
                <a:gd name="T3" fmla="*/ 2117 h 3"/>
                <a:gd name="T4" fmla="*/ 4762 w 2"/>
                <a:gd name="T5" fmla="*/ 2117 h 3"/>
                <a:gd name="T6" fmla="*/ 4762 w 2"/>
                <a:gd name="T7" fmla="*/ 6350 h 3"/>
                <a:gd name="T8" fmla="*/ 0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0" y="2"/>
                  </a:moveTo>
                  <a:cubicBezTo>
                    <a:pt x="0" y="2"/>
                    <a:pt x="0" y="1"/>
                    <a:pt x="0" y="1"/>
                  </a:cubicBezTo>
                  <a:cubicBezTo>
                    <a:pt x="1" y="0"/>
                    <a:pt x="1" y="1"/>
                    <a:pt x="2" y="1"/>
                  </a:cubicBezTo>
                  <a:cubicBezTo>
                    <a:pt x="2" y="2"/>
                    <a:pt x="2" y="3"/>
                    <a:pt x="2" y="3"/>
                  </a:cubicBezTo>
                  <a:cubicBezTo>
                    <a:pt x="1" y="3"/>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5" name="Freeform 902"/>
            <p:cNvSpPr>
              <a:spLocks noChangeAspect="1"/>
            </p:cNvSpPr>
            <p:nvPr/>
          </p:nvSpPr>
          <p:spPr bwMode="auto">
            <a:xfrm>
              <a:off x="2392070" y="700121"/>
              <a:ext cx="11212" cy="7738"/>
            </a:xfrm>
            <a:custGeom>
              <a:avLst/>
              <a:gdLst>
                <a:gd name="T0" fmla="*/ 3704 w 6"/>
                <a:gd name="T1" fmla="*/ 7620 h 5"/>
                <a:gd name="T2" fmla="*/ 1852 w 6"/>
                <a:gd name="T3" fmla="*/ 1905 h 5"/>
                <a:gd name="T4" fmla="*/ 5556 w 6"/>
                <a:gd name="T5" fmla="*/ 1905 h 5"/>
                <a:gd name="T6" fmla="*/ 9260 w 6"/>
                <a:gd name="T7" fmla="*/ 7620 h 5"/>
                <a:gd name="T8" fmla="*/ 3704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2"/>
                    <a:pt x="1" y="1"/>
                  </a:cubicBezTo>
                  <a:cubicBezTo>
                    <a:pt x="1" y="0"/>
                    <a:pt x="3" y="0"/>
                    <a:pt x="3" y="1"/>
                  </a:cubicBezTo>
                  <a:cubicBezTo>
                    <a:pt x="4" y="1"/>
                    <a:pt x="6" y="2"/>
                    <a:pt x="5" y="4"/>
                  </a:cubicBezTo>
                  <a:cubicBezTo>
                    <a:pt x="5" y="5"/>
                    <a:pt x="3"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6" name="Freeform 903"/>
            <p:cNvSpPr>
              <a:spLocks noChangeAspect="1"/>
            </p:cNvSpPr>
            <p:nvPr/>
          </p:nvSpPr>
          <p:spPr bwMode="auto">
            <a:xfrm>
              <a:off x="2806913" y="762026"/>
              <a:ext cx="8009" cy="5158"/>
            </a:xfrm>
            <a:custGeom>
              <a:avLst/>
              <a:gdLst>
                <a:gd name="T0" fmla="*/ 1985 w 4"/>
                <a:gd name="T1" fmla="*/ 4233 h 3"/>
                <a:gd name="T2" fmla="*/ 1985 w 4"/>
                <a:gd name="T3" fmla="*/ 0 h 3"/>
                <a:gd name="T4" fmla="*/ 3969 w 4"/>
                <a:gd name="T5" fmla="*/ 0 h 3"/>
                <a:gd name="T6" fmla="*/ 5953 w 4"/>
                <a:gd name="T7" fmla="*/ 4233 h 3"/>
                <a:gd name="T8" fmla="*/ 1985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2"/>
                  </a:moveTo>
                  <a:cubicBezTo>
                    <a:pt x="1" y="1"/>
                    <a:pt x="0" y="1"/>
                    <a:pt x="1" y="0"/>
                  </a:cubicBezTo>
                  <a:cubicBezTo>
                    <a:pt x="1" y="0"/>
                    <a:pt x="2" y="0"/>
                    <a:pt x="2" y="0"/>
                  </a:cubicBezTo>
                  <a:cubicBezTo>
                    <a:pt x="3" y="1"/>
                    <a:pt x="4" y="1"/>
                    <a:pt x="3" y="2"/>
                  </a:cubicBezTo>
                  <a:cubicBezTo>
                    <a:pt x="3" y="3"/>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7" name="Freeform 904"/>
            <p:cNvSpPr>
              <a:spLocks noChangeAspect="1"/>
            </p:cNvSpPr>
            <p:nvPr/>
          </p:nvSpPr>
          <p:spPr bwMode="auto">
            <a:xfrm>
              <a:off x="2574665" y="808454"/>
              <a:ext cx="8008" cy="6448"/>
            </a:xfrm>
            <a:custGeom>
              <a:avLst/>
              <a:gdLst>
                <a:gd name="T0" fmla="*/ 1984 w 4"/>
                <a:gd name="T1" fmla="*/ 5953 h 4"/>
                <a:gd name="T2" fmla="*/ 0 w 4"/>
                <a:gd name="T3" fmla="*/ 1984 h 4"/>
                <a:gd name="T4" fmla="*/ 3969 w 4"/>
                <a:gd name="T5" fmla="*/ 1984 h 4"/>
                <a:gd name="T6" fmla="*/ 7937 w 4"/>
                <a:gd name="T7" fmla="*/ 5953 h 4"/>
                <a:gd name="T8" fmla="*/ 1984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3"/>
                  </a:moveTo>
                  <a:cubicBezTo>
                    <a:pt x="1" y="2"/>
                    <a:pt x="0" y="1"/>
                    <a:pt x="0" y="1"/>
                  </a:cubicBezTo>
                  <a:cubicBezTo>
                    <a:pt x="0" y="0"/>
                    <a:pt x="1" y="0"/>
                    <a:pt x="2" y="1"/>
                  </a:cubicBezTo>
                  <a:cubicBezTo>
                    <a:pt x="3" y="1"/>
                    <a:pt x="4" y="2"/>
                    <a:pt x="4" y="3"/>
                  </a:cubicBezTo>
                  <a:cubicBezTo>
                    <a:pt x="4" y="4"/>
                    <a:pt x="2" y="3"/>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8" name="Freeform 905"/>
            <p:cNvSpPr>
              <a:spLocks noChangeAspect="1"/>
            </p:cNvSpPr>
            <p:nvPr/>
          </p:nvSpPr>
          <p:spPr bwMode="auto">
            <a:xfrm>
              <a:off x="2225492" y="782660"/>
              <a:ext cx="4805" cy="5158"/>
            </a:xfrm>
            <a:custGeom>
              <a:avLst/>
              <a:gdLst>
                <a:gd name="T0" fmla="*/ 1587 w 3"/>
                <a:gd name="T1" fmla="*/ 1588 h 4"/>
                <a:gd name="T2" fmla="*/ 4762 w 3"/>
                <a:gd name="T3" fmla="*/ 0 h 4"/>
                <a:gd name="T4" fmla="*/ 3175 w 3"/>
                <a:gd name="T5" fmla="*/ 3175 h 4"/>
                <a:gd name="T6" fmla="*/ 1587 w 3"/>
                <a:gd name="T7" fmla="*/ 4762 h 4"/>
                <a:gd name="T8" fmla="*/ 1587 w 3"/>
                <a:gd name="T9" fmla="*/ 158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1"/>
                  </a:moveTo>
                  <a:cubicBezTo>
                    <a:pt x="1" y="0"/>
                    <a:pt x="2" y="0"/>
                    <a:pt x="3" y="0"/>
                  </a:cubicBezTo>
                  <a:cubicBezTo>
                    <a:pt x="3" y="1"/>
                    <a:pt x="3" y="2"/>
                    <a:pt x="2" y="2"/>
                  </a:cubicBezTo>
                  <a:cubicBezTo>
                    <a:pt x="2" y="3"/>
                    <a:pt x="1" y="4"/>
                    <a:pt x="1" y="3"/>
                  </a:cubicBezTo>
                  <a:cubicBezTo>
                    <a:pt x="0" y="2"/>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9" name="Freeform 906"/>
            <p:cNvSpPr>
              <a:spLocks noChangeAspect="1"/>
            </p:cNvSpPr>
            <p:nvPr/>
          </p:nvSpPr>
          <p:spPr bwMode="auto">
            <a:xfrm>
              <a:off x="2001252" y="822640"/>
              <a:ext cx="6407" cy="2579"/>
            </a:xfrm>
            <a:custGeom>
              <a:avLst/>
              <a:gdLst>
                <a:gd name="T0" fmla="*/ 4233 w 3"/>
                <a:gd name="T1" fmla="*/ 0 h 2"/>
                <a:gd name="T2" fmla="*/ 6350 w 3"/>
                <a:gd name="T3" fmla="*/ 1588 h 2"/>
                <a:gd name="T4" fmla="*/ 2117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2"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0" name="Freeform 907"/>
            <p:cNvSpPr>
              <a:spLocks noChangeAspect="1"/>
            </p:cNvSpPr>
            <p:nvPr/>
          </p:nvSpPr>
          <p:spPr bwMode="auto">
            <a:xfrm>
              <a:off x="1873115" y="1139901"/>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1" name="Freeform 908"/>
            <p:cNvSpPr>
              <a:spLocks noChangeAspect="1"/>
            </p:cNvSpPr>
            <p:nvPr/>
          </p:nvSpPr>
          <p:spPr bwMode="auto">
            <a:xfrm>
              <a:off x="1921167" y="1130873"/>
              <a:ext cx="3203" cy="2579"/>
            </a:xfrm>
            <a:custGeom>
              <a:avLst/>
              <a:gdLst>
                <a:gd name="T0" fmla="*/ 1588 w 2"/>
                <a:gd name="T1" fmla="*/ 3175 h 2"/>
                <a:gd name="T2" fmla="*/ 0 w 2"/>
                <a:gd name="T3" fmla="*/ 3175 h 2"/>
                <a:gd name="T4" fmla="*/ 1588 w 2"/>
                <a:gd name="T5" fmla="*/ 1588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1"/>
                  </a:cubicBezTo>
                  <a:cubicBezTo>
                    <a:pt x="1" y="0"/>
                    <a:pt x="2"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2" name="Freeform 909"/>
            <p:cNvSpPr>
              <a:spLocks noChangeAspect="1"/>
            </p:cNvSpPr>
            <p:nvPr/>
          </p:nvSpPr>
          <p:spPr bwMode="auto">
            <a:xfrm>
              <a:off x="1884327" y="1139901"/>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3" name="Freeform 910"/>
            <p:cNvSpPr>
              <a:spLocks noChangeAspect="1"/>
            </p:cNvSpPr>
            <p:nvPr/>
          </p:nvSpPr>
          <p:spPr bwMode="auto">
            <a:xfrm>
              <a:off x="2180643" y="1099922"/>
              <a:ext cx="3203" cy="7738"/>
            </a:xfrm>
            <a:custGeom>
              <a:avLst/>
              <a:gdLst>
                <a:gd name="T0" fmla="*/ 3175 w 2"/>
                <a:gd name="T1" fmla="*/ 5715 h 5"/>
                <a:gd name="T2" fmla="*/ 1588 w 2"/>
                <a:gd name="T3" fmla="*/ 7620 h 5"/>
                <a:gd name="T4" fmla="*/ 0 w 2"/>
                <a:gd name="T5" fmla="*/ 3810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1" y="4"/>
                  </a:cubicBezTo>
                  <a:cubicBezTo>
                    <a:pt x="0" y="4"/>
                    <a:pt x="0" y="3"/>
                    <a:pt x="0" y="2"/>
                  </a:cubicBezTo>
                  <a:cubicBezTo>
                    <a:pt x="0"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4" name="Freeform 911"/>
            <p:cNvSpPr>
              <a:spLocks noChangeAspect="1"/>
            </p:cNvSpPr>
            <p:nvPr/>
          </p:nvSpPr>
          <p:spPr bwMode="auto">
            <a:xfrm>
              <a:off x="2044498" y="999326"/>
              <a:ext cx="1602" cy="3868"/>
            </a:xfrm>
            <a:custGeom>
              <a:avLst/>
              <a:gdLst>
                <a:gd name="T0" fmla="*/ 1588 w 1"/>
                <a:gd name="T1" fmla="*/ 3175 h 3"/>
                <a:gd name="T2" fmla="*/ 0 w 1"/>
                <a:gd name="T3" fmla="*/ 4762 h 3"/>
                <a:gd name="T4" fmla="*/ 0 w 1"/>
                <a:gd name="T5" fmla="*/ 3175 h 3"/>
                <a:gd name="T6" fmla="*/ 0 w 1"/>
                <a:gd name="T7" fmla="*/ 1587 h 3"/>
                <a:gd name="T8" fmla="*/ 1588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0"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5" name="Freeform 912"/>
            <p:cNvSpPr>
              <a:spLocks noChangeAspect="1"/>
            </p:cNvSpPr>
            <p:nvPr/>
          </p:nvSpPr>
          <p:spPr bwMode="auto">
            <a:xfrm>
              <a:off x="2065321" y="947740"/>
              <a:ext cx="6407" cy="2579"/>
            </a:xfrm>
            <a:custGeom>
              <a:avLst/>
              <a:gdLst>
                <a:gd name="T0" fmla="*/ 4233 w 3"/>
                <a:gd name="T1" fmla="*/ 3175 h 2"/>
                <a:gd name="T2" fmla="*/ 2117 w 3"/>
                <a:gd name="T3" fmla="*/ 3175 h 2"/>
                <a:gd name="T4" fmla="*/ 2117 w 3"/>
                <a:gd name="T5" fmla="*/ 1588 h 2"/>
                <a:gd name="T6" fmla="*/ 6350 w 3"/>
                <a:gd name="T7" fmla="*/ 1588 h 2"/>
                <a:gd name="T8" fmla="*/ 4233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3" y="0"/>
                    <a:pt x="3" y="1"/>
                  </a:cubicBezTo>
                  <a:cubicBezTo>
                    <a:pt x="3"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6" name="Freeform 913"/>
            <p:cNvSpPr>
              <a:spLocks noChangeAspect="1"/>
            </p:cNvSpPr>
            <p:nvPr/>
          </p:nvSpPr>
          <p:spPr bwMode="auto">
            <a:xfrm>
              <a:off x="1825064" y="870359"/>
              <a:ext cx="6407" cy="2579"/>
            </a:xfrm>
            <a:custGeom>
              <a:avLst/>
              <a:gdLst>
                <a:gd name="T0" fmla="*/ 4233 w 3"/>
                <a:gd name="T1" fmla="*/ 3175 h 2"/>
                <a:gd name="T2" fmla="*/ 2117 w 3"/>
                <a:gd name="T3" fmla="*/ 3175 h 2"/>
                <a:gd name="T4" fmla="*/ 2117 w 3"/>
                <a:gd name="T5" fmla="*/ 1588 h 2"/>
                <a:gd name="T6" fmla="*/ 6350 w 3"/>
                <a:gd name="T7" fmla="*/ 0 h 2"/>
                <a:gd name="T8" fmla="*/ 4233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1" y="0"/>
                    <a:pt x="2" y="0"/>
                    <a:pt x="3"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7" name="Freeform 914"/>
            <p:cNvSpPr>
              <a:spLocks noChangeAspect="1"/>
            </p:cNvSpPr>
            <p:nvPr/>
          </p:nvSpPr>
          <p:spPr bwMode="auto">
            <a:xfrm>
              <a:off x="2180643" y="1059940"/>
              <a:ext cx="3203" cy="2579"/>
            </a:xfrm>
            <a:custGeom>
              <a:avLst/>
              <a:gdLst>
                <a:gd name="T0" fmla="*/ 3175 w 2"/>
                <a:gd name="T1" fmla="*/ 1588 h 2"/>
                <a:gd name="T2" fmla="*/ 3175 w 2"/>
                <a:gd name="T3" fmla="*/ 3175 h 2"/>
                <a:gd name="T4" fmla="*/ 1588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2" y="2"/>
                  </a:cubicBezTo>
                  <a:cubicBezTo>
                    <a:pt x="1" y="2"/>
                    <a:pt x="1" y="2"/>
                    <a:pt x="1" y="1"/>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8" name="Freeform 915"/>
            <p:cNvSpPr>
              <a:spLocks noChangeAspect="1"/>
            </p:cNvSpPr>
            <p:nvPr/>
          </p:nvSpPr>
          <p:spPr bwMode="auto">
            <a:xfrm>
              <a:off x="2235102" y="937423"/>
              <a:ext cx="4805" cy="2579"/>
            </a:xfrm>
            <a:custGeom>
              <a:avLst/>
              <a:gdLst>
                <a:gd name="T0" fmla="*/ 1587 w 3"/>
                <a:gd name="T1" fmla="*/ 3175 h 2"/>
                <a:gd name="T2" fmla="*/ 0 w 3"/>
                <a:gd name="T3" fmla="*/ 3175 h 2"/>
                <a:gd name="T4" fmla="*/ 1587 w 3"/>
                <a:gd name="T5" fmla="*/ 0 h 2"/>
                <a:gd name="T6" fmla="*/ 4762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1" y="1"/>
                    <a:pt x="1" y="0"/>
                  </a:cubicBezTo>
                  <a:cubicBezTo>
                    <a:pt x="1" y="0"/>
                    <a:pt x="2" y="0"/>
                    <a:pt x="3"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9" name="Freeform 916"/>
            <p:cNvSpPr>
              <a:spLocks noChangeAspect="1"/>
            </p:cNvSpPr>
            <p:nvPr/>
          </p:nvSpPr>
          <p:spPr bwMode="auto">
            <a:xfrm>
              <a:off x="2289560" y="974823"/>
              <a:ext cx="6407" cy="3869"/>
            </a:xfrm>
            <a:custGeom>
              <a:avLst/>
              <a:gdLst>
                <a:gd name="T0" fmla="*/ 4233 w 3"/>
                <a:gd name="T1" fmla="*/ 3175 h 3"/>
                <a:gd name="T2" fmla="*/ 2117 w 3"/>
                <a:gd name="T3" fmla="*/ 4763 h 3"/>
                <a:gd name="T4" fmla="*/ 0 w 3"/>
                <a:gd name="T5" fmla="*/ 1588 h 3"/>
                <a:gd name="T6" fmla="*/ 2117 w 3"/>
                <a:gd name="T7" fmla="*/ 0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2" y="3"/>
                    <a:pt x="1" y="3"/>
                  </a:cubicBezTo>
                  <a:cubicBezTo>
                    <a:pt x="0" y="2"/>
                    <a:pt x="0" y="2"/>
                    <a:pt x="0" y="1"/>
                  </a:cubicBezTo>
                  <a:cubicBezTo>
                    <a:pt x="0" y="1"/>
                    <a:pt x="0" y="0"/>
                    <a:pt x="1" y="0"/>
                  </a:cubicBezTo>
                  <a:cubicBezTo>
                    <a:pt x="3" y="0"/>
                    <a:pt x="3"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0" name="Freeform 917"/>
            <p:cNvSpPr>
              <a:spLocks noChangeAspect="1"/>
            </p:cNvSpPr>
            <p:nvPr/>
          </p:nvSpPr>
          <p:spPr bwMode="auto">
            <a:xfrm>
              <a:off x="2443325" y="930973"/>
              <a:ext cx="6407" cy="1290"/>
            </a:xfrm>
            <a:custGeom>
              <a:avLst/>
              <a:gdLst>
                <a:gd name="T0" fmla="*/ 4233 w 3"/>
                <a:gd name="T1" fmla="*/ 0 h 1"/>
                <a:gd name="T2" fmla="*/ 6350 w 3"/>
                <a:gd name="T3" fmla="*/ 1588 h 1"/>
                <a:gd name="T4" fmla="*/ 2117 w 3"/>
                <a:gd name="T5" fmla="*/ 1588 h 1"/>
                <a:gd name="T6" fmla="*/ 0 w 3"/>
                <a:gd name="T7" fmla="*/ 1588 h 1"/>
                <a:gd name="T8" fmla="*/ 4233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2" y="0"/>
                  </a:moveTo>
                  <a:cubicBezTo>
                    <a:pt x="2" y="0"/>
                    <a:pt x="3" y="0"/>
                    <a:pt x="3" y="1"/>
                  </a:cubicBezTo>
                  <a:cubicBezTo>
                    <a:pt x="2" y="1"/>
                    <a:pt x="2" y="1"/>
                    <a:pt x="1" y="1"/>
                  </a:cubicBezTo>
                  <a:cubicBezTo>
                    <a:pt x="1" y="1"/>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1" name="Freeform 918"/>
            <p:cNvSpPr>
              <a:spLocks noChangeAspect="1"/>
            </p:cNvSpPr>
            <p:nvPr/>
          </p:nvSpPr>
          <p:spPr bwMode="auto">
            <a:xfrm>
              <a:off x="2657955" y="987719"/>
              <a:ext cx="4805" cy="3869"/>
            </a:xfrm>
            <a:custGeom>
              <a:avLst/>
              <a:gdLst>
                <a:gd name="T0" fmla="*/ 1587 w 3"/>
                <a:gd name="T1" fmla="*/ 4763 h 2"/>
                <a:gd name="T2" fmla="*/ 0 w 3"/>
                <a:gd name="T3" fmla="*/ 2382 h 2"/>
                <a:gd name="T4" fmla="*/ 3175 w 3"/>
                <a:gd name="T5" fmla="*/ 2382 h 2"/>
                <a:gd name="T6" fmla="*/ 4762 w 3"/>
                <a:gd name="T7" fmla="*/ 2382 h 2"/>
                <a:gd name="T8" fmla="*/ 1587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1" y="1"/>
                    <a:pt x="1" y="1"/>
                    <a:pt x="2" y="1"/>
                  </a:cubicBezTo>
                  <a:cubicBezTo>
                    <a:pt x="2" y="0"/>
                    <a:pt x="3" y="1"/>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2" name="Freeform 919"/>
            <p:cNvSpPr>
              <a:spLocks noChangeAspect="1"/>
            </p:cNvSpPr>
            <p:nvPr/>
          </p:nvSpPr>
          <p:spPr bwMode="auto">
            <a:xfrm>
              <a:off x="2883795" y="1084445"/>
              <a:ext cx="6407" cy="2579"/>
            </a:xfrm>
            <a:custGeom>
              <a:avLst/>
              <a:gdLst>
                <a:gd name="T0" fmla="*/ 2117 w 3"/>
                <a:gd name="T1" fmla="*/ 3175 h 2"/>
                <a:gd name="T2" fmla="*/ 0 w 3"/>
                <a:gd name="T3" fmla="*/ 1588 h 2"/>
                <a:gd name="T4" fmla="*/ 2117 w 3"/>
                <a:gd name="T5" fmla="*/ 0 h 2"/>
                <a:gd name="T6" fmla="*/ 4233 w 3"/>
                <a:gd name="T7" fmla="*/ 0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3" name="Freeform 920"/>
            <p:cNvSpPr>
              <a:spLocks noChangeAspect="1"/>
            </p:cNvSpPr>
            <p:nvPr/>
          </p:nvSpPr>
          <p:spPr bwMode="auto">
            <a:xfrm>
              <a:off x="2874185" y="1080576"/>
              <a:ext cx="6407" cy="5158"/>
            </a:xfrm>
            <a:custGeom>
              <a:avLst/>
              <a:gdLst>
                <a:gd name="T0" fmla="*/ 4233 w 3"/>
                <a:gd name="T1" fmla="*/ 4233 h 3"/>
                <a:gd name="T2" fmla="*/ 2117 w 3"/>
                <a:gd name="T3" fmla="*/ 4233 h 3"/>
                <a:gd name="T4" fmla="*/ 2117 w 3"/>
                <a:gd name="T5" fmla="*/ 2117 h 3"/>
                <a:gd name="T6" fmla="*/ 6350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4" name="Freeform 921"/>
            <p:cNvSpPr>
              <a:spLocks noChangeAspect="1"/>
            </p:cNvSpPr>
            <p:nvPr/>
          </p:nvSpPr>
          <p:spPr bwMode="auto">
            <a:xfrm>
              <a:off x="2914228" y="1270159"/>
              <a:ext cx="4805" cy="3868"/>
            </a:xfrm>
            <a:custGeom>
              <a:avLst/>
              <a:gdLst>
                <a:gd name="T0" fmla="*/ 4762 w 2"/>
                <a:gd name="T1" fmla="*/ 1587 h 3"/>
                <a:gd name="T2" fmla="*/ 4762 w 2"/>
                <a:gd name="T3" fmla="*/ 3175 h 3"/>
                <a:gd name="T4" fmla="*/ 0 w 2"/>
                <a:gd name="T5" fmla="*/ 3175 h 3"/>
                <a:gd name="T6" fmla="*/ 2381 w 2"/>
                <a:gd name="T7" fmla="*/ 0 h 3"/>
                <a:gd name="T8" fmla="*/ 4762 w 2"/>
                <a:gd name="T9" fmla="*/ 158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0" y="2"/>
                  </a:cubicBezTo>
                  <a:cubicBezTo>
                    <a:pt x="0" y="1"/>
                    <a:pt x="0" y="0"/>
                    <a:pt x="1"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5" name="Freeform 922"/>
            <p:cNvSpPr>
              <a:spLocks noChangeAspect="1"/>
            </p:cNvSpPr>
            <p:nvPr/>
          </p:nvSpPr>
          <p:spPr bwMode="auto">
            <a:xfrm>
              <a:off x="2907821" y="1257262"/>
              <a:ext cx="4805" cy="5158"/>
            </a:xfrm>
            <a:custGeom>
              <a:avLst/>
              <a:gdLst>
                <a:gd name="T0" fmla="*/ 3175 w 3"/>
                <a:gd name="T1" fmla="*/ 2117 h 3"/>
                <a:gd name="T2" fmla="*/ 3175 w 3"/>
                <a:gd name="T3" fmla="*/ 4233 h 3"/>
                <a:gd name="T4" fmla="*/ 1587 w 3"/>
                <a:gd name="T5" fmla="*/ 4233 h 3"/>
                <a:gd name="T6" fmla="*/ 1587 w 3"/>
                <a:gd name="T7" fmla="*/ 0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6" name="Freeform 923"/>
            <p:cNvSpPr>
              <a:spLocks noChangeAspect="1"/>
            </p:cNvSpPr>
            <p:nvPr/>
          </p:nvSpPr>
          <p:spPr bwMode="auto">
            <a:xfrm>
              <a:off x="2853363" y="1292083"/>
              <a:ext cx="3203" cy="3869"/>
            </a:xfrm>
            <a:custGeom>
              <a:avLst/>
              <a:gdLst>
                <a:gd name="T0" fmla="*/ 3175 w 2"/>
                <a:gd name="T1" fmla="*/ 1588 h 3"/>
                <a:gd name="T2" fmla="*/ 3175 w 2"/>
                <a:gd name="T3" fmla="*/ 3175 h 3"/>
                <a:gd name="T4" fmla="*/ 1588 w 2"/>
                <a:gd name="T5" fmla="*/ 3175 h 3"/>
                <a:gd name="T6" fmla="*/ 1588 w 2"/>
                <a:gd name="T7" fmla="*/ 0 h 3"/>
                <a:gd name="T8" fmla="*/ 3175 w 2"/>
                <a:gd name="T9" fmla="*/ 1588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7" name="Freeform 924"/>
            <p:cNvSpPr>
              <a:spLocks noChangeAspect="1"/>
            </p:cNvSpPr>
            <p:nvPr/>
          </p:nvSpPr>
          <p:spPr bwMode="auto">
            <a:xfrm>
              <a:off x="2895008" y="1243076"/>
              <a:ext cx="6407" cy="5158"/>
            </a:xfrm>
            <a:custGeom>
              <a:avLst/>
              <a:gdLst>
                <a:gd name="T0" fmla="*/ 4233 w 3"/>
                <a:gd name="T1" fmla="*/ 6350 h 3"/>
                <a:gd name="T2" fmla="*/ 0 w 3"/>
                <a:gd name="T3" fmla="*/ 6350 h 3"/>
                <a:gd name="T4" fmla="*/ 2117 w 3"/>
                <a:gd name="T5" fmla="*/ 2117 h 3"/>
                <a:gd name="T6" fmla="*/ 4233 w 3"/>
                <a:gd name="T7" fmla="*/ 2117 h 3"/>
                <a:gd name="T8" fmla="*/ 4233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1" y="3"/>
                    <a:pt x="1" y="3"/>
                    <a:pt x="0" y="3"/>
                  </a:cubicBezTo>
                  <a:cubicBezTo>
                    <a:pt x="0" y="2"/>
                    <a:pt x="1" y="1"/>
                    <a:pt x="1" y="1"/>
                  </a:cubicBezTo>
                  <a:cubicBezTo>
                    <a:pt x="1" y="1"/>
                    <a:pt x="2" y="0"/>
                    <a:pt x="2" y="1"/>
                  </a:cubicBezTo>
                  <a:cubicBezTo>
                    <a:pt x="3" y="2"/>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8" name="Freeform 925"/>
            <p:cNvSpPr>
              <a:spLocks noChangeAspect="1"/>
            </p:cNvSpPr>
            <p:nvPr/>
          </p:nvSpPr>
          <p:spPr bwMode="auto">
            <a:xfrm>
              <a:off x="2965483" y="1163115"/>
              <a:ext cx="6407" cy="5158"/>
            </a:xfrm>
            <a:custGeom>
              <a:avLst/>
              <a:gdLst>
                <a:gd name="T0" fmla="*/ 4762 w 4"/>
                <a:gd name="T1" fmla="*/ 6350 h 3"/>
                <a:gd name="T2" fmla="*/ 1588 w 4"/>
                <a:gd name="T3" fmla="*/ 6350 h 3"/>
                <a:gd name="T4" fmla="*/ 3175 w 4"/>
                <a:gd name="T5" fmla="*/ 2117 h 3"/>
                <a:gd name="T6" fmla="*/ 6350 w 4"/>
                <a:gd name="T7" fmla="*/ 0 h 3"/>
                <a:gd name="T8" fmla="*/ 4762 w 4"/>
                <a:gd name="T9" fmla="*/ 635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3"/>
                  </a:moveTo>
                  <a:cubicBezTo>
                    <a:pt x="2" y="3"/>
                    <a:pt x="1" y="3"/>
                    <a:pt x="1" y="3"/>
                  </a:cubicBezTo>
                  <a:cubicBezTo>
                    <a:pt x="0" y="2"/>
                    <a:pt x="1" y="1"/>
                    <a:pt x="2" y="1"/>
                  </a:cubicBezTo>
                  <a:cubicBezTo>
                    <a:pt x="2" y="0"/>
                    <a:pt x="3" y="0"/>
                    <a:pt x="4" y="0"/>
                  </a:cubicBezTo>
                  <a:cubicBezTo>
                    <a:pt x="4" y="1"/>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9" name="Freeform 926"/>
            <p:cNvSpPr>
              <a:spLocks noChangeAspect="1"/>
            </p:cNvSpPr>
            <p:nvPr/>
          </p:nvSpPr>
          <p:spPr bwMode="auto">
            <a:xfrm>
              <a:off x="2555444" y="1077996"/>
              <a:ext cx="6407" cy="2579"/>
            </a:xfrm>
            <a:custGeom>
              <a:avLst/>
              <a:gdLst>
                <a:gd name="T0" fmla="*/ 4233 w 3"/>
                <a:gd name="T1" fmla="*/ 0 h 2"/>
                <a:gd name="T2" fmla="*/ 6350 w 3"/>
                <a:gd name="T3" fmla="*/ 1588 h 2"/>
                <a:gd name="T4" fmla="*/ 4233 w 3"/>
                <a:gd name="T5" fmla="*/ 3175 h 2"/>
                <a:gd name="T6" fmla="*/ 2117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1"/>
                    <a:pt x="3" y="1"/>
                    <a:pt x="3" y="1"/>
                  </a:cubicBezTo>
                  <a:cubicBezTo>
                    <a:pt x="3" y="2"/>
                    <a:pt x="2" y="2"/>
                    <a:pt x="2" y="2"/>
                  </a:cubicBezTo>
                  <a:cubicBezTo>
                    <a:pt x="1" y="1"/>
                    <a:pt x="0" y="1"/>
                    <a:pt x="1" y="0"/>
                  </a:cubicBezTo>
                  <a:cubicBezTo>
                    <a:pt x="1"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0" name="Freeform 927"/>
            <p:cNvSpPr>
              <a:spLocks noChangeAspect="1"/>
            </p:cNvSpPr>
            <p:nvPr/>
          </p:nvSpPr>
          <p:spPr bwMode="auto">
            <a:xfrm>
              <a:off x="2573063" y="1090893"/>
              <a:ext cx="9610" cy="2579"/>
            </a:xfrm>
            <a:custGeom>
              <a:avLst/>
              <a:gdLst>
                <a:gd name="T0" fmla="*/ 5715 w 5"/>
                <a:gd name="T1" fmla="*/ 1588 h 2"/>
                <a:gd name="T2" fmla="*/ 9525 w 5"/>
                <a:gd name="T3" fmla="*/ 3175 h 2"/>
                <a:gd name="T4" fmla="*/ 5715 w 5"/>
                <a:gd name="T5" fmla="*/ 3175 h 2"/>
                <a:gd name="T6" fmla="*/ 1905 w 5"/>
                <a:gd name="T7" fmla="*/ 1588 h 2"/>
                <a:gd name="T8" fmla="*/ 5715 w 5"/>
                <a:gd name="T9" fmla="*/ 1588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4" y="1"/>
                    <a:pt x="5" y="1"/>
                    <a:pt x="5" y="2"/>
                  </a:cubicBezTo>
                  <a:cubicBezTo>
                    <a:pt x="4" y="2"/>
                    <a:pt x="3" y="2"/>
                    <a:pt x="3" y="2"/>
                  </a:cubicBezTo>
                  <a:cubicBezTo>
                    <a:pt x="2" y="2"/>
                    <a:pt x="0" y="2"/>
                    <a:pt x="1" y="1"/>
                  </a:cubicBezTo>
                  <a:cubicBezTo>
                    <a:pt x="1" y="0"/>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1" name="Freeform 928"/>
            <p:cNvSpPr>
              <a:spLocks noChangeAspect="1"/>
            </p:cNvSpPr>
            <p:nvPr/>
          </p:nvSpPr>
          <p:spPr bwMode="auto">
            <a:xfrm>
              <a:off x="2888601" y="1363016"/>
              <a:ext cx="3203" cy="2579"/>
            </a:xfrm>
            <a:custGeom>
              <a:avLst/>
              <a:gdLst>
                <a:gd name="T0" fmla="*/ 3175 w 2"/>
                <a:gd name="T1" fmla="*/ 1588 h 2"/>
                <a:gd name="T2" fmla="*/ 3175 w 2"/>
                <a:gd name="T3" fmla="*/ 3175 h 2"/>
                <a:gd name="T4" fmla="*/ 1588 w 2"/>
                <a:gd name="T5" fmla="*/ 3175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2"/>
                  </a:cubicBezTo>
                  <a:cubicBezTo>
                    <a:pt x="0" y="1"/>
                    <a:pt x="0" y="0"/>
                    <a:pt x="1"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2" name="Freeform 929"/>
            <p:cNvSpPr>
              <a:spLocks noChangeAspect="1"/>
            </p:cNvSpPr>
            <p:nvPr/>
          </p:nvSpPr>
          <p:spPr bwMode="auto">
            <a:xfrm>
              <a:off x="2621115" y="1265000"/>
              <a:ext cx="3203" cy="5158"/>
            </a:xfrm>
            <a:custGeom>
              <a:avLst/>
              <a:gdLst>
                <a:gd name="T0" fmla="*/ 3175 w 2"/>
                <a:gd name="T1" fmla="*/ 4233 h 3"/>
                <a:gd name="T2" fmla="*/ 1588 w 2"/>
                <a:gd name="T3" fmla="*/ 6350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3" name="Freeform 930"/>
            <p:cNvSpPr>
              <a:spLocks noChangeAspect="1"/>
            </p:cNvSpPr>
            <p:nvPr/>
          </p:nvSpPr>
          <p:spPr bwMode="auto">
            <a:xfrm>
              <a:off x="2888601" y="1328194"/>
              <a:ext cx="3203" cy="5158"/>
            </a:xfrm>
            <a:custGeom>
              <a:avLst/>
              <a:gdLst>
                <a:gd name="T0" fmla="*/ 3175 w 2"/>
                <a:gd name="T1" fmla="*/ 2117 h 3"/>
                <a:gd name="T2" fmla="*/ 3175 w 2"/>
                <a:gd name="T3" fmla="*/ 4233 h 3"/>
                <a:gd name="T4" fmla="*/ 1588 w 2"/>
                <a:gd name="T5" fmla="*/ 4233 h 3"/>
                <a:gd name="T6" fmla="*/ 0 w 2"/>
                <a:gd name="T7" fmla="*/ 2117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2" y="3"/>
                    <a:pt x="1" y="3"/>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4" name="Freeform 931"/>
            <p:cNvSpPr>
              <a:spLocks noChangeAspect="1"/>
            </p:cNvSpPr>
            <p:nvPr/>
          </p:nvSpPr>
          <p:spPr bwMode="auto">
            <a:xfrm>
              <a:off x="2549038" y="1493274"/>
              <a:ext cx="4805" cy="7738"/>
            </a:xfrm>
            <a:custGeom>
              <a:avLst/>
              <a:gdLst>
                <a:gd name="T0" fmla="*/ 4762 w 2"/>
                <a:gd name="T1" fmla="*/ 5715 h 5"/>
                <a:gd name="T2" fmla="*/ 2381 w 2"/>
                <a:gd name="T3" fmla="*/ 9525 h 5"/>
                <a:gd name="T4" fmla="*/ 2381 w 2"/>
                <a:gd name="T5" fmla="*/ 3810 h 5"/>
                <a:gd name="T6" fmla="*/ 4762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5" name="Freeform 932"/>
            <p:cNvSpPr>
              <a:spLocks noChangeAspect="1"/>
            </p:cNvSpPr>
            <p:nvPr/>
          </p:nvSpPr>
          <p:spPr bwMode="auto">
            <a:xfrm>
              <a:off x="2505791" y="1613213"/>
              <a:ext cx="9610" cy="5158"/>
            </a:xfrm>
            <a:custGeom>
              <a:avLst/>
              <a:gdLst>
                <a:gd name="T0" fmla="*/ 3810 w 5"/>
                <a:gd name="T1" fmla="*/ 6350 h 3"/>
                <a:gd name="T2" fmla="*/ 1905 w 5"/>
                <a:gd name="T3" fmla="*/ 6350 h 3"/>
                <a:gd name="T4" fmla="*/ 5715 w 5"/>
                <a:gd name="T5" fmla="*/ 2117 h 3"/>
                <a:gd name="T6" fmla="*/ 9525 w 5"/>
                <a:gd name="T7" fmla="*/ 2117 h 3"/>
                <a:gd name="T8" fmla="*/ 3810 w 5"/>
                <a:gd name="T9" fmla="*/ 6350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6" name="Freeform 933"/>
            <p:cNvSpPr>
              <a:spLocks noChangeAspect="1"/>
            </p:cNvSpPr>
            <p:nvPr/>
          </p:nvSpPr>
          <p:spPr bwMode="auto">
            <a:xfrm>
              <a:off x="2520207" y="1490694"/>
              <a:ext cx="8008" cy="6449"/>
            </a:xfrm>
            <a:custGeom>
              <a:avLst/>
              <a:gdLst>
                <a:gd name="T0" fmla="*/ 3969 w 4"/>
                <a:gd name="T1" fmla="*/ 5953 h 4"/>
                <a:gd name="T2" fmla="*/ 0 w 4"/>
                <a:gd name="T3" fmla="*/ 5953 h 4"/>
                <a:gd name="T4" fmla="*/ 1984 w 4"/>
                <a:gd name="T5" fmla="*/ 1985 h 4"/>
                <a:gd name="T6" fmla="*/ 7937 w 4"/>
                <a:gd name="T7" fmla="*/ 0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7" name="Oval 934"/>
            <p:cNvSpPr>
              <a:spLocks noChangeAspect="1" noChangeArrowheads="1"/>
            </p:cNvSpPr>
            <p:nvPr/>
          </p:nvSpPr>
          <p:spPr bwMode="auto">
            <a:xfrm>
              <a:off x="3018339" y="1749920"/>
              <a:ext cx="1602"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8" name="Freeform 935"/>
            <p:cNvSpPr>
              <a:spLocks noChangeAspect="1"/>
            </p:cNvSpPr>
            <p:nvPr/>
          </p:nvSpPr>
          <p:spPr bwMode="auto">
            <a:xfrm>
              <a:off x="3077602" y="1672539"/>
              <a:ext cx="6407" cy="3868"/>
            </a:xfrm>
            <a:custGeom>
              <a:avLst/>
              <a:gdLst>
                <a:gd name="T0" fmla="*/ 2117 w 3"/>
                <a:gd name="T1" fmla="*/ 3175 h 3"/>
                <a:gd name="T2" fmla="*/ 0 w 3"/>
                <a:gd name="T3" fmla="*/ 3175 h 3"/>
                <a:gd name="T4" fmla="*/ 2117 w 3"/>
                <a:gd name="T5" fmla="*/ 1587 h 3"/>
                <a:gd name="T6" fmla="*/ 4233 w 3"/>
                <a:gd name="T7" fmla="*/ 1587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9" name="Oval 936"/>
            <p:cNvSpPr>
              <a:spLocks noChangeAspect="1" noChangeArrowheads="1"/>
            </p:cNvSpPr>
            <p:nvPr/>
          </p:nvSpPr>
          <p:spPr bwMode="auto">
            <a:xfrm>
              <a:off x="2779684" y="2122636"/>
              <a:ext cx="3203" cy="386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0" name="Oval 937"/>
            <p:cNvSpPr>
              <a:spLocks noChangeAspect="1" noChangeArrowheads="1"/>
            </p:cNvSpPr>
            <p:nvPr/>
          </p:nvSpPr>
          <p:spPr bwMode="auto">
            <a:xfrm>
              <a:off x="2533021" y="2316088"/>
              <a:ext cx="1601"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1" name="Freeform 938"/>
            <p:cNvSpPr>
              <a:spLocks noChangeAspect="1"/>
            </p:cNvSpPr>
            <p:nvPr/>
          </p:nvSpPr>
          <p:spPr bwMode="auto">
            <a:xfrm>
              <a:off x="2355230" y="2377993"/>
              <a:ext cx="6407" cy="3869"/>
            </a:xfrm>
            <a:custGeom>
              <a:avLst/>
              <a:gdLst>
                <a:gd name="T0" fmla="*/ 4233 w 3"/>
                <a:gd name="T1" fmla="*/ 4763 h 2"/>
                <a:gd name="T2" fmla="*/ 2117 w 3"/>
                <a:gd name="T3" fmla="*/ 4763 h 2"/>
                <a:gd name="T4" fmla="*/ 2117 w 3"/>
                <a:gd name="T5" fmla="*/ 0 h 2"/>
                <a:gd name="T6" fmla="*/ 6350 w 3"/>
                <a:gd name="T7" fmla="*/ 0 h 2"/>
                <a:gd name="T8" fmla="*/ 4233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0"/>
                  </a:cubicBezTo>
                  <a:cubicBezTo>
                    <a:pt x="1" y="0"/>
                    <a:pt x="2" y="0"/>
                    <a:pt x="3" y="0"/>
                  </a:cubicBezTo>
                  <a:cubicBezTo>
                    <a:pt x="3"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2" name="Freeform 939"/>
            <p:cNvSpPr>
              <a:spLocks noChangeAspect="1"/>
            </p:cNvSpPr>
            <p:nvPr/>
          </p:nvSpPr>
          <p:spPr bwMode="auto">
            <a:xfrm>
              <a:off x="2428909" y="2354779"/>
              <a:ext cx="4806" cy="3869"/>
            </a:xfrm>
            <a:custGeom>
              <a:avLst/>
              <a:gdLst>
                <a:gd name="T0" fmla="*/ 3175 w 3"/>
                <a:gd name="T1" fmla="*/ 4763 h 2"/>
                <a:gd name="T2" fmla="*/ 0 w 3"/>
                <a:gd name="T3" fmla="*/ 2382 h 2"/>
                <a:gd name="T4" fmla="*/ 1588 w 3"/>
                <a:gd name="T5" fmla="*/ 0 h 2"/>
                <a:gd name="T6" fmla="*/ 4763 w 3"/>
                <a:gd name="T7" fmla="*/ 2382 h 2"/>
                <a:gd name="T8" fmla="*/ 3175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0" y="2"/>
                    <a:pt x="0" y="1"/>
                  </a:cubicBezTo>
                  <a:cubicBezTo>
                    <a:pt x="0" y="1"/>
                    <a:pt x="1" y="0"/>
                    <a:pt x="1" y="0"/>
                  </a:cubicBezTo>
                  <a:cubicBezTo>
                    <a:pt x="2" y="0"/>
                    <a:pt x="3" y="0"/>
                    <a:pt x="3" y="1"/>
                  </a:cubicBezTo>
                  <a:cubicBezTo>
                    <a:pt x="3"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3" name="Freeform 940"/>
            <p:cNvSpPr>
              <a:spLocks noChangeAspect="1"/>
            </p:cNvSpPr>
            <p:nvPr/>
          </p:nvSpPr>
          <p:spPr bwMode="auto">
            <a:xfrm>
              <a:off x="2246314" y="2492774"/>
              <a:ext cx="4806" cy="2579"/>
            </a:xfrm>
            <a:custGeom>
              <a:avLst/>
              <a:gdLst>
                <a:gd name="T0" fmla="*/ 3175 w 3"/>
                <a:gd name="T1" fmla="*/ 3175 h 2"/>
                <a:gd name="T2" fmla="*/ 0 w 3"/>
                <a:gd name="T3" fmla="*/ 3175 h 2"/>
                <a:gd name="T4" fmla="*/ 1588 w 3"/>
                <a:gd name="T5" fmla="*/ 0 h 2"/>
                <a:gd name="T6" fmla="*/ 4763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1" y="1"/>
                    <a:pt x="1" y="0"/>
                  </a:cubicBezTo>
                  <a:cubicBezTo>
                    <a:pt x="2" y="0"/>
                    <a:pt x="2" y="0"/>
                    <a:pt x="3"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4" name="Freeform 941"/>
            <p:cNvSpPr>
              <a:spLocks noChangeAspect="1"/>
            </p:cNvSpPr>
            <p:nvPr/>
          </p:nvSpPr>
          <p:spPr bwMode="auto">
            <a:xfrm>
              <a:off x="2563453" y="2379283"/>
              <a:ext cx="4806" cy="3868"/>
            </a:xfrm>
            <a:custGeom>
              <a:avLst/>
              <a:gdLst>
                <a:gd name="T0" fmla="*/ 3175 w 3"/>
                <a:gd name="T1" fmla="*/ 4762 h 2"/>
                <a:gd name="T2" fmla="*/ 1588 w 3"/>
                <a:gd name="T3" fmla="*/ 4762 h 2"/>
                <a:gd name="T4" fmla="*/ 1588 w 3"/>
                <a:gd name="T5" fmla="*/ 2381 h 2"/>
                <a:gd name="T6" fmla="*/ 3175 w 3"/>
                <a:gd name="T7" fmla="*/ 0 h 2"/>
                <a:gd name="T8" fmla="*/ 3175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2" y="2"/>
                    <a:pt x="1" y="2"/>
                    <a:pt x="1" y="2"/>
                  </a:cubicBezTo>
                  <a:cubicBezTo>
                    <a:pt x="0" y="2"/>
                    <a:pt x="1" y="1"/>
                    <a:pt x="1" y="1"/>
                  </a:cubicBezTo>
                  <a:cubicBezTo>
                    <a:pt x="1" y="0"/>
                    <a:pt x="2" y="0"/>
                    <a:pt x="2"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5" name="Freeform 942"/>
            <p:cNvSpPr>
              <a:spLocks noChangeAspect="1"/>
            </p:cNvSpPr>
            <p:nvPr/>
          </p:nvSpPr>
          <p:spPr bwMode="auto">
            <a:xfrm>
              <a:off x="2544231" y="2350910"/>
              <a:ext cx="3203" cy="3868"/>
            </a:xfrm>
            <a:custGeom>
              <a:avLst/>
              <a:gdLst>
                <a:gd name="T0" fmla="*/ 3175 w 2"/>
                <a:gd name="T1" fmla="*/ 3175 h 3"/>
                <a:gd name="T2" fmla="*/ 1588 w 2"/>
                <a:gd name="T3" fmla="*/ 4762 h 3"/>
                <a:gd name="T4" fmla="*/ 0 w 2"/>
                <a:gd name="T5" fmla="*/ 1587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1"/>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6" name="Freeform 943"/>
            <p:cNvSpPr>
              <a:spLocks noChangeAspect="1"/>
            </p:cNvSpPr>
            <p:nvPr/>
          </p:nvSpPr>
          <p:spPr bwMode="auto">
            <a:xfrm>
              <a:off x="2597088" y="2374125"/>
              <a:ext cx="6407" cy="2579"/>
            </a:xfrm>
            <a:custGeom>
              <a:avLst/>
              <a:gdLst>
                <a:gd name="T0" fmla="*/ 4233 w 3"/>
                <a:gd name="T1" fmla="*/ 1588 h 2"/>
                <a:gd name="T2" fmla="*/ 4233 w 3"/>
                <a:gd name="T3" fmla="*/ 1588 h 2"/>
                <a:gd name="T4" fmla="*/ 2117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1"/>
                  </a:cubicBezTo>
                  <a:cubicBezTo>
                    <a:pt x="2" y="2"/>
                    <a:pt x="2" y="2"/>
                    <a:pt x="1" y="2"/>
                  </a:cubicBezTo>
                  <a:cubicBezTo>
                    <a:pt x="1" y="2"/>
                    <a:pt x="0" y="2"/>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7" name="Freeform 944"/>
            <p:cNvSpPr>
              <a:spLocks noChangeAspect="1"/>
            </p:cNvSpPr>
            <p:nvPr/>
          </p:nvSpPr>
          <p:spPr bwMode="auto">
            <a:xfrm>
              <a:off x="2582672" y="2374125"/>
              <a:ext cx="3203" cy="1289"/>
            </a:xfrm>
            <a:custGeom>
              <a:avLst/>
              <a:gdLst>
                <a:gd name="T0" fmla="*/ 1588 w 2"/>
                <a:gd name="T1" fmla="*/ 0 h 1"/>
                <a:gd name="T2" fmla="*/ 3175 w 2"/>
                <a:gd name="T3" fmla="*/ 0 h 1"/>
                <a:gd name="T4" fmla="*/ 1588 w 2"/>
                <a:gd name="T5" fmla="*/ 1587 h 1"/>
                <a:gd name="T6" fmla="*/ 0 w 2"/>
                <a:gd name="T7" fmla="*/ 1587 h 1"/>
                <a:gd name="T8" fmla="*/ 1588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1" y="0"/>
                    <a:pt x="2" y="0"/>
                    <a:pt x="2" y="0"/>
                  </a:cubicBezTo>
                  <a:cubicBezTo>
                    <a:pt x="2" y="1"/>
                    <a:pt x="2" y="1"/>
                    <a:pt x="1" y="1"/>
                  </a:cubicBezTo>
                  <a:cubicBezTo>
                    <a:pt x="1" y="1"/>
                    <a:pt x="0" y="1"/>
                    <a:pt x="0" y="1"/>
                  </a:cubicBezTo>
                  <a:cubicBezTo>
                    <a:pt x="0" y="0"/>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8" name="Oval 945"/>
            <p:cNvSpPr>
              <a:spLocks noChangeAspect="1" noChangeArrowheads="1"/>
            </p:cNvSpPr>
            <p:nvPr/>
          </p:nvSpPr>
          <p:spPr bwMode="auto">
            <a:xfrm>
              <a:off x="2755658" y="2464402"/>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9" name="Freeform 946"/>
            <p:cNvSpPr>
              <a:spLocks noChangeAspect="1"/>
            </p:cNvSpPr>
            <p:nvPr/>
          </p:nvSpPr>
          <p:spPr bwMode="auto">
            <a:xfrm>
              <a:off x="2795701" y="2456663"/>
              <a:ext cx="6407" cy="5158"/>
            </a:xfrm>
            <a:custGeom>
              <a:avLst/>
              <a:gdLst>
                <a:gd name="T0" fmla="*/ 2117 w 3"/>
                <a:gd name="T1" fmla="*/ 6350 h 3"/>
                <a:gd name="T2" fmla="*/ 0 w 3"/>
                <a:gd name="T3" fmla="*/ 6350 h 3"/>
                <a:gd name="T4" fmla="*/ 2117 w 3"/>
                <a:gd name="T5" fmla="*/ 2117 h 3"/>
                <a:gd name="T6" fmla="*/ 4233 w 3"/>
                <a:gd name="T7" fmla="*/ 2117 h 3"/>
                <a:gd name="T8" fmla="*/ 2117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1" y="3"/>
                    <a:pt x="0" y="3"/>
                  </a:cubicBezTo>
                  <a:cubicBezTo>
                    <a:pt x="0" y="2"/>
                    <a:pt x="0" y="1"/>
                    <a:pt x="1" y="1"/>
                  </a:cubicBezTo>
                  <a:cubicBezTo>
                    <a:pt x="1" y="1"/>
                    <a:pt x="2" y="0"/>
                    <a:pt x="2" y="1"/>
                  </a:cubicBezTo>
                  <a:cubicBezTo>
                    <a:pt x="3" y="2"/>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0" name="Freeform 947"/>
            <p:cNvSpPr>
              <a:spLocks noChangeAspect="1"/>
            </p:cNvSpPr>
            <p:nvPr/>
          </p:nvSpPr>
          <p:spPr bwMode="auto">
            <a:xfrm>
              <a:off x="2827736" y="2482457"/>
              <a:ext cx="4805" cy="2579"/>
            </a:xfrm>
            <a:custGeom>
              <a:avLst/>
              <a:gdLst>
                <a:gd name="T0" fmla="*/ 2381 w 2"/>
                <a:gd name="T1" fmla="*/ 1588 h 2"/>
                <a:gd name="T2" fmla="*/ 0 w 2"/>
                <a:gd name="T3" fmla="*/ 1588 h 2"/>
                <a:gd name="T4" fmla="*/ 2381 w 2"/>
                <a:gd name="T5" fmla="*/ 0 h 2"/>
                <a:gd name="T6" fmla="*/ 4762 w 2"/>
                <a:gd name="T7" fmla="*/ 1588 h 2"/>
                <a:gd name="T8" fmla="*/ 2381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0" y="1"/>
                    <a:pt x="0" y="1"/>
                  </a:cubicBezTo>
                  <a:cubicBezTo>
                    <a:pt x="0" y="0"/>
                    <a:pt x="0" y="0"/>
                    <a:pt x="1" y="0"/>
                  </a:cubicBezTo>
                  <a:cubicBezTo>
                    <a:pt x="1" y="0"/>
                    <a:pt x="2" y="0"/>
                    <a:pt x="2" y="1"/>
                  </a:cubicBezTo>
                  <a:cubicBezTo>
                    <a:pt x="2" y="1"/>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1" name="Freeform 948"/>
            <p:cNvSpPr>
              <a:spLocks noChangeAspect="1"/>
            </p:cNvSpPr>
            <p:nvPr/>
          </p:nvSpPr>
          <p:spPr bwMode="auto">
            <a:xfrm>
              <a:off x="2827736" y="2468270"/>
              <a:ext cx="4805" cy="2579"/>
            </a:xfrm>
            <a:custGeom>
              <a:avLst/>
              <a:gdLst>
                <a:gd name="T0" fmla="*/ 4762 w 2"/>
                <a:gd name="T1" fmla="*/ 1588 h 2"/>
                <a:gd name="T2" fmla="*/ 4762 w 2"/>
                <a:gd name="T3" fmla="*/ 3175 h 2"/>
                <a:gd name="T4" fmla="*/ 2381 w 2"/>
                <a:gd name="T5" fmla="*/ 1588 h 2"/>
                <a:gd name="T6" fmla="*/ 2381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2" name="Freeform 949"/>
            <p:cNvSpPr>
              <a:spLocks noChangeAspect="1"/>
            </p:cNvSpPr>
            <p:nvPr/>
          </p:nvSpPr>
          <p:spPr bwMode="auto">
            <a:xfrm>
              <a:off x="2758861" y="2601108"/>
              <a:ext cx="4806" cy="2579"/>
            </a:xfrm>
            <a:custGeom>
              <a:avLst/>
              <a:gdLst>
                <a:gd name="T0" fmla="*/ 4763 w 2"/>
                <a:gd name="T1" fmla="*/ 1588 h 2"/>
                <a:gd name="T2" fmla="*/ 2382 w 2"/>
                <a:gd name="T3" fmla="*/ 3175 h 2"/>
                <a:gd name="T4" fmla="*/ 0 w 2"/>
                <a:gd name="T5" fmla="*/ 1588 h 2"/>
                <a:gd name="T6" fmla="*/ 2382 w 2"/>
                <a:gd name="T7" fmla="*/ 0 h 2"/>
                <a:gd name="T8" fmla="*/ 4763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3" name="Freeform 950"/>
            <p:cNvSpPr>
              <a:spLocks noChangeAspect="1"/>
            </p:cNvSpPr>
            <p:nvPr/>
          </p:nvSpPr>
          <p:spPr bwMode="auto">
            <a:xfrm>
              <a:off x="2832540" y="2585632"/>
              <a:ext cx="1602" cy="5158"/>
            </a:xfrm>
            <a:custGeom>
              <a:avLst/>
              <a:gdLst>
                <a:gd name="T0" fmla="*/ 1588 w 1"/>
                <a:gd name="T1" fmla="*/ 4233 h 3"/>
                <a:gd name="T2" fmla="*/ 1588 w 1"/>
                <a:gd name="T3" fmla="*/ 6350 h 3"/>
                <a:gd name="T4" fmla="*/ 0 w 1"/>
                <a:gd name="T5" fmla="*/ 2117 h 3"/>
                <a:gd name="T6" fmla="*/ 1588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4" name="Freeform 951"/>
            <p:cNvSpPr>
              <a:spLocks noChangeAspect="1"/>
            </p:cNvSpPr>
            <p:nvPr/>
          </p:nvSpPr>
          <p:spPr bwMode="auto">
            <a:xfrm>
              <a:off x="2840549" y="2567577"/>
              <a:ext cx="1601" cy="3868"/>
            </a:xfrm>
            <a:custGeom>
              <a:avLst/>
              <a:gdLst>
                <a:gd name="T0" fmla="*/ 1587 w 1"/>
                <a:gd name="T1" fmla="*/ 3175 h 3"/>
                <a:gd name="T2" fmla="*/ 0 w 1"/>
                <a:gd name="T3" fmla="*/ 4762 h 3"/>
                <a:gd name="T4" fmla="*/ 0 w 1"/>
                <a:gd name="T5" fmla="*/ 3175 h 3"/>
                <a:gd name="T6" fmla="*/ 1587 w 1"/>
                <a:gd name="T7" fmla="*/ 1587 h 3"/>
                <a:gd name="T8" fmla="*/ 1587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5" name="Freeform 952"/>
            <p:cNvSpPr>
              <a:spLocks noChangeAspect="1"/>
            </p:cNvSpPr>
            <p:nvPr/>
          </p:nvSpPr>
          <p:spPr bwMode="auto">
            <a:xfrm>
              <a:off x="2827736" y="2593370"/>
              <a:ext cx="4805" cy="5158"/>
            </a:xfrm>
            <a:custGeom>
              <a:avLst/>
              <a:gdLst>
                <a:gd name="T0" fmla="*/ 2381 w 2"/>
                <a:gd name="T1" fmla="*/ 4233 h 3"/>
                <a:gd name="T2" fmla="*/ 2381 w 2"/>
                <a:gd name="T3" fmla="*/ 6350 h 3"/>
                <a:gd name="T4" fmla="*/ 0 w 2"/>
                <a:gd name="T5" fmla="*/ 2117 h 3"/>
                <a:gd name="T6" fmla="*/ 2381 w 2"/>
                <a:gd name="T7" fmla="*/ 0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2"/>
                    <a:pt x="0" y="2"/>
                    <a:pt x="0" y="1"/>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6" name="Freeform 953"/>
            <p:cNvSpPr>
              <a:spLocks noChangeAspect="1"/>
            </p:cNvSpPr>
            <p:nvPr/>
          </p:nvSpPr>
          <p:spPr bwMode="auto">
            <a:xfrm>
              <a:off x="2850160" y="2611425"/>
              <a:ext cx="4805" cy="5158"/>
            </a:xfrm>
            <a:custGeom>
              <a:avLst/>
              <a:gdLst>
                <a:gd name="T0" fmla="*/ 3175 w 3"/>
                <a:gd name="T1" fmla="*/ 4233 h 3"/>
                <a:gd name="T2" fmla="*/ 0 w 3"/>
                <a:gd name="T3" fmla="*/ 4233 h 3"/>
                <a:gd name="T4" fmla="*/ 1587 w 3"/>
                <a:gd name="T5" fmla="*/ 2117 h 3"/>
                <a:gd name="T6" fmla="*/ 3175 w 3"/>
                <a:gd name="T7" fmla="*/ 2117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2"/>
                    <a:pt x="1" y="3"/>
                    <a:pt x="0" y="2"/>
                  </a:cubicBezTo>
                  <a:cubicBezTo>
                    <a:pt x="0" y="2"/>
                    <a:pt x="0" y="1"/>
                    <a:pt x="1" y="1"/>
                  </a:cubicBezTo>
                  <a:cubicBezTo>
                    <a:pt x="1" y="1"/>
                    <a:pt x="2" y="0"/>
                    <a:pt x="2"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7" name="Freeform 954"/>
            <p:cNvSpPr>
              <a:spLocks noChangeAspect="1"/>
            </p:cNvSpPr>
            <p:nvPr/>
          </p:nvSpPr>
          <p:spPr bwMode="auto">
            <a:xfrm>
              <a:off x="3103230" y="2848726"/>
              <a:ext cx="6407" cy="5158"/>
            </a:xfrm>
            <a:custGeom>
              <a:avLst/>
              <a:gdLst>
                <a:gd name="T0" fmla="*/ 4233 w 3"/>
                <a:gd name="T1" fmla="*/ 4233 h 3"/>
                <a:gd name="T2" fmla="*/ 2117 w 3"/>
                <a:gd name="T3" fmla="*/ 4233 h 3"/>
                <a:gd name="T4" fmla="*/ 2117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8" name="Freeform 955"/>
            <p:cNvSpPr>
              <a:spLocks noChangeAspect="1"/>
            </p:cNvSpPr>
            <p:nvPr/>
          </p:nvSpPr>
          <p:spPr bwMode="auto">
            <a:xfrm>
              <a:off x="2094152" y="2870650"/>
              <a:ext cx="3203" cy="3869"/>
            </a:xfrm>
            <a:custGeom>
              <a:avLst/>
              <a:gdLst>
                <a:gd name="T0" fmla="*/ 1588 w 2"/>
                <a:gd name="T1" fmla="*/ 3175 h 3"/>
                <a:gd name="T2" fmla="*/ 0 w 2"/>
                <a:gd name="T3" fmla="*/ 3175 h 3"/>
                <a:gd name="T4" fmla="*/ 0 w 2"/>
                <a:gd name="T5" fmla="*/ 1588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2"/>
                  </a:cubicBezTo>
                  <a:cubicBezTo>
                    <a:pt x="0" y="2"/>
                    <a:pt x="0" y="1"/>
                    <a:pt x="0" y="1"/>
                  </a:cubicBezTo>
                  <a:cubicBezTo>
                    <a:pt x="0" y="0"/>
                    <a:pt x="1" y="0"/>
                    <a:pt x="1" y="0"/>
                  </a:cubicBezTo>
                  <a:cubicBezTo>
                    <a:pt x="2" y="1"/>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9" name="Freeform 956"/>
            <p:cNvSpPr>
              <a:spLocks noChangeAspect="1"/>
            </p:cNvSpPr>
            <p:nvPr/>
          </p:nvSpPr>
          <p:spPr bwMode="auto">
            <a:xfrm>
              <a:off x="2114973" y="2865491"/>
              <a:ext cx="4806" cy="5158"/>
            </a:xfrm>
            <a:custGeom>
              <a:avLst/>
              <a:gdLst>
                <a:gd name="T0" fmla="*/ 4763 w 2"/>
                <a:gd name="T1" fmla="*/ 2117 h 3"/>
                <a:gd name="T2" fmla="*/ 4763 w 2"/>
                <a:gd name="T3" fmla="*/ 6350 h 3"/>
                <a:gd name="T4" fmla="*/ 2382 w 2"/>
                <a:gd name="T5" fmla="*/ 4233 h 3"/>
                <a:gd name="T6" fmla="*/ 0 w 2"/>
                <a:gd name="T7" fmla="*/ 2117 h 3"/>
                <a:gd name="T8" fmla="*/ 4763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3"/>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0" name="Freeform 957"/>
            <p:cNvSpPr>
              <a:spLocks noChangeAspect="1"/>
            </p:cNvSpPr>
            <p:nvPr/>
          </p:nvSpPr>
          <p:spPr bwMode="auto">
            <a:xfrm>
              <a:off x="2371247" y="2926107"/>
              <a:ext cx="3203" cy="2579"/>
            </a:xfrm>
            <a:custGeom>
              <a:avLst/>
              <a:gdLst>
                <a:gd name="T0" fmla="*/ 1588 w 2"/>
                <a:gd name="T1" fmla="*/ 3175 h 2"/>
                <a:gd name="T2" fmla="*/ 0 w 2"/>
                <a:gd name="T3" fmla="*/ 3175 h 2"/>
                <a:gd name="T4" fmla="*/ 1588 w 2"/>
                <a:gd name="T5" fmla="*/ 0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1" name="Freeform 958"/>
            <p:cNvSpPr>
              <a:spLocks noChangeAspect="1"/>
            </p:cNvSpPr>
            <p:nvPr/>
          </p:nvSpPr>
          <p:spPr bwMode="auto">
            <a:xfrm>
              <a:off x="2376053" y="2923527"/>
              <a:ext cx="6407" cy="2579"/>
            </a:xfrm>
            <a:custGeom>
              <a:avLst/>
              <a:gdLst>
                <a:gd name="T0" fmla="*/ 2117 w 3"/>
                <a:gd name="T1" fmla="*/ 3175 h 2"/>
                <a:gd name="T2" fmla="*/ 0 w 3"/>
                <a:gd name="T3" fmla="*/ 1588 h 2"/>
                <a:gd name="T4" fmla="*/ 2117 w 3"/>
                <a:gd name="T5" fmla="*/ 0 h 2"/>
                <a:gd name="T6" fmla="*/ 4233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2" name="Freeform 959"/>
            <p:cNvSpPr>
              <a:spLocks noChangeAspect="1"/>
            </p:cNvSpPr>
            <p:nvPr/>
          </p:nvSpPr>
          <p:spPr bwMode="auto">
            <a:xfrm>
              <a:off x="2622716" y="3943663"/>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3" name="Freeform 960"/>
            <p:cNvSpPr>
              <a:spLocks noChangeAspect="1"/>
            </p:cNvSpPr>
            <p:nvPr/>
          </p:nvSpPr>
          <p:spPr bwMode="auto">
            <a:xfrm>
              <a:off x="2624317" y="3852096"/>
              <a:ext cx="4806" cy="3868"/>
            </a:xfrm>
            <a:custGeom>
              <a:avLst/>
              <a:gdLst>
                <a:gd name="T0" fmla="*/ 4763 w 2"/>
                <a:gd name="T1" fmla="*/ 3175 h 3"/>
                <a:gd name="T2" fmla="*/ 2382 w 2"/>
                <a:gd name="T3" fmla="*/ 4762 h 3"/>
                <a:gd name="T4" fmla="*/ 0 w 2"/>
                <a:gd name="T5" fmla="*/ 3175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4" name="Freeform 961"/>
            <p:cNvSpPr>
              <a:spLocks noChangeAspect="1"/>
            </p:cNvSpPr>
            <p:nvPr/>
          </p:nvSpPr>
          <p:spPr bwMode="auto">
            <a:xfrm>
              <a:off x="2601894" y="3906262"/>
              <a:ext cx="3203" cy="2579"/>
            </a:xfrm>
            <a:custGeom>
              <a:avLst/>
              <a:gdLst>
                <a:gd name="T0" fmla="*/ 1588 w 2"/>
                <a:gd name="T1" fmla="*/ 3175 h 2"/>
                <a:gd name="T2" fmla="*/ 0 w 2"/>
                <a:gd name="T3" fmla="*/ 3175 h 2"/>
                <a:gd name="T4" fmla="*/ 0 w 2"/>
                <a:gd name="T5" fmla="*/ 1588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2" y="0"/>
                    <a:pt x="2" y="0"/>
                  </a:cubicBezTo>
                  <a:cubicBezTo>
                    <a:pt x="2"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5" name="Freeform 962"/>
            <p:cNvSpPr>
              <a:spLocks noChangeAspect="1"/>
            </p:cNvSpPr>
            <p:nvPr/>
          </p:nvSpPr>
          <p:spPr bwMode="auto">
            <a:xfrm>
              <a:off x="2609902" y="3920449"/>
              <a:ext cx="4805" cy="2579"/>
            </a:xfrm>
            <a:custGeom>
              <a:avLst/>
              <a:gdLst>
                <a:gd name="T0" fmla="*/ 3175 w 3"/>
                <a:gd name="T1" fmla="*/ 3175 h 2"/>
                <a:gd name="T2" fmla="*/ 0 w 3"/>
                <a:gd name="T3" fmla="*/ 1588 h 2"/>
                <a:gd name="T4" fmla="*/ 1587 w 3"/>
                <a:gd name="T5" fmla="*/ 0 h 2"/>
                <a:gd name="T6" fmla="*/ 4762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1"/>
                  </a:cubicBezTo>
                  <a:cubicBezTo>
                    <a:pt x="0" y="1"/>
                    <a:pt x="1" y="0"/>
                    <a:pt x="1" y="0"/>
                  </a:cubicBezTo>
                  <a:cubicBezTo>
                    <a:pt x="2" y="0"/>
                    <a:pt x="3" y="0"/>
                    <a:pt x="3" y="1"/>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6" name="Freeform 963"/>
            <p:cNvSpPr>
              <a:spLocks noChangeAspect="1"/>
            </p:cNvSpPr>
            <p:nvPr/>
          </p:nvSpPr>
          <p:spPr bwMode="auto">
            <a:xfrm>
              <a:off x="2605098" y="3925607"/>
              <a:ext cx="6407" cy="3869"/>
            </a:xfrm>
            <a:custGeom>
              <a:avLst/>
              <a:gdLst>
                <a:gd name="T0" fmla="*/ 2117 w 3"/>
                <a:gd name="T1" fmla="*/ 4763 h 2"/>
                <a:gd name="T2" fmla="*/ 0 w 3"/>
                <a:gd name="T3" fmla="*/ 4763 h 2"/>
                <a:gd name="T4" fmla="*/ 2117 w 3"/>
                <a:gd name="T5" fmla="*/ 2382 h 2"/>
                <a:gd name="T6" fmla="*/ 4233 w 3"/>
                <a:gd name="T7" fmla="*/ 0 h 2"/>
                <a:gd name="T8" fmla="*/ 2117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1"/>
                    <a:pt x="1" y="1"/>
                  </a:cubicBezTo>
                  <a:cubicBezTo>
                    <a:pt x="1" y="0"/>
                    <a:pt x="2" y="0"/>
                    <a:pt x="2" y="0"/>
                  </a:cubicBezTo>
                  <a:cubicBezTo>
                    <a:pt x="3"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7" name="Freeform 964"/>
            <p:cNvSpPr>
              <a:spLocks noChangeAspect="1"/>
            </p:cNvSpPr>
            <p:nvPr/>
          </p:nvSpPr>
          <p:spPr bwMode="auto">
            <a:xfrm>
              <a:off x="2621115" y="3912711"/>
              <a:ext cx="3203" cy="3869"/>
            </a:xfrm>
            <a:custGeom>
              <a:avLst/>
              <a:gdLst>
                <a:gd name="T0" fmla="*/ 1588 w 2"/>
                <a:gd name="T1" fmla="*/ 3175 h 3"/>
                <a:gd name="T2" fmla="*/ 1588 w 2"/>
                <a:gd name="T3" fmla="*/ 4763 h 3"/>
                <a:gd name="T4" fmla="*/ 0 w 2"/>
                <a:gd name="T5" fmla="*/ 3175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8" name="Oval 965"/>
            <p:cNvSpPr>
              <a:spLocks noChangeAspect="1" noChangeArrowheads="1"/>
            </p:cNvSpPr>
            <p:nvPr/>
          </p:nvSpPr>
          <p:spPr bwMode="auto">
            <a:xfrm>
              <a:off x="2619513" y="3916580"/>
              <a:ext cx="1601"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9" name="Freeform 966"/>
            <p:cNvSpPr>
              <a:spLocks noChangeAspect="1"/>
            </p:cNvSpPr>
            <p:nvPr/>
          </p:nvSpPr>
          <p:spPr bwMode="auto">
            <a:xfrm>
              <a:off x="2619513" y="3894655"/>
              <a:ext cx="3203" cy="5158"/>
            </a:xfrm>
            <a:custGeom>
              <a:avLst/>
              <a:gdLst>
                <a:gd name="T0" fmla="*/ 3175 w 2"/>
                <a:gd name="T1" fmla="*/ 4233 h 3"/>
                <a:gd name="T2" fmla="*/ 3175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2" y="3"/>
                  </a:cubicBezTo>
                  <a:cubicBezTo>
                    <a:pt x="1" y="3"/>
                    <a:pt x="1" y="3"/>
                    <a:pt x="0" y="2"/>
                  </a:cubicBezTo>
                  <a:cubicBezTo>
                    <a:pt x="0" y="2"/>
                    <a:pt x="0" y="1"/>
                    <a:pt x="1" y="1"/>
                  </a:cubicBezTo>
                  <a:cubicBezTo>
                    <a:pt x="1"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0" name="Freeform 967"/>
            <p:cNvSpPr>
              <a:spLocks noChangeAspect="1"/>
            </p:cNvSpPr>
            <p:nvPr/>
          </p:nvSpPr>
          <p:spPr bwMode="auto">
            <a:xfrm>
              <a:off x="2616310" y="3933346"/>
              <a:ext cx="4805" cy="3869"/>
            </a:xfrm>
            <a:custGeom>
              <a:avLst/>
              <a:gdLst>
                <a:gd name="T0" fmla="*/ 2381 w 2"/>
                <a:gd name="T1" fmla="*/ 0 h 2"/>
                <a:gd name="T2" fmla="*/ 4762 w 2"/>
                <a:gd name="T3" fmla="*/ 2382 h 2"/>
                <a:gd name="T4" fmla="*/ 2381 w 2"/>
                <a:gd name="T5" fmla="*/ 2382 h 2"/>
                <a:gd name="T6" fmla="*/ 0 w 2"/>
                <a:gd name="T7" fmla="*/ 0 h 2"/>
                <a:gd name="T8" fmla="*/ 238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1"/>
                  </a:cubicBezTo>
                  <a:cubicBezTo>
                    <a:pt x="2" y="2"/>
                    <a:pt x="1" y="2"/>
                    <a:pt x="1" y="1"/>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1" name="Freeform 968"/>
            <p:cNvSpPr>
              <a:spLocks noChangeAspect="1"/>
            </p:cNvSpPr>
            <p:nvPr/>
          </p:nvSpPr>
          <p:spPr bwMode="auto">
            <a:xfrm>
              <a:off x="2614708" y="3929477"/>
              <a:ext cx="6407" cy="2579"/>
            </a:xfrm>
            <a:custGeom>
              <a:avLst/>
              <a:gdLst>
                <a:gd name="T0" fmla="*/ 4233 w 3"/>
                <a:gd name="T1" fmla="*/ 0 h 2"/>
                <a:gd name="T2" fmla="*/ 4233 w 3"/>
                <a:gd name="T3" fmla="*/ 1588 h 2"/>
                <a:gd name="T4" fmla="*/ 2117 w 3"/>
                <a:gd name="T5" fmla="*/ 1588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1"/>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2" name="Freeform 969"/>
            <p:cNvSpPr>
              <a:spLocks noChangeAspect="1"/>
            </p:cNvSpPr>
            <p:nvPr/>
          </p:nvSpPr>
          <p:spPr bwMode="auto">
            <a:xfrm>
              <a:off x="2614708" y="3924318"/>
              <a:ext cx="6407" cy="3868"/>
            </a:xfrm>
            <a:custGeom>
              <a:avLst/>
              <a:gdLst>
                <a:gd name="T0" fmla="*/ 4233 w 3"/>
                <a:gd name="T1" fmla="*/ 0 h 2"/>
                <a:gd name="T2" fmla="*/ 6350 w 3"/>
                <a:gd name="T3" fmla="*/ 2381 h 2"/>
                <a:gd name="T4" fmla="*/ 4233 w 3"/>
                <a:gd name="T5" fmla="*/ 4762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1"/>
                    <a:pt x="0" y="1"/>
                    <a:pt x="0" y="0"/>
                  </a:cubicBezTo>
                  <a:cubicBezTo>
                    <a:pt x="1"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3" name="Oval 970"/>
            <p:cNvSpPr>
              <a:spLocks noChangeAspect="1" noChangeArrowheads="1"/>
            </p:cNvSpPr>
            <p:nvPr/>
          </p:nvSpPr>
          <p:spPr bwMode="auto">
            <a:xfrm>
              <a:off x="2587479" y="3916580"/>
              <a:ext cx="3203" cy="386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4" name="Freeform 971"/>
            <p:cNvSpPr>
              <a:spLocks noChangeAspect="1"/>
            </p:cNvSpPr>
            <p:nvPr/>
          </p:nvSpPr>
          <p:spPr bwMode="auto">
            <a:xfrm>
              <a:off x="2587479" y="3885628"/>
              <a:ext cx="6407" cy="5158"/>
            </a:xfrm>
            <a:custGeom>
              <a:avLst/>
              <a:gdLst>
                <a:gd name="T0" fmla="*/ 4233 w 3"/>
                <a:gd name="T1" fmla="*/ 4233 h 3"/>
                <a:gd name="T2" fmla="*/ 0 w 3"/>
                <a:gd name="T3" fmla="*/ 4233 h 3"/>
                <a:gd name="T4" fmla="*/ 2117 w 3"/>
                <a:gd name="T5" fmla="*/ 2117 h 3"/>
                <a:gd name="T6" fmla="*/ 4233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2"/>
                  </a:cubicBezTo>
                  <a:cubicBezTo>
                    <a:pt x="0" y="2"/>
                    <a:pt x="1" y="1"/>
                    <a:pt x="1" y="1"/>
                  </a:cubicBezTo>
                  <a:cubicBezTo>
                    <a:pt x="1" y="1"/>
                    <a:pt x="2" y="0"/>
                    <a:pt x="2" y="1"/>
                  </a:cubicBezTo>
                  <a:cubicBezTo>
                    <a:pt x="3" y="2"/>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5" name="Freeform 972"/>
            <p:cNvSpPr>
              <a:spLocks noChangeAspect="1"/>
            </p:cNvSpPr>
            <p:nvPr/>
          </p:nvSpPr>
          <p:spPr bwMode="auto">
            <a:xfrm>
              <a:off x="2635530" y="3995250"/>
              <a:ext cx="6407" cy="5158"/>
            </a:xfrm>
            <a:custGeom>
              <a:avLst/>
              <a:gdLst>
                <a:gd name="T0" fmla="*/ 6350 w 3"/>
                <a:gd name="T1" fmla="*/ 4233 h 3"/>
                <a:gd name="T2" fmla="*/ 2117 w 3"/>
                <a:gd name="T3" fmla="*/ 6350 h 3"/>
                <a:gd name="T4" fmla="*/ 0 w 3"/>
                <a:gd name="T5" fmla="*/ 4233 h 3"/>
                <a:gd name="T6" fmla="*/ 2117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2"/>
                  </a:cubicBezTo>
                  <a:cubicBezTo>
                    <a:pt x="0" y="1"/>
                    <a:pt x="0" y="0"/>
                    <a:pt x="1"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6" name="Freeform 973"/>
            <p:cNvSpPr>
              <a:spLocks noChangeAspect="1"/>
            </p:cNvSpPr>
            <p:nvPr/>
          </p:nvSpPr>
          <p:spPr bwMode="auto">
            <a:xfrm>
              <a:off x="2597088" y="4022334"/>
              <a:ext cx="4805" cy="2579"/>
            </a:xfrm>
            <a:custGeom>
              <a:avLst/>
              <a:gdLst>
                <a:gd name="T0" fmla="*/ 4762 w 2"/>
                <a:gd name="T1" fmla="*/ 1588 h 2"/>
                <a:gd name="T2" fmla="*/ 2381 w 2"/>
                <a:gd name="T3" fmla="*/ 3175 h 2"/>
                <a:gd name="T4" fmla="*/ 0 w 2"/>
                <a:gd name="T5" fmla="*/ 3175 h 2"/>
                <a:gd name="T6" fmla="*/ 0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0" y="2"/>
                    <a:pt x="0" y="2"/>
                  </a:cubicBezTo>
                  <a:cubicBezTo>
                    <a:pt x="0" y="1"/>
                    <a:pt x="0" y="0"/>
                    <a:pt x="0" y="0"/>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7" name="Freeform 974"/>
            <p:cNvSpPr>
              <a:spLocks noChangeAspect="1"/>
            </p:cNvSpPr>
            <p:nvPr/>
          </p:nvSpPr>
          <p:spPr bwMode="auto">
            <a:xfrm>
              <a:off x="2595487" y="4027493"/>
              <a:ext cx="4806" cy="3868"/>
            </a:xfrm>
            <a:custGeom>
              <a:avLst/>
              <a:gdLst>
                <a:gd name="T0" fmla="*/ 2382 w 2"/>
                <a:gd name="T1" fmla="*/ 3175 h 3"/>
                <a:gd name="T2" fmla="*/ 2382 w 2"/>
                <a:gd name="T3" fmla="*/ 4762 h 3"/>
                <a:gd name="T4" fmla="*/ 0 w 2"/>
                <a:gd name="T5" fmla="*/ 3175 h 3"/>
                <a:gd name="T6" fmla="*/ 2382 w 2"/>
                <a:gd name="T7" fmla="*/ 0 h 3"/>
                <a:gd name="T8" fmla="*/ 238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1"/>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8" name="Freeform 975"/>
            <p:cNvSpPr>
              <a:spLocks noChangeAspect="1"/>
            </p:cNvSpPr>
            <p:nvPr/>
          </p:nvSpPr>
          <p:spPr bwMode="auto">
            <a:xfrm>
              <a:off x="2601894" y="4019755"/>
              <a:ext cx="3203" cy="3868"/>
            </a:xfrm>
            <a:custGeom>
              <a:avLst/>
              <a:gdLst>
                <a:gd name="T0" fmla="*/ 3175 w 2"/>
                <a:gd name="T1" fmla="*/ 3175 h 3"/>
                <a:gd name="T2" fmla="*/ 1588 w 2"/>
                <a:gd name="T3" fmla="*/ 4762 h 3"/>
                <a:gd name="T4" fmla="*/ 0 w 2"/>
                <a:gd name="T5" fmla="*/ 3175 h 3"/>
                <a:gd name="T6" fmla="*/ 1588 w 2"/>
                <a:gd name="T7" fmla="*/ 1587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9" name="Freeform 976"/>
            <p:cNvSpPr>
              <a:spLocks noChangeAspect="1"/>
            </p:cNvSpPr>
            <p:nvPr/>
          </p:nvSpPr>
          <p:spPr bwMode="auto">
            <a:xfrm>
              <a:off x="2603496" y="4014596"/>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0" name="Freeform 977"/>
            <p:cNvSpPr>
              <a:spLocks noChangeAspect="1"/>
            </p:cNvSpPr>
            <p:nvPr/>
          </p:nvSpPr>
          <p:spPr bwMode="auto">
            <a:xfrm>
              <a:off x="2605098" y="4024914"/>
              <a:ext cx="4806" cy="5158"/>
            </a:xfrm>
            <a:custGeom>
              <a:avLst/>
              <a:gdLst>
                <a:gd name="T0" fmla="*/ 4763 w 2"/>
                <a:gd name="T1" fmla="*/ 4233 h 3"/>
                <a:gd name="T2" fmla="*/ 2382 w 2"/>
                <a:gd name="T3" fmla="*/ 6350 h 3"/>
                <a:gd name="T4" fmla="*/ 0 w 2"/>
                <a:gd name="T5" fmla="*/ 4233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1" name="Oval 978"/>
            <p:cNvSpPr>
              <a:spLocks noChangeAspect="1" noChangeArrowheads="1"/>
            </p:cNvSpPr>
            <p:nvPr/>
          </p:nvSpPr>
          <p:spPr bwMode="auto">
            <a:xfrm>
              <a:off x="2603496" y="4001699"/>
              <a:ext cx="1601"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2" name="Freeform 979"/>
            <p:cNvSpPr>
              <a:spLocks noChangeAspect="1"/>
            </p:cNvSpPr>
            <p:nvPr/>
          </p:nvSpPr>
          <p:spPr bwMode="auto">
            <a:xfrm>
              <a:off x="2597088" y="3990092"/>
              <a:ext cx="6407" cy="2579"/>
            </a:xfrm>
            <a:custGeom>
              <a:avLst/>
              <a:gdLst>
                <a:gd name="T0" fmla="*/ 2117 w 3"/>
                <a:gd name="T1" fmla="*/ 1588 h 2"/>
                <a:gd name="T2" fmla="*/ 0 w 3"/>
                <a:gd name="T3" fmla="*/ 1588 h 2"/>
                <a:gd name="T4" fmla="*/ 2117 w 3"/>
                <a:gd name="T5" fmla="*/ 0 h 2"/>
                <a:gd name="T6" fmla="*/ 6350 w 3"/>
                <a:gd name="T7" fmla="*/ 0 h 2"/>
                <a:gd name="T8" fmla="*/ 2117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2" y="0"/>
                    <a:pt x="3"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3" name="Freeform 980"/>
            <p:cNvSpPr>
              <a:spLocks noChangeAspect="1"/>
            </p:cNvSpPr>
            <p:nvPr/>
          </p:nvSpPr>
          <p:spPr bwMode="auto">
            <a:xfrm>
              <a:off x="2611503" y="3972036"/>
              <a:ext cx="3203" cy="5158"/>
            </a:xfrm>
            <a:custGeom>
              <a:avLst/>
              <a:gdLst>
                <a:gd name="T0" fmla="*/ 1588 w 2"/>
                <a:gd name="T1" fmla="*/ 6350 h 3"/>
                <a:gd name="T2" fmla="*/ 0 w 2"/>
                <a:gd name="T3" fmla="*/ 6350 h 3"/>
                <a:gd name="T4" fmla="*/ 0 w 2"/>
                <a:gd name="T5" fmla="*/ 2117 h 3"/>
                <a:gd name="T6" fmla="*/ 3175 w 2"/>
                <a:gd name="T7" fmla="*/ 2117 h 3"/>
                <a:gd name="T8" fmla="*/ 1588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2"/>
                    <a:pt x="0" y="2"/>
                    <a:pt x="0" y="1"/>
                  </a:cubicBezTo>
                  <a:cubicBezTo>
                    <a:pt x="1" y="1"/>
                    <a:pt x="1" y="0"/>
                    <a:pt x="2" y="1"/>
                  </a:cubicBezTo>
                  <a:cubicBezTo>
                    <a:pt x="2" y="1"/>
                    <a:pt x="2"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4" name="Freeform 981"/>
            <p:cNvSpPr>
              <a:spLocks noChangeAspect="1"/>
            </p:cNvSpPr>
            <p:nvPr/>
          </p:nvSpPr>
          <p:spPr bwMode="auto">
            <a:xfrm>
              <a:off x="2606700" y="4053286"/>
              <a:ext cx="6407" cy="2579"/>
            </a:xfrm>
            <a:custGeom>
              <a:avLst/>
              <a:gdLst>
                <a:gd name="T0" fmla="*/ 4233 w 3"/>
                <a:gd name="T1" fmla="*/ 1588 h 2"/>
                <a:gd name="T2" fmla="*/ 4233 w 3"/>
                <a:gd name="T3" fmla="*/ 3175 h 2"/>
                <a:gd name="T4" fmla="*/ 2117 w 3"/>
                <a:gd name="T5" fmla="*/ 3175 h 2"/>
                <a:gd name="T6" fmla="*/ 0 w 3"/>
                <a:gd name="T7" fmla="*/ 0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0" y="1"/>
                    <a:pt x="0" y="1"/>
                    <a:pt x="0"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5" name="Freeform 982"/>
            <p:cNvSpPr>
              <a:spLocks noChangeAspect="1"/>
            </p:cNvSpPr>
            <p:nvPr/>
          </p:nvSpPr>
          <p:spPr bwMode="auto">
            <a:xfrm>
              <a:off x="2638734" y="4086817"/>
              <a:ext cx="3203" cy="5158"/>
            </a:xfrm>
            <a:custGeom>
              <a:avLst/>
              <a:gdLst>
                <a:gd name="T0" fmla="*/ 3175 w 2"/>
                <a:gd name="T1" fmla="*/ 2117 h 3"/>
                <a:gd name="T2" fmla="*/ 1588 w 2"/>
                <a:gd name="T3" fmla="*/ 6350 h 3"/>
                <a:gd name="T4" fmla="*/ 0 w 2"/>
                <a:gd name="T5" fmla="*/ 4233 h 3"/>
                <a:gd name="T6" fmla="*/ 0 w 2"/>
                <a:gd name="T7" fmla="*/ 0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3"/>
                  </a:cubicBezTo>
                  <a:cubicBezTo>
                    <a:pt x="1" y="3"/>
                    <a:pt x="0" y="2"/>
                    <a:pt x="0" y="2"/>
                  </a:cubicBezTo>
                  <a:cubicBezTo>
                    <a:pt x="0" y="1"/>
                    <a:pt x="0" y="0"/>
                    <a:pt x="0" y="0"/>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6" name="Freeform 983"/>
            <p:cNvSpPr>
              <a:spLocks noChangeAspect="1"/>
            </p:cNvSpPr>
            <p:nvPr/>
          </p:nvSpPr>
          <p:spPr bwMode="auto">
            <a:xfrm>
              <a:off x="2621115" y="4062314"/>
              <a:ext cx="3203" cy="5158"/>
            </a:xfrm>
            <a:custGeom>
              <a:avLst/>
              <a:gdLst>
                <a:gd name="T0" fmla="*/ 3175 w 2"/>
                <a:gd name="T1" fmla="*/ 4233 h 3"/>
                <a:gd name="T2" fmla="*/ 1588 w 2"/>
                <a:gd name="T3" fmla="*/ 4233 h 3"/>
                <a:gd name="T4" fmla="*/ 1588 w 2"/>
                <a:gd name="T5" fmla="*/ 2117 h 3"/>
                <a:gd name="T6" fmla="*/ 3175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1" y="1"/>
                  </a:cubicBezTo>
                  <a:cubicBezTo>
                    <a:pt x="1" y="1"/>
                    <a:pt x="1" y="0"/>
                    <a:pt x="2"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7" name="Freeform 984"/>
            <p:cNvSpPr>
              <a:spLocks noChangeAspect="1"/>
            </p:cNvSpPr>
            <p:nvPr/>
          </p:nvSpPr>
          <p:spPr bwMode="auto">
            <a:xfrm>
              <a:off x="2629124" y="4112611"/>
              <a:ext cx="4805" cy="2579"/>
            </a:xfrm>
            <a:custGeom>
              <a:avLst/>
              <a:gdLst>
                <a:gd name="T0" fmla="*/ 1587 w 3"/>
                <a:gd name="T1" fmla="*/ 3175 h 2"/>
                <a:gd name="T2" fmla="*/ 0 w 3"/>
                <a:gd name="T3" fmla="*/ 1588 h 2"/>
                <a:gd name="T4" fmla="*/ 1587 w 3"/>
                <a:gd name="T5" fmla="*/ 0 h 2"/>
                <a:gd name="T6" fmla="*/ 4762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8" name="Freeform 985"/>
            <p:cNvSpPr>
              <a:spLocks noChangeAspect="1"/>
            </p:cNvSpPr>
            <p:nvPr/>
          </p:nvSpPr>
          <p:spPr bwMode="auto">
            <a:xfrm>
              <a:off x="2818125" y="4201599"/>
              <a:ext cx="6407" cy="5158"/>
            </a:xfrm>
            <a:custGeom>
              <a:avLst/>
              <a:gdLst>
                <a:gd name="T0" fmla="*/ 4233 w 3"/>
                <a:gd name="T1" fmla="*/ 4233 h 3"/>
                <a:gd name="T2" fmla="*/ 2117 w 3"/>
                <a:gd name="T3" fmla="*/ 4233 h 3"/>
                <a:gd name="T4" fmla="*/ 2117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1"/>
                    <a:pt x="2" y="0"/>
                    <a:pt x="2" y="0"/>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9" name="Freeform 986"/>
            <p:cNvSpPr>
              <a:spLocks noChangeAspect="1"/>
            </p:cNvSpPr>
            <p:nvPr/>
          </p:nvSpPr>
          <p:spPr bwMode="auto">
            <a:xfrm>
              <a:off x="2806913" y="4222234"/>
              <a:ext cx="6407" cy="2579"/>
            </a:xfrm>
            <a:custGeom>
              <a:avLst/>
              <a:gdLst>
                <a:gd name="T0" fmla="*/ 2117 w 3"/>
                <a:gd name="T1" fmla="*/ 3175 h 2"/>
                <a:gd name="T2" fmla="*/ 0 w 3"/>
                <a:gd name="T3" fmla="*/ 3175 h 2"/>
                <a:gd name="T4" fmla="*/ 2117 w 3"/>
                <a:gd name="T5" fmla="*/ 0 h 2"/>
                <a:gd name="T6" fmla="*/ 4233 w 3"/>
                <a:gd name="T7" fmla="*/ 0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0"/>
                    <a:pt x="1" y="0"/>
                  </a:cubicBezTo>
                  <a:cubicBezTo>
                    <a:pt x="1" y="0"/>
                    <a:pt x="2" y="0"/>
                    <a:pt x="2" y="0"/>
                  </a:cubicBezTo>
                  <a:cubicBezTo>
                    <a:pt x="3"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0" name="Freeform 987"/>
            <p:cNvSpPr>
              <a:spLocks noChangeAspect="1"/>
            </p:cNvSpPr>
            <p:nvPr/>
          </p:nvSpPr>
          <p:spPr bwMode="auto">
            <a:xfrm>
              <a:off x="2770074" y="4128088"/>
              <a:ext cx="91296" cy="69643"/>
            </a:xfrm>
            <a:custGeom>
              <a:avLst/>
              <a:gdLst>
                <a:gd name="T0" fmla="*/ 46206 w 47"/>
                <a:gd name="T1" fmla="*/ 83820 h 45"/>
                <a:gd name="T2" fmla="*/ 69309 w 47"/>
                <a:gd name="T3" fmla="*/ 85725 h 45"/>
                <a:gd name="T4" fmla="*/ 88562 w 47"/>
                <a:gd name="T5" fmla="*/ 76200 h 45"/>
                <a:gd name="T6" fmla="*/ 88562 w 47"/>
                <a:gd name="T7" fmla="*/ 70485 h 45"/>
                <a:gd name="T8" fmla="*/ 71234 w 47"/>
                <a:gd name="T9" fmla="*/ 68580 h 45"/>
                <a:gd name="T10" fmla="*/ 51982 w 47"/>
                <a:gd name="T11" fmla="*/ 57150 h 45"/>
                <a:gd name="T12" fmla="*/ 26954 w 47"/>
                <a:gd name="T13" fmla="*/ 40005 h 45"/>
                <a:gd name="T14" fmla="*/ 13477 w 47"/>
                <a:gd name="T15" fmla="*/ 26670 h 45"/>
                <a:gd name="T16" fmla="*/ 7701 w 47"/>
                <a:gd name="T17" fmla="*/ 19050 h 45"/>
                <a:gd name="T18" fmla="*/ 11552 w 47"/>
                <a:gd name="T19" fmla="*/ 13335 h 45"/>
                <a:gd name="T20" fmla="*/ 5776 w 47"/>
                <a:gd name="T21" fmla="*/ 1905 h 45"/>
                <a:gd name="T22" fmla="*/ 0 w 47"/>
                <a:gd name="T23" fmla="*/ 0 h 45"/>
                <a:gd name="T24" fmla="*/ 11552 w 47"/>
                <a:gd name="T25" fmla="*/ 76200 h 45"/>
                <a:gd name="T26" fmla="*/ 19253 w 47"/>
                <a:gd name="T27" fmla="*/ 76200 h 45"/>
                <a:gd name="T28" fmla="*/ 26954 w 47"/>
                <a:gd name="T29" fmla="*/ 80010 h 45"/>
                <a:gd name="T30" fmla="*/ 38505 w 47"/>
                <a:gd name="T31" fmla="*/ 80010 h 45"/>
                <a:gd name="T32" fmla="*/ 46206 w 47"/>
                <a:gd name="T33" fmla="*/ 8382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1" name="Freeform 988"/>
            <p:cNvSpPr>
              <a:spLocks noChangeAspect="1"/>
            </p:cNvSpPr>
            <p:nvPr/>
          </p:nvSpPr>
          <p:spPr bwMode="auto">
            <a:xfrm>
              <a:off x="2797302" y="4192571"/>
              <a:ext cx="20823" cy="10318"/>
            </a:xfrm>
            <a:custGeom>
              <a:avLst/>
              <a:gdLst>
                <a:gd name="T0" fmla="*/ 18762 w 11"/>
                <a:gd name="T1" fmla="*/ 3629 h 7"/>
                <a:gd name="T2" fmla="*/ 18762 w 11"/>
                <a:gd name="T3" fmla="*/ 12700 h 7"/>
                <a:gd name="T4" fmla="*/ 11257 w 11"/>
                <a:gd name="T5" fmla="*/ 9071 h 7"/>
                <a:gd name="T6" fmla="*/ 1876 w 11"/>
                <a:gd name="T7" fmla="*/ 10886 h 7"/>
                <a:gd name="T8" fmla="*/ 0 w 11"/>
                <a:gd name="T9" fmla="*/ 5443 h 7"/>
                <a:gd name="T10" fmla="*/ 0 w 11"/>
                <a:gd name="T11" fmla="*/ 0 h 7"/>
                <a:gd name="T12" fmla="*/ 11257 w 11"/>
                <a:gd name="T13" fmla="*/ 0 h 7"/>
                <a:gd name="T14" fmla="*/ 18762 w 11"/>
                <a:gd name="T15" fmla="*/ 3629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2" name="Freeform 989"/>
            <p:cNvSpPr>
              <a:spLocks noChangeAspect="1"/>
            </p:cNvSpPr>
            <p:nvPr/>
          </p:nvSpPr>
          <p:spPr bwMode="auto">
            <a:xfrm>
              <a:off x="2680379" y="4098424"/>
              <a:ext cx="76882" cy="63195"/>
            </a:xfrm>
            <a:custGeom>
              <a:avLst/>
              <a:gdLst>
                <a:gd name="T0" fmla="*/ 76200 w 40"/>
                <a:gd name="T1" fmla="*/ 22767 h 41"/>
                <a:gd name="T2" fmla="*/ 68580 w 40"/>
                <a:gd name="T3" fmla="*/ 28459 h 41"/>
                <a:gd name="T4" fmla="*/ 47625 w 40"/>
                <a:gd name="T5" fmla="*/ 34151 h 41"/>
                <a:gd name="T6" fmla="*/ 43815 w 40"/>
                <a:gd name="T7" fmla="*/ 51226 h 41"/>
                <a:gd name="T8" fmla="*/ 47625 w 40"/>
                <a:gd name="T9" fmla="*/ 72096 h 41"/>
                <a:gd name="T10" fmla="*/ 36195 w 40"/>
                <a:gd name="T11" fmla="*/ 77788 h 41"/>
                <a:gd name="T12" fmla="*/ 20955 w 40"/>
                <a:gd name="T13" fmla="*/ 64507 h 41"/>
                <a:gd name="T14" fmla="*/ 15240 w 40"/>
                <a:gd name="T15" fmla="*/ 56918 h 41"/>
                <a:gd name="T16" fmla="*/ 20955 w 40"/>
                <a:gd name="T17" fmla="*/ 53124 h 41"/>
                <a:gd name="T18" fmla="*/ 20955 w 40"/>
                <a:gd name="T19" fmla="*/ 60713 h 41"/>
                <a:gd name="T20" fmla="*/ 26670 w 40"/>
                <a:gd name="T21" fmla="*/ 58815 h 41"/>
                <a:gd name="T22" fmla="*/ 32385 w 40"/>
                <a:gd name="T23" fmla="*/ 49329 h 41"/>
                <a:gd name="T24" fmla="*/ 38100 w 40"/>
                <a:gd name="T25" fmla="*/ 37945 h 41"/>
                <a:gd name="T26" fmla="*/ 30480 w 40"/>
                <a:gd name="T27" fmla="*/ 34151 h 41"/>
                <a:gd name="T28" fmla="*/ 28575 w 40"/>
                <a:gd name="T29" fmla="*/ 30356 h 41"/>
                <a:gd name="T30" fmla="*/ 9525 w 40"/>
                <a:gd name="T31" fmla="*/ 30356 h 41"/>
                <a:gd name="T32" fmla="*/ 7620 w 40"/>
                <a:gd name="T33" fmla="*/ 34151 h 41"/>
                <a:gd name="T34" fmla="*/ 1905 w 40"/>
                <a:gd name="T35" fmla="*/ 28459 h 41"/>
                <a:gd name="T36" fmla="*/ 1905 w 40"/>
                <a:gd name="T37" fmla="*/ 24664 h 41"/>
                <a:gd name="T38" fmla="*/ 7620 w 40"/>
                <a:gd name="T39" fmla="*/ 20870 h 41"/>
                <a:gd name="T40" fmla="*/ 5715 w 40"/>
                <a:gd name="T41" fmla="*/ 13281 h 41"/>
                <a:gd name="T42" fmla="*/ 1905 w 40"/>
                <a:gd name="T43" fmla="*/ 7589 h 41"/>
                <a:gd name="T44" fmla="*/ 7620 w 40"/>
                <a:gd name="T45" fmla="*/ 0 h 41"/>
                <a:gd name="T46" fmla="*/ 17145 w 40"/>
                <a:gd name="T47" fmla="*/ 17075 h 41"/>
                <a:gd name="T48" fmla="*/ 59055 w 40"/>
                <a:gd name="T49" fmla="*/ 17075 h 41"/>
                <a:gd name="T50" fmla="*/ 76200 w 40"/>
                <a:gd name="T51" fmla="*/ 2276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3" name="Freeform 990"/>
            <p:cNvSpPr>
              <a:spLocks noChangeAspect="1"/>
            </p:cNvSpPr>
            <p:nvPr/>
          </p:nvSpPr>
          <p:spPr bwMode="auto">
            <a:xfrm>
              <a:off x="2750854" y="4192571"/>
              <a:ext cx="54458" cy="25793"/>
            </a:xfrm>
            <a:custGeom>
              <a:avLst/>
              <a:gdLst>
                <a:gd name="T0" fmla="*/ 1928 w 28"/>
                <a:gd name="T1" fmla="*/ 11206 h 17"/>
                <a:gd name="T2" fmla="*/ 25060 w 28"/>
                <a:gd name="T3" fmla="*/ 3735 h 17"/>
                <a:gd name="T4" fmla="*/ 38554 w 28"/>
                <a:gd name="T5" fmla="*/ 1868 h 17"/>
                <a:gd name="T6" fmla="*/ 36626 w 28"/>
                <a:gd name="T7" fmla="*/ 7471 h 17"/>
                <a:gd name="T8" fmla="*/ 26988 w 28"/>
                <a:gd name="T9" fmla="*/ 7471 h 17"/>
                <a:gd name="T10" fmla="*/ 40481 w 28"/>
                <a:gd name="T11" fmla="*/ 9338 h 17"/>
                <a:gd name="T12" fmla="*/ 36626 w 28"/>
                <a:gd name="T13" fmla="*/ 13074 h 17"/>
                <a:gd name="T14" fmla="*/ 48192 w 28"/>
                <a:gd name="T15" fmla="*/ 18676 h 17"/>
                <a:gd name="T16" fmla="*/ 50120 w 28"/>
                <a:gd name="T17" fmla="*/ 29882 h 17"/>
                <a:gd name="T18" fmla="*/ 42409 w 28"/>
                <a:gd name="T19" fmla="*/ 22412 h 17"/>
                <a:gd name="T20" fmla="*/ 32771 w 28"/>
                <a:gd name="T21" fmla="*/ 22412 h 17"/>
                <a:gd name="T22" fmla="*/ 30843 w 28"/>
                <a:gd name="T23" fmla="*/ 11206 h 17"/>
                <a:gd name="T24" fmla="*/ 25060 w 28"/>
                <a:gd name="T25" fmla="*/ 13074 h 17"/>
                <a:gd name="T26" fmla="*/ 17349 w 28"/>
                <a:gd name="T27" fmla="*/ 13074 h 17"/>
                <a:gd name="T28" fmla="*/ 25060 w 28"/>
                <a:gd name="T29" fmla="*/ 24279 h 17"/>
                <a:gd name="T30" fmla="*/ 15421 w 28"/>
                <a:gd name="T31" fmla="*/ 24279 h 17"/>
                <a:gd name="T32" fmla="*/ 11566 w 28"/>
                <a:gd name="T33" fmla="*/ 13074 h 17"/>
                <a:gd name="T34" fmla="*/ 1928 w 28"/>
                <a:gd name="T35" fmla="*/ 11206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4" name="Freeform 991"/>
            <p:cNvSpPr>
              <a:spLocks noChangeAspect="1"/>
            </p:cNvSpPr>
            <p:nvPr/>
          </p:nvSpPr>
          <p:spPr bwMode="auto">
            <a:xfrm>
              <a:off x="2661157" y="4147432"/>
              <a:ext cx="38441" cy="23214"/>
            </a:xfrm>
            <a:custGeom>
              <a:avLst/>
              <a:gdLst>
                <a:gd name="T0" fmla="*/ 15240 w 20"/>
                <a:gd name="T1" fmla="*/ 0 h 15"/>
                <a:gd name="T2" fmla="*/ 28575 w 20"/>
                <a:gd name="T3" fmla="*/ 7620 h 15"/>
                <a:gd name="T4" fmla="*/ 36195 w 20"/>
                <a:gd name="T5" fmla="*/ 15240 h 15"/>
                <a:gd name="T6" fmla="*/ 32385 w 20"/>
                <a:gd name="T7" fmla="*/ 24765 h 15"/>
                <a:gd name="T8" fmla="*/ 24765 w 20"/>
                <a:gd name="T9" fmla="*/ 19050 h 15"/>
                <a:gd name="T10" fmla="*/ 22860 w 20"/>
                <a:gd name="T11" fmla="*/ 28575 h 15"/>
                <a:gd name="T12" fmla="*/ 19050 w 20"/>
                <a:gd name="T13" fmla="*/ 20955 h 15"/>
                <a:gd name="T14" fmla="*/ 13335 w 20"/>
                <a:gd name="T15" fmla="*/ 22860 h 15"/>
                <a:gd name="T16" fmla="*/ 11430 w 20"/>
                <a:gd name="T17" fmla="*/ 11430 h 15"/>
                <a:gd name="T18" fmla="*/ 0 w 20"/>
                <a:gd name="T19" fmla="*/ 1905 h 15"/>
                <a:gd name="T20" fmla="*/ 3810 w 20"/>
                <a:gd name="T21" fmla="*/ 0 h 15"/>
                <a:gd name="T22" fmla="*/ 13335 w 20"/>
                <a:gd name="T23" fmla="*/ 3810 h 15"/>
                <a:gd name="T24" fmla="*/ 1524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5" name="Freeform 992"/>
            <p:cNvSpPr>
              <a:spLocks noChangeAspect="1"/>
            </p:cNvSpPr>
            <p:nvPr/>
          </p:nvSpPr>
          <p:spPr bwMode="auto">
            <a:xfrm>
              <a:off x="2730030" y="4148722"/>
              <a:ext cx="14416" cy="23214"/>
            </a:xfrm>
            <a:custGeom>
              <a:avLst/>
              <a:gdLst>
                <a:gd name="T0" fmla="*/ 4082 w 7"/>
                <a:gd name="T1" fmla="*/ 1905 h 15"/>
                <a:gd name="T2" fmla="*/ 8165 w 7"/>
                <a:gd name="T3" fmla="*/ 20955 h 15"/>
                <a:gd name="T4" fmla="*/ 10206 w 7"/>
                <a:gd name="T5" fmla="*/ 28575 h 15"/>
                <a:gd name="T6" fmla="*/ 0 w 7"/>
                <a:gd name="T7" fmla="*/ 19050 h 15"/>
                <a:gd name="T8" fmla="*/ 2041 w 7"/>
                <a:gd name="T9" fmla="*/ 13335 h 15"/>
                <a:gd name="T10" fmla="*/ 4082 w 7"/>
                <a:gd name="T11" fmla="*/ 1905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6" name="Freeform 993"/>
            <p:cNvSpPr>
              <a:spLocks noChangeAspect="1"/>
            </p:cNvSpPr>
            <p:nvPr/>
          </p:nvSpPr>
          <p:spPr bwMode="auto">
            <a:xfrm>
              <a:off x="2699598" y="4160329"/>
              <a:ext cx="16017" cy="14187"/>
            </a:xfrm>
            <a:custGeom>
              <a:avLst/>
              <a:gdLst>
                <a:gd name="T0" fmla="*/ 1984 w 8"/>
                <a:gd name="T1" fmla="*/ 5821 h 9"/>
                <a:gd name="T2" fmla="*/ 11906 w 8"/>
                <a:gd name="T3" fmla="*/ 1940 h 9"/>
                <a:gd name="T4" fmla="*/ 13891 w 8"/>
                <a:gd name="T5" fmla="*/ 15523 h 9"/>
                <a:gd name="T6" fmla="*/ 3969 w 8"/>
                <a:gd name="T7" fmla="*/ 13582 h 9"/>
                <a:gd name="T8" fmla="*/ 1984 w 8"/>
                <a:gd name="T9" fmla="*/ 582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3"/>
                  </a:moveTo>
                  <a:cubicBezTo>
                    <a:pt x="2" y="1"/>
                    <a:pt x="5" y="0"/>
                    <a:pt x="6" y="1"/>
                  </a:cubicBezTo>
                  <a:cubicBezTo>
                    <a:pt x="8" y="3"/>
                    <a:pt x="8" y="6"/>
                    <a:pt x="7" y="8"/>
                  </a:cubicBezTo>
                  <a:cubicBezTo>
                    <a:pt x="6" y="9"/>
                    <a:pt x="3" y="8"/>
                    <a:pt x="2" y="7"/>
                  </a:cubicBezTo>
                  <a:cubicBezTo>
                    <a:pt x="1" y="6"/>
                    <a:pt x="0" y="4"/>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7" name="Freeform 994"/>
            <p:cNvSpPr>
              <a:spLocks noChangeAspect="1"/>
            </p:cNvSpPr>
            <p:nvPr/>
          </p:nvSpPr>
          <p:spPr bwMode="auto">
            <a:xfrm>
              <a:off x="2717217" y="4164199"/>
              <a:ext cx="12814" cy="11607"/>
            </a:xfrm>
            <a:custGeom>
              <a:avLst/>
              <a:gdLst>
                <a:gd name="T0" fmla="*/ 3629 w 7"/>
                <a:gd name="T1" fmla="*/ 2041 h 7"/>
                <a:gd name="T2" fmla="*/ 10886 w 7"/>
                <a:gd name="T3" fmla="*/ 8164 h 7"/>
                <a:gd name="T4" fmla="*/ 10886 w 7"/>
                <a:gd name="T5" fmla="*/ 14287 h 7"/>
                <a:gd name="T6" fmla="*/ 3629 w 7"/>
                <a:gd name="T7" fmla="*/ 8164 h 7"/>
                <a:gd name="T8" fmla="*/ 3629 w 7"/>
                <a:gd name="T9" fmla="*/ 204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1"/>
                  </a:moveTo>
                  <a:cubicBezTo>
                    <a:pt x="3" y="0"/>
                    <a:pt x="5" y="2"/>
                    <a:pt x="6" y="4"/>
                  </a:cubicBezTo>
                  <a:cubicBezTo>
                    <a:pt x="6" y="5"/>
                    <a:pt x="7" y="7"/>
                    <a:pt x="6" y="7"/>
                  </a:cubicBezTo>
                  <a:cubicBezTo>
                    <a:pt x="4" y="7"/>
                    <a:pt x="3" y="6"/>
                    <a:pt x="2" y="4"/>
                  </a:cubicBezTo>
                  <a:cubicBezTo>
                    <a:pt x="1" y="3"/>
                    <a:pt x="0"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8" name="Freeform 995"/>
            <p:cNvSpPr>
              <a:spLocks noChangeAspect="1"/>
            </p:cNvSpPr>
            <p:nvPr/>
          </p:nvSpPr>
          <p:spPr bwMode="auto">
            <a:xfrm>
              <a:off x="2709210" y="4175805"/>
              <a:ext cx="19221" cy="7738"/>
            </a:xfrm>
            <a:custGeom>
              <a:avLst/>
              <a:gdLst>
                <a:gd name="T0" fmla="*/ 17145 w 10"/>
                <a:gd name="T1" fmla="*/ 3810 h 5"/>
                <a:gd name="T2" fmla="*/ 17145 w 10"/>
                <a:gd name="T3" fmla="*/ 9525 h 5"/>
                <a:gd name="T4" fmla="*/ 1905 w 10"/>
                <a:gd name="T5" fmla="*/ 7620 h 5"/>
                <a:gd name="T6" fmla="*/ 1905 w 10"/>
                <a:gd name="T7" fmla="*/ 1905 h 5"/>
                <a:gd name="T8" fmla="*/ 17145 w 10"/>
                <a:gd name="T9" fmla="*/ 3810 h 5"/>
                <a:gd name="T10" fmla="*/ 0 60000 65536"/>
                <a:gd name="T11" fmla="*/ 0 60000 65536"/>
                <a:gd name="T12" fmla="*/ 0 60000 65536"/>
                <a:gd name="T13" fmla="*/ 0 60000 65536"/>
                <a:gd name="T14" fmla="*/ 0 60000 65536"/>
                <a:gd name="T15" fmla="*/ 0 w 10"/>
                <a:gd name="T16" fmla="*/ 0 h 5"/>
                <a:gd name="T17" fmla="*/ 10 w 10"/>
                <a:gd name="T18" fmla="*/ 5 h 5"/>
              </a:gdLst>
              <a:ahLst/>
              <a:cxnLst>
                <a:cxn ang="T10">
                  <a:pos x="T0" y="T1"/>
                </a:cxn>
                <a:cxn ang="T11">
                  <a:pos x="T2" y="T3"/>
                </a:cxn>
                <a:cxn ang="T12">
                  <a:pos x="T4" y="T5"/>
                </a:cxn>
                <a:cxn ang="T13">
                  <a:pos x="T6" y="T7"/>
                </a:cxn>
                <a:cxn ang="T14">
                  <a:pos x="T8" y="T9"/>
                </a:cxn>
              </a:cxnLst>
              <a:rect l="T15" t="T16" r="T17" b="T18"/>
              <a:pathLst>
                <a:path w="10" h="5">
                  <a:moveTo>
                    <a:pt x="9" y="2"/>
                  </a:moveTo>
                  <a:cubicBezTo>
                    <a:pt x="9" y="3"/>
                    <a:pt x="10" y="4"/>
                    <a:pt x="9" y="5"/>
                  </a:cubicBezTo>
                  <a:cubicBezTo>
                    <a:pt x="6" y="5"/>
                    <a:pt x="3" y="5"/>
                    <a:pt x="1" y="4"/>
                  </a:cubicBezTo>
                  <a:cubicBezTo>
                    <a:pt x="0" y="4"/>
                    <a:pt x="0" y="1"/>
                    <a:pt x="1" y="1"/>
                  </a:cubicBezTo>
                  <a:cubicBezTo>
                    <a:pt x="3" y="0"/>
                    <a:pt x="6" y="1"/>
                    <a:pt x="9"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9" name="Freeform 996"/>
            <p:cNvSpPr>
              <a:spLocks noChangeAspect="1"/>
            </p:cNvSpPr>
            <p:nvPr/>
          </p:nvSpPr>
          <p:spPr bwMode="auto">
            <a:xfrm>
              <a:off x="2730030" y="4192571"/>
              <a:ext cx="17619" cy="10318"/>
            </a:xfrm>
            <a:custGeom>
              <a:avLst/>
              <a:gdLst>
                <a:gd name="T0" fmla="*/ 9702 w 9"/>
                <a:gd name="T1" fmla="*/ 0 h 7"/>
                <a:gd name="T2" fmla="*/ 1940 w 9"/>
                <a:gd name="T3" fmla="*/ 5443 h 7"/>
                <a:gd name="T4" fmla="*/ 13582 w 9"/>
                <a:gd name="T5" fmla="*/ 12700 h 7"/>
                <a:gd name="T6" fmla="*/ 11642 w 9"/>
                <a:gd name="T7" fmla="*/ 7257 h 7"/>
                <a:gd name="T8" fmla="*/ 13582 w 9"/>
                <a:gd name="T9" fmla="*/ 1814 h 7"/>
                <a:gd name="T10" fmla="*/ 9702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5" y="0"/>
                  </a:moveTo>
                  <a:cubicBezTo>
                    <a:pt x="4" y="0"/>
                    <a:pt x="0" y="1"/>
                    <a:pt x="1" y="3"/>
                  </a:cubicBezTo>
                  <a:cubicBezTo>
                    <a:pt x="1" y="5"/>
                    <a:pt x="5" y="6"/>
                    <a:pt x="7" y="7"/>
                  </a:cubicBezTo>
                  <a:cubicBezTo>
                    <a:pt x="9" y="7"/>
                    <a:pt x="6" y="5"/>
                    <a:pt x="6" y="4"/>
                  </a:cubicBezTo>
                  <a:cubicBezTo>
                    <a:pt x="6" y="3"/>
                    <a:pt x="7" y="2"/>
                    <a:pt x="7" y="1"/>
                  </a:cubicBezTo>
                  <a:cubicBezTo>
                    <a:pt x="7" y="0"/>
                    <a:pt x="6" y="0"/>
                    <a:pt x="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0" name="Freeform 997"/>
            <p:cNvSpPr>
              <a:spLocks noChangeAspect="1"/>
            </p:cNvSpPr>
            <p:nvPr/>
          </p:nvSpPr>
          <p:spPr bwMode="auto">
            <a:xfrm>
              <a:off x="2750854" y="4191281"/>
              <a:ext cx="16017" cy="6449"/>
            </a:xfrm>
            <a:custGeom>
              <a:avLst/>
              <a:gdLst>
                <a:gd name="T0" fmla="*/ 1984 w 8"/>
                <a:gd name="T1" fmla="*/ 1985 h 4"/>
                <a:gd name="T2" fmla="*/ 1984 w 8"/>
                <a:gd name="T3" fmla="*/ 7938 h 4"/>
                <a:gd name="T4" fmla="*/ 13891 w 8"/>
                <a:gd name="T5" fmla="*/ 3969 h 4"/>
                <a:gd name="T6" fmla="*/ 11906 w 8"/>
                <a:gd name="T7" fmla="*/ 1985 h 4"/>
                <a:gd name="T8" fmla="*/ 1984 w 8"/>
                <a:gd name="T9" fmla="*/ 198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1" y="1"/>
                  </a:moveTo>
                  <a:cubicBezTo>
                    <a:pt x="0" y="2"/>
                    <a:pt x="0" y="4"/>
                    <a:pt x="1" y="4"/>
                  </a:cubicBezTo>
                  <a:cubicBezTo>
                    <a:pt x="3" y="4"/>
                    <a:pt x="6" y="3"/>
                    <a:pt x="7" y="2"/>
                  </a:cubicBezTo>
                  <a:cubicBezTo>
                    <a:pt x="8" y="2"/>
                    <a:pt x="6" y="1"/>
                    <a:pt x="6" y="1"/>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1" name="Freeform 998"/>
            <p:cNvSpPr>
              <a:spLocks noChangeAspect="1"/>
            </p:cNvSpPr>
            <p:nvPr/>
          </p:nvSpPr>
          <p:spPr bwMode="auto">
            <a:xfrm>
              <a:off x="2678775" y="4124217"/>
              <a:ext cx="32034" cy="24504"/>
            </a:xfrm>
            <a:custGeom>
              <a:avLst/>
              <a:gdLst>
                <a:gd name="T0" fmla="*/ 28015 w 17"/>
                <a:gd name="T1" fmla="*/ 0 h 16"/>
                <a:gd name="T2" fmla="*/ 29882 w 17"/>
                <a:gd name="T3" fmla="*/ 7541 h 16"/>
                <a:gd name="T4" fmla="*/ 18676 w 17"/>
                <a:gd name="T5" fmla="*/ 16967 h 16"/>
                <a:gd name="T6" fmla="*/ 11206 w 17"/>
                <a:gd name="T7" fmla="*/ 15082 h 16"/>
                <a:gd name="T8" fmla="*/ 11206 w 17"/>
                <a:gd name="T9" fmla="*/ 24507 h 16"/>
                <a:gd name="T10" fmla="*/ 13074 w 17"/>
                <a:gd name="T11" fmla="*/ 28278 h 16"/>
                <a:gd name="T12" fmla="*/ 7471 w 17"/>
                <a:gd name="T13" fmla="*/ 24507 h 16"/>
                <a:gd name="T14" fmla="*/ 1868 w 17"/>
                <a:gd name="T15" fmla="*/ 18852 h 16"/>
                <a:gd name="T16" fmla="*/ 3735 w 17"/>
                <a:gd name="T17" fmla="*/ 7541 h 16"/>
                <a:gd name="T18" fmla="*/ 14941 w 17"/>
                <a:gd name="T19" fmla="*/ 3770 h 16"/>
                <a:gd name="T20" fmla="*/ 24279 w 17"/>
                <a:gd name="T21" fmla="*/ 3770 h 16"/>
                <a:gd name="T22" fmla="*/ 28015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2" name="Freeform 999"/>
            <p:cNvSpPr>
              <a:spLocks noChangeAspect="1"/>
            </p:cNvSpPr>
            <p:nvPr/>
          </p:nvSpPr>
          <p:spPr bwMode="auto">
            <a:xfrm>
              <a:off x="2633928" y="4124217"/>
              <a:ext cx="43247" cy="19346"/>
            </a:xfrm>
            <a:custGeom>
              <a:avLst/>
              <a:gdLst>
                <a:gd name="T0" fmla="*/ 1948 w 22"/>
                <a:gd name="T1" fmla="*/ 1984 h 12"/>
                <a:gd name="T2" fmla="*/ 5845 w 22"/>
                <a:gd name="T3" fmla="*/ 9922 h 12"/>
                <a:gd name="T4" fmla="*/ 17535 w 22"/>
                <a:gd name="T5" fmla="*/ 19844 h 12"/>
                <a:gd name="T6" fmla="*/ 40915 w 22"/>
                <a:gd name="T7" fmla="*/ 23813 h 12"/>
                <a:gd name="T8" fmla="*/ 40915 w 22"/>
                <a:gd name="T9" fmla="*/ 19844 h 12"/>
                <a:gd name="T10" fmla="*/ 25328 w 22"/>
                <a:gd name="T11" fmla="*/ 11907 h 12"/>
                <a:gd name="T12" fmla="*/ 11690 w 22"/>
                <a:gd name="T13" fmla="*/ 9922 h 12"/>
                <a:gd name="T14" fmla="*/ 5845 w 22"/>
                <a:gd name="T15" fmla="*/ 3969 h 12"/>
                <a:gd name="T16" fmla="*/ 1948 w 22"/>
                <a:gd name="T17" fmla="*/ 198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3" name="Freeform 1000"/>
            <p:cNvSpPr>
              <a:spLocks noChangeAspect="1"/>
            </p:cNvSpPr>
            <p:nvPr/>
          </p:nvSpPr>
          <p:spPr bwMode="auto">
            <a:xfrm>
              <a:off x="2659556" y="4106162"/>
              <a:ext cx="22424" cy="29663"/>
            </a:xfrm>
            <a:custGeom>
              <a:avLst/>
              <a:gdLst>
                <a:gd name="T0" fmla="*/ 18521 w 12"/>
                <a:gd name="T1" fmla="*/ 0 h 19"/>
                <a:gd name="T2" fmla="*/ 22225 w 12"/>
                <a:gd name="T3" fmla="*/ 7687 h 19"/>
                <a:gd name="T4" fmla="*/ 16669 w 12"/>
                <a:gd name="T5" fmla="*/ 17296 h 19"/>
                <a:gd name="T6" fmla="*/ 16669 w 12"/>
                <a:gd name="T7" fmla="*/ 28826 h 19"/>
                <a:gd name="T8" fmla="*/ 16669 w 12"/>
                <a:gd name="T9" fmla="*/ 36513 h 19"/>
                <a:gd name="T10" fmla="*/ 5556 w 12"/>
                <a:gd name="T11" fmla="*/ 28826 h 19"/>
                <a:gd name="T12" fmla="*/ 3704 w 12"/>
                <a:gd name="T13" fmla="*/ 23061 h 19"/>
                <a:gd name="T14" fmla="*/ 1852 w 12"/>
                <a:gd name="T15" fmla="*/ 9609 h 19"/>
                <a:gd name="T16" fmla="*/ 12965 w 12"/>
                <a:gd name="T17" fmla="*/ 7687 h 19"/>
                <a:gd name="T18" fmla="*/ 18521 w 12"/>
                <a:gd name="T19" fmla="*/ 7687 h 19"/>
                <a:gd name="T20" fmla="*/ 18521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4" name="Freeform 1001"/>
            <p:cNvSpPr>
              <a:spLocks noChangeAspect="1"/>
            </p:cNvSpPr>
            <p:nvPr/>
          </p:nvSpPr>
          <p:spPr bwMode="auto">
            <a:xfrm>
              <a:off x="2638734" y="4093266"/>
              <a:ext cx="9610" cy="9029"/>
            </a:xfrm>
            <a:custGeom>
              <a:avLst/>
              <a:gdLst>
                <a:gd name="T0" fmla="*/ 1905 w 5"/>
                <a:gd name="T1" fmla="*/ 3704 h 6"/>
                <a:gd name="T2" fmla="*/ 9525 w 5"/>
                <a:gd name="T3" fmla="*/ 11113 h 6"/>
                <a:gd name="T4" fmla="*/ 9525 w 5"/>
                <a:gd name="T5" fmla="*/ 7409 h 6"/>
                <a:gd name="T6" fmla="*/ 5715 w 5"/>
                <a:gd name="T7" fmla="*/ 0 h 6"/>
                <a:gd name="T8" fmla="*/ 1905 w 5"/>
                <a:gd name="T9" fmla="*/ 370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2"/>
                  </a:moveTo>
                  <a:cubicBezTo>
                    <a:pt x="1" y="4"/>
                    <a:pt x="3" y="5"/>
                    <a:pt x="5" y="6"/>
                  </a:cubicBezTo>
                  <a:cubicBezTo>
                    <a:pt x="5" y="6"/>
                    <a:pt x="5" y="5"/>
                    <a:pt x="5" y="4"/>
                  </a:cubicBezTo>
                  <a:cubicBezTo>
                    <a:pt x="5" y="3"/>
                    <a:pt x="4" y="1"/>
                    <a:pt x="3" y="0"/>
                  </a:cubicBezTo>
                  <a:cubicBezTo>
                    <a:pt x="2" y="0"/>
                    <a:pt x="0"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5" name="Freeform 1002"/>
            <p:cNvSpPr>
              <a:spLocks noChangeAspect="1"/>
            </p:cNvSpPr>
            <p:nvPr/>
          </p:nvSpPr>
          <p:spPr bwMode="auto">
            <a:xfrm>
              <a:off x="2619513" y="4070051"/>
              <a:ext cx="12814" cy="14187"/>
            </a:xfrm>
            <a:custGeom>
              <a:avLst/>
              <a:gdLst>
                <a:gd name="T0" fmla="*/ 1814 w 7"/>
                <a:gd name="T1" fmla="*/ 0 h 9"/>
                <a:gd name="T2" fmla="*/ 10886 w 7"/>
                <a:gd name="T3" fmla="*/ 3881 h 9"/>
                <a:gd name="T4" fmla="*/ 12700 w 7"/>
                <a:gd name="T5" fmla="*/ 15523 h 9"/>
                <a:gd name="T6" fmla="*/ 5443 w 7"/>
                <a:gd name="T7" fmla="*/ 15523 h 9"/>
                <a:gd name="T8" fmla="*/ 1814 w 7"/>
                <a:gd name="T9" fmla="*/ 9702 h 9"/>
                <a:gd name="T10" fmla="*/ 1814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1" y="0"/>
                  </a:moveTo>
                  <a:cubicBezTo>
                    <a:pt x="3" y="0"/>
                    <a:pt x="5" y="1"/>
                    <a:pt x="6" y="2"/>
                  </a:cubicBezTo>
                  <a:cubicBezTo>
                    <a:pt x="7" y="4"/>
                    <a:pt x="7" y="6"/>
                    <a:pt x="7" y="8"/>
                  </a:cubicBezTo>
                  <a:cubicBezTo>
                    <a:pt x="6" y="9"/>
                    <a:pt x="4" y="8"/>
                    <a:pt x="3" y="8"/>
                  </a:cubicBezTo>
                  <a:cubicBezTo>
                    <a:pt x="2" y="7"/>
                    <a:pt x="2" y="6"/>
                    <a:pt x="1" y="5"/>
                  </a:cubicBezTo>
                  <a:cubicBezTo>
                    <a:pt x="1" y="3"/>
                    <a:pt x="0" y="1"/>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6" name="Freeform 1003"/>
            <p:cNvSpPr>
              <a:spLocks noChangeAspect="1"/>
            </p:cNvSpPr>
            <p:nvPr/>
          </p:nvSpPr>
          <p:spPr bwMode="auto">
            <a:xfrm>
              <a:off x="2600293" y="4015884"/>
              <a:ext cx="25627" cy="38690"/>
            </a:xfrm>
            <a:custGeom>
              <a:avLst/>
              <a:gdLst>
                <a:gd name="T0" fmla="*/ 18143 w 14"/>
                <a:gd name="T1" fmla="*/ 1905 h 25"/>
                <a:gd name="T2" fmla="*/ 25400 w 14"/>
                <a:gd name="T3" fmla="*/ 41910 h 25"/>
                <a:gd name="T4" fmla="*/ 19957 w 14"/>
                <a:gd name="T5" fmla="*/ 47625 h 25"/>
                <a:gd name="T6" fmla="*/ 14514 w 14"/>
                <a:gd name="T7" fmla="*/ 41910 h 25"/>
                <a:gd name="T8" fmla="*/ 16329 w 14"/>
                <a:gd name="T9" fmla="*/ 28575 h 25"/>
                <a:gd name="T10" fmla="*/ 12700 w 14"/>
                <a:gd name="T11" fmla="*/ 28575 h 25"/>
                <a:gd name="T12" fmla="*/ 10886 w 14"/>
                <a:gd name="T13" fmla="*/ 36195 h 25"/>
                <a:gd name="T14" fmla="*/ 10886 w 14"/>
                <a:gd name="T15" fmla="*/ 40005 h 25"/>
                <a:gd name="T16" fmla="*/ 5443 w 14"/>
                <a:gd name="T17" fmla="*/ 30480 h 25"/>
                <a:gd name="T18" fmla="*/ 1814 w 14"/>
                <a:gd name="T19" fmla="*/ 19050 h 25"/>
                <a:gd name="T20" fmla="*/ 9071 w 14"/>
                <a:gd name="T21" fmla="*/ 20955 h 25"/>
                <a:gd name="T22" fmla="*/ 10886 w 14"/>
                <a:gd name="T23" fmla="*/ 24765 h 25"/>
                <a:gd name="T24" fmla="*/ 12700 w 14"/>
                <a:gd name="T25" fmla="*/ 13335 h 25"/>
                <a:gd name="T26" fmla="*/ 10886 w 14"/>
                <a:gd name="T27" fmla="*/ 3810 h 25"/>
                <a:gd name="T28" fmla="*/ 18143 w 14"/>
                <a:gd name="T29" fmla="*/ 1905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7" name="Freeform 1004"/>
            <p:cNvSpPr>
              <a:spLocks noChangeAspect="1"/>
            </p:cNvSpPr>
            <p:nvPr/>
          </p:nvSpPr>
          <p:spPr bwMode="auto">
            <a:xfrm>
              <a:off x="2593885" y="3999119"/>
              <a:ext cx="9610" cy="20635"/>
            </a:xfrm>
            <a:custGeom>
              <a:avLst/>
              <a:gdLst>
                <a:gd name="T0" fmla="*/ 3810 w 5"/>
                <a:gd name="T1" fmla="*/ 1954 h 13"/>
                <a:gd name="T2" fmla="*/ 0 w 5"/>
                <a:gd name="T3" fmla="*/ 1954 h 13"/>
                <a:gd name="T4" fmla="*/ 3810 w 5"/>
                <a:gd name="T5" fmla="*/ 11723 h 13"/>
                <a:gd name="T6" fmla="*/ 3810 w 5"/>
                <a:gd name="T7" fmla="*/ 23446 h 13"/>
                <a:gd name="T8" fmla="*/ 7620 w 5"/>
                <a:gd name="T9" fmla="*/ 21492 h 13"/>
                <a:gd name="T10" fmla="*/ 9525 w 5"/>
                <a:gd name="T11" fmla="*/ 15631 h 13"/>
                <a:gd name="T12" fmla="*/ 3810 w 5"/>
                <a:gd name="T13" fmla="*/ 1954 h 13"/>
                <a:gd name="T14" fmla="*/ 0 60000 65536"/>
                <a:gd name="T15" fmla="*/ 0 60000 65536"/>
                <a:gd name="T16" fmla="*/ 0 60000 65536"/>
                <a:gd name="T17" fmla="*/ 0 60000 65536"/>
                <a:gd name="T18" fmla="*/ 0 60000 65536"/>
                <a:gd name="T19" fmla="*/ 0 60000 65536"/>
                <a:gd name="T20" fmla="*/ 0 60000 65536"/>
                <a:gd name="T21" fmla="*/ 0 w 5"/>
                <a:gd name="T22" fmla="*/ 0 h 13"/>
                <a:gd name="T23" fmla="*/ 5 w 5"/>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3">
                  <a:moveTo>
                    <a:pt x="2" y="1"/>
                  </a:moveTo>
                  <a:cubicBezTo>
                    <a:pt x="2" y="0"/>
                    <a:pt x="0" y="0"/>
                    <a:pt x="0" y="1"/>
                  </a:cubicBezTo>
                  <a:cubicBezTo>
                    <a:pt x="0" y="3"/>
                    <a:pt x="2" y="4"/>
                    <a:pt x="2" y="6"/>
                  </a:cubicBezTo>
                  <a:cubicBezTo>
                    <a:pt x="2" y="8"/>
                    <a:pt x="1" y="10"/>
                    <a:pt x="2" y="12"/>
                  </a:cubicBezTo>
                  <a:cubicBezTo>
                    <a:pt x="2" y="13"/>
                    <a:pt x="3" y="12"/>
                    <a:pt x="4" y="11"/>
                  </a:cubicBezTo>
                  <a:cubicBezTo>
                    <a:pt x="4" y="10"/>
                    <a:pt x="5" y="9"/>
                    <a:pt x="5" y="8"/>
                  </a:cubicBezTo>
                  <a:cubicBezTo>
                    <a:pt x="4" y="5"/>
                    <a:pt x="4" y="3"/>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8" name="Freeform 1005"/>
            <p:cNvSpPr>
              <a:spLocks noChangeAspect="1"/>
            </p:cNvSpPr>
            <p:nvPr/>
          </p:nvSpPr>
          <p:spPr bwMode="auto">
            <a:xfrm>
              <a:off x="2606700" y="4005567"/>
              <a:ext cx="9610" cy="9029"/>
            </a:xfrm>
            <a:custGeom>
              <a:avLst/>
              <a:gdLst>
                <a:gd name="T0" fmla="*/ 0 w 5"/>
                <a:gd name="T1" fmla="*/ 5557 h 6"/>
                <a:gd name="T2" fmla="*/ 7620 w 5"/>
                <a:gd name="T3" fmla="*/ 11113 h 6"/>
                <a:gd name="T4" fmla="*/ 7620 w 5"/>
                <a:gd name="T5" fmla="*/ 5557 h 6"/>
                <a:gd name="T6" fmla="*/ 5715 w 5"/>
                <a:gd name="T7" fmla="*/ 0 h 6"/>
                <a:gd name="T8" fmla="*/ 0 w 5"/>
                <a:gd name="T9" fmla="*/ 555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3"/>
                  </a:moveTo>
                  <a:cubicBezTo>
                    <a:pt x="1" y="4"/>
                    <a:pt x="3" y="6"/>
                    <a:pt x="4" y="6"/>
                  </a:cubicBezTo>
                  <a:cubicBezTo>
                    <a:pt x="5" y="6"/>
                    <a:pt x="4" y="4"/>
                    <a:pt x="4" y="3"/>
                  </a:cubicBezTo>
                  <a:cubicBezTo>
                    <a:pt x="4" y="2"/>
                    <a:pt x="4" y="0"/>
                    <a:pt x="3" y="0"/>
                  </a:cubicBezTo>
                  <a:cubicBezTo>
                    <a:pt x="2" y="0"/>
                    <a:pt x="0" y="2"/>
                    <a:pt x="0"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9" name="Freeform 1006"/>
            <p:cNvSpPr>
              <a:spLocks noChangeAspect="1"/>
            </p:cNvSpPr>
            <p:nvPr/>
          </p:nvSpPr>
          <p:spPr bwMode="auto">
            <a:xfrm>
              <a:off x="2595487" y="3840489"/>
              <a:ext cx="24026" cy="43849"/>
            </a:xfrm>
            <a:custGeom>
              <a:avLst/>
              <a:gdLst>
                <a:gd name="T0" fmla="*/ 9922 w 12"/>
                <a:gd name="T1" fmla="*/ 1928 h 28"/>
                <a:gd name="T2" fmla="*/ 3969 w 12"/>
                <a:gd name="T3" fmla="*/ 15421 h 28"/>
                <a:gd name="T4" fmla="*/ 7938 w 12"/>
                <a:gd name="T5" fmla="*/ 34698 h 28"/>
                <a:gd name="T6" fmla="*/ 1984 w 12"/>
                <a:gd name="T7" fmla="*/ 50120 h 28"/>
                <a:gd name="T8" fmla="*/ 17860 w 12"/>
                <a:gd name="T9" fmla="*/ 52047 h 28"/>
                <a:gd name="T10" fmla="*/ 19844 w 12"/>
                <a:gd name="T11" fmla="*/ 40481 h 28"/>
                <a:gd name="T12" fmla="*/ 17860 w 12"/>
                <a:gd name="T13" fmla="*/ 32771 h 28"/>
                <a:gd name="T14" fmla="*/ 21829 w 12"/>
                <a:gd name="T15" fmla="*/ 30843 h 28"/>
                <a:gd name="T16" fmla="*/ 15875 w 12"/>
                <a:gd name="T17" fmla="*/ 23132 h 28"/>
                <a:gd name="T18" fmla="*/ 19844 w 12"/>
                <a:gd name="T19" fmla="*/ 19277 h 28"/>
                <a:gd name="T20" fmla="*/ 23813 w 12"/>
                <a:gd name="T21" fmla="*/ 15421 h 28"/>
                <a:gd name="T22" fmla="*/ 17860 w 12"/>
                <a:gd name="T23" fmla="*/ 3855 h 28"/>
                <a:gd name="T24" fmla="*/ 9922 w 12"/>
                <a:gd name="T25" fmla="*/ 19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0" name="Freeform 1007"/>
            <p:cNvSpPr>
              <a:spLocks noChangeAspect="1"/>
            </p:cNvSpPr>
            <p:nvPr/>
          </p:nvSpPr>
          <p:spPr bwMode="auto">
            <a:xfrm>
              <a:off x="2630725" y="3908842"/>
              <a:ext cx="12814" cy="12897"/>
            </a:xfrm>
            <a:custGeom>
              <a:avLst/>
              <a:gdLst>
                <a:gd name="T0" fmla="*/ 3629 w 7"/>
                <a:gd name="T1" fmla="*/ 13891 h 8"/>
                <a:gd name="T2" fmla="*/ 9071 w 7"/>
                <a:gd name="T3" fmla="*/ 9922 h 8"/>
                <a:gd name="T4" fmla="*/ 10886 w 7"/>
                <a:gd name="T5" fmla="*/ 1984 h 8"/>
                <a:gd name="T6" fmla="*/ 3629 w 7"/>
                <a:gd name="T7" fmla="*/ 0 h 8"/>
                <a:gd name="T8" fmla="*/ 0 w 7"/>
                <a:gd name="T9" fmla="*/ 5953 h 8"/>
                <a:gd name="T10" fmla="*/ 1814 w 7"/>
                <a:gd name="T11" fmla="*/ 11906 h 8"/>
                <a:gd name="T12" fmla="*/ 3629 w 7"/>
                <a:gd name="T13" fmla="*/ 13891 h 8"/>
                <a:gd name="T14" fmla="*/ 0 60000 65536"/>
                <a:gd name="T15" fmla="*/ 0 60000 65536"/>
                <a:gd name="T16" fmla="*/ 0 60000 65536"/>
                <a:gd name="T17" fmla="*/ 0 60000 65536"/>
                <a:gd name="T18" fmla="*/ 0 60000 65536"/>
                <a:gd name="T19" fmla="*/ 0 60000 65536"/>
                <a:gd name="T20" fmla="*/ 0 60000 65536"/>
                <a:gd name="T21" fmla="*/ 0 w 7"/>
                <a:gd name="T22" fmla="*/ 0 h 8"/>
                <a:gd name="T23" fmla="*/ 7 w 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8">
                  <a:moveTo>
                    <a:pt x="2" y="7"/>
                  </a:moveTo>
                  <a:cubicBezTo>
                    <a:pt x="4" y="7"/>
                    <a:pt x="5" y="6"/>
                    <a:pt x="5" y="5"/>
                  </a:cubicBezTo>
                  <a:cubicBezTo>
                    <a:pt x="6" y="4"/>
                    <a:pt x="7" y="2"/>
                    <a:pt x="6" y="1"/>
                  </a:cubicBezTo>
                  <a:cubicBezTo>
                    <a:pt x="5" y="0"/>
                    <a:pt x="4" y="0"/>
                    <a:pt x="2" y="0"/>
                  </a:cubicBezTo>
                  <a:cubicBezTo>
                    <a:pt x="1" y="0"/>
                    <a:pt x="0" y="2"/>
                    <a:pt x="0" y="3"/>
                  </a:cubicBezTo>
                  <a:cubicBezTo>
                    <a:pt x="0" y="4"/>
                    <a:pt x="0" y="5"/>
                    <a:pt x="1" y="6"/>
                  </a:cubicBezTo>
                  <a:cubicBezTo>
                    <a:pt x="1" y="7"/>
                    <a:pt x="2" y="8"/>
                    <a:pt x="2"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1" name="Freeform 1008"/>
            <p:cNvSpPr>
              <a:spLocks noChangeAspect="1"/>
            </p:cNvSpPr>
            <p:nvPr/>
          </p:nvSpPr>
          <p:spPr bwMode="auto">
            <a:xfrm>
              <a:off x="2629124" y="3930767"/>
              <a:ext cx="9610" cy="7738"/>
            </a:xfrm>
            <a:custGeom>
              <a:avLst/>
              <a:gdLst>
                <a:gd name="T0" fmla="*/ 0 w 5"/>
                <a:gd name="T1" fmla="*/ 1905 h 5"/>
                <a:gd name="T2" fmla="*/ 1905 w 5"/>
                <a:gd name="T3" fmla="*/ 7620 h 5"/>
                <a:gd name="T4" fmla="*/ 7620 w 5"/>
                <a:gd name="T5" fmla="*/ 5715 h 5"/>
                <a:gd name="T6" fmla="*/ 3810 w 5"/>
                <a:gd name="T7" fmla="*/ 1905 h 5"/>
                <a:gd name="T8" fmla="*/ 0 w 5"/>
                <a:gd name="T9" fmla="*/ 190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1"/>
                  </a:moveTo>
                  <a:cubicBezTo>
                    <a:pt x="0" y="2"/>
                    <a:pt x="0" y="4"/>
                    <a:pt x="1" y="4"/>
                  </a:cubicBezTo>
                  <a:cubicBezTo>
                    <a:pt x="2" y="5"/>
                    <a:pt x="4" y="4"/>
                    <a:pt x="4" y="3"/>
                  </a:cubicBezTo>
                  <a:cubicBezTo>
                    <a:pt x="5" y="2"/>
                    <a:pt x="3" y="1"/>
                    <a:pt x="2" y="1"/>
                  </a:cubicBezTo>
                  <a:cubicBezTo>
                    <a:pt x="2" y="1"/>
                    <a:pt x="0"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2" name="Freeform 1009"/>
            <p:cNvSpPr>
              <a:spLocks noChangeAspect="1"/>
            </p:cNvSpPr>
            <p:nvPr/>
          </p:nvSpPr>
          <p:spPr bwMode="auto">
            <a:xfrm>
              <a:off x="2605098" y="3910131"/>
              <a:ext cx="11213" cy="7738"/>
            </a:xfrm>
            <a:custGeom>
              <a:avLst/>
              <a:gdLst>
                <a:gd name="T0" fmla="*/ 1852 w 6"/>
                <a:gd name="T1" fmla="*/ 1905 h 5"/>
                <a:gd name="T2" fmla="*/ 9261 w 6"/>
                <a:gd name="T3" fmla="*/ 3810 h 5"/>
                <a:gd name="T4" fmla="*/ 1852 w 6"/>
                <a:gd name="T5" fmla="*/ 7620 h 5"/>
                <a:gd name="T6" fmla="*/ 1852 w 6"/>
                <a:gd name="T7" fmla="*/ 190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2" y="0"/>
                    <a:pt x="5" y="1"/>
                    <a:pt x="5" y="2"/>
                  </a:cubicBezTo>
                  <a:cubicBezTo>
                    <a:pt x="6" y="4"/>
                    <a:pt x="3" y="5"/>
                    <a:pt x="1" y="4"/>
                  </a:cubicBezTo>
                  <a:cubicBezTo>
                    <a:pt x="0" y="4"/>
                    <a:pt x="0"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3" name="Freeform 1010"/>
            <p:cNvSpPr>
              <a:spLocks noChangeAspect="1"/>
            </p:cNvSpPr>
            <p:nvPr/>
          </p:nvSpPr>
          <p:spPr bwMode="auto">
            <a:xfrm>
              <a:off x="2095753" y="2859044"/>
              <a:ext cx="19221" cy="29663"/>
            </a:xfrm>
            <a:custGeom>
              <a:avLst/>
              <a:gdLst>
                <a:gd name="T0" fmla="*/ 0 w 10"/>
                <a:gd name="T1" fmla="*/ 3843 h 19"/>
                <a:gd name="T2" fmla="*/ 3810 w 10"/>
                <a:gd name="T3" fmla="*/ 0 h 19"/>
                <a:gd name="T4" fmla="*/ 17145 w 10"/>
                <a:gd name="T5" fmla="*/ 17295 h 19"/>
                <a:gd name="T6" fmla="*/ 19050 w 10"/>
                <a:gd name="T7" fmla="*/ 26904 h 19"/>
                <a:gd name="T8" fmla="*/ 13335 w 10"/>
                <a:gd name="T9" fmla="*/ 34590 h 19"/>
                <a:gd name="T10" fmla="*/ 5715 w 10"/>
                <a:gd name="T11" fmla="*/ 30747 h 19"/>
                <a:gd name="T12" fmla="*/ 3810 w 10"/>
                <a:gd name="T13" fmla="*/ 26904 h 19"/>
                <a:gd name="T14" fmla="*/ 9525 w 10"/>
                <a:gd name="T15" fmla="*/ 21139 h 19"/>
                <a:gd name="T16" fmla="*/ 5715 w 10"/>
                <a:gd name="T17" fmla="*/ 11530 h 19"/>
                <a:gd name="T18" fmla="*/ 0 w 10"/>
                <a:gd name="T19" fmla="*/ 3843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9"/>
                <a:gd name="T32" fmla="*/ 10 w 10"/>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9">
                  <a:moveTo>
                    <a:pt x="0" y="2"/>
                  </a:moveTo>
                  <a:cubicBezTo>
                    <a:pt x="0" y="1"/>
                    <a:pt x="1" y="0"/>
                    <a:pt x="2" y="0"/>
                  </a:cubicBezTo>
                  <a:cubicBezTo>
                    <a:pt x="5" y="3"/>
                    <a:pt x="7" y="6"/>
                    <a:pt x="9" y="9"/>
                  </a:cubicBezTo>
                  <a:cubicBezTo>
                    <a:pt x="10" y="11"/>
                    <a:pt x="10" y="12"/>
                    <a:pt x="10" y="14"/>
                  </a:cubicBezTo>
                  <a:cubicBezTo>
                    <a:pt x="10" y="15"/>
                    <a:pt x="9" y="17"/>
                    <a:pt x="7" y="18"/>
                  </a:cubicBezTo>
                  <a:cubicBezTo>
                    <a:pt x="6" y="19"/>
                    <a:pt x="4" y="18"/>
                    <a:pt x="3" y="16"/>
                  </a:cubicBezTo>
                  <a:cubicBezTo>
                    <a:pt x="2" y="16"/>
                    <a:pt x="2" y="15"/>
                    <a:pt x="2" y="14"/>
                  </a:cubicBezTo>
                  <a:cubicBezTo>
                    <a:pt x="3" y="13"/>
                    <a:pt x="5" y="12"/>
                    <a:pt x="5" y="11"/>
                  </a:cubicBezTo>
                  <a:cubicBezTo>
                    <a:pt x="5" y="9"/>
                    <a:pt x="4" y="8"/>
                    <a:pt x="3" y="6"/>
                  </a:cubicBezTo>
                  <a:cubicBezTo>
                    <a:pt x="2" y="5"/>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4" name="Freeform 1011"/>
            <p:cNvSpPr>
              <a:spLocks noChangeAspect="1"/>
            </p:cNvSpPr>
            <p:nvPr/>
          </p:nvSpPr>
          <p:spPr bwMode="auto">
            <a:xfrm>
              <a:off x="3066390" y="2877099"/>
              <a:ext cx="14416" cy="18056"/>
            </a:xfrm>
            <a:custGeom>
              <a:avLst/>
              <a:gdLst>
                <a:gd name="T0" fmla="*/ 0 w 7"/>
                <a:gd name="T1" fmla="*/ 22225 h 12"/>
                <a:gd name="T2" fmla="*/ 2041 w 7"/>
                <a:gd name="T3" fmla="*/ 22225 h 12"/>
                <a:gd name="T4" fmla="*/ 10206 w 7"/>
                <a:gd name="T5" fmla="*/ 12965 h 12"/>
                <a:gd name="T6" fmla="*/ 14288 w 7"/>
                <a:gd name="T7" fmla="*/ 1852 h 12"/>
                <a:gd name="T8" fmla="*/ 8165 w 7"/>
                <a:gd name="T9" fmla="*/ 5556 h 12"/>
                <a:gd name="T10" fmla="*/ 6123 w 7"/>
                <a:gd name="T11" fmla="*/ 14817 h 12"/>
                <a:gd name="T12" fmla="*/ 0 w 7"/>
                <a:gd name="T13" fmla="*/ 22225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5" name="Freeform 1012"/>
            <p:cNvSpPr>
              <a:spLocks noChangeAspect="1"/>
            </p:cNvSpPr>
            <p:nvPr/>
          </p:nvSpPr>
          <p:spPr bwMode="auto">
            <a:xfrm>
              <a:off x="3101628" y="2856465"/>
              <a:ext cx="16017" cy="7738"/>
            </a:xfrm>
            <a:custGeom>
              <a:avLst/>
              <a:gdLst>
                <a:gd name="T0" fmla="*/ 1984 w 8"/>
                <a:gd name="T1" fmla="*/ 1905 h 5"/>
                <a:gd name="T2" fmla="*/ 1984 w 8"/>
                <a:gd name="T3" fmla="*/ 7620 h 5"/>
                <a:gd name="T4" fmla="*/ 11906 w 8"/>
                <a:gd name="T5" fmla="*/ 7620 h 5"/>
                <a:gd name="T6" fmla="*/ 15875 w 8"/>
                <a:gd name="T7" fmla="*/ 1905 h 5"/>
                <a:gd name="T8" fmla="*/ 9922 w 8"/>
                <a:gd name="T9" fmla="*/ 1905 h 5"/>
                <a:gd name="T10" fmla="*/ 1984 w 8"/>
                <a:gd name="T11" fmla="*/ 1905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6" name="Freeform 1013"/>
            <p:cNvSpPr>
              <a:spLocks noChangeAspect="1"/>
            </p:cNvSpPr>
            <p:nvPr/>
          </p:nvSpPr>
          <p:spPr bwMode="auto">
            <a:xfrm>
              <a:off x="3093619" y="2857754"/>
              <a:ext cx="8008" cy="7738"/>
            </a:xfrm>
            <a:custGeom>
              <a:avLst/>
              <a:gdLst>
                <a:gd name="T0" fmla="*/ 0 w 4"/>
                <a:gd name="T1" fmla="*/ 3810 h 5"/>
                <a:gd name="T2" fmla="*/ 3969 w 4"/>
                <a:gd name="T3" fmla="*/ 7620 h 5"/>
                <a:gd name="T4" fmla="*/ 5953 w 4"/>
                <a:gd name="T5" fmla="*/ 0 h 5"/>
                <a:gd name="T6" fmla="*/ 0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7" name="Freeform 1014"/>
            <p:cNvSpPr>
              <a:spLocks noChangeAspect="1"/>
            </p:cNvSpPr>
            <p:nvPr/>
          </p:nvSpPr>
          <p:spPr bwMode="auto">
            <a:xfrm>
              <a:off x="2758861" y="2617873"/>
              <a:ext cx="19221" cy="7738"/>
            </a:xfrm>
            <a:custGeom>
              <a:avLst/>
              <a:gdLst>
                <a:gd name="T0" fmla="*/ 5715 w 10"/>
                <a:gd name="T1" fmla="*/ 1905 h 5"/>
                <a:gd name="T2" fmla="*/ 1905 w 10"/>
                <a:gd name="T3" fmla="*/ 7620 h 5"/>
                <a:gd name="T4" fmla="*/ 15240 w 10"/>
                <a:gd name="T5" fmla="*/ 7620 h 5"/>
                <a:gd name="T6" fmla="*/ 17145 w 10"/>
                <a:gd name="T7" fmla="*/ 1905 h 5"/>
                <a:gd name="T8" fmla="*/ 9525 w 10"/>
                <a:gd name="T9" fmla="*/ 1905 h 5"/>
                <a:gd name="T10" fmla="*/ 5715 w 10"/>
                <a:gd name="T11" fmla="*/ 1905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8" name="Freeform 1015"/>
            <p:cNvSpPr>
              <a:spLocks noChangeAspect="1"/>
            </p:cNvSpPr>
            <p:nvPr/>
          </p:nvSpPr>
          <p:spPr bwMode="auto">
            <a:xfrm>
              <a:off x="2822930" y="2625611"/>
              <a:ext cx="20823" cy="16766"/>
            </a:xfrm>
            <a:custGeom>
              <a:avLst/>
              <a:gdLst>
                <a:gd name="T0" fmla="*/ 9381 w 11"/>
                <a:gd name="T1" fmla="*/ 1876 h 11"/>
                <a:gd name="T2" fmla="*/ 7505 w 11"/>
                <a:gd name="T3" fmla="*/ 7505 h 11"/>
                <a:gd name="T4" fmla="*/ 9381 w 11"/>
                <a:gd name="T5" fmla="*/ 13133 h 11"/>
                <a:gd name="T6" fmla="*/ 0 w 11"/>
                <a:gd name="T7" fmla="*/ 16886 h 11"/>
                <a:gd name="T8" fmla="*/ 1876 w 11"/>
                <a:gd name="T9" fmla="*/ 18762 h 11"/>
                <a:gd name="T10" fmla="*/ 16886 w 11"/>
                <a:gd name="T11" fmla="*/ 16886 h 11"/>
                <a:gd name="T12" fmla="*/ 20638 w 11"/>
                <a:gd name="T13" fmla="*/ 15009 h 11"/>
                <a:gd name="T14" fmla="*/ 20638 w 11"/>
                <a:gd name="T15" fmla="*/ 3752 h 11"/>
                <a:gd name="T16" fmla="*/ 20638 w 11"/>
                <a:gd name="T17" fmla="*/ 0 h 11"/>
                <a:gd name="T18" fmla="*/ 9381 w 11"/>
                <a:gd name="T19" fmla="*/ 1876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9" name="Freeform 1016"/>
            <p:cNvSpPr>
              <a:spLocks noChangeAspect="1"/>
            </p:cNvSpPr>
            <p:nvPr/>
          </p:nvSpPr>
          <p:spPr bwMode="auto">
            <a:xfrm>
              <a:off x="2701200" y="2445056"/>
              <a:ext cx="46450" cy="14187"/>
            </a:xfrm>
            <a:custGeom>
              <a:avLst/>
              <a:gdLst>
                <a:gd name="T0" fmla="*/ 1918 w 24"/>
                <a:gd name="T1" fmla="*/ 1940 h 9"/>
                <a:gd name="T2" fmla="*/ 0 w 24"/>
                <a:gd name="T3" fmla="*/ 7761 h 9"/>
                <a:gd name="T4" fmla="*/ 3837 w 24"/>
                <a:gd name="T5" fmla="*/ 15523 h 9"/>
                <a:gd name="T6" fmla="*/ 19183 w 24"/>
                <a:gd name="T7" fmla="*/ 15523 h 9"/>
                <a:gd name="T8" fmla="*/ 34529 w 24"/>
                <a:gd name="T9" fmla="*/ 15523 h 9"/>
                <a:gd name="T10" fmla="*/ 44120 w 24"/>
                <a:gd name="T11" fmla="*/ 5821 h 9"/>
                <a:gd name="T12" fmla="*/ 30692 w 24"/>
                <a:gd name="T13" fmla="*/ 3881 h 9"/>
                <a:gd name="T14" fmla="*/ 13428 w 24"/>
                <a:gd name="T15" fmla="*/ 1940 h 9"/>
                <a:gd name="T16" fmla="*/ 1918 w 24"/>
                <a:gd name="T17" fmla="*/ 194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0" name="Freeform 1017"/>
            <p:cNvSpPr>
              <a:spLocks noChangeAspect="1"/>
            </p:cNvSpPr>
            <p:nvPr/>
          </p:nvSpPr>
          <p:spPr bwMode="auto">
            <a:xfrm>
              <a:off x="2545835" y="2385730"/>
              <a:ext cx="20822" cy="11608"/>
            </a:xfrm>
            <a:custGeom>
              <a:avLst/>
              <a:gdLst>
                <a:gd name="T0" fmla="*/ 13133 w 11"/>
                <a:gd name="T1" fmla="*/ 6123 h 7"/>
                <a:gd name="T2" fmla="*/ 18761 w 11"/>
                <a:gd name="T3" fmla="*/ 0 h 7"/>
                <a:gd name="T4" fmla="*/ 18761 w 11"/>
                <a:gd name="T5" fmla="*/ 6123 h 7"/>
                <a:gd name="T6" fmla="*/ 15009 w 11"/>
                <a:gd name="T7" fmla="*/ 12247 h 7"/>
                <a:gd name="T8" fmla="*/ 3752 w 11"/>
                <a:gd name="T9" fmla="*/ 12247 h 7"/>
                <a:gd name="T10" fmla="*/ 0 w 11"/>
                <a:gd name="T11" fmla="*/ 10206 h 7"/>
                <a:gd name="T12" fmla="*/ 5628 w 11"/>
                <a:gd name="T13" fmla="*/ 4082 h 7"/>
                <a:gd name="T14" fmla="*/ 13133 w 11"/>
                <a:gd name="T15" fmla="*/ 6123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1" name="Freeform 1018"/>
            <p:cNvSpPr>
              <a:spLocks noChangeAspect="1"/>
            </p:cNvSpPr>
            <p:nvPr/>
          </p:nvSpPr>
          <p:spPr bwMode="auto">
            <a:xfrm>
              <a:off x="2523411" y="2416683"/>
              <a:ext cx="73679" cy="39980"/>
            </a:xfrm>
            <a:custGeom>
              <a:avLst/>
              <a:gdLst>
                <a:gd name="T0" fmla="*/ 69280 w 39"/>
                <a:gd name="T1" fmla="*/ 49213 h 26"/>
                <a:gd name="T2" fmla="*/ 71153 w 39"/>
                <a:gd name="T3" fmla="*/ 45427 h 26"/>
                <a:gd name="T4" fmla="*/ 61790 w 39"/>
                <a:gd name="T5" fmla="*/ 35963 h 26"/>
                <a:gd name="T6" fmla="*/ 69280 w 39"/>
                <a:gd name="T7" fmla="*/ 28392 h 26"/>
                <a:gd name="T8" fmla="*/ 67408 w 39"/>
                <a:gd name="T9" fmla="*/ 22714 h 26"/>
                <a:gd name="T10" fmla="*/ 71153 w 39"/>
                <a:gd name="T11" fmla="*/ 17035 h 26"/>
                <a:gd name="T12" fmla="*/ 69280 w 39"/>
                <a:gd name="T13" fmla="*/ 3786 h 26"/>
                <a:gd name="T14" fmla="*/ 58046 w 39"/>
                <a:gd name="T15" fmla="*/ 5678 h 26"/>
                <a:gd name="T16" fmla="*/ 50556 w 39"/>
                <a:gd name="T17" fmla="*/ 1893 h 26"/>
                <a:gd name="T18" fmla="*/ 33704 w 39"/>
                <a:gd name="T19" fmla="*/ 1893 h 26"/>
                <a:gd name="T20" fmla="*/ 28087 w 39"/>
                <a:gd name="T21" fmla="*/ 9464 h 26"/>
                <a:gd name="T22" fmla="*/ 29959 w 39"/>
                <a:gd name="T23" fmla="*/ 13250 h 26"/>
                <a:gd name="T24" fmla="*/ 41194 w 39"/>
                <a:gd name="T25" fmla="*/ 13250 h 26"/>
                <a:gd name="T26" fmla="*/ 43066 w 39"/>
                <a:gd name="T27" fmla="*/ 26499 h 26"/>
                <a:gd name="T28" fmla="*/ 54301 w 39"/>
                <a:gd name="T29" fmla="*/ 35963 h 26"/>
                <a:gd name="T30" fmla="*/ 44938 w 39"/>
                <a:gd name="T31" fmla="*/ 35963 h 26"/>
                <a:gd name="T32" fmla="*/ 16852 w 39"/>
                <a:gd name="T33" fmla="*/ 34071 h 26"/>
                <a:gd name="T34" fmla="*/ 7490 w 39"/>
                <a:gd name="T35" fmla="*/ 32178 h 26"/>
                <a:gd name="T36" fmla="*/ 0 w 39"/>
                <a:gd name="T37" fmla="*/ 37856 h 26"/>
                <a:gd name="T38" fmla="*/ 7490 w 39"/>
                <a:gd name="T39" fmla="*/ 43535 h 26"/>
                <a:gd name="T40" fmla="*/ 18724 w 39"/>
                <a:gd name="T41" fmla="*/ 47320 h 26"/>
                <a:gd name="T42" fmla="*/ 35576 w 39"/>
                <a:gd name="T43" fmla="*/ 43535 h 26"/>
                <a:gd name="T44" fmla="*/ 46811 w 39"/>
                <a:gd name="T45" fmla="*/ 45427 h 26"/>
                <a:gd name="T46" fmla="*/ 58046 w 39"/>
                <a:gd name="T47" fmla="*/ 43535 h 26"/>
                <a:gd name="T48" fmla="*/ 69280 w 39"/>
                <a:gd name="T49" fmla="*/ 4921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2" name="Freeform 1019"/>
            <p:cNvSpPr>
              <a:spLocks noChangeAspect="1"/>
            </p:cNvSpPr>
            <p:nvPr/>
          </p:nvSpPr>
          <p:spPr bwMode="auto">
            <a:xfrm>
              <a:off x="2427308" y="2447635"/>
              <a:ext cx="54458" cy="19346"/>
            </a:xfrm>
            <a:custGeom>
              <a:avLst/>
              <a:gdLst>
                <a:gd name="T0" fmla="*/ 35363 w 29"/>
                <a:gd name="T1" fmla="*/ 1984 h 12"/>
                <a:gd name="T2" fmla="*/ 52114 w 29"/>
                <a:gd name="T3" fmla="*/ 13891 h 12"/>
                <a:gd name="T4" fmla="*/ 52114 w 29"/>
                <a:gd name="T5" fmla="*/ 19844 h 12"/>
                <a:gd name="T6" fmla="*/ 37224 w 29"/>
                <a:gd name="T7" fmla="*/ 17860 h 12"/>
                <a:gd name="T8" fmla="*/ 29779 w 29"/>
                <a:gd name="T9" fmla="*/ 23813 h 12"/>
                <a:gd name="T10" fmla="*/ 11167 w 29"/>
                <a:gd name="T11" fmla="*/ 13891 h 12"/>
                <a:gd name="T12" fmla="*/ 0 w 29"/>
                <a:gd name="T13" fmla="*/ 7938 h 12"/>
                <a:gd name="T14" fmla="*/ 7445 w 29"/>
                <a:gd name="T15" fmla="*/ 0 h 12"/>
                <a:gd name="T16" fmla="*/ 27918 w 29"/>
                <a:gd name="T17" fmla="*/ 1984 h 12"/>
                <a:gd name="T18" fmla="*/ 35363 w 29"/>
                <a:gd name="T19" fmla="*/ 198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3" name="Freeform 1020"/>
            <p:cNvSpPr>
              <a:spLocks noChangeAspect="1"/>
            </p:cNvSpPr>
            <p:nvPr/>
          </p:nvSpPr>
          <p:spPr bwMode="auto">
            <a:xfrm>
              <a:off x="2279951" y="2340592"/>
              <a:ext cx="257876" cy="81249"/>
            </a:xfrm>
            <a:custGeom>
              <a:avLst/>
              <a:gdLst>
                <a:gd name="T0" fmla="*/ 246050 w 134"/>
                <a:gd name="T1" fmla="*/ 82702 h 52"/>
                <a:gd name="T2" fmla="*/ 253680 w 134"/>
                <a:gd name="T3" fmla="*/ 86549 h 52"/>
                <a:gd name="T4" fmla="*/ 238421 w 134"/>
                <a:gd name="T5" fmla="*/ 92319 h 52"/>
                <a:gd name="T6" fmla="*/ 219347 w 134"/>
                <a:gd name="T7" fmla="*/ 98089 h 52"/>
                <a:gd name="T8" fmla="*/ 190737 w 134"/>
                <a:gd name="T9" fmla="*/ 96165 h 52"/>
                <a:gd name="T10" fmla="*/ 183107 w 134"/>
                <a:gd name="T11" fmla="*/ 100012 h 52"/>
                <a:gd name="T12" fmla="*/ 165941 w 134"/>
                <a:gd name="T13" fmla="*/ 98089 h 52"/>
                <a:gd name="T14" fmla="*/ 167848 w 134"/>
                <a:gd name="T15" fmla="*/ 94242 h 52"/>
                <a:gd name="T16" fmla="*/ 181200 w 134"/>
                <a:gd name="T17" fmla="*/ 82702 h 52"/>
                <a:gd name="T18" fmla="*/ 177385 w 134"/>
                <a:gd name="T19" fmla="*/ 76932 h 52"/>
                <a:gd name="T20" fmla="*/ 160219 w 134"/>
                <a:gd name="T21" fmla="*/ 75009 h 52"/>
                <a:gd name="T22" fmla="*/ 148775 w 134"/>
                <a:gd name="T23" fmla="*/ 65392 h 52"/>
                <a:gd name="T24" fmla="*/ 146867 w 134"/>
                <a:gd name="T25" fmla="*/ 48083 h 52"/>
                <a:gd name="T26" fmla="*/ 131608 w 134"/>
                <a:gd name="T27" fmla="*/ 48083 h 52"/>
                <a:gd name="T28" fmla="*/ 112535 w 134"/>
                <a:gd name="T29" fmla="*/ 42313 h 52"/>
                <a:gd name="T30" fmla="*/ 104905 w 134"/>
                <a:gd name="T31" fmla="*/ 32696 h 52"/>
                <a:gd name="T32" fmla="*/ 91554 w 134"/>
                <a:gd name="T33" fmla="*/ 34620 h 52"/>
                <a:gd name="T34" fmla="*/ 80109 w 134"/>
                <a:gd name="T35" fmla="*/ 30773 h 52"/>
                <a:gd name="T36" fmla="*/ 64850 w 134"/>
                <a:gd name="T37" fmla="*/ 28850 h 52"/>
                <a:gd name="T38" fmla="*/ 68665 w 134"/>
                <a:gd name="T39" fmla="*/ 25003 h 52"/>
                <a:gd name="T40" fmla="*/ 74387 w 134"/>
                <a:gd name="T41" fmla="*/ 21156 h 52"/>
                <a:gd name="T42" fmla="*/ 57221 w 134"/>
                <a:gd name="T43" fmla="*/ 15386 h 52"/>
                <a:gd name="T44" fmla="*/ 38147 w 134"/>
                <a:gd name="T45" fmla="*/ 23080 h 52"/>
                <a:gd name="T46" fmla="*/ 22888 w 134"/>
                <a:gd name="T47" fmla="*/ 32696 h 52"/>
                <a:gd name="T48" fmla="*/ 11444 w 134"/>
                <a:gd name="T49" fmla="*/ 42313 h 52"/>
                <a:gd name="T50" fmla="*/ 0 w 134"/>
                <a:gd name="T51" fmla="*/ 38466 h 52"/>
                <a:gd name="T52" fmla="*/ 9537 w 134"/>
                <a:gd name="T53" fmla="*/ 32696 h 52"/>
                <a:gd name="T54" fmla="*/ 15259 w 134"/>
                <a:gd name="T55" fmla="*/ 19233 h 52"/>
                <a:gd name="T56" fmla="*/ 38147 w 134"/>
                <a:gd name="T57" fmla="*/ 7693 h 52"/>
                <a:gd name="T58" fmla="*/ 64850 w 134"/>
                <a:gd name="T59" fmla="*/ 0 h 52"/>
                <a:gd name="T60" fmla="*/ 87739 w 134"/>
                <a:gd name="T61" fmla="*/ 3847 h 52"/>
                <a:gd name="T62" fmla="*/ 102998 w 134"/>
                <a:gd name="T63" fmla="*/ 5770 h 52"/>
                <a:gd name="T64" fmla="*/ 108720 w 134"/>
                <a:gd name="T65" fmla="*/ 9617 h 52"/>
                <a:gd name="T66" fmla="*/ 120164 w 134"/>
                <a:gd name="T67" fmla="*/ 11540 h 52"/>
                <a:gd name="T68" fmla="*/ 129701 w 134"/>
                <a:gd name="T69" fmla="*/ 25003 h 52"/>
                <a:gd name="T70" fmla="*/ 152589 w 134"/>
                <a:gd name="T71" fmla="*/ 26926 h 52"/>
                <a:gd name="T72" fmla="*/ 162126 w 134"/>
                <a:gd name="T73" fmla="*/ 40389 h 52"/>
                <a:gd name="T74" fmla="*/ 165941 w 134"/>
                <a:gd name="T75" fmla="*/ 38466 h 52"/>
                <a:gd name="T76" fmla="*/ 156404 w 134"/>
                <a:gd name="T77" fmla="*/ 26926 h 52"/>
                <a:gd name="T78" fmla="*/ 160219 w 134"/>
                <a:gd name="T79" fmla="*/ 25003 h 52"/>
                <a:gd name="T80" fmla="*/ 173570 w 134"/>
                <a:gd name="T81" fmla="*/ 38466 h 52"/>
                <a:gd name="T82" fmla="*/ 173570 w 134"/>
                <a:gd name="T83" fmla="*/ 44236 h 52"/>
                <a:gd name="T84" fmla="*/ 185014 w 134"/>
                <a:gd name="T85" fmla="*/ 46159 h 52"/>
                <a:gd name="T86" fmla="*/ 202181 w 134"/>
                <a:gd name="T87" fmla="*/ 55776 h 52"/>
                <a:gd name="T88" fmla="*/ 207903 w 134"/>
                <a:gd name="T89" fmla="*/ 63469 h 52"/>
                <a:gd name="T90" fmla="*/ 221254 w 134"/>
                <a:gd name="T91" fmla="*/ 65392 h 52"/>
                <a:gd name="T92" fmla="*/ 213625 w 134"/>
                <a:gd name="T93" fmla="*/ 75009 h 52"/>
                <a:gd name="T94" fmla="*/ 230791 w 134"/>
                <a:gd name="T95" fmla="*/ 73086 h 52"/>
                <a:gd name="T96" fmla="*/ 244143 w 134"/>
                <a:gd name="T97" fmla="*/ 76932 h 52"/>
                <a:gd name="T98" fmla="*/ 246050 w 134"/>
                <a:gd name="T99" fmla="*/ 8270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4" name="Freeform 1021"/>
            <p:cNvSpPr>
              <a:spLocks noChangeAspect="1"/>
            </p:cNvSpPr>
            <p:nvPr/>
          </p:nvSpPr>
          <p:spPr bwMode="auto">
            <a:xfrm>
              <a:off x="2318391" y="2374124"/>
              <a:ext cx="17618" cy="11607"/>
            </a:xfrm>
            <a:custGeom>
              <a:avLst/>
              <a:gdLst>
                <a:gd name="T0" fmla="*/ 9701 w 9"/>
                <a:gd name="T1" fmla="*/ 0 h 8"/>
                <a:gd name="T2" fmla="*/ 15522 w 9"/>
                <a:gd name="T3" fmla="*/ 10715 h 8"/>
                <a:gd name="T4" fmla="*/ 1940 w 9"/>
                <a:gd name="T5" fmla="*/ 12501 h 8"/>
                <a:gd name="T6" fmla="*/ 3880 w 9"/>
                <a:gd name="T7" fmla="*/ 7144 h 8"/>
                <a:gd name="T8" fmla="*/ 1940 w 9"/>
                <a:gd name="T9" fmla="*/ 1786 h 8"/>
                <a:gd name="T10" fmla="*/ 9701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5" name="Freeform 1022"/>
            <p:cNvSpPr>
              <a:spLocks noChangeAspect="1"/>
            </p:cNvSpPr>
            <p:nvPr/>
          </p:nvSpPr>
          <p:spPr bwMode="auto">
            <a:xfrm>
              <a:off x="2441722" y="2298032"/>
              <a:ext cx="14416" cy="18056"/>
            </a:xfrm>
            <a:custGeom>
              <a:avLst/>
              <a:gdLst>
                <a:gd name="T0" fmla="*/ 10206 w 7"/>
                <a:gd name="T1" fmla="*/ 1852 h 12"/>
                <a:gd name="T2" fmla="*/ 6123 w 7"/>
                <a:gd name="T3" fmla="*/ 1852 h 12"/>
                <a:gd name="T4" fmla="*/ 0 w 7"/>
                <a:gd name="T5" fmla="*/ 14817 h 12"/>
                <a:gd name="T6" fmla="*/ 6123 w 7"/>
                <a:gd name="T7" fmla="*/ 20373 h 12"/>
                <a:gd name="T8" fmla="*/ 14288 w 7"/>
                <a:gd name="T9" fmla="*/ 16669 h 12"/>
                <a:gd name="T10" fmla="*/ 10206 w 7"/>
                <a:gd name="T11" fmla="*/ 1852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6" name="Freeform 1023"/>
            <p:cNvSpPr>
              <a:spLocks noChangeAspect="1"/>
            </p:cNvSpPr>
            <p:nvPr/>
          </p:nvSpPr>
          <p:spPr bwMode="auto">
            <a:xfrm>
              <a:off x="2427308" y="2259342"/>
              <a:ext cx="32034" cy="6449"/>
            </a:xfrm>
            <a:custGeom>
              <a:avLst/>
              <a:gdLst>
                <a:gd name="T0" fmla="*/ 28015 w 17"/>
                <a:gd name="T1" fmla="*/ 0 h 4"/>
                <a:gd name="T2" fmla="*/ 29882 w 17"/>
                <a:gd name="T3" fmla="*/ 3969 h 4"/>
                <a:gd name="T4" fmla="*/ 20544 w 17"/>
                <a:gd name="T5" fmla="*/ 3969 h 4"/>
                <a:gd name="T6" fmla="*/ 7471 w 17"/>
                <a:gd name="T7" fmla="*/ 7938 h 4"/>
                <a:gd name="T8" fmla="*/ 1868 w 17"/>
                <a:gd name="T9" fmla="*/ 1985 h 4"/>
                <a:gd name="T10" fmla="*/ 11206 w 17"/>
                <a:gd name="T11" fmla="*/ 1985 h 4"/>
                <a:gd name="T12" fmla="*/ 22412 w 17"/>
                <a:gd name="T13" fmla="*/ 0 h 4"/>
                <a:gd name="T14" fmla="*/ 28015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7" name="Freeform 1024"/>
            <p:cNvSpPr>
              <a:spLocks noChangeAspect="1"/>
            </p:cNvSpPr>
            <p:nvPr/>
          </p:nvSpPr>
          <p:spPr bwMode="auto">
            <a:xfrm>
              <a:off x="2462545" y="2254184"/>
              <a:ext cx="14415" cy="29663"/>
            </a:xfrm>
            <a:custGeom>
              <a:avLst/>
              <a:gdLst>
                <a:gd name="T0" fmla="*/ 2041 w 7"/>
                <a:gd name="T1" fmla="*/ 1922 h 19"/>
                <a:gd name="T2" fmla="*/ 4082 w 7"/>
                <a:gd name="T3" fmla="*/ 9609 h 19"/>
                <a:gd name="T4" fmla="*/ 10205 w 7"/>
                <a:gd name="T5" fmla="*/ 11530 h 19"/>
                <a:gd name="T6" fmla="*/ 6123 w 7"/>
                <a:gd name="T7" fmla="*/ 24983 h 19"/>
                <a:gd name="T8" fmla="*/ 2041 w 7"/>
                <a:gd name="T9" fmla="*/ 30748 h 19"/>
                <a:gd name="T10" fmla="*/ 6123 w 7"/>
                <a:gd name="T11" fmla="*/ 34591 h 19"/>
                <a:gd name="T12" fmla="*/ 8164 w 7"/>
                <a:gd name="T13" fmla="*/ 28826 h 19"/>
                <a:gd name="T14" fmla="*/ 14287 w 7"/>
                <a:gd name="T15" fmla="*/ 13452 h 19"/>
                <a:gd name="T16" fmla="*/ 14287 w 7"/>
                <a:gd name="T17" fmla="*/ 9609 h 19"/>
                <a:gd name="T18" fmla="*/ 8164 w 7"/>
                <a:gd name="T19" fmla="*/ 5765 h 19"/>
                <a:gd name="T20" fmla="*/ 2041 w 7"/>
                <a:gd name="T21" fmla="*/ 192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8" name="Freeform 1025"/>
            <p:cNvSpPr>
              <a:spLocks noChangeAspect="1"/>
            </p:cNvSpPr>
            <p:nvPr/>
          </p:nvSpPr>
          <p:spPr bwMode="auto">
            <a:xfrm>
              <a:off x="2480164" y="2291585"/>
              <a:ext cx="14416" cy="18056"/>
            </a:xfrm>
            <a:custGeom>
              <a:avLst/>
              <a:gdLst>
                <a:gd name="T0" fmla="*/ 0 w 7"/>
                <a:gd name="T1" fmla="*/ 1852 h 12"/>
                <a:gd name="T2" fmla="*/ 10206 w 7"/>
                <a:gd name="T3" fmla="*/ 9260 h 12"/>
                <a:gd name="T4" fmla="*/ 12247 w 7"/>
                <a:gd name="T5" fmla="*/ 20373 h 12"/>
                <a:gd name="T6" fmla="*/ 14288 w 7"/>
                <a:gd name="T7" fmla="*/ 18521 h 12"/>
                <a:gd name="T8" fmla="*/ 12247 w 7"/>
                <a:gd name="T9" fmla="*/ 7408 h 12"/>
                <a:gd name="T10" fmla="*/ 6123 w 7"/>
                <a:gd name="T11" fmla="*/ 0 h 12"/>
                <a:gd name="T12" fmla="*/ 0 w 7"/>
                <a:gd name="T13" fmla="*/ 185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9" name="Freeform 1026"/>
            <p:cNvSpPr>
              <a:spLocks noChangeAspect="1"/>
            </p:cNvSpPr>
            <p:nvPr/>
          </p:nvSpPr>
          <p:spPr bwMode="auto">
            <a:xfrm>
              <a:off x="2523411" y="1826010"/>
              <a:ext cx="12814" cy="7738"/>
            </a:xfrm>
            <a:custGeom>
              <a:avLst/>
              <a:gdLst>
                <a:gd name="T0" fmla="*/ 10886 w 7"/>
                <a:gd name="T1" fmla="*/ 1905 h 5"/>
                <a:gd name="T2" fmla="*/ 10886 w 7"/>
                <a:gd name="T3" fmla="*/ 5715 h 5"/>
                <a:gd name="T4" fmla="*/ 5443 w 7"/>
                <a:gd name="T5" fmla="*/ 7620 h 5"/>
                <a:gd name="T6" fmla="*/ 0 w 7"/>
                <a:gd name="T7" fmla="*/ 3810 h 5"/>
                <a:gd name="T8" fmla="*/ 3629 w 7"/>
                <a:gd name="T9" fmla="*/ 0 h 5"/>
                <a:gd name="T10" fmla="*/ 10886 w 7"/>
                <a:gd name="T11" fmla="*/ 1905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0" name="Freeform 1027"/>
            <p:cNvSpPr>
              <a:spLocks noChangeAspect="1"/>
            </p:cNvSpPr>
            <p:nvPr/>
          </p:nvSpPr>
          <p:spPr bwMode="auto">
            <a:xfrm>
              <a:off x="2395273" y="1777002"/>
              <a:ext cx="36839" cy="10318"/>
            </a:xfrm>
            <a:custGeom>
              <a:avLst/>
              <a:gdLst>
                <a:gd name="T0" fmla="*/ 36512 w 19"/>
                <a:gd name="T1" fmla="*/ 6350 h 6"/>
                <a:gd name="T2" fmla="*/ 28825 w 19"/>
                <a:gd name="T3" fmla="*/ 12700 h 6"/>
                <a:gd name="T4" fmla="*/ 21139 w 19"/>
                <a:gd name="T5" fmla="*/ 10583 h 6"/>
                <a:gd name="T6" fmla="*/ 7687 w 19"/>
                <a:gd name="T7" fmla="*/ 6350 h 6"/>
                <a:gd name="T8" fmla="*/ 0 w 19"/>
                <a:gd name="T9" fmla="*/ 2117 h 6"/>
                <a:gd name="T10" fmla="*/ 7687 w 19"/>
                <a:gd name="T11" fmla="*/ 2117 h 6"/>
                <a:gd name="T12" fmla="*/ 13452 w 19"/>
                <a:gd name="T13" fmla="*/ 4233 h 6"/>
                <a:gd name="T14" fmla="*/ 17295 w 19"/>
                <a:gd name="T15" fmla="*/ 2117 h 6"/>
                <a:gd name="T16" fmla="*/ 28825 w 19"/>
                <a:gd name="T17" fmla="*/ 4233 h 6"/>
                <a:gd name="T18" fmla="*/ 36512 w 19"/>
                <a:gd name="T19" fmla="*/ 635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1" name="Freeform 1028"/>
            <p:cNvSpPr>
              <a:spLocks noChangeAspect="1"/>
            </p:cNvSpPr>
            <p:nvPr/>
          </p:nvSpPr>
          <p:spPr bwMode="auto">
            <a:xfrm>
              <a:off x="2382460" y="1774423"/>
              <a:ext cx="8008" cy="5158"/>
            </a:xfrm>
            <a:custGeom>
              <a:avLst/>
              <a:gdLst>
                <a:gd name="T0" fmla="*/ 3969 w 4"/>
                <a:gd name="T1" fmla="*/ 0 h 3"/>
                <a:gd name="T2" fmla="*/ 0 w 4"/>
                <a:gd name="T3" fmla="*/ 2117 h 3"/>
                <a:gd name="T4" fmla="*/ 3969 w 4"/>
                <a:gd name="T5" fmla="*/ 6350 h 3"/>
                <a:gd name="T6" fmla="*/ 7937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2" name="Freeform 1029"/>
            <p:cNvSpPr>
              <a:spLocks noChangeAspect="1"/>
            </p:cNvSpPr>
            <p:nvPr/>
          </p:nvSpPr>
          <p:spPr bwMode="auto">
            <a:xfrm>
              <a:off x="2268738" y="1718967"/>
              <a:ext cx="16017" cy="9027"/>
            </a:xfrm>
            <a:custGeom>
              <a:avLst/>
              <a:gdLst>
                <a:gd name="T0" fmla="*/ 1984 w 8"/>
                <a:gd name="T1" fmla="*/ 7408 h 6"/>
                <a:gd name="T2" fmla="*/ 3969 w 8"/>
                <a:gd name="T3" fmla="*/ 11112 h 6"/>
                <a:gd name="T4" fmla="*/ 15875 w 8"/>
                <a:gd name="T5" fmla="*/ 3704 h 6"/>
                <a:gd name="T6" fmla="*/ 13891 w 8"/>
                <a:gd name="T7" fmla="*/ 1852 h 6"/>
                <a:gd name="T8" fmla="*/ 1984 w 8"/>
                <a:gd name="T9" fmla="*/ 7408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3" name="Freeform 1030"/>
            <p:cNvSpPr>
              <a:spLocks noChangeAspect="1"/>
            </p:cNvSpPr>
            <p:nvPr/>
          </p:nvSpPr>
          <p:spPr bwMode="auto">
            <a:xfrm>
              <a:off x="2297569" y="1702201"/>
              <a:ext cx="6407" cy="3869"/>
            </a:xfrm>
            <a:custGeom>
              <a:avLst/>
              <a:gdLst>
                <a:gd name="T0" fmla="*/ 2117 w 3"/>
                <a:gd name="T1" fmla="*/ 0 h 3"/>
                <a:gd name="T2" fmla="*/ 2117 w 3"/>
                <a:gd name="T3" fmla="*/ 4763 h 3"/>
                <a:gd name="T4" fmla="*/ 6350 w 3"/>
                <a:gd name="T5" fmla="*/ 4763 h 3"/>
                <a:gd name="T6" fmla="*/ 6350 w 3"/>
                <a:gd name="T7" fmla="*/ 1588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4" name="Freeform 1031"/>
            <p:cNvSpPr>
              <a:spLocks noChangeAspect="1"/>
            </p:cNvSpPr>
            <p:nvPr/>
          </p:nvSpPr>
          <p:spPr bwMode="auto">
            <a:xfrm>
              <a:off x="2342416" y="1727995"/>
              <a:ext cx="8009" cy="5158"/>
            </a:xfrm>
            <a:custGeom>
              <a:avLst/>
              <a:gdLst>
                <a:gd name="T0" fmla="*/ 1985 w 4"/>
                <a:gd name="T1" fmla="*/ 2117 h 3"/>
                <a:gd name="T2" fmla="*/ 1985 w 4"/>
                <a:gd name="T3" fmla="*/ 6350 h 3"/>
                <a:gd name="T4" fmla="*/ 5953 w 4"/>
                <a:gd name="T5" fmla="*/ 4233 h 3"/>
                <a:gd name="T6" fmla="*/ 7938 w 4"/>
                <a:gd name="T7" fmla="*/ 2117 h 3"/>
                <a:gd name="T8" fmla="*/ 1985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5" name="Freeform 1032"/>
            <p:cNvSpPr>
              <a:spLocks noChangeAspect="1"/>
            </p:cNvSpPr>
            <p:nvPr/>
          </p:nvSpPr>
          <p:spPr bwMode="auto">
            <a:xfrm>
              <a:off x="2901414" y="1749920"/>
              <a:ext cx="41645" cy="39980"/>
            </a:xfrm>
            <a:custGeom>
              <a:avLst/>
              <a:gdLst>
                <a:gd name="T0" fmla="*/ 20638 w 22"/>
                <a:gd name="T1" fmla="*/ 0 h 26"/>
                <a:gd name="T2" fmla="*/ 26266 w 22"/>
                <a:gd name="T3" fmla="*/ 11357 h 26"/>
                <a:gd name="T4" fmla="*/ 16885 w 22"/>
                <a:gd name="T5" fmla="*/ 28392 h 26"/>
                <a:gd name="T6" fmla="*/ 11257 w 22"/>
                <a:gd name="T7" fmla="*/ 39748 h 26"/>
                <a:gd name="T8" fmla="*/ 20638 w 22"/>
                <a:gd name="T9" fmla="*/ 39748 h 26"/>
                <a:gd name="T10" fmla="*/ 26266 w 22"/>
                <a:gd name="T11" fmla="*/ 26499 h 26"/>
                <a:gd name="T12" fmla="*/ 37523 w 22"/>
                <a:gd name="T13" fmla="*/ 26499 h 26"/>
                <a:gd name="T14" fmla="*/ 31894 w 22"/>
                <a:gd name="T15" fmla="*/ 39748 h 26"/>
                <a:gd name="T16" fmla="*/ 18761 w 22"/>
                <a:gd name="T17" fmla="*/ 49212 h 26"/>
                <a:gd name="T18" fmla="*/ 7505 w 22"/>
                <a:gd name="T19" fmla="*/ 45426 h 26"/>
                <a:gd name="T20" fmla="*/ 1876 w 22"/>
                <a:gd name="T21" fmla="*/ 35963 h 26"/>
                <a:gd name="T22" fmla="*/ 1876 w 22"/>
                <a:gd name="T23" fmla="*/ 22713 h 26"/>
                <a:gd name="T24" fmla="*/ 15009 w 22"/>
                <a:gd name="T25" fmla="*/ 3786 h 26"/>
                <a:gd name="T26" fmla="*/ 20638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6" name="Freeform 1033"/>
            <p:cNvSpPr>
              <a:spLocks noChangeAspect="1"/>
            </p:cNvSpPr>
            <p:nvPr/>
          </p:nvSpPr>
          <p:spPr bwMode="auto">
            <a:xfrm>
              <a:off x="2837346" y="1746051"/>
              <a:ext cx="54458" cy="30953"/>
            </a:xfrm>
            <a:custGeom>
              <a:avLst/>
              <a:gdLst>
                <a:gd name="T0" fmla="*/ 50120 w 28"/>
                <a:gd name="T1" fmla="*/ 20955 h 20"/>
                <a:gd name="T2" fmla="*/ 42409 w 28"/>
                <a:gd name="T3" fmla="*/ 26670 h 20"/>
                <a:gd name="T4" fmla="*/ 42409 w 28"/>
                <a:gd name="T5" fmla="*/ 36195 h 20"/>
                <a:gd name="T6" fmla="*/ 30843 w 28"/>
                <a:gd name="T7" fmla="*/ 34290 h 20"/>
                <a:gd name="T8" fmla="*/ 30843 w 28"/>
                <a:gd name="T9" fmla="*/ 26670 h 20"/>
                <a:gd name="T10" fmla="*/ 21204 w 28"/>
                <a:gd name="T11" fmla="*/ 30480 h 20"/>
                <a:gd name="T12" fmla="*/ 9638 w 28"/>
                <a:gd name="T13" fmla="*/ 22860 h 20"/>
                <a:gd name="T14" fmla="*/ 1928 w 28"/>
                <a:gd name="T15" fmla="*/ 19050 h 20"/>
                <a:gd name="T16" fmla="*/ 1928 w 28"/>
                <a:gd name="T17" fmla="*/ 7620 h 20"/>
                <a:gd name="T18" fmla="*/ 7711 w 28"/>
                <a:gd name="T19" fmla="*/ 1905 h 20"/>
                <a:gd name="T20" fmla="*/ 7711 w 28"/>
                <a:gd name="T21" fmla="*/ 13335 h 20"/>
                <a:gd name="T22" fmla="*/ 13494 w 28"/>
                <a:gd name="T23" fmla="*/ 19050 h 20"/>
                <a:gd name="T24" fmla="*/ 25060 w 28"/>
                <a:gd name="T25" fmla="*/ 22860 h 20"/>
                <a:gd name="T26" fmla="*/ 36626 w 28"/>
                <a:gd name="T27" fmla="*/ 20955 h 20"/>
                <a:gd name="T28" fmla="*/ 50120 w 28"/>
                <a:gd name="T29" fmla="*/ 20955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7" name="Freeform 1034"/>
            <p:cNvSpPr>
              <a:spLocks noChangeAspect="1"/>
            </p:cNvSpPr>
            <p:nvPr/>
          </p:nvSpPr>
          <p:spPr bwMode="auto">
            <a:xfrm>
              <a:off x="2845354" y="1671248"/>
              <a:ext cx="64069" cy="23214"/>
            </a:xfrm>
            <a:custGeom>
              <a:avLst/>
              <a:gdLst>
                <a:gd name="T0" fmla="*/ 1924 w 33"/>
                <a:gd name="T1" fmla="*/ 3810 h 15"/>
                <a:gd name="T2" fmla="*/ 3848 w 33"/>
                <a:gd name="T3" fmla="*/ 0 h 15"/>
                <a:gd name="T4" fmla="*/ 36561 w 33"/>
                <a:gd name="T5" fmla="*/ 5715 h 15"/>
                <a:gd name="T6" fmla="*/ 57727 w 33"/>
                <a:gd name="T7" fmla="*/ 17145 h 15"/>
                <a:gd name="T8" fmla="*/ 61576 w 33"/>
                <a:gd name="T9" fmla="*/ 24765 h 15"/>
                <a:gd name="T10" fmla="*/ 36561 w 33"/>
                <a:gd name="T11" fmla="*/ 22860 h 15"/>
                <a:gd name="T12" fmla="*/ 17318 w 33"/>
                <a:gd name="T13" fmla="*/ 11430 h 15"/>
                <a:gd name="T14" fmla="*/ 1924 w 33"/>
                <a:gd name="T15" fmla="*/ 3810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8" name="Freeform 1035"/>
            <p:cNvSpPr>
              <a:spLocks noChangeAspect="1"/>
            </p:cNvSpPr>
            <p:nvPr/>
          </p:nvSpPr>
          <p:spPr bwMode="auto">
            <a:xfrm>
              <a:off x="2893405" y="1727995"/>
              <a:ext cx="11213" cy="14187"/>
            </a:xfrm>
            <a:custGeom>
              <a:avLst/>
              <a:gdLst>
                <a:gd name="T0" fmla="*/ 9261 w 6"/>
                <a:gd name="T1" fmla="*/ 1940 h 9"/>
                <a:gd name="T2" fmla="*/ 0 w 6"/>
                <a:gd name="T3" fmla="*/ 17463 h 9"/>
                <a:gd name="T4" fmla="*/ 5557 w 6"/>
                <a:gd name="T5" fmla="*/ 15523 h 9"/>
                <a:gd name="T6" fmla="*/ 11113 w 6"/>
                <a:gd name="T7" fmla="*/ 1940 h 9"/>
                <a:gd name="T8" fmla="*/ 9261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9" name="Freeform 1036"/>
            <p:cNvSpPr>
              <a:spLocks noChangeAspect="1"/>
            </p:cNvSpPr>
            <p:nvPr/>
          </p:nvSpPr>
          <p:spPr bwMode="auto">
            <a:xfrm>
              <a:off x="2955872" y="1626110"/>
              <a:ext cx="158568" cy="135417"/>
            </a:xfrm>
            <a:custGeom>
              <a:avLst/>
              <a:gdLst>
                <a:gd name="T0" fmla="*/ 100356 w 83"/>
                <a:gd name="T1" fmla="*/ 3788 h 88"/>
                <a:gd name="T2" fmla="*/ 88995 w 83"/>
                <a:gd name="T3" fmla="*/ 11365 h 88"/>
                <a:gd name="T4" fmla="*/ 87102 w 83"/>
                <a:gd name="T5" fmla="*/ 24624 h 88"/>
                <a:gd name="T6" fmla="*/ 70060 w 83"/>
                <a:gd name="T7" fmla="*/ 47354 h 88"/>
                <a:gd name="T8" fmla="*/ 68167 w 83"/>
                <a:gd name="T9" fmla="*/ 60613 h 88"/>
                <a:gd name="T10" fmla="*/ 79528 w 83"/>
                <a:gd name="T11" fmla="*/ 45460 h 88"/>
                <a:gd name="T12" fmla="*/ 88995 w 83"/>
                <a:gd name="T13" fmla="*/ 54931 h 88"/>
                <a:gd name="T14" fmla="*/ 79528 w 83"/>
                <a:gd name="T15" fmla="*/ 62508 h 88"/>
                <a:gd name="T16" fmla="*/ 100356 w 83"/>
                <a:gd name="T17" fmla="*/ 73873 h 88"/>
                <a:gd name="T18" fmla="*/ 109824 w 83"/>
                <a:gd name="T19" fmla="*/ 73873 h 88"/>
                <a:gd name="T20" fmla="*/ 117398 w 83"/>
                <a:gd name="T21" fmla="*/ 71978 h 88"/>
                <a:gd name="T22" fmla="*/ 124972 w 83"/>
                <a:gd name="T23" fmla="*/ 70084 h 88"/>
                <a:gd name="T24" fmla="*/ 136333 w 83"/>
                <a:gd name="T25" fmla="*/ 71978 h 88"/>
                <a:gd name="T26" fmla="*/ 123079 w 83"/>
                <a:gd name="T27" fmla="*/ 89026 h 88"/>
                <a:gd name="T28" fmla="*/ 124972 w 83"/>
                <a:gd name="T29" fmla="*/ 104179 h 88"/>
                <a:gd name="T30" fmla="*/ 140120 w 83"/>
                <a:gd name="T31" fmla="*/ 98497 h 88"/>
                <a:gd name="T32" fmla="*/ 140120 w 83"/>
                <a:gd name="T33" fmla="*/ 106074 h 88"/>
                <a:gd name="T34" fmla="*/ 124972 w 83"/>
                <a:gd name="T35" fmla="*/ 113650 h 88"/>
                <a:gd name="T36" fmla="*/ 128759 w 83"/>
                <a:gd name="T37" fmla="*/ 119333 h 88"/>
                <a:gd name="T38" fmla="*/ 124972 w 83"/>
                <a:gd name="T39" fmla="*/ 128804 h 88"/>
                <a:gd name="T40" fmla="*/ 130653 w 83"/>
                <a:gd name="T41" fmla="*/ 126909 h 88"/>
                <a:gd name="T42" fmla="*/ 143907 w 83"/>
                <a:gd name="T43" fmla="*/ 115544 h 88"/>
                <a:gd name="T44" fmla="*/ 145801 w 83"/>
                <a:gd name="T45" fmla="*/ 121227 h 88"/>
                <a:gd name="T46" fmla="*/ 140120 w 83"/>
                <a:gd name="T47" fmla="*/ 138274 h 88"/>
                <a:gd name="T48" fmla="*/ 151481 w 83"/>
                <a:gd name="T49" fmla="*/ 126909 h 88"/>
                <a:gd name="T50" fmla="*/ 147694 w 83"/>
                <a:gd name="T51" fmla="*/ 143957 h 88"/>
                <a:gd name="T52" fmla="*/ 140120 w 83"/>
                <a:gd name="T53" fmla="*/ 162899 h 88"/>
                <a:gd name="T54" fmla="*/ 126866 w 83"/>
                <a:gd name="T55" fmla="*/ 162899 h 88"/>
                <a:gd name="T56" fmla="*/ 126866 w 83"/>
                <a:gd name="T57" fmla="*/ 149639 h 88"/>
                <a:gd name="T58" fmla="*/ 113611 w 83"/>
                <a:gd name="T59" fmla="*/ 161004 h 88"/>
                <a:gd name="T60" fmla="*/ 121185 w 83"/>
                <a:gd name="T61" fmla="*/ 140169 h 88"/>
                <a:gd name="T62" fmla="*/ 119292 w 83"/>
                <a:gd name="T63" fmla="*/ 125015 h 88"/>
                <a:gd name="T64" fmla="*/ 111718 w 83"/>
                <a:gd name="T65" fmla="*/ 123121 h 88"/>
                <a:gd name="T66" fmla="*/ 107931 w 83"/>
                <a:gd name="T67" fmla="*/ 140169 h 88"/>
                <a:gd name="T68" fmla="*/ 94676 w 83"/>
                <a:gd name="T69" fmla="*/ 143957 h 88"/>
                <a:gd name="T70" fmla="*/ 85208 w 83"/>
                <a:gd name="T71" fmla="*/ 155322 h 88"/>
                <a:gd name="T72" fmla="*/ 71954 w 83"/>
                <a:gd name="T73" fmla="*/ 155322 h 88"/>
                <a:gd name="T74" fmla="*/ 90889 w 83"/>
                <a:gd name="T75" fmla="*/ 140169 h 88"/>
                <a:gd name="T76" fmla="*/ 96569 w 83"/>
                <a:gd name="T77" fmla="*/ 126909 h 88"/>
                <a:gd name="T78" fmla="*/ 83315 w 83"/>
                <a:gd name="T79" fmla="*/ 134486 h 88"/>
                <a:gd name="T80" fmla="*/ 70060 w 83"/>
                <a:gd name="T81" fmla="*/ 125015 h 88"/>
                <a:gd name="T82" fmla="*/ 43551 w 83"/>
                <a:gd name="T83" fmla="*/ 130698 h 88"/>
                <a:gd name="T84" fmla="*/ 20829 w 83"/>
                <a:gd name="T85" fmla="*/ 126909 h 88"/>
                <a:gd name="T86" fmla="*/ 5681 w 83"/>
                <a:gd name="T87" fmla="*/ 130698 h 88"/>
                <a:gd name="T88" fmla="*/ 0 w 83"/>
                <a:gd name="T89" fmla="*/ 119333 h 88"/>
                <a:gd name="T90" fmla="*/ 17042 w 83"/>
                <a:gd name="T91" fmla="*/ 104179 h 88"/>
                <a:gd name="T92" fmla="*/ 28403 w 83"/>
                <a:gd name="T93" fmla="*/ 96603 h 88"/>
                <a:gd name="T94" fmla="*/ 7574 w 83"/>
                <a:gd name="T95" fmla="*/ 96603 h 88"/>
                <a:gd name="T96" fmla="*/ 20829 w 83"/>
                <a:gd name="T97" fmla="*/ 85238 h 88"/>
                <a:gd name="T98" fmla="*/ 35977 w 83"/>
                <a:gd name="T99" fmla="*/ 83344 h 88"/>
                <a:gd name="T100" fmla="*/ 34083 w 83"/>
                <a:gd name="T101" fmla="*/ 73873 h 88"/>
                <a:gd name="T102" fmla="*/ 34083 w 83"/>
                <a:gd name="T103" fmla="*/ 66296 h 88"/>
                <a:gd name="T104" fmla="*/ 49231 w 83"/>
                <a:gd name="T105" fmla="*/ 49248 h 88"/>
                <a:gd name="T106" fmla="*/ 56806 w 83"/>
                <a:gd name="T107" fmla="*/ 32201 h 88"/>
                <a:gd name="T108" fmla="*/ 68167 w 83"/>
                <a:gd name="T109" fmla="*/ 13259 h 88"/>
                <a:gd name="T110" fmla="*/ 83315 w 83"/>
                <a:gd name="T111" fmla="*/ 1894 h 88"/>
                <a:gd name="T112" fmla="*/ 92782 w 83"/>
                <a:gd name="T113" fmla="*/ 1894 h 88"/>
                <a:gd name="T114" fmla="*/ 100356 w 83"/>
                <a:gd name="T115" fmla="*/ 3788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0" name="Freeform 1037"/>
            <p:cNvSpPr>
              <a:spLocks noChangeAspect="1"/>
            </p:cNvSpPr>
            <p:nvPr/>
          </p:nvSpPr>
          <p:spPr bwMode="auto">
            <a:xfrm>
              <a:off x="2593885" y="1900811"/>
              <a:ext cx="48051" cy="15476"/>
            </a:xfrm>
            <a:custGeom>
              <a:avLst/>
              <a:gdLst>
                <a:gd name="T0" fmla="*/ 1905 w 25"/>
                <a:gd name="T1" fmla="*/ 13335 h 10"/>
                <a:gd name="T2" fmla="*/ 1905 w 25"/>
                <a:gd name="T3" fmla="*/ 17145 h 10"/>
                <a:gd name="T4" fmla="*/ 11430 w 25"/>
                <a:gd name="T5" fmla="*/ 17145 h 10"/>
                <a:gd name="T6" fmla="*/ 34290 w 25"/>
                <a:gd name="T7" fmla="*/ 9525 h 10"/>
                <a:gd name="T8" fmla="*/ 45720 w 25"/>
                <a:gd name="T9" fmla="*/ 5715 h 10"/>
                <a:gd name="T10" fmla="*/ 41910 w 25"/>
                <a:gd name="T11" fmla="*/ 5715 h 10"/>
                <a:gd name="T12" fmla="*/ 32385 w 25"/>
                <a:gd name="T13" fmla="*/ 5715 h 10"/>
                <a:gd name="T14" fmla="*/ 38100 w 25"/>
                <a:gd name="T15" fmla="*/ 1905 h 10"/>
                <a:gd name="T16" fmla="*/ 32385 w 25"/>
                <a:gd name="T17" fmla="*/ 1905 h 10"/>
                <a:gd name="T18" fmla="*/ 17145 w 25"/>
                <a:gd name="T19" fmla="*/ 5715 h 10"/>
                <a:gd name="T20" fmla="*/ 9525 w 25"/>
                <a:gd name="T21" fmla="*/ 7620 h 10"/>
                <a:gd name="T22" fmla="*/ 1905 w 25"/>
                <a:gd name="T23" fmla="*/ 13335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1" name="Freeform 1038"/>
            <p:cNvSpPr>
              <a:spLocks noChangeAspect="1"/>
            </p:cNvSpPr>
            <p:nvPr/>
          </p:nvSpPr>
          <p:spPr bwMode="auto">
            <a:xfrm>
              <a:off x="2518605" y="1489404"/>
              <a:ext cx="28831" cy="23214"/>
            </a:xfrm>
            <a:custGeom>
              <a:avLst/>
              <a:gdLst>
                <a:gd name="T0" fmla="*/ 17145 w 15"/>
                <a:gd name="T1" fmla="*/ 1905 h 15"/>
                <a:gd name="T2" fmla="*/ 13335 w 15"/>
                <a:gd name="T3" fmla="*/ 11430 h 15"/>
                <a:gd name="T4" fmla="*/ 9525 w 15"/>
                <a:gd name="T5" fmla="*/ 9525 h 15"/>
                <a:gd name="T6" fmla="*/ 1905 w 15"/>
                <a:gd name="T7" fmla="*/ 24765 h 15"/>
                <a:gd name="T8" fmla="*/ 15240 w 15"/>
                <a:gd name="T9" fmla="*/ 22860 h 15"/>
                <a:gd name="T10" fmla="*/ 24765 w 15"/>
                <a:gd name="T11" fmla="*/ 17145 h 15"/>
                <a:gd name="T12" fmla="*/ 28575 w 15"/>
                <a:gd name="T13" fmla="*/ 7620 h 15"/>
                <a:gd name="T14" fmla="*/ 22860 w 15"/>
                <a:gd name="T15" fmla="*/ 0 h 15"/>
                <a:gd name="T16" fmla="*/ 17145 w 15"/>
                <a:gd name="T17" fmla="*/ 190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2" name="Freeform 1039"/>
            <p:cNvSpPr>
              <a:spLocks noChangeAspect="1"/>
            </p:cNvSpPr>
            <p:nvPr/>
          </p:nvSpPr>
          <p:spPr bwMode="auto">
            <a:xfrm>
              <a:off x="2459342" y="1582261"/>
              <a:ext cx="28831" cy="14186"/>
            </a:xfrm>
            <a:custGeom>
              <a:avLst/>
              <a:gdLst>
                <a:gd name="T0" fmla="*/ 24765 w 15"/>
                <a:gd name="T1" fmla="*/ 5821 h 9"/>
                <a:gd name="T2" fmla="*/ 28575 w 15"/>
                <a:gd name="T3" fmla="*/ 15522 h 9"/>
                <a:gd name="T4" fmla="*/ 20955 w 15"/>
                <a:gd name="T5" fmla="*/ 15522 h 9"/>
                <a:gd name="T6" fmla="*/ 11430 w 15"/>
                <a:gd name="T7" fmla="*/ 13582 h 9"/>
                <a:gd name="T8" fmla="*/ 1905 w 15"/>
                <a:gd name="T9" fmla="*/ 9701 h 9"/>
                <a:gd name="T10" fmla="*/ 5715 w 15"/>
                <a:gd name="T11" fmla="*/ 1940 h 9"/>
                <a:gd name="T12" fmla="*/ 19050 w 15"/>
                <a:gd name="T13" fmla="*/ 0 h 9"/>
                <a:gd name="T14" fmla="*/ 24765 w 15"/>
                <a:gd name="T15" fmla="*/ 5821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3" name="Freeform 1040"/>
            <p:cNvSpPr>
              <a:spLocks noChangeAspect="1"/>
            </p:cNvSpPr>
            <p:nvPr/>
          </p:nvSpPr>
          <p:spPr bwMode="auto">
            <a:xfrm>
              <a:off x="2805311" y="1365595"/>
              <a:ext cx="16017" cy="14186"/>
            </a:xfrm>
            <a:custGeom>
              <a:avLst/>
              <a:gdLst>
                <a:gd name="T0" fmla="*/ 9922 w 8"/>
                <a:gd name="T1" fmla="*/ 0 h 9"/>
                <a:gd name="T2" fmla="*/ 13891 w 8"/>
                <a:gd name="T3" fmla="*/ 7761 h 9"/>
                <a:gd name="T4" fmla="*/ 3969 w 8"/>
                <a:gd name="T5" fmla="*/ 17462 h 9"/>
                <a:gd name="T6" fmla="*/ 1984 w 8"/>
                <a:gd name="T7" fmla="*/ 13582 h 9"/>
                <a:gd name="T8" fmla="*/ 9922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4" name="Freeform 1041"/>
            <p:cNvSpPr>
              <a:spLocks noChangeAspect="1"/>
            </p:cNvSpPr>
            <p:nvPr/>
          </p:nvSpPr>
          <p:spPr bwMode="auto">
            <a:xfrm>
              <a:off x="2882194" y="1334643"/>
              <a:ext cx="11212" cy="14186"/>
            </a:xfrm>
            <a:custGeom>
              <a:avLst/>
              <a:gdLst>
                <a:gd name="T0" fmla="*/ 0 w 6"/>
                <a:gd name="T1" fmla="*/ 3880 h 9"/>
                <a:gd name="T2" fmla="*/ 5556 w 6"/>
                <a:gd name="T3" fmla="*/ 15522 h 9"/>
                <a:gd name="T4" fmla="*/ 11112 w 6"/>
                <a:gd name="T5" fmla="*/ 11641 h 9"/>
                <a:gd name="T6" fmla="*/ 11112 w 6"/>
                <a:gd name="T7" fmla="*/ 5821 h 9"/>
                <a:gd name="T8" fmla="*/ 7408 w 6"/>
                <a:gd name="T9" fmla="*/ 1940 h 9"/>
                <a:gd name="T10" fmla="*/ 1852 w 6"/>
                <a:gd name="T11" fmla="*/ 1940 h 9"/>
                <a:gd name="T12" fmla="*/ 0 w 6"/>
                <a:gd name="T13" fmla="*/ 3880 h 9"/>
                <a:gd name="T14" fmla="*/ 0 60000 65536"/>
                <a:gd name="T15" fmla="*/ 0 60000 65536"/>
                <a:gd name="T16" fmla="*/ 0 60000 65536"/>
                <a:gd name="T17" fmla="*/ 0 60000 65536"/>
                <a:gd name="T18" fmla="*/ 0 60000 65536"/>
                <a:gd name="T19" fmla="*/ 0 60000 65536"/>
                <a:gd name="T20" fmla="*/ 0 60000 65536"/>
                <a:gd name="T21" fmla="*/ 0 w 6"/>
                <a:gd name="T22" fmla="*/ 0 h 9"/>
                <a:gd name="T23" fmla="*/ 6 w 6"/>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9">
                  <a:moveTo>
                    <a:pt x="0" y="2"/>
                  </a:moveTo>
                  <a:cubicBezTo>
                    <a:pt x="0" y="4"/>
                    <a:pt x="1" y="7"/>
                    <a:pt x="3" y="8"/>
                  </a:cubicBezTo>
                  <a:cubicBezTo>
                    <a:pt x="4" y="9"/>
                    <a:pt x="5" y="7"/>
                    <a:pt x="6" y="6"/>
                  </a:cubicBezTo>
                  <a:cubicBezTo>
                    <a:pt x="6" y="5"/>
                    <a:pt x="6" y="4"/>
                    <a:pt x="6" y="3"/>
                  </a:cubicBezTo>
                  <a:cubicBezTo>
                    <a:pt x="6" y="2"/>
                    <a:pt x="5" y="1"/>
                    <a:pt x="4" y="1"/>
                  </a:cubicBezTo>
                  <a:cubicBezTo>
                    <a:pt x="3" y="0"/>
                    <a:pt x="2" y="0"/>
                    <a:pt x="1" y="1"/>
                  </a:cubicBezTo>
                  <a:cubicBezTo>
                    <a:pt x="1" y="1"/>
                    <a:pt x="0"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5" name="Freeform 1042"/>
            <p:cNvSpPr>
              <a:spLocks noChangeAspect="1"/>
            </p:cNvSpPr>
            <p:nvPr/>
          </p:nvSpPr>
          <p:spPr bwMode="auto">
            <a:xfrm>
              <a:off x="2629124" y="1277897"/>
              <a:ext cx="14415" cy="9027"/>
            </a:xfrm>
            <a:custGeom>
              <a:avLst/>
              <a:gdLst>
                <a:gd name="T0" fmla="*/ 1786 w 8"/>
                <a:gd name="T1" fmla="*/ 0 h 6"/>
                <a:gd name="T2" fmla="*/ 0 w 8"/>
                <a:gd name="T3" fmla="*/ 3704 h 6"/>
                <a:gd name="T4" fmla="*/ 10715 w 8"/>
                <a:gd name="T5" fmla="*/ 11112 h 6"/>
                <a:gd name="T6" fmla="*/ 12501 w 8"/>
                <a:gd name="T7" fmla="*/ 1852 h 6"/>
                <a:gd name="T8" fmla="*/ 1786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0"/>
                  </a:moveTo>
                  <a:cubicBezTo>
                    <a:pt x="0" y="0"/>
                    <a:pt x="0" y="1"/>
                    <a:pt x="0" y="2"/>
                  </a:cubicBezTo>
                  <a:cubicBezTo>
                    <a:pt x="2" y="4"/>
                    <a:pt x="3" y="6"/>
                    <a:pt x="6" y="6"/>
                  </a:cubicBezTo>
                  <a:cubicBezTo>
                    <a:pt x="7" y="6"/>
                    <a:pt x="8" y="2"/>
                    <a:pt x="7" y="1"/>
                  </a:cubicBezTo>
                  <a:cubicBezTo>
                    <a:pt x="6" y="0"/>
                    <a:pt x="3"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6" name="Freeform 1043"/>
            <p:cNvSpPr>
              <a:spLocks noChangeAspect="1"/>
            </p:cNvSpPr>
            <p:nvPr/>
          </p:nvSpPr>
          <p:spPr bwMode="auto">
            <a:xfrm>
              <a:off x="2600293" y="1281766"/>
              <a:ext cx="20822" cy="14187"/>
            </a:xfrm>
            <a:custGeom>
              <a:avLst/>
              <a:gdLst>
                <a:gd name="T0" fmla="*/ 3752 w 11"/>
                <a:gd name="T1" fmla="*/ 0 h 9"/>
                <a:gd name="T2" fmla="*/ 0 w 11"/>
                <a:gd name="T3" fmla="*/ 3881 h 9"/>
                <a:gd name="T4" fmla="*/ 11257 w 11"/>
                <a:gd name="T5" fmla="*/ 17463 h 9"/>
                <a:gd name="T6" fmla="*/ 20637 w 11"/>
                <a:gd name="T7" fmla="*/ 11642 h 9"/>
                <a:gd name="T8" fmla="*/ 18761 w 11"/>
                <a:gd name="T9" fmla="*/ 1940 h 9"/>
                <a:gd name="T10" fmla="*/ 11257 w 11"/>
                <a:gd name="T11" fmla="*/ 0 h 9"/>
                <a:gd name="T12" fmla="*/ 3752 w 11"/>
                <a:gd name="T13" fmla="*/ 0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2" y="0"/>
                  </a:moveTo>
                  <a:cubicBezTo>
                    <a:pt x="1" y="1"/>
                    <a:pt x="0" y="1"/>
                    <a:pt x="0" y="2"/>
                  </a:cubicBezTo>
                  <a:cubicBezTo>
                    <a:pt x="2" y="5"/>
                    <a:pt x="3" y="8"/>
                    <a:pt x="6" y="9"/>
                  </a:cubicBezTo>
                  <a:cubicBezTo>
                    <a:pt x="8" y="9"/>
                    <a:pt x="10" y="7"/>
                    <a:pt x="11" y="6"/>
                  </a:cubicBezTo>
                  <a:cubicBezTo>
                    <a:pt x="11" y="5"/>
                    <a:pt x="11" y="3"/>
                    <a:pt x="10" y="1"/>
                  </a:cubicBezTo>
                  <a:cubicBezTo>
                    <a:pt x="10" y="0"/>
                    <a:pt x="8" y="0"/>
                    <a:pt x="6" y="0"/>
                  </a:cubicBezTo>
                  <a:cubicBezTo>
                    <a:pt x="5"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7" name="Freeform 1044"/>
            <p:cNvSpPr>
              <a:spLocks noChangeAspect="1"/>
            </p:cNvSpPr>
            <p:nvPr/>
          </p:nvSpPr>
          <p:spPr bwMode="auto">
            <a:xfrm>
              <a:off x="2552241" y="1312717"/>
              <a:ext cx="22424" cy="28373"/>
            </a:xfrm>
            <a:custGeom>
              <a:avLst/>
              <a:gdLst>
                <a:gd name="T0" fmla="*/ 16669 w 12"/>
                <a:gd name="T1" fmla="*/ 1940 h 18"/>
                <a:gd name="T2" fmla="*/ 20373 w 12"/>
                <a:gd name="T3" fmla="*/ 5821 h 18"/>
                <a:gd name="T4" fmla="*/ 20373 w 12"/>
                <a:gd name="T5" fmla="*/ 15522 h 18"/>
                <a:gd name="T6" fmla="*/ 9260 w 12"/>
                <a:gd name="T7" fmla="*/ 32985 h 18"/>
                <a:gd name="T8" fmla="*/ 1852 w 12"/>
                <a:gd name="T9" fmla="*/ 27164 h 18"/>
                <a:gd name="T10" fmla="*/ 1852 w 12"/>
                <a:gd name="T11" fmla="*/ 13582 h 18"/>
                <a:gd name="T12" fmla="*/ 11113 w 12"/>
                <a:gd name="T13" fmla="*/ 1940 h 18"/>
                <a:gd name="T14" fmla="*/ 16669 w 12"/>
                <a:gd name="T15" fmla="*/ 1940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8" name="Freeform 1045"/>
            <p:cNvSpPr>
              <a:spLocks noChangeAspect="1"/>
            </p:cNvSpPr>
            <p:nvPr/>
          </p:nvSpPr>
          <p:spPr bwMode="auto">
            <a:xfrm>
              <a:off x="2475359" y="1299821"/>
              <a:ext cx="48051" cy="25793"/>
            </a:xfrm>
            <a:custGeom>
              <a:avLst/>
              <a:gdLst>
                <a:gd name="T0" fmla="*/ 41910 w 25"/>
                <a:gd name="T1" fmla="*/ 0 h 17"/>
                <a:gd name="T2" fmla="*/ 47625 w 25"/>
                <a:gd name="T3" fmla="*/ 1868 h 17"/>
                <a:gd name="T4" fmla="*/ 45720 w 25"/>
                <a:gd name="T5" fmla="*/ 7471 h 17"/>
                <a:gd name="T6" fmla="*/ 30480 w 25"/>
                <a:gd name="T7" fmla="*/ 18676 h 17"/>
                <a:gd name="T8" fmla="*/ 20955 w 25"/>
                <a:gd name="T9" fmla="*/ 29882 h 17"/>
                <a:gd name="T10" fmla="*/ 11430 w 25"/>
                <a:gd name="T11" fmla="*/ 26147 h 17"/>
                <a:gd name="T12" fmla="*/ 3810 w 25"/>
                <a:gd name="T13" fmla="*/ 31750 h 17"/>
                <a:gd name="T14" fmla="*/ 1905 w 25"/>
                <a:gd name="T15" fmla="*/ 28015 h 17"/>
                <a:gd name="T16" fmla="*/ 1905 w 25"/>
                <a:gd name="T17" fmla="*/ 20544 h 17"/>
                <a:gd name="T18" fmla="*/ 15240 w 25"/>
                <a:gd name="T19" fmla="*/ 5603 h 17"/>
                <a:gd name="T20" fmla="*/ 17145 w 25"/>
                <a:gd name="T21" fmla="*/ 0 h 17"/>
                <a:gd name="T22" fmla="*/ 24765 w 25"/>
                <a:gd name="T23" fmla="*/ 5603 h 17"/>
                <a:gd name="T24" fmla="*/ 32385 w 25"/>
                <a:gd name="T25" fmla="*/ 1868 h 17"/>
                <a:gd name="T26" fmla="*/ 36195 w 25"/>
                <a:gd name="T27" fmla="*/ 1868 h 17"/>
                <a:gd name="T28" fmla="*/ 41910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9" name="Freeform 1046"/>
            <p:cNvSpPr>
              <a:spLocks noChangeAspect="1"/>
            </p:cNvSpPr>
            <p:nvPr/>
          </p:nvSpPr>
          <p:spPr bwMode="auto">
            <a:xfrm>
              <a:off x="2412892" y="1204385"/>
              <a:ext cx="155366" cy="91568"/>
            </a:xfrm>
            <a:custGeom>
              <a:avLst/>
              <a:gdLst>
                <a:gd name="T0" fmla="*/ 142581 w 81"/>
                <a:gd name="T1" fmla="*/ 72595 h 59"/>
                <a:gd name="T2" fmla="*/ 146384 w 81"/>
                <a:gd name="T3" fmla="*/ 80236 h 59"/>
                <a:gd name="T4" fmla="*/ 142581 w 81"/>
                <a:gd name="T5" fmla="*/ 82147 h 59"/>
                <a:gd name="T6" fmla="*/ 152087 w 81"/>
                <a:gd name="T7" fmla="*/ 84057 h 59"/>
                <a:gd name="T8" fmla="*/ 150186 w 81"/>
                <a:gd name="T9" fmla="*/ 87878 h 59"/>
                <a:gd name="T10" fmla="*/ 134977 w 81"/>
                <a:gd name="T11" fmla="*/ 93609 h 59"/>
                <a:gd name="T12" fmla="*/ 123571 w 81"/>
                <a:gd name="T13" fmla="*/ 91699 h 59"/>
                <a:gd name="T14" fmla="*/ 121670 w 81"/>
                <a:gd name="T15" fmla="*/ 87878 h 59"/>
                <a:gd name="T16" fmla="*/ 115966 w 81"/>
                <a:gd name="T17" fmla="*/ 89788 h 59"/>
                <a:gd name="T18" fmla="*/ 108362 w 81"/>
                <a:gd name="T19" fmla="*/ 85968 h 59"/>
                <a:gd name="T20" fmla="*/ 106461 w 81"/>
                <a:gd name="T21" fmla="*/ 87878 h 59"/>
                <a:gd name="T22" fmla="*/ 100758 w 81"/>
                <a:gd name="T23" fmla="*/ 84057 h 59"/>
                <a:gd name="T24" fmla="*/ 102659 w 81"/>
                <a:gd name="T25" fmla="*/ 80236 h 59"/>
                <a:gd name="T26" fmla="*/ 95054 w 81"/>
                <a:gd name="T27" fmla="*/ 78326 h 59"/>
                <a:gd name="T28" fmla="*/ 91252 w 81"/>
                <a:gd name="T29" fmla="*/ 78326 h 59"/>
                <a:gd name="T30" fmla="*/ 91252 w 81"/>
                <a:gd name="T31" fmla="*/ 70684 h 59"/>
                <a:gd name="T32" fmla="*/ 79846 w 81"/>
                <a:gd name="T33" fmla="*/ 72595 h 59"/>
                <a:gd name="T34" fmla="*/ 76043 w 81"/>
                <a:gd name="T35" fmla="*/ 85968 h 59"/>
                <a:gd name="T36" fmla="*/ 64637 w 81"/>
                <a:gd name="T37" fmla="*/ 91699 h 59"/>
                <a:gd name="T38" fmla="*/ 58934 w 81"/>
                <a:gd name="T39" fmla="*/ 93609 h 59"/>
                <a:gd name="T40" fmla="*/ 53230 w 81"/>
                <a:gd name="T41" fmla="*/ 103161 h 59"/>
                <a:gd name="T42" fmla="*/ 39923 w 81"/>
                <a:gd name="T43" fmla="*/ 110803 h 59"/>
                <a:gd name="T44" fmla="*/ 32318 w 81"/>
                <a:gd name="T45" fmla="*/ 110803 h 59"/>
                <a:gd name="T46" fmla="*/ 32318 w 81"/>
                <a:gd name="T47" fmla="*/ 95519 h 59"/>
                <a:gd name="T48" fmla="*/ 34220 w 81"/>
                <a:gd name="T49" fmla="*/ 87878 h 59"/>
                <a:gd name="T50" fmla="*/ 30417 w 81"/>
                <a:gd name="T51" fmla="*/ 84057 h 59"/>
                <a:gd name="T52" fmla="*/ 26615 w 81"/>
                <a:gd name="T53" fmla="*/ 87878 h 59"/>
                <a:gd name="T54" fmla="*/ 17110 w 81"/>
                <a:gd name="T55" fmla="*/ 87878 h 59"/>
                <a:gd name="T56" fmla="*/ 5703 w 81"/>
                <a:gd name="T57" fmla="*/ 93609 h 59"/>
                <a:gd name="T58" fmla="*/ 0 w 81"/>
                <a:gd name="T59" fmla="*/ 89788 h 59"/>
                <a:gd name="T60" fmla="*/ 11407 w 81"/>
                <a:gd name="T61" fmla="*/ 76416 h 59"/>
                <a:gd name="T62" fmla="*/ 24714 w 81"/>
                <a:gd name="T63" fmla="*/ 70684 h 59"/>
                <a:gd name="T64" fmla="*/ 26615 w 81"/>
                <a:gd name="T65" fmla="*/ 53491 h 59"/>
                <a:gd name="T66" fmla="*/ 34220 w 81"/>
                <a:gd name="T67" fmla="*/ 36297 h 59"/>
                <a:gd name="T68" fmla="*/ 38022 w 81"/>
                <a:gd name="T69" fmla="*/ 21014 h 59"/>
                <a:gd name="T70" fmla="*/ 45626 w 81"/>
                <a:gd name="T71" fmla="*/ 9552 h 59"/>
                <a:gd name="T72" fmla="*/ 55131 w 81"/>
                <a:gd name="T73" fmla="*/ 1910 h 59"/>
                <a:gd name="T74" fmla="*/ 58934 w 81"/>
                <a:gd name="T75" fmla="*/ 7642 h 59"/>
                <a:gd name="T76" fmla="*/ 62736 w 81"/>
                <a:gd name="T77" fmla="*/ 13373 h 59"/>
                <a:gd name="T78" fmla="*/ 57033 w 81"/>
                <a:gd name="T79" fmla="*/ 17194 h 59"/>
                <a:gd name="T80" fmla="*/ 60835 w 81"/>
                <a:gd name="T81" fmla="*/ 30566 h 59"/>
                <a:gd name="T82" fmla="*/ 64637 w 81"/>
                <a:gd name="T83" fmla="*/ 30566 h 59"/>
                <a:gd name="T84" fmla="*/ 70340 w 81"/>
                <a:gd name="T85" fmla="*/ 19104 h 59"/>
                <a:gd name="T86" fmla="*/ 77945 w 81"/>
                <a:gd name="T87" fmla="*/ 28656 h 59"/>
                <a:gd name="T88" fmla="*/ 79846 w 81"/>
                <a:gd name="T89" fmla="*/ 30566 h 59"/>
                <a:gd name="T90" fmla="*/ 93153 w 81"/>
                <a:gd name="T91" fmla="*/ 34387 h 59"/>
                <a:gd name="T92" fmla="*/ 95054 w 81"/>
                <a:gd name="T93" fmla="*/ 40118 h 59"/>
                <a:gd name="T94" fmla="*/ 121670 w 81"/>
                <a:gd name="T95" fmla="*/ 53491 h 59"/>
                <a:gd name="T96" fmla="*/ 121670 w 81"/>
                <a:gd name="T97" fmla="*/ 63043 h 59"/>
                <a:gd name="T98" fmla="*/ 123571 w 81"/>
                <a:gd name="T99" fmla="*/ 68774 h 59"/>
                <a:gd name="T100" fmla="*/ 115966 w 81"/>
                <a:gd name="T101" fmla="*/ 76416 h 59"/>
                <a:gd name="T102" fmla="*/ 125472 w 81"/>
                <a:gd name="T103" fmla="*/ 76416 h 59"/>
                <a:gd name="T104" fmla="*/ 129274 w 81"/>
                <a:gd name="T105" fmla="*/ 72595 h 59"/>
                <a:gd name="T106" fmla="*/ 138779 w 81"/>
                <a:gd name="T107" fmla="*/ 76416 h 59"/>
                <a:gd name="T108" fmla="*/ 142581 w 81"/>
                <a:gd name="T109" fmla="*/ 72595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0" name="Freeform 1047"/>
            <p:cNvSpPr>
              <a:spLocks noChangeAspect="1"/>
            </p:cNvSpPr>
            <p:nvPr/>
          </p:nvSpPr>
          <p:spPr bwMode="auto">
            <a:xfrm>
              <a:off x="2491376" y="1200516"/>
              <a:ext cx="25627" cy="16766"/>
            </a:xfrm>
            <a:custGeom>
              <a:avLst/>
              <a:gdLst>
                <a:gd name="T0" fmla="*/ 1954 w 13"/>
                <a:gd name="T1" fmla="*/ 1876 h 11"/>
                <a:gd name="T2" fmla="*/ 1954 w 13"/>
                <a:gd name="T3" fmla="*/ 5628 h 11"/>
                <a:gd name="T4" fmla="*/ 5862 w 13"/>
                <a:gd name="T5" fmla="*/ 5628 h 11"/>
                <a:gd name="T6" fmla="*/ 5862 w 13"/>
                <a:gd name="T7" fmla="*/ 13133 h 11"/>
                <a:gd name="T8" fmla="*/ 11723 w 13"/>
                <a:gd name="T9" fmla="*/ 15009 h 11"/>
                <a:gd name="T10" fmla="*/ 11723 w 13"/>
                <a:gd name="T11" fmla="*/ 18761 h 11"/>
                <a:gd name="T12" fmla="*/ 23446 w 13"/>
                <a:gd name="T13" fmla="*/ 16885 h 11"/>
                <a:gd name="T14" fmla="*/ 19538 w 13"/>
                <a:gd name="T15" fmla="*/ 13133 h 11"/>
                <a:gd name="T16" fmla="*/ 15631 w 13"/>
                <a:gd name="T17" fmla="*/ 9380 h 11"/>
                <a:gd name="T18" fmla="*/ 9769 w 13"/>
                <a:gd name="T19" fmla="*/ 1876 h 11"/>
                <a:gd name="T20" fmla="*/ 1954 w 13"/>
                <a:gd name="T21" fmla="*/ 1876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1" name="Freeform 1048"/>
            <p:cNvSpPr>
              <a:spLocks noChangeAspect="1"/>
            </p:cNvSpPr>
            <p:nvPr/>
          </p:nvSpPr>
          <p:spPr bwMode="auto">
            <a:xfrm>
              <a:off x="2451333" y="1129583"/>
              <a:ext cx="14416" cy="20635"/>
            </a:xfrm>
            <a:custGeom>
              <a:avLst/>
              <a:gdLst>
                <a:gd name="T0" fmla="*/ 8165 w 7"/>
                <a:gd name="T1" fmla="*/ 0 h 14"/>
                <a:gd name="T2" fmla="*/ 12247 w 7"/>
                <a:gd name="T3" fmla="*/ 5443 h 14"/>
                <a:gd name="T4" fmla="*/ 12247 w 7"/>
                <a:gd name="T5" fmla="*/ 19957 h 14"/>
                <a:gd name="T6" fmla="*/ 8165 w 7"/>
                <a:gd name="T7" fmla="*/ 25400 h 14"/>
                <a:gd name="T8" fmla="*/ 4082 w 7"/>
                <a:gd name="T9" fmla="*/ 21771 h 14"/>
                <a:gd name="T10" fmla="*/ 4082 w 7"/>
                <a:gd name="T11" fmla="*/ 14514 h 14"/>
                <a:gd name="T12" fmla="*/ 0 w 7"/>
                <a:gd name="T13" fmla="*/ 7257 h 14"/>
                <a:gd name="T14" fmla="*/ 4082 w 7"/>
                <a:gd name="T15" fmla="*/ 3629 h 14"/>
                <a:gd name="T16" fmla="*/ 8165 w 7"/>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4"/>
                <a:gd name="T29" fmla="*/ 7 w 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4">
                  <a:moveTo>
                    <a:pt x="4" y="0"/>
                  </a:moveTo>
                  <a:cubicBezTo>
                    <a:pt x="5" y="0"/>
                    <a:pt x="6" y="2"/>
                    <a:pt x="6" y="3"/>
                  </a:cubicBezTo>
                  <a:cubicBezTo>
                    <a:pt x="7" y="6"/>
                    <a:pt x="7" y="8"/>
                    <a:pt x="6" y="11"/>
                  </a:cubicBezTo>
                  <a:cubicBezTo>
                    <a:pt x="6" y="12"/>
                    <a:pt x="5" y="14"/>
                    <a:pt x="4" y="14"/>
                  </a:cubicBezTo>
                  <a:cubicBezTo>
                    <a:pt x="3" y="14"/>
                    <a:pt x="2" y="13"/>
                    <a:pt x="2" y="12"/>
                  </a:cubicBezTo>
                  <a:cubicBezTo>
                    <a:pt x="1" y="10"/>
                    <a:pt x="2" y="9"/>
                    <a:pt x="2" y="8"/>
                  </a:cubicBezTo>
                  <a:cubicBezTo>
                    <a:pt x="1" y="7"/>
                    <a:pt x="0" y="6"/>
                    <a:pt x="0" y="4"/>
                  </a:cubicBezTo>
                  <a:cubicBezTo>
                    <a:pt x="0" y="3"/>
                    <a:pt x="1" y="3"/>
                    <a:pt x="2" y="2"/>
                  </a:cubicBezTo>
                  <a:cubicBezTo>
                    <a:pt x="3" y="2"/>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2" name="Freeform 1049"/>
            <p:cNvSpPr>
              <a:spLocks noChangeAspect="1"/>
            </p:cNvSpPr>
            <p:nvPr/>
          </p:nvSpPr>
          <p:spPr bwMode="auto">
            <a:xfrm>
              <a:off x="2191856" y="1072838"/>
              <a:ext cx="94502" cy="54167"/>
            </a:xfrm>
            <a:custGeom>
              <a:avLst/>
              <a:gdLst>
                <a:gd name="T0" fmla="*/ 89840 w 49"/>
                <a:gd name="T1" fmla="*/ 43815 h 35"/>
                <a:gd name="T2" fmla="*/ 91752 w 49"/>
                <a:gd name="T3" fmla="*/ 47625 h 35"/>
                <a:gd name="T4" fmla="*/ 82194 w 49"/>
                <a:gd name="T5" fmla="*/ 53340 h 35"/>
                <a:gd name="T6" fmla="*/ 72637 w 49"/>
                <a:gd name="T7" fmla="*/ 59055 h 35"/>
                <a:gd name="T8" fmla="*/ 64991 w 49"/>
                <a:gd name="T9" fmla="*/ 66675 h 35"/>
                <a:gd name="T10" fmla="*/ 51610 w 49"/>
                <a:gd name="T11" fmla="*/ 62865 h 35"/>
                <a:gd name="T12" fmla="*/ 28672 w 49"/>
                <a:gd name="T13" fmla="*/ 51435 h 35"/>
                <a:gd name="T14" fmla="*/ 24849 w 49"/>
                <a:gd name="T15" fmla="*/ 49530 h 35"/>
                <a:gd name="T16" fmla="*/ 21026 w 49"/>
                <a:gd name="T17" fmla="*/ 49530 h 35"/>
                <a:gd name="T18" fmla="*/ 15292 w 49"/>
                <a:gd name="T19" fmla="*/ 43815 h 35"/>
                <a:gd name="T20" fmla="*/ 11469 w 49"/>
                <a:gd name="T21" fmla="*/ 47625 h 35"/>
                <a:gd name="T22" fmla="*/ 0 w 49"/>
                <a:gd name="T23" fmla="*/ 41910 h 35"/>
                <a:gd name="T24" fmla="*/ 9557 w 49"/>
                <a:gd name="T25" fmla="*/ 34290 h 35"/>
                <a:gd name="T26" fmla="*/ 15292 w 49"/>
                <a:gd name="T27" fmla="*/ 38100 h 35"/>
                <a:gd name="T28" fmla="*/ 24849 w 49"/>
                <a:gd name="T29" fmla="*/ 34290 h 35"/>
                <a:gd name="T30" fmla="*/ 32495 w 49"/>
                <a:gd name="T31" fmla="*/ 26670 h 35"/>
                <a:gd name="T32" fmla="*/ 34407 w 49"/>
                <a:gd name="T33" fmla="*/ 15240 h 35"/>
                <a:gd name="T34" fmla="*/ 38230 w 49"/>
                <a:gd name="T35" fmla="*/ 22860 h 35"/>
                <a:gd name="T36" fmla="*/ 47787 w 49"/>
                <a:gd name="T37" fmla="*/ 20955 h 35"/>
                <a:gd name="T38" fmla="*/ 40141 w 49"/>
                <a:gd name="T39" fmla="*/ 15240 h 35"/>
                <a:gd name="T40" fmla="*/ 40141 w 49"/>
                <a:gd name="T41" fmla="*/ 7620 h 35"/>
                <a:gd name="T42" fmla="*/ 47787 w 49"/>
                <a:gd name="T43" fmla="*/ 0 h 35"/>
                <a:gd name="T44" fmla="*/ 57345 w 49"/>
                <a:gd name="T45" fmla="*/ 9525 h 35"/>
                <a:gd name="T46" fmla="*/ 57345 w 49"/>
                <a:gd name="T47" fmla="*/ 15240 h 35"/>
                <a:gd name="T48" fmla="*/ 64991 w 49"/>
                <a:gd name="T49" fmla="*/ 17145 h 35"/>
                <a:gd name="T50" fmla="*/ 74548 w 49"/>
                <a:gd name="T51" fmla="*/ 28575 h 35"/>
                <a:gd name="T52" fmla="*/ 74548 w 49"/>
                <a:gd name="T53" fmla="*/ 38100 h 35"/>
                <a:gd name="T54" fmla="*/ 78371 w 49"/>
                <a:gd name="T55" fmla="*/ 38100 h 35"/>
                <a:gd name="T56" fmla="*/ 78371 w 49"/>
                <a:gd name="T57" fmla="*/ 47625 h 35"/>
                <a:gd name="T58" fmla="*/ 89840 w 49"/>
                <a:gd name="T59" fmla="*/ 43815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3" name="Freeform 1050"/>
            <p:cNvSpPr>
              <a:spLocks noChangeAspect="1"/>
            </p:cNvSpPr>
            <p:nvPr/>
          </p:nvSpPr>
          <p:spPr bwMode="auto">
            <a:xfrm>
              <a:off x="2275144" y="1083155"/>
              <a:ext cx="12814" cy="12897"/>
            </a:xfrm>
            <a:custGeom>
              <a:avLst/>
              <a:gdLst>
                <a:gd name="T0" fmla="*/ 10886 w 7"/>
                <a:gd name="T1" fmla="*/ 14111 h 9"/>
                <a:gd name="T2" fmla="*/ 10886 w 7"/>
                <a:gd name="T3" fmla="*/ 7056 h 9"/>
                <a:gd name="T4" fmla="*/ 7257 w 7"/>
                <a:gd name="T5" fmla="*/ 1764 h 9"/>
                <a:gd name="T6" fmla="*/ 0 w 7"/>
                <a:gd name="T7" fmla="*/ 1764 h 9"/>
                <a:gd name="T8" fmla="*/ 1814 w 7"/>
                <a:gd name="T9" fmla="*/ 3528 h 9"/>
                <a:gd name="T10" fmla="*/ 7257 w 7"/>
                <a:gd name="T11" fmla="*/ 8819 h 9"/>
                <a:gd name="T12" fmla="*/ 7257 w 7"/>
                <a:gd name="T13" fmla="*/ 12347 h 9"/>
                <a:gd name="T14" fmla="*/ 10886 w 7"/>
                <a:gd name="T15" fmla="*/ 14111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6" y="8"/>
                  </a:moveTo>
                  <a:cubicBezTo>
                    <a:pt x="7" y="7"/>
                    <a:pt x="7" y="5"/>
                    <a:pt x="6" y="4"/>
                  </a:cubicBezTo>
                  <a:cubicBezTo>
                    <a:pt x="6" y="2"/>
                    <a:pt x="5" y="1"/>
                    <a:pt x="4" y="1"/>
                  </a:cubicBezTo>
                  <a:cubicBezTo>
                    <a:pt x="3" y="0"/>
                    <a:pt x="1" y="0"/>
                    <a:pt x="0" y="1"/>
                  </a:cubicBezTo>
                  <a:cubicBezTo>
                    <a:pt x="0" y="1"/>
                    <a:pt x="1" y="2"/>
                    <a:pt x="1" y="2"/>
                  </a:cubicBezTo>
                  <a:cubicBezTo>
                    <a:pt x="2" y="3"/>
                    <a:pt x="3" y="3"/>
                    <a:pt x="4" y="5"/>
                  </a:cubicBezTo>
                  <a:cubicBezTo>
                    <a:pt x="4" y="5"/>
                    <a:pt x="3" y="6"/>
                    <a:pt x="4" y="7"/>
                  </a:cubicBezTo>
                  <a:cubicBezTo>
                    <a:pt x="4" y="8"/>
                    <a:pt x="5" y="9"/>
                    <a:pt x="6"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4" name="Freeform 1051"/>
            <p:cNvSpPr>
              <a:spLocks noChangeAspect="1"/>
            </p:cNvSpPr>
            <p:nvPr/>
          </p:nvSpPr>
          <p:spPr bwMode="auto">
            <a:xfrm>
              <a:off x="2169431" y="1103790"/>
              <a:ext cx="11213" cy="14187"/>
            </a:xfrm>
            <a:custGeom>
              <a:avLst/>
              <a:gdLst>
                <a:gd name="T0" fmla="*/ 7409 w 6"/>
                <a:gd name="T1" fmla="*/ 1940 h 9"/>
                <a:gd name="T2" fmla="*/ 11113 w 6"/>
                <a:gd name="T3" fmla="*/ 9702 h 9"/>
                <a:gd name="T4" fmla="*/ 3704 w 6"/>
                <a:gd name="T5" fmla="*/ 15523 h 9"/>
                <a:gd name="T6" fmla="*/ 3704 w 6"/>
                <a:gd name="T7" fmla="*/ 3881 h 9"/>
                <a:gd name="T8" fmla="*/ 7409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4"/>
                    <a:pt x="6" y="5"/>
                  </a:cubicBezTo>
                  <a:cubicBezTo>
                    <a:pt x="5" y="7"/>
                    <a:pt x="3" y="9"/>
                    <a:pt x="2" y="8"/>
                  </a:cubicBezTo>
                  <a:cubicBezTo>
                    <a:pt x="0" y="7"/>
                    <a:pt x="1" y="4"/>
                    <a:pt x="2" y="2"/>
                  </a:cubicBezTo>
                  <a:cubicBezTo>
                    <a:pt x="2"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5" name="Freeform 1052"/>
            <p:cNvSpPr>
              <a:spLocks noChangeAspect="1"/>
            </p:cNvSpPr>
            <p:nvPr/>
          </p:nvSpPr>
          <p:spPr bwMode="auto">
            <a:xfrm>
              <a:off x="2132593" y="1114107"/>
              <a:ext cx="12814" cy="9029"/>
            </a:xfrm>
            <a:custGeom>
              <a:avLst/>
              <a:gdLst>
                <a:gd name="T0" fmla="*/ 10886 w 7"/>
                <a:gd name="T1" fmla="*/ 1852 h 6"/>
                <a:gd name="T2" fmla="*/ 9071 w 7"/>
                <a:gd name="T3" fmla="*/ 9261 h 6"/>
                <a:gd name="T4" fmla="*/ 0 w 7"/>
                <a:gd name="T5" fmla="*/ 7409 h 6"/>
                <a:gd name="T6" fmla="*/ 3629 w 7"/>
                <a:gd name="T7" fmla="*/ 3704 h 6"/>
                <a:gd name="T8" fmla="*/ 10886 w 7"/>
                <a:gd name="T9" fmla="*/ 1852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6" y="4"/>
                    <a:pt x="5" y="5"/>
                  </a:cubicBezTo>
                  <a:cubicBezTo>
                    <a:pt x="4" y="6"/>
                    <a:pt x="2" y="5"/>
                    <a:pt x="0" y="4"/>
                  </a:cubicBezTo>
                  <a:cubicBezTo>
                    <a:pt x="0" y="4"/>
                    <a:pt x="1" y="2"/>
                    <a:pt x="2" y="2"/>
                  </a:cubicBezTo>
                  <a:cubicBezTo>
                    <a:pt x="3" y="1"/>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6" name="Freeform 1053"/>
            <p:cNvSpPr>
              <a:spLocks noChangeAspect="1"/>
            </p:cNvSpPr>
            <p:nvPr/>
          </p:nvSpPr>
          <p:spPr bwMode="auto">
            <a:xfrm>
              <a:off x="2073329" y="1119266"/>
              <a:ext cx="12814" cy="10318"/>
            </a:xfrm>
            <a:custGeom>
              <a:avLst/>
              <a:gdLst>
                <a:gd name="T0" fmla="*/ 1814 w 7"/>
                <a:gd name="T1" fmla="*/ 0 h 6"/>
                <a:gd name="T2" fmla="*/ 10886 w 7"/>
                <a:gd name="T3" fmla="*/ 4233 h 6"/>
                <a:gd name="T4" fmla="*/ 7257 w 7"/>
                <a:gd name="T5" fmla="*/ 10583 h 6"/>
                <a:gd name="T6" fmla="*/ 0 w 7"/>
                <a:gd name="T7" fmla="*/ 2117 h 6"/>
                <a:gd name="T8" fmla="*/ 1814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1" y="0"/>
                  </a:moveTo>
                  <a:cubicBezTo>
                    <a:pt x="3" y="0"/>
                    <a:pt x="5" y="1"/>
                    <a:pt x="6" y="2"/>
                  </a:cubicBezTo>
                  <a:cubicBezTo>
                    <a:pt x="7" y="3"/>
                    <a:pt x="5" y="6"/>
                    <a:pt x="4" y="5"/>
                  </a:cubicBezTo>
                  <a:cubicBezTo>
                    <a:pt x="2" y="5"/>
                    <a:pt x="1" y="3"/>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7" name="Freeform 1054"/>
            <p:cNvSpPr>
              <a:spLocks noChangeAspect="1"/>
            </p:cNvSpPr>
            <p:nvPr/>
          </p:nvSpPr>
          <p:spPr bwMode="auto">
            <a:xfrm>
              <a:off x="2263933" y="1084445"/>
              <a:ext cx="9610" cy="7738"/>
            </a:xfrm>
            <a:custGeom>
              <a:avLst/>
              <a:gdLst>
                <a:gd name="T0" fmla="*/ 0 w 5"/>
                <a:gd name="T1" fmla="*/ 1905 h 5"/>
                <a:gd name="T2" fmla="*/ 7620 w 5"/>
                <a:gd name="T3" fmla="*/ 3810 h 5"/>
                <a:gd name="T4" fmla="*/ 5715 w 5"/>
                <a:gd name="T5" fmla="*/ 9525 h 5"/>
                <a:gd name="T6" fmla="*/ 0 w 5"/>
                <a:gd name="T7" fmla="*/ 190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1"/>
                  </a:moveTo>
                  <a:cubicBezTo>
                    <a:pt x="1" y="0"/>
                    <a:pt x="4" y="1"/>
                    <a:pt x="4" y="2"/>
                  </a:cubicBezTo>
                  <a:cubicBezTo>
                    <a:pt x="5" y="3"/>
                    <a:pt x="4" y="5"/>
                    <a:pt x="3" y="5"/>
                  </a:cubicBezTo>
                  <a:cubicBezTo>
                    <a:pt x="1"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8" name="Freeform 1055"/>
            <p:cNvSpPr>
              <a:spLocks noChangeAspect="1"/>
            </p:cNvSpPr>
            <p:nvPr/>
          </p:nvSpPr>
          <p:spPr bwMode="auto">
            <a:xfrm>
              <a:off x="1416627" y="1096052"/>
              <a:ext cx="9610" cy="11608"/>
            </a:xfrm>
            <a:custGeom>
              <a:avLst/>
              <a:gdLst>
                <a:gd name="T0" fmla="*/ 3810 w 5"/>
                <a:gd name="T1" fmla="*/ 2041 h 7"/>
                <a:gd name="T2" fmla="*/ 7620 w 5"/>
                <a:gd name="T3" fmla="*/ 12247 h 7"/>
                <a:gd name="T4" fmla="*/ 1905 w 5"/>
                <a:gd name="T5" fmla="*/ 10206 h 7"/>
                <a:gd name="T6" fmla="*/ 3810 w 5"/>
                <a:gd name="T7" fmla="*/ 204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9" name="Freeform 1056"/>
            <p:cNvSpPr>
              <a:spLocks noChangeAspect="1"/>
            </p:cNvSpPr>
            <p:nvPr/>
          </p:nvSpPr>
          <p:spPr bwMode="auto">
            <a:xfrm>
              <a:off x="1426238" y="1094762"/>
              <a:ext cx="12814" cy="14186"/>
            </a:xfrm>
            <a:custGeom>
              <a:avLst/>
              <a:gdLst>
                <a:gd name="T0" fmla="*/ 8467 w 6"/>
                <a:gd name="T1" fmla="*/ 1940 h 9"/>
                <a:gd name="T2" fmla="*/ 12700 w 6"/>
                <a:gd name="T3" fmla="*/ 13582 h 9"/>
                <a:gd name="T4" fmla="*/ 2117 w 6"/>
                <a:gd name="T5" fmla="*/ 15522 h 9"/>
                <a:gd name="T6" fmla="*/ 2117 w 6"/>
                <a:gd name="T7" fmla="*/ 3880 h 9"/>
                <a:gd name="T8" fmla="*/ 8467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0" name="Freeform 1057"/>
            <p:cNvSpPr>
              <a:spLocks noChangeAspect="1"/>
            </p:cNvSpPr>
            <p:nvPr/>
          </p:nvSpPr>
          <p:spPr bwMode="auto">
            <a:xfrm>
              <a:off x="1435847" y="1083155"/>
              <a:ext cx="33637" cy="20635"/>
            </a:xfrm>
            <a:custGeom>
              <a:avLst/>
              <a:gdLst>
                <a:gd name="T0" fmla="*/ 23533 w 17"/>
                <a:gd name="T1" fmla="*/ 0 h 14"/>
                <a:gd name="T2" fmla="*/ 33338 w 17"/>
                <a:gd name="T3" fmla="*/ 7257 h 14"/>
                <a:gd name="T4" fmla="*/ 19611 w 17"/>
                <a:gd name="T5" fmla="*/ 18143 h 14"/>
                <a:gd name="T6" fmla="*/ 7844 w 17"/>
                <a:gd name="T7" fmla="*/ 23586 h 14"/>
                <a:gd name="T8" fmla="*/ 1961 w 17"/>
                <a:gd name="T9" fmla="*/ 16329 h 14"/>
                <a:gd name="T10" fmla="*/ 3922 w 17"/>
                <a:gd name="T11" fmla="*/ 9071 h 14"/>
                <a:gd name="T12" fmla="*/ 17650 w 17"/>
                <a:gd name="T13" fmla="*/ 9071 h 14"/>
                <a:gd name="T14" fmla="*/ 23533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1" name="Freeform 1058"/>
            <p:cNvSpPr>
              <a:spLocks noChangeAspect="1"/>
            </p:cNvSpPr>
            <p:nvPr/>
          </p:nvSpPr>
          <p:spPr bwMode="auto">
            <a:xfrm>
              <a:off x="2417697" y="940002"/>
              <a:ext cx="578218" cy="393352"/>
            </a:xfrm>
            <a:custGeom>
              <a:avLst/>
              <a:gdLst>
                <a:gd name="T0" fmla="*/ 418868 w 301"/>
                <a:gd name="T1" fmla="*/ 411750 h 254"/>
                <a:gd name="T2" fmla="*/ 416964 w 301"/>
                <a:gd name="T3" fmla="*/ 442250 h 254"/>
                <a:gd name="T4" fmla="*/ 436003 w 301"/>
                <a:gd name="T5" fmla="*/ 480375 h 254"/>
                <a:gd name="T6" fmla="*/ 359845 w 301"/>
                <a:gd name="T7" fmla="*/ 447968 h 254"/>
                <a:gd name="T8" fmla="*/ 338902 w 301"/>
                <a:gd name="T9" fmla="*/ 421281 h 254"/>
                <a:gd name="T10" fmla="*/ 310343 w 301"/>
                <a:gd name="T11" fmla="*/ 396500 h 254"/>
                <a:gd name="T12" fmla="*/ 285592 w 301"/>
                <a:gd name="T13" fmla="*/ 385062 h 254"/>
                <a:gd name="T14" fmla="*/ 279880 w 301"/>
                <a:gd name="T15" fmla="*/ 377437 h 254"/>
                <a:gd name="T16" fmla="*/ 218953 w 301"/>
                <a:gd name="T17" fmla="*/ 392687 h 254"/>
                <a:gd name="T18" fmla="*/ 222761 w 301"/>
                <a:gd name="T19" fmla="*/ 346937 h 254"/>
                <a:gd name="T20" fmla="*/ 295111 w 301"/>
                <a:gd name="T21" fmla="*/ 341218 h 254"/>
                <a:gd name="T22" fmla="*/ 344614 w 301"/>
                <a:gd name="T23" fmla="*/ 268781 h 254"/>
                <a:gd name="T24" fmla="*/ 314151 w 301"/>
                <a:gd name="T25" fmla="*/ 213500 h 254"/>
                <a:gd name="T26" fmla="*/ 291303 w 301"/>
                <a:gd name="T27" fmla="*/ 205875 h 254"/>
                <a:gd name="T28" fmla="*/ 281784 w 301"/>
                <a:gd name="T29" fmla="*/ 188719 h 254"/>
                <a:gd name="T30" fmla="*/ 249417 w 301"/>
                <a:gd name="T31" fmla="*/ 150594 h 254"/>
                <a:gd name="T32" fmla="*/ 209434 w 301"/>
                <a:gd name="T33" fmla="*/ 146781 h 254"/>
                <a:gd name="T34" fmla="*/ 184683 w 301"/>
                <a:gd name="T35" fmla="*/ 169656 h 254"/>
                <a:gd name="T36" fmla="*/ 150412 w 301"/>
                <a:gd name="T37" fmla="*/ 167750 h 254"/>
                <a:gd name="T38" fmla="*/ 74254 w 301"/>
                <a:gd name="T39" fmla="*/ 160125 h 254"/>
                <a:gd name="T40" fmla="*/ 53310 w 301"/>
                <a:gd name="T41" fmla="*/ 154406 h 254"/>
                <a:gd name="T42" fmla="*/ 30463 w 301"/>
                <a:gd name="T43" fmla="*/ 116281 h 254"/>
                <a:gd name="T44" fmla="*/ 3808 w 301"/>
                <a:gd name="T45" fmla="*/ 99125 h 254"/>
                <a:gd name="T46" fmla="*/ 97101 w 301"/>
                <a:gd name="T47" fmla="*/ 1906 h 254"/>
                <a:gd name="T48" fmla="*/ 85677 w 301"/>
                <a:gd name="T49" fmla="*/ 47656 h 254"/>
                <a:gd name="T50" fmla="*/ 79966 w 301"/>
                <a:gd name="T51" fmla="*/ 112469 h 254"/>
                <a:gd name="T52" fmla="*/ 110429 w 301"/>
                <a:gd name="T53" fmla="*/ 108656 h 254"/>
                <a:gd name="T54" fmla="*/ 125660 w 301"/>
                <a:gd name="T55" fmla="*/ 76250 h 254"/>
                <a:gd name="T56" fmla="*/ 118044 w 301"/>
                <a:gd name="T57" fmla="*/ 40031 h 254"/>
                <a:gd name="T58" fmla="*/ 125660 w 301"/>
                <a:gd name="T59" fmla="*/ 19062 h 254"/>
                <a:gd name="T60" fmla="*/ 207530 w 301"/>
                <a:gd name="T61" fmla="*/ 13344 h 254"/>
                <a:gd name="T62" fmla="*/ 196106 w 301"/>
                <a:gd name="T63" fmla="*/ 76250 h 254"/>
                <a:gd name="T64" fmla="*/ 237993 w 301"/>
                <a:gd name="T65" fmla="*/ 66719 h 254"/>
                <a:gd name="T66" fmla="*/ 245609 w 301"/>
                <a:gd name="T67" fmla="*/ 64812 h 254"/>
                <a:gd name="T68" fmla="*/ 302727 w 301"/>
                <a:gd name="T69" fmla="*/ 55281 h 254"/>
                <a:gd name="T70" fmla="*/ 319862 w 301"/>
                <a:gd name="T71" fmla="*/ 76250 h 254"/>
                <a:gd name="T72" fmla="*/ 335094 w 301"/>
                <a:gd name="T73" fmla="*/ 93406 h 254"/>
                <a:gd name="T74" fmla="*/ 350326 w 301"/>
                <a:gd name="T75" fmla="*/ 118187 h 254"/>
                <a:gd name="T76" fmla="*/ 399828 w 301"/>
                <a:gd name="T77" fmla="*/ 110562 h 254"/>
                <a:gd name="T78" fmla="*/ 388404 w 301"/>
                <a:gd name="T79" fmla="*/ 131531 h 254"/>
                <a:gd name="T80" fmla="*/ 378885 w 301"/>
                <a:gd name="T81" fmla="*/ 152500 h 254"/>
                <a:gd name="T82" fmla="*/ 418868 w 301"/>
                <a:gd name="T83" fmla="*/ 133437 h 254"/>
                <a:gd name="T84" fmla="*/ 422675 w 301"/>
                <a:gd name="T85" fmla="*/ 152500 h 254"/>
                <a:gd name="T86" fmla="*/ 418868 w 301"/>
                <a:gd name="T87" fmla="*/ 173469 h 254"/>
                <a:gd name="T88" fmla="*/ 430291 w 301"/>
                <a:gd name="T89" fmla="*/ 179187 h 254"/>
                <a:gd name="T90" fmla="*/ 443619 w 301"/>
                <a:gd name="T91" fmla="*/ 190625 h 254"/>
                <a:gd name="T92" fmla="*/ 449331 w 301"/>
                <a:gd name="T93" fmla="*/ 211594 h 254"/>
                <a:gd name="T94" fmla="*/ 464562 w 301"/>
                <a:gd name="T95" fmla="*/ 230656 h 254"/>
                <a:gd name="T96" fmla="*/ 481698 w 301"/>
                <a:gd name="T97" fmla="*/ 257344 h 254"/>
                <a:gd name="T98" fmla="*/ 515969 w 301"/>
                <a:gd name="T99" fmla="*/ 266875 h 254"/>
                <a:gd name="T100" fmla="*/ 525488 w 301"/>
                <a:gd name="T101" fmla="*/ 291656 h 254"/>
                <a:gd name="T102" fmla="*/ 565471 w 301"/>
                <a:gd name="T103" fmla="*/ 287843 h 254"/>
                <a:gd name="T104" fmla="*/ 552144 w 301"/>
                <a:gd name="T105" fmla="*/ 318343 h 254"/>
                <a:gd name="T106" fmla="*/ 521681 w 301"/>
                <a:gd name="T107" fmla="*/ 329781 h 254"/>
                <a:gd name="T108" fmla="*/ 489314 w 301"/>
                <a:gd name="T109" fmla="*/ 343125 h 254"/>
                <a:gd name="T110" fmla="*/ 475986 w 301"/>
                <a:gd name="T111" fmla="*/ 314531 h 254"/>
                <a:gd name="T112" fmla="*/ 434099 w 301"/>
                <a:gd name="T113" fmla="*/ 306906 h 254"/>
                <a:gd name="T114" fmla="*/ 439811 w 301"/>
                <a:gd name="T115" fmla="*/ 337406 h 254"/>
                <a:gd name="T116" fmla="*/ 477890 w 301"/>
                <a:gd name="T117" fmla="*/ 385062 h 254"/>
                <a:gd name="T118" fmla="*/ 470274 w 301"/>
                <a:gd name="T119" fmla="*/ 442250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2" name="Freeform 1059"/>
            <p:cNvSpPr>
              <a:spLocks noChangeAspect="1"/>
            </p:cNvSpPr>
            <p:nvPr/>
          </p:nvSpPr>
          <p:spPr bwMode="auto">
            <a:xfrm>
              <a:off x="2659556" y="1127004"/>
              <a:ext cx="49654" cy="38690"/>
            </a:xfrm>
            <a:custGeom>
              <a:avLst/>
              <a:gdLst>
                <a:gd name="T0" fmla="*/ 45427 w 26"/>
                <a:gd name="T1" fmla="*/ 3810 h 25"/>
                <a:gd name="T2" fmla="*/ 49213 w 26"/>
                <a:gd name="T3" fmla="*/ 7620 h 25"/>
                <a:gd name="T4" fmla="*/ 45427 w 26"/>
                <a:gd name="T5" fmla="*/ 32385 h 25"/>
                <a:gd name="T6" fmla="*/ 26499 w 26"/>
                <a:gd name="T7" fmla="*/ 45720 h 25"/>
                <a:gd name="T8" fmla="*/ 5678 w 26"/>
                <a:gd name="T9" fmla="*/ 43815 h 25"/>
                <a:gd name="T10" fmla="*/ 0 w 26"/>
                <a:gd name="T11" fmla="*/ 36195 h 25"/>
                <a:gd name="T12" fmla="*/ 5678 w 26"/>
                <a:gd name="T13" fmla="*/ 17145 h 25"/>
                <a:gd name="T14" fmla="*/ 17035 w 26"/>
                <a:gd name="T15" fmla="*/ 3810 h 25"/>
                <a:gd name="T16" fmla="*/ 32178 w 26"/>
                <a:gd name="T17" fmla="*/ 0 h 25"/>
                <a:gd name="T18" fmla="*/ 45427 w 26"/>
                <a:gd name="T19" fmla="*/ 381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3" name="Freeform 1060"/>
            <p:cNvSpPr>
              <a:spLocks noChangeAspect="1"/>
            </p:cNvSpPr>
            <p:nvPr/>
          </p:nvSpPr>
          <p:spPr bwMode="auto">
            <a:xfrm>
              <a:off x="2712412" y="1132163"/>
              <a:ext cx="32034" cy="16766"/>
            </a:xfrm>
            <a:custGeom>
              <a:avLst/>
              <a:gdLst>
                <a:gd name="T0" fmla="*/ 3969 w 16"/>
                <a:gd name="T1" fmla="*/ 3752 h 11"/>
                <a:gd name="T2" fmla="*/ 1984 w 16"/>
                <a:gd name="T3" fmla="*/ 7505 h 11"/>
                <a:gd name="T4" fmla="*/ 3969 w 16"/>
                <a:gd name="T5" fmla="*/ 18762 h 11"/>
                <a:gd name="T6" fmla="*/ 17859 w 16"/>
                <a:gd name="T7" fmla="*/ 16886 h 11"/>
                <a:gd name="T8" fmla="*/ 27781 w 16"/>
                <a:gd name="T9" fmla="*/ 18762 h 11"/>
                <a:gd name="T10" fmla="*/ 29766 w 16"/>
                <a:gd name="T11" fmla="*/ 7505 h 11"/>
                <a:gd name="T12" fmla="*/ 19844 w 16"/>
                <a:gd name="T13" fmla="*/ 3752 h 11"/>
                <a:gd name="T14" fmla="*/ 11906 w 16"/>
                <a:gd name="T15" fmla="*/ 0 h 11"/>
                <a:gd name="T16" fmla="*/ 3969 w 16"/>
                <a:gd name="T17" fmla="*/ 375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4" name="Freeform 1061"/>
            <p:cNvSpPr>
              <a:spLocks noChangeAspect="1"/>
            </p:cNvSpPr>
            <p:nvPr/>
          </p:nvSpPr>
          <p:spPr bwMode="auto">
            <a:xfrm>
              <a:off x="2709210" y="1115397"/>
              <a:ext cx="9610" cy="14186"/>
            </a:xfrm>
            <a:custGeom>
              <a:avLst/>
              <a:gdLst>
                <a:gd name="T0" fmla="*/ 1905 w 5"/>
                <a:gd name="T1" fmla="*/ 1940 h 9"/>
                <a:gd name="T2" fmla="*/ 0 w 5"/>
                <a:gd name="T3" fmla="*/ 7761 h 9"/>
                <a:gd name="T4" fmla="*/ 3810 w 5"/>
                <a:gd name="T5" fmla="*/ 15522 h 9"/>
                <a:gd name="T6" fmla="*/ 7620 w 5"/>
                <a:gd name="T7" fmla="*/ 11641 h 9"/>
                <a:gd name="T8" fmla="*/ 7620 w 5"/>
                <a:gd name="T9" fmla="*/ 3880 h 9"/>
                <a:gd name="T10" fmla="*/ 1905 w 5"/>
                <a:gd name="T11" fmla="*/ 1940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1" y="1"/>
                  </a:moveTo>
                  <a:cubicBezTo>
                    <a:pt x="0" y="1"/>
                    <a:pt x="0" y="3"/>
                    <a:pt x="0" y="4"/>
                  </a:cubicBezTo>
                  <a:cubicBezTo>
                    <a:pt x="0" y="5"/>
                    <a:pt x="1" y="8"/>
                    <a:pt x="2" y="8"/>
                  </a:cubicBezTo>
                  <a:cubicBezTo>
                    <a:pt x="3" y="9"/>
                    <a:pt x="4" y="7"/>
                    <a:pt x="4" y="6"/>
                  </a:cubicBezTo>
                  <a:cubicBezTo>
                    <a:pt x="5" y="4"/>
                    <a:pt x="4" y="3"/>
                    <a:pt x="4" y="2"/>
                  </a:cubicBezTo>
                  <a:cubicBezTo>
                    <a:pt x="3"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5" name="Freeform 1062"/>
            <p:cNvSpPr>
              <a:spLocks noChangeAspect="1"/>
            </p:cNvSpPr>
            <p:nvPr/>
          </p:nvSpPr>
          <p:spPr bwMode="auto">
            <a:xfrm>
              <a:off x="2616310" y="1092183"/>
              <a:ext cx="36839" cy="23214"/>
            </a:xfrm>
            <a:custGeom>
              <a:avLst/>
              <a:gdLst>
                <a:gd name="T0" fmla="*/ 28825 w 19"/>
                <a:gd name="T1" fmla="*/ 0 h 15"/>
                <a:gd name="T2" fmla="*/ 36512 w 19"/>
                <a:gd name="T3" fmla="*/ 3810 h 15"/>
                <a:gd name="T4" fmla="*/ 23060 w 19"/>
                <a:gd name="T5" fmla="*/ 13335 h 15"/>
                <a:gd name="T6" fmla="*/ 15373 w 19"/>
                <a:gd name="T7" fmla="*/ 24765 h 15"/>
                <a:gd name="T8" fmla="*/ 3843 w 19"/>
                <a:gd name="T9" fmla="*/ 26670 h 15"/>
                <a:gd name="T10" fmla="*/ 0 w 19"/>
                <a:gd name="T11" fmla="*/ 20955 h 15"/>
                <a:gd name="T12" fmla="*/ 13452 w 19"/>
                <a:gd name="T13" fmla="*/ 11430 h 15"/>
                <a:gd name="T14" fmla="*/ 23060 w 19"/>
                <a:gd name="T15" fmla="*/ 3810 h 15"/>
                <a:gd name="T16" fmla="*/ 28825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6" name="Freeform 1063"/>
            <p:cNvSpPr>
              <a:spLocks noChangeAspect="1"/>
            </p:cNvSpPr>
            <p:nvPr/>
          </p:nvSpPr>
          <p:spPr bwMode="auto">
            <a:xfrm>
              <a:off x="2638734" y="1080576"/>
              <a:ext cx="25627" cy="10318"/>
            </a:xfrm>
            <a:custGeom>
              <a:avLst/>
              <a:gdLst>
                <a:gd name="T0" fmla="*/ 1814 w 14"/>
                <a:gd name="T1" fmla="*/ 8467 h 6"/>
                <a:gd name="T2" fmla="*/ 18143 w 14"/>
                <a:gd name="T3" fmla="*/ 2117 h 6"/>
                <a:gd name="T4" fmla="*/ 25400 w 14"/>
                <a:gd name="T5" fmla="*/ 4233 h 6"/>
                <a:gd name="T6" fmla="*/ 14514 w 14"/>
                <a:gd name="T7" fmla="*/ 8467 h 6"/>
                <a:gd name="T8" fmla="*/ 1814 w 14"/>
                <a:gd name="T9" fmla="*/ 8467 h 6"/>
                <a:gd name="T10" fmla="*/ 0 60000 65536"/>
                <a:gd name="T11" fmla="*/ 0 60000 65536"/>
                <a:gd name="T12" fmla="*/ 0 60000 65536"/>
                <a:gd name="T13" fmla="*/ 0 60000 65536"/>
                <a:gd name="T14" fmla="*/ 0 60000 65536"/>
                <a:gd name="T15" fmla="*/ 0 w 14"/>
                <a:gd name="T16" fmla="*/ 0 h 6"/>
                <a:gd name="T17" fmla="*/ 14 w 14"/>
                <a:gd name="T18" fmla="*/ 6 h 6"/>
              </a:gdLst>
              <a:ahLst/>
              <a:cxnLst>
                <a:cxn ang="T10">
                  <a:pos x="T0" y="T1"/>
                </a:cxn>
                <a:cxn ang="T11">
                  <a:pos x="T2" y="T3"/>
                </a:cxn>
                <a:cxn ang="T12">
                  <a:pos x="T4" y="T5"/>
                </a:cxn>
                <a:cxn ang="T13">
                  <a:pos x="T6" y="T7"/>
                </a:cxn>
                <a:cxn ang="T14">
                  <a:pos x="T8" y="T9"/>
                </a:cxn>
              </a:cxnLst>
              <a:rect l="T15" t="T16" r="T17" b="T18"/>
              <a:pathLst>
                <a:path w="14" h="6">
                  <a:moveTo>
                    <a:pt x="1" y="4"/>
                  </a:moveTo>
                  <a:cubicBezTo>
                    <a:pt x="3" y="1"/>
                    <a:pt x="7" y="1"/>
                    <a:pt x="10" y="1"/>
                  </a:cubicBezTo>
                  <a:cubicBezTo>
                    <a:pt x="12" y="0"/>
                    <a:pt x="14" y="1"/>
                    <a:pt x="14" y="2"/>
                  </a:cubicBezTo>
                  <a:cubicBezTo>
                    <a:pt x="13" y="4"/>
                    <a:pt x="10" y="4"/>
                    <a:pt x="8" y="4"/>
                  </a:cubicBezTo>
                  <a:cubicBezTo>
                    <a:pt x="6" y="4"/>
                    <a:pt x="0" y="6"/>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7" name="Freeform 1064"/>
            <p:cNvSpPr>
              <a:spLocks noChangeAspect="1"/>
            </p:cNvSpPr>
            <p:nvPr/>
          </p:nvSpPr>
          <p:spPr bwMode="auto">
            <a:xfrm>
              <a:off x="2605098" y="1079286"/>
              <a:ext cx="20823" cy="7738"/>
            </a:xfrm>
            <a:custGeom>
              <a:avLst/>
              <a:gdLst>
                <a:gd name="T0" fmla="*/ 1876 w 11"/>
                <a:gd name="T1" fmla="*/ 3810 h 5"/>
                <a:gd name="T2" fmla="*/ 7505 w 11"/>
                <a:gd name="T3" fmla="*/ 9525 h 5"/>
                <a:gd name="T4" fmla="*/ 20638 w 11"/>
                <a:gd name="T5" fmla="*/ 5715 h 5"/>
                <a:gd name="T6" fmla="*/ 16886 w 11"/>
                <a:gd name="T7" fmla="*/ 1905 h 5"/>
                <a:gd name="T8" fmla="*/ 1876 w 11"/>
                <a:gd name="T9" fmla="*/ 381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2"/>
                  </a:moveTo>
                  <a:cubicBezTo>
                    <a:pt x="0" y="3"/>
                    <a:pt x="2" y="5"/>
                    <a:pt x="4" y="5"/>
                  </a:cubicBezTo>
                  <a:cubicBezTo>
                    <a:pt x="6" y="5"/>
                    <a:pt x="9" y="4"/>
                    <a:pt x="11" y="3"/>
                  </a:cubicBezTo>
                  <a:cubicBezTo>
                    <a:pt x="11" y="2"/>
                    <a:pt x="10" y="1"/>
                    <a:pt x="9" y="1"/>
                  </a:cubicBezTo>
                  <a:cubicBezTo>
                    <a:pt x="6" y="1"/>
                    <a:pt x="3"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8" name="Freeform 1065"/>
            <p:cNvSpPr>
              <a:spLocks noChangeAspect="1"/>
            </p:cNvSpPr>
            <p:nvPr/>
          </p:nvSpPr>
          <p:spPr bwMode="auto">
            <a:xfrm>
              <a:off x="2624317" y="1125715"/>
              <a:ext cx="14416" cy="11607"/>
            </a:xfrm>
            <a:custGeom>
              <a:avLst/>
              <a:gdLst>
                <a:gd name="T0" fmla="*/ 2041 w 7"/>
                <a:gd name="T1" fmla="*/ 4082 h 7"/>
                <a:gd name="T2" fmla="*/ 2041 w 7"/>
                <a:gd name="T3" fmla="*/ 12246 h 7"/>
                <a:gd name="T4" fmla="*/ 8165 w 7"/>
                <a:gd name="T5" fmla="*/ 10205 h 7"/>
                <a:gd name="T6" fmla="*/ 12247 w 7"/>
                <a:gd name="T7" fmla="*/ 4082 h 7"/>
                <a:gd name="T8" fmla="*/ 2041 w 7"/>
                <a:gd name="T9" fmla="*/ 4082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2"/>
                  </a:moveTo>
                  <a:cubicBezTo>
                    <a:pt x="0" y="3"/>
                    <a:pt x="0" y="5"/>
                    <a:pt x="1" y="6"/>
                  </a:cubicBezTo>
                  <a:cubicBezTo>
                    <a:pt x="1" y="7"/>
                    <a:pt x="3" y="6"/>
                    <a:pt x="4" y="5"/>
                  </a:cubicBezTo>
                  <a:cubicBezTo>
                    <a:pt x="5" y="4"/>
                    <a:pt x="7" y="3"/>
                    <a:pt x="6" y="2"/>
                  </a:cubicBezTo>
                  <a:cubicBezTo>
                    <a:pt x="5" y="0"/>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9" name="Freeform 1066"/>
            <p:cNvSpPr>
              <a:spLocks noChangeAspect="1"/>
            </p:cNvSpPr>
            <p:nvPr/>
          </p:nvSpPr>
          <p:spPr bwMode="auto">
            <a:xfrm>
              <a:off x="2459342" y="1067679"/>
              <a:ext cx="22424" cy="9029"/>
            </a:xfrm>
            <a:custGeom>
              <a:avLst/>
              <a:gdLst>
                <a:gd name="T0" fmla="*/ 3704 w 12"/>
                <a:gd name="T1" fmla="*/ 1852 h 6"/>
                <a:gd name="T2" fmla="*/ 9260 w 12"/>
                <a:gd name="T3" fmla="*/ 9261 h 6"/>
                <a:gd name="T4" fmla="*/ 20373 w 12"/>
                <a:gd name="T5" fmla="*/ 9261 h 6"/>
                <a:gd name="T6" fmla="*/ 18521 w 12"/>
                <a:gd name="T7" fmla="*/ 1852 h 6"/>
                <a:gd name="T8" fmla="*/ 3704 w 12"/>
                <a:gd name="T9" fmla="*/ 1852 h 6"/>
                <a:gd name="T10" fmla="*/ 0 60000 65536"/>
                <a:gd name="T11" fmla="*/ 0 60000 65536"/>
                <a:gd name="T12" fmla="*/ 0 60000 65536"/>
                <a:gd name="T13" fmla="*/ 0 60000 65536"/>
                <a:gd name="T14" fmla="*/ 0 60000 65536"/>
                <a:gd name="T15" fmla="*/ 0 w 12"/>
                <a:gd name="T16" fmla="*/ 0 h 6"/>
                <a:gd name="T17" fmla="*/ 12 w 12"/>
                <a:gd name="T18" fmla="*/ 6 h 6"/>
              </a:gdLst>
              <a:ahLst/>
              <a:cxnLst>
                <a:cxn ang="T10">
                  <a:pos x="T0" y="T1"/>
                </a:cxn>
                <a:cxn ang="T11">
                  <a:pos x="T2" y="T3"/>
                </a:cxn>
                <a:cxn ang="T12">
                  <a:pos x="T4" y="T5"/>
                </a:cxn>
                <a:cxn ang="T13">
                  <a:pos x="T6" y="T7"/>
                </a:cxn>
                <a:cxn ang="T14">
                  <a:pos x="T8" y="T9"/>
                </a:cxn>
              </a:cxnLst>
              <a:rect l="T15" t="T16" r="T17" b="T18"/>
              <a:pathLst>
                <a:path w="12" h="6">
                  <a:moveTo>
                    <a:pt x="2" y="1"/>
                  </a:moveTo>
                  <a:cubicBezTo>
                    <a:pt x="0" y="2"/>
                    <a:pt x="4" y="5"/>
                    <a:pt x="5" y="5"/>
                  </a:cubicBezTo>
                  <a:cubicBezTo>
                    <a:pt x="7" y="6"/>
                    <a:pt x="9" y="6"/>
                    <a:pt x="11" y="5"/>
                  </a:cubicBezTo>
                  <a:cubicBezTo>
                    <a:pt x="12" y="4"/>
                    <a:pt x="11" y="2"/>
                    <a:pt x="10" y="1"/>
                  </a:cubicBezTo>
                  <a:cubicBezTo>
                    <a:pt x="7" y="0"/>
                    <a:pt x="4"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0" name="Freeform 1067"/>
            <p:cNvSpPr>
              <a:spLocks noChangeAspect="1"/>
            </p:cNvSpPr>
            <p:nvPr/>
          </p:nvSpPr>
          <p:spPr bwMode="auto">
            <a:xfrm>
              <a:off x="2630725" y="940002"/>
              <a:ext cx="97705" cy="39980"/>
            </a:xfrm>
            <a:custGeom>
              <a:avLst/>
              <a:gdLst>
                <a:gd name="T0" fmla="*/ 39874 w 51"/>
                <a:gd name="T1" fmla="*/ 9464 h 26"/>
                <a:gd name="T2" fmla="*/ 62660 w 51"/>
                <a:gd name="T3" fmla="*/ 7571 h 26"/>
                <a:gd name="T4" fmla="*/ 79749 w 51"/>
                <a:gd name="T5" fmla="*/ 18928 h 26"/>
                <a:gd name="T6" fmla="*/ 89243 w 51"/>
                <a:gd name="T7" fmla="*/ 24606 h 26"/>
                <a:gd name="T8" fmla="*/ 96838 w 51"/>
                <a:gd name="T9" fmla="*/ 37855 h 26"/>
                <a:gd name="T10" fmla="*/ 94939 w 51"/>
                <a:gd name="T11" fmla="*/ 43534 h 26"/>
                <a:gd name="T12" fmla="*/ 77850 w 51"/>
                <a:gd name="T13" fmla="*/ 37855 h 26"/>
                <a:gd name="T14" fmla="*/ 53166 w 51"/>
                <a:gd name="T15" fmla="*/ 39748 h 26"/>
                <a:gd name="T16" fmla="*/ 30381 w 51"/>
                <a:gd name="T17" fmla="*/ 47319 h 26"/>
                <a:gd name="T18" fmla="*/ 18988 w 51"/>
                <a:gd name="T19" fmla="*/ 47319 h 26"/>
                <a:gd name="T20" fmla="*/ 11393 w 51"/>
                <a:gd name="T21" fmla="*/ 37855 h 26"/>
                <a:gd name="T22" fmla="*/ 13291 w 51"/>
                <a:gd name="T23" fmla="*/ 26499 h 26"/>
                <a:gd name="T24" fmla="*/ 11393 w 51"/>
                <a:gd name="T25" fmla="*/ 24606 h 26"/>
                <a:gd name="T26" fmla="*/ 0 w 51"/>
                <a:gd name="T27" fmla="*/ 22713 h 26"/>
                <a:gd name="T28" fmla="*/ 7595 w 51"/>
                <a:gd name="T29" fmla="*/ 1893 h 26"/>
                <a:gd name="T30" fmla="*/ 15190 w 51"/>
                <a:gd name="T31" fmla="*/ 1893 h 26"/>
                <a:gd name="T32" fmla="*/ 39874 w 51"/>
                <a:gd name="T33" fmla="*/ 946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1" name="Freeform 1068"/>
            <p:cNvSpPr>
              <a:spLocks noChangeAspect="1"/>
            </p:cNvSpPr>
            <p:nvPr/>
          </p:nvSpPr>
          <p:spPr bwMode="auto">
            <a:xfrm>
              <a:off x="2316789" y="927105"/>
              <a:ext cx="124934" cy="78670"/>
            </a:xfrm>
            <a:custGeom>
              <a:avLst/>
              <a:gdLst>
                <a:gd name="T0" fmla="*/ 118110 w 65"/>
                <a:gd name="T1" fmla="*/ 9684 h 50"/>
                <a:gd name="T2" fmla="*/ 123825 w 65"/>
                <a:gd name="T3" fmla="*/ 11620 h 50"/>
                <a:gd name="T4" fmla="*/ 108585 w 65"/>
                <a:gd name="T5" fmla="*/ 25178 h 50"/>
                <a:gd name="T6" fmla="*/ 91440 w 65"/>
                <a:gd name="T7" fmla="*/ 42608 h 50"/>
                <a:gd name="T8" fmla="*/ 72390 w 65"/>
                <a:gd name="T9" fmla="*/ 61976 h 50"/>
                <a:gd name="T10" fmla="*/ 43815 w 65"/>
                <a:gd name="T11" fmla="*/ 56165 h 50"/>
                <a:gd name="T12" fmla="*/ 32385 w 65"/>
                <a:gd name="T13" fmla="*/ 58102 h 50"/>
                <a:gd name="T14" fmla="*/ 32385 w 65"/>
                <a:gd name="T15" fmla="*/ 61976 h 50"/>
                <a:gd name="T16" fmla="*/ 41910 w 65"/>
                <a:gd name="T17" fmla="*/ 65849 h 50"/>
                <a:gd name="T18" fmla="*/ 43815 w 65"/>
                <a:gd name="T19" fmla="*/ 73596 h 50"/>
                <a:gd name="T20" fmla="*/ 22860 w 65"/>
                <a:gd name="T21" fmla="*/ 94900 h 50"/>
                <a:gd name="T22" fmla="*/ 17145 w 65"/>
                <a:gd name="T23" fmla="*/ 92964 h 50"/>
                <a:gd name="T24" fmla="*/ 1905 w 65"/>
                <a:gd name="T25" fmla="*/ 92964 h 50"/>
                <a:gd name="T26" fmla="*/ 5715 w 65"/>
                <a:gd name="T27" fmla="*/ 85217 h 50"/>
                <a:gd name="T28" fmla="*/ 5715 w 65"/>
                <a:gd name="T29" fmla="*/ 69723 h 50"/>
                <a:gd name="T30" fmla="*/ 0 w 65"/>
                <a:gd name="T31" fmla="*/ 61976 h 50"/>
                <a:gd name="T32" fmla="*/ 5715 w 65"/>
                <a:gd name="T33" fmla="*/ 36798 h 50"/>
                <a:gd name="T34" fmla="*/ 5715 w 65"/>
                <a:gd name="T35" fmla="*/ 30988 h 50"/>
                <a:gd name="T36" fmla="*/ 9525 w 65"/>
                <a:gd name="T37" fmla="*/ 19367 h 50"/>
                <a:gd name="T38" fmla="*/ 24765 w 65"/>
                <a:gd name="T39" fmla="*/ 23241 h 50"/>
                <a:gd name="T40" fmla="*/ 28575 w 65"/>
                <a:gd name="T41" fmla="*/ 21304 h 50"/>
                <a:gd name="T42" fmla="*/ 17145 w 65"/>
                <a:gd name="T43" fmla="*/ 9684 h 50"/>
                <a:gd name="T44" fmla="*/ 26670 w 65"/>
                <a:gd name="T45" fmla="*/ 5810 h 50"/>
                <a:gd name="T46" fmla="*/ 49530 w 65"/>
                <a:gd name="T47" fmla="*/ 1937 h 50"/>
                <a:gd name="T48" fmla="*/ 53340 w 65"/>
                <a:gd name="T49" fmla="*/ 5810 h 50"/>
                <a:gd name="T50" fmla="*/ 60960 w 65"/>
                <a:gd name="T51" fmla="*/ 1937 h 50"/>
                <a:gd name="T52" fmla="*/ 81915 w 65"/>
                <a:gd name="T53" fmla="*/ 3873 h 50"/>
                <a:gd name="T54" fmla="*/ 83820 w 65"/>
                <a:gd name="T55" fmla="*/ 9684 h 50"/>
                <a:gd name="T56" fmla="*/ 93345 w 65"/>
                <a:gd name="T57" fmla="*/ 3873 h 50"/>
                <a:gd name="T58" fmla="*/ 118110 w 65"/>
                <a:gd name="T59" fmla="*/ 9684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2" name="Freeform 1069"/>
            <p:cNvSpPr>
              <a:spLocks noChangeAspect="1"/>
            </p:cNvSpPr>
            <p:nvPr/>
          </p:nvSpPr>
          <p:spPr bwMode="auto">
            <a:xfrm>
              <a:off x="2177441" y="937423"/>
              <a:ext cx="121730" cy="88988"/>
            </a:xfrm>
            <a:custGeom>
              <a:avLst/>
              <a:gdLst>
                <a:gd name="T0" fmla="*/ 82947 w 64"/>
                <a:gd name="T1" fmla="*/ 41549 h 58"/>
                <a:gd name="T2" fmla="*/ 88602 w 64"/>
                <a:gd name="T3" fmla="*/ 32106 h 58"/>
                <a:gd name="T4" fmla="*/ 109339 w 64"/>
                <a:gd name="T5" fmla="*/ 22663 h 58"/>
                <a:gd name="T6" fmla="*/ 105569 w 64"/>
                <a:gd name="T7" fmla="*/ 15109 h 58"/>
                <a:gd name="T8" fmla="*/ 116880 w 64"/>
                <a:gd name="T9" fmla="*/ 5666 h 58"/>
                <a:gd name="T10" fmla="*/ 111224 w 64"/>
                <a:gd name="T11" fmla="*/ 0 h 58"/>
                <a:gd name="T12" fmla="*/ 88602 w 64"/>
                <a:gd name="T13" fmla="*/ 5666 h 58"/>
                <a:gd name="T14" fmla="*/ 73521 w 64"/>
                <a:gd name="T15" fmla="*/ 9443 h 58"/>
                <a:gd name="T16" fmla="*/ 62210 w 64"/>
                <a:gd name="T17" fmla="*/ 5666 h 58"/>
                <a:gd name="T18" fmla="*/ 54670 w 64"/>
                <a:gd name="T19" fmla="*/ 7554 h 58"/>
                <a:gd name="T20" fmla="*/ 49014 w 64"/>
                <a:gd name="T21" fmla="*/ 3777 h 58"/>
                <a:gd name="T22" fmla="*/ 37703 w 64"/>
                <a:gd name="T23" fmla="*/ 9443 h 58"/>
                <a:gd name="T24" fmla="*/ 47129 w 64"/>
                <a:gd name="T25" fmla="*/ 15109 h 58"/>
                <a:gd name="T26" fmla="*/ 45244 w 64"/>
                <a:gd name="T27" fmla="*/ 18886 h 58"/>
                <a:gd name="T28" fmla="*/ 30163 w 64"/>
                <a:gd name="T29" fmla="*/ 13220 h 58"/>
                <a:gd name="T30" fmla="*/ 28277 w 64"/>
                <a:gd name="T31" fmla="*/ 18886 h 58"/>
                <a:gd name="T32" fmla="*/ 41473 w 64"/>
                <a:gd name="T33" fmla="*/ 26440 h 58"/>
                <a:gd name="T34" fmla="*/ 52784 w 64"/>
                <a:gd name="T35" fmla="*/ 26440 h 58"/>
                <a:gd name="T36" fmla="*/ 45244 w 64"/>
                <a:gd name="T37" fmla="*/ 35883 h 58"/>
                <a:gd name="T38" fmla="*/ 50899 w 64"/>
                <a:gd name="T39" fmla="*/ 43437 h 58"/>
                <a:gd name="T40" fmla="*/ 37703 w 64"/>
                <a:gd name="T41" fmla="*/ 54769 h 58"/>
                <a:gd name="T42" fmla="*/ 24507 w 64"/>
                <a:gd name="T43" fmla="*/ 52880 h 58"/>
                <a:gd name="T44" fmla="*/ 15081 w 64"/>
                <a:gd name="T45" fmla="*/ 41549 h 58"/>
                <a:gd name="T46" fmla="*/ 7541 w 64"/>
                <a:gd name="T47" fmla="*/ 41549 h 58"/>
                <a:gd name="T48" fmla="*/ 0 w 64"/>
                <a:gd name="T49" fmla="*/ 52880 h 58"/>
                <a:gd name="T50" fmla="*/ 3770 w 64"/>
                <a:gd name="T51" fmla="*/ 66100 h 58"/>
                <a:gd name="T52" fmla="*/ 15081 w 64"/>
                <a:gd name="T53" fmla="*/ 71766 h 58"/>
                <a:gd name="T54" fmla="*/ 24507 w 64"/>
                <a:gd name="T55" fmla="*/ 73654 h 58"/>
                <a:gd name="T56" fmla="*/ 37703 w 64"/>
                <a:gd name="T57" fmla="*/ 83097 h 58"/>
                <a:gd name="T58" fmla="*/ 41473 w 64"/>
                <a:gd name="T59" fmla="*/ 92540 h 58"/>
                <a:gd name="T60" fmla="*/ 50899 w 64"/>
                <a:gd name="T61" fmla="*/ 96317 h 58"/>
                <a:gd name="T62" fmla="*/ 52784 w 64"/>
                <a:gd name="T63" fmla="*/ 107648 h 58"/>
                <a:gd name="T64" fmla="*/ 62210 w 64"/>
                <a:gd name="T65" fmla="*/ 107648 h 58"/>
                <a:gd name="T66" fmla="*/ 67866 w 64"/>
                <a:gd name="T67" fmla="*/ 109537 h 58"/>
                <a:gd name="T68" fmla="*/ 77291 w 64"/>
                <a:gd name="T69" fmla="*/ 101983 h 58"/>
                <a:gd name="T70" fmla="*/ 75406 w 64"/>
                <a:gd name="T71" fmla="*/ 92540 h 58"/>
                <a:gd name="T72" fmla="*/ 82947 w 64"/>
                <a:gd name="T73" fmla="*/ 96317 h 58"/>
                <a:gd name="T74" fmla="*/ 98028 w 64"/>
                <a:gd name="T75" fmla="*/ 96317 h 58"/>
                <a:gd name="T76" fmla="*/ 109339 w 64"/>
                <a:gd name="T77" fmla="*/ 88763 h 58"/>
                <a:gd name="T78" fmla="*/ 107454 w 64"/>
                <a:gd name="T79" fmla="*/ 73654 h 58"/>
                <a:gd name="T80" fmla="*/ 118765 w 64"/>
                <a:gd name="T81" fmla="*/ 64211 h 58"/>
                <a:gd name="T82" fmla="*/ 116880 w 64"/>
                <a:gd name="T83" fmla="*/ 56657 h 58"/>
                <a:gd name="T84" fmla="*/ 103684 w 64"/>
                <a:gd name="T85" fmla="*/ 56657 h 58"/>
                <a:gd name="T86" fmla="*/ 107454 w 64"/>
                <a:gd name="T87" fmla="*/ 49103 h 58"/>
                <a:gd name="T88" fmla="*/ 103684 w 64"/>
                <a:gd name="T89" fmla="*/ 39660 h 58"/>
                <a:gd name="T90" fmla="*/ 94258 w 64"/>
                <a:gd name="T91" fmla="*/ 35883 h 58"/>
                <a:gd name="T92" fmla="*/ 82947 w 64"/>
                <a:gd name="T93" fmla="*/ 41549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3" name="Freeform 1070"/>
            <p:cNvSpPr>
              <a:spLocks noChangeAspect="1"/>
            </p:cNvSpPr>
            <p:nvPr/>
          </p:nvSpPr>
          <p:spPr bwMode="auto">
            <a:xfrm>
              <a:off x="2247915" y="927105"/>
              <a:ext cx="40042" cy="14186"/>
            </a:xfrm>
            <a:custGeom>
              <a:avLst/>
              <a:gdLst>
                <a:gd name="T0" fmla="*/ 5670 w 21"/>
                <a:gd name="T1" fmla="*/ 13582 h 9"/>
                <a:gd name="T2" fmla="*/ 1890 w 21"/>
                <a:gd name="T3" fmla="*/ 15522 h 9"/>
                <a:gd name="T4" fmla="*/ 11339 w 21"/>
                <a:gd name="T5" fmla="*/ 17462 h 9"/>
                <a:gd name="T6" fmla="*/ 24568 w 21"/>
                <a:gd name="T7" fmla="*/ 13582 h 9"/>
                <a:gd name="T8" fmla="*/ 34017 w 21"/>
                <a:gd name="T9" fmla="*/ 9701 h 9"/>
                <a:gd name="T10" fmla="*/ 35907 w 21"/>
                <a:gd name="T11" fmla="*/ 3880 h 9"/>
                <a:gd name="T12" fmla="*/ 26458 w 21"/>
                <a:gd name="T13" fmla="*/ 5821 h 9"/>
                <a:gd name="T14" fmla="*/ 13229 w 21"/>
                <a:gd name="T15" fmla="*/ 9701 h 9"/>
                <a:gd name="T16" fmla="*/ 5670 w 21"/>
                <a:gd name="T17" fmla="*/ 1358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9"/>
                <a:gd name="T29" fmla="*/ 21 w 2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9">
                  <a:moveTo>
                    <a:pt x="3" y="7"/>
                  </a:moveTo>
                  <a:cubicBezTo>
                    <a:pt x="2" y="7"/>
                    <a:pt x="0" y="8"/>
                    <a:pt x="1" y="8"/>
                  </a:cubicBezTo>
                  <a:cubicBezTo>
                    <a:pt x="3" y="9"/>
                    <a:pt x="4" y="9"/>
                    <a:pt x="6" y="9"/>
                  </a:cubicBezTo>
                  <a:cubicBezTo>
                    <a:pt x="8" y="8"/>
                    <a:pt x="11" y="8"/>
                    <a:pt x="13" y="7"/>
                  </a:cubicBezTo>
                  <a:cubicBezTo>
                    <a:pt x="15" y="7"/>
                    <a:pt x="16" y="6"/>
                    <a:pt x="18" y="5"/>
                  </a:cubicBezTo>
                  <a:cubicBezTo>
                    <a:pt x="19" y="4"/>
                    <a:pt x="21" y="2"/>
                    <a:pt x="19" y="2"/>
                  </a:cubicBezTo>
                  <a:cubicBezTo>
                    <a:pt x="18" y="0"/>
                    <a:pt x="16" y="2"/>
                    <a:pt x="14" y="3"/>
                  </a:cubicBezTo>
                  <a:cubicBezTo>
                    <a:pt x="11" y="4"/>
                    <a:pt x="9" y="4"/>
                    <a:pt x="7" y="5"/>
                  </a:cubicBezTo>
                  <a:cubicBezTo>
                    <a:pt x="6" y="6"/>
                    <a:pt x="4" y="6"/>
                    <a:pt x="3"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4" name="Freeform 1071"/>
            <p:cNvSpPr>
              <a:spLocks noChangeAspect="1"/>
            </p:cNvSpPr>
            <p:nvPr/>
          </p:nvSpPr>
          <p:spPr bwMode="auto">
            <a:xfrm>
              <a:off x="2287958" y="959347"/>
              <a:ext cx="14416" cy="12897"/>
            </a:xfrm>
            <a:custGeom>
              <a:avLst/>
              <a:gdLst>
                <a:gd name="T0" fmla="*/ 10206 w 7"/>
                <a:gd name="T1" fmla="*/ 1764 h 9"/>
                <a:gd name="T2" fmla="*/ 14288 w 7"/>
                <a:gd name="T3" fmla="*/ 7056 h 9"/>
                <a:gd name="T4" fmla="*/ 10206 w 7"/>
                <a:gd name="T5" fmla="*/ 14111 h 9"/>
                <a:gd name="T6" fmla="*/ 2041 w 7"/>
                <a:gd name="T7" fmla="*/ 14111 h 9"/>
                <a:gd name="T8" fmla="*/ 2041 w 7"/>
                <a:gd name="T9" fmla="*/ 5292 h 9"/>
                <a:gd name="T10" fmla="*/ 10206 w 7"/>
                <a:gd name="T11" fmla="*/ 1764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5" y="1"/>
                  </a:moveTo>
                  <a:cubicBezTo>
                    <a:pt x="6" y="1"/>
                    <a:pt x="7" y="3"/>
                    <a:pt x="7" y="4"/>
                  </a:cubicBezTo>
                  <a:cubicBezTo>
                    <a:pt x="7" y="6"/>
                    <a:pt x="6" y="7"/>
                    <a:pt x="5" y="8"/>
                  </a:cubicBezTo>
                  <a:cubicBezTo>
                    <a:pt x="4" y="8"/>
                    <a:pt x="2" y="9"/>
                    <a:pt x="1" y="8"/>
                  </a:cubicBezTo>
                  <a:cubicBezTo>
                    <a:pt x="0" y="6"/>
                    <a:pt x="0" y="4"/>
                    <a:pt x="1" y="3"/>
                  </a:cubicBezTo>
                  <a:cubicBezTo>
                    <a:pt x="2" y="1"/>
                    <a:pt x="3"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5" name="Freeform 1072"/>
            <p:cNvSpPr>
              <a:spLocks noChangeAspect="1"/>
            </p:cNvSpPr>
            <p:nvPr/>
          </p:nvSpPr>
          <p:spPr bwMode="auto">
            <a:xfrm>
              <a:off x="2318391" y="876807"/>
              <a:ext cx="72077" cy="38690"/>
            </a:xfrm>
            <a:custGeom>
              <a:avLst/>
              <a:gdLst>
                <a:gd name="T0" fmla="*/ 69506 w 37"/>
                <a:gd name="T1" fmla="*/ 24765 h 25"/>
                <a:gd name="T2" fmla="*/ 65645 w 37"/>
                <a:gd name="T3" fmla="*/ 43815 h 25"/>
                <a:gd name="T4" fmla="*/ 59853 w 37"/>
                <a:gd name="T5" fmla="*/ 47625 h 25"/>
                <a:gd name="T6" fmla="*/ 40545 w 37"/>
                <a:gd name="T7" fmla="*/ 45720 h 25"/>
                <a:gd name="T8" fmla="*/ 30892 w 37"/>
                <a:gd name="T9" fmla="*/ 45720 h 25"/>
                <a:gd name="T10" fmla="*/ 27030 w 37"/>
                <a:gd name="T11" fmla="*/ 40005 h 25"/>
                <a:gd name="T12" fmla="*/ 21238 w 37"/>
                <a:gd name="T13" fmla="*/ 41910 h 25"/>
                <a:gd name="T14" fmla="*/ 13515 w 37"/>
                <a:gd name="T15" fmla="*/ 38100 h 25"/>
                <a:gd name="T16" fmla="*/ 13515 w 37"/>
                <a:gd name="T17" fmla="*/ 32385 h 25"/>
                <a:gd name="T18" fmla="*/ 7723 w 37"/>
                <a:gd name="T19" fmla="*/ 32385 h 25"/>
                <a:gd name="T20" fmla="*/ 5792 w 37"/>
                <a:gd name="T21" fmla="*/ 28575 h 25"/>
                <a:gd name="T22" fmla="*/ 0 w 37"/>
                <a:gd name="T23" fmla="*/ 28575 h 25"/>
                <a:gd name="T24" fmla="*/ 5792 w 37"/>
                <a:gd name="T25" fmla="*/ 20955 h 25"/>
                <a:gd name="T26" fmla="*/ 19307 w 37"/>
                <a:gd name="T27" fmla="*/ 13335 h 25"/>
                <a:gd name="T28" fmla="*/ 34753 w 37"/>
                <a:gd name="T29" fmla="*/ 1905 h 25"/>
                <a:gd name="T30" fmla="*/ 46338 w 37"/>
                <a:gd name="T31" fmla="*/ 0 h 25"/>
                <a:gd name="T32" fmla="*/ 61783 w 37"/>
                <a:gd name="T33" fmla="*/ 5715 h 25"/>
                <a:gd name="T34" fmla="*/ 71437 w 37"/>
                <a:gd name="T35" fmla="*/ 15240 h 25"/>
                <a:gd name="T36" fmla="*/ 69506 w 37"/>
                <a:gd name="T37" fmla="*/ 2476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6" name="Freeform 1073"/>
            <p:cNvSpPr>
              <a:spLocks noChangeAspect="1"/>
            </p:cNvSpPr>
            <p:nvPr/>
          </p:nvSpPr>
          <p:spPr bwMode="auto">
            <a:xfrm>
              <a:off x="2364841" y="863909"/>
              <a:ext cx="11213" cy="11608"/>
            </a:xfrm>
            <a:custGeom>
              <a:avLst/>
              <a:gdLst>
                <a:gd name="T0" fmla="*/ 1852 w 6"/>
                <a:gd name="T1" fmla="*/ 2041 h 7"/>
                <a:gd name="T2" fmla="*/ 1852 w 6"/>
                <a:gd name="T3" fmla="*/ 10206 h 7"/>
                <a:gd name="T4" fmla="*/ 9261 w 6"/>
                <a:gd name="T5" fmla="*/ 12247 h 7"/>
                <a:gd name="T6" fmla="*/ 9261 w 6"/>
                <a:gd name="T7" fmla="*/ 2041 h 7"/>
                <a:gd name="T8" fmla="*/ 1852 w 6"/>
                <a:gd name="T9" fmla="*/ 2041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1" y="1"/>
                  </a:moveTo>
                  <a:cubicBezTo>
                    <a:pt x="0" y="2"/>
                    <a:pt x="0" y="4"/>
                    <a:pt x="1" y="5"/>
                  </a:cubicBezTo>
                  <a:cubicBezTo>
                    <a:pt x="2" y="6"/>
                    <a:pt x="4" y="7"/>
                    <a:pt x="5" y="6"/>
                  </a:cubicBezTo>
                  <a:cubicBezTo>
                    <a:pt x="6" y="5"/>
                    <a:pt x="6" y="2"/>
                    <a:pt x="5" y="1"/>
                  </a:cubicBezTo>
                  <a:cubicBezTo>
                    <a:pt x="4" y="0"/>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7" name="Freeform 1074"/>
            <p:cNvSpPr>
              <a:spLocks noChangeAspect="1"/>
            </p:cNvSpPr>
            <p:nvPr/>
          </p:nvSpPr>
          <p:spPr bwMode="auto">
            <a:xfrm>
              <a:off x="2313586" y="875517"/>
              <a:ext cx="24026" cy="12897"/>
            </a:xfrm>
            <a:custGeom>
              <a:avLst/>
              <a:gdLst>
                <a:gd name="T0" fmla="*/ 23813 w 13"/>
                <a:gd name="T1" fmla="*/ 3528 h 9"/>
                <a:gd name="T2" fmla="*/ 20149 w 13"/>
                <a:gd name="T3" fmla="*/ 7056 h 9"/>
                <a:gd name="T4" fmla="*/ 14654 w 13"/>
                <a:gd name="T5" fmla="*/ 3528 h 9"/>
                <a:gd name="T6" fmla="*/ 9159 w 13"/>
                <a:gd name="T7" fmla="*/ 12347 h 9"/>
                <a:gd name="T8" fmla="*/ 1832 w 13"/>
                <a:gd name="T9" fmla="*/ 14111 h 9"/>
                <a:gd name="T10" fmla="*/ 3664 w 13"/>
                <a:gd name="T11" fmla="*/ 5292 h 9"/>
                <a:gd name="T12" fmla="*/ 10991 w 13"/>
                <a:gd name="T13" fmla="*/ 3528 h 9"/>
                <a:gd name="T14" fmla="*/ 18318 w 13"/>
                <a:gd name="T15" fmla="*/ 0 h 9"/>
                <a:gd name="T16" fmla="*/ 23813 w 13"/>
                <a:gd name="T17" fmla="*/ 3528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8" name="Freeform 1075"/>
            <p:cNvSpPr>
              <a:spLocks noChangeAspect="1"/>
            </p:cNvSpPr>
            <p:nvPr/>
          </p:nvSpPr>
          <p:spPr bwMode="auto">
            <a:xfrm>
              <a:off x="2082939" y="940002"/>
              <a:ext cx="59264" cy="34821"/>
            </a:xfrm>
            <a:custGeom>
              <a:avLst/>
              <a:gdLst>
                <a:gd name="T0" fmla="*/ 54948 w 31"/>
                <a:gd name="T1" fmla="*/ 7793 h 22"/>
                <a:gd name="T2" fmla="*/ 58738 w 31"/>
                <a:gd name="T3" fmla="*/ 13638 h 22"/>
                <a:gd name="T4" fmla="*/ 37895 w 31"/>
                <a:gd name="T5" fmla="*/ 33121 h 22"/>
                <a:gd name="T6" fmla="*/ 36001 w 31"/>
                <a:gd name="T7" fmla="*/ 40914 h 22"/>
                <a:gd name="T8" fmla="*/ 28422 w 31"/>
                <a:gd name="T9" fmla="*/ 31172 h 22"/>
                <a:gd name="T10" fmla="*/ 15158 w 31"/>
                <a:gd name="T11" fmla="*/ 19483 h 22"/>
                <a:gd name="T12" fmla="*/ 1895 w 31"/>
                <a:gd name="T13" fmla="*/ 13638 h 22"/>
                <a:gd name="T14" fmla="*/ 7579 w 31"/>
                <a:gd name="T15" fmla="*/ 7793 h 22"/>
                <a:gd name="T16" fmla="*/ 20843 w 31"/>
                <a:gd name="T17" fmla="*/ 5845 h 22"/>
                <a:gd name="T18" fmla="*/ 32211 w 31"/>
                <a:gd name="T19" fmla="*/ 5845 h 22"/>
                <a:gd name="T20" fmla="*/ 41685 w 31"/>
                <a:gd name="T21" fmla="*/ 0 h 22"/>
                <a:gd name="T22" fmla="*/ 54948 w 31"/>
                <a:gd name="T23" fmla="*/ 779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9" name="Freeform 1076"/>
            <p:cNvSpPr>
              <a:spLocks noChangeAspect="1"/>
            </p:cNvSpPr>
            <p:nvPr/>
          </p:nvSpPr>
          <p:spPr bwMode="auto">
            <a:xfrm>
              <a:off x="1809046" y="954187"/>
              <a:ext cx="373198" cy="168948"/>
            </a:xfrm>
            <a:custGeom>
              <a:avLst/>
              <a:gdLst>
                <a:gd name="T0" fmla="*/ 299342 w 194"/>
                <a:gd name="T1" fmla="*/ 59145 h 109"/>
                <a:gd name="T2" fmla="*/ 301248 w 194"/>
                <a:gd name="T3" fmla="*/ 95396 h 109"/>
                <a:gd name="T4" fmla="*/ 335568 w 194"/>
                <a:gd name="T5" fmla="*/ 120199 h 109"/>
                <a:gd name="T6" fmla="*/ 366074 w 194"/>
                <a:gd name="T7" fmla="*/ 137370 h 109"/>
                <a:gd name="T8" fmla="*/ 350821 w 194"/>
                <a:gd name="T9" fmla="*/ 152633 h 109"/>
                <a:gd name="T10" fmla="*/ 322221 w 194"/>
                <a:gd name="T11" fmla="*/ 154541 h 109"/>
                <a:gd name="T12" fmla="*/ 306968 w 194"/>
                <a:gd name="T13" fmla="*/ 158357 h 109"/>
                <a:gd name="T14" fmla="*/ 314595 w 194"/>
                <a:gd name="T15" fmla="*/ 175528 h 109"/>
                <a:gd name="T16" fmla="*/ 335568 w 194"/>
                <a:gd name="T17" fmla="*/ 173620 h 109"/>
                <a:gd name="T18" fmla="*/ 297435 w 194"/>
                <a:gd name="T19" fmla="*/ 194608 h 109"/>
                <a:gd name="T20" fmla="*/ 268835 w 194"/>
                <a:gd name="T21" fmla="*/ 190792 h 109"/>
                <a:gd name="T22" fmla="*/ 247862 w 194"/>
                <a:gd name="T23" fmla="*/ 179344 h 109"/>
                <a:gd name="T24" fmla="*/ 242143 w 194"/>
                <a:gd name="T25" fmla="*/ 167897 h 109"/>
                <a:gd name="T26" fmla="*/ 200197 w 194"/>
                <a:gd name="T27" fmla="*/ 188884 h 109"/>
                <a:gd name="T28" fmla="*/ 169690 w 194"/>
                <a:gd name="T29" fmla="*/ 200331 h 109"/>
                <a:gd name="T30" fmla="*/ 125838 w 194"/>
                <a:gd name="T31" fmla="*/ 206055 h 109"/>
                <a:gd name="T32" fmla="*/ 81985 w 194"/>
                <a:gd name="T33" fmla="*/ 188884 h 109"/>
                <a:gd name="T34" fmla="*/ 53386 w 194"/>
                <a:gd name="T35" fmla="*/ 175528 h 109"/>
                <a:gd name="T36" fmla="*/ 26693 w 194"/>
                <a:gd name="T37" fmla="*/ 164081 h 109"/>
                <a:gd name="T38" fmla="*/ 32413 w 194"/>
                <a:gd name="T39" fmla="*/ 139278 h 109"/>
                <a:gd name="T40" fmla="*/ 80079 w 194"/>
                <a:gd name="T41" fmla="*/ 131646 h 109"/>
                <a:gd name="T42" fmla="*/ 125838 w 194"/>
                <a:gd name="T43" fmla="*/ 135462 h 109"/>
                <a:gd name="T44" fmla="*/ 144904 w 194"/>
                <a:gd name="T45" fmla="*/ 127830 h 109"/>
                <a:gd name="T46" fmla="*/ 89612 w 194"/>
                <a:gd name="T47" fmla="*/ 112567 h 109"/>
                <a:gd name="T48" fmla="*/ 36226 w 194"/>
                <a:gd name="T49" fmla="*/ 116383 h 109"/>
                <a:gd name="T50" fmla="*/ 13346 w 194"/>
                <a:gd name="T51" fmla="*/ 103028 h 109"/>
                <a:gd name="T52" fmla="*/ 55292 w 194"/>
                <a:gd name="T53" fmla="*/ 89672 h 109"/>
                <a:gd name="T54" fmla="*/ 80079 w 194"/>
                <a:gd name="T55" fmla="*/ 82040 h 109"/>
                <a:gd name="T56" fmla="*/ 32413 w 194"/>
                <a:gd name="T57" fmla="*/ 89672 h 109"/>
                <a:gd name="T58" fmla="*/ 17160 w 194"/>
                <a:gd name="T59" fmla="*/ 89672 h 109"/>
                <a:gd name="T60" fmla="*/ 7627 w 194"/>
                <a:gd name="T61" fmla="*/ 78225 h 109"/>
                <a:gd name="T62" fmla="*/ 20973 w 194"/>
                <a:gd name="T63" fmla="*/ 59145 h 109"/>
                <a:gd name="T64" fmla="*/ 24786 w 194"/>
                <a:gd name="T65" fmla="*/ 40066 h 109"/>
                <a:gd name="T66" fmla="*/ 74359 w 194"/>
                <a:gd name="T67" fmla="*/ 13355 h 109"/>
                <a:gd name="T68" fmla="*/ 118211 w 194"/>
                <a:gd name="T69" fmla="*/ 1908 h 109"/>
                <a:gd name="T70" fmla="*/ 123931 w 194"/>
                <a:gd name="T71" fmla="*/ 22895 h 109"/>
                <a:gd name="T72" fmla="*/ 110585 w 194"/>
                <a:gd name="T73" fmla="*/ 36250 h 109"/>
                <a:gd name="T74" fmla="*/ 133464 w 194"/>
                <a:gd name="T75" fmla="*/ 30527 h 109"/>
                <a:gd name="T76" fmla="*/ 177317 w 194"/>
                <a:gd name="T77" fmla="*/ 26711 h 109"/>
                <a:gd name="T78" fmla="*/ 160157 w 194"/>
                <a:gd name="T79" fmla="*/ 49606 h 109"/>
                <a:gd name="T80" fmla="*/ 179224 w 194"/>
                <a:gd name="T81" fmla="*/ 49606 h 109"/>
                <a:gd name="T82" fmla="*/ 202103 w 194"/>
                <a:gd name="T83" fmla="*/ 38158 h 109"/>
                <a:gd name="T84" fmla="*/ 207823 w 194"/>
                <a:gd name="T85" fmla="*/ 17171 h 109"/>
                <a:gd name="T86" fmla="*/ 224983 w 194"/>
                <a:gd name="T87" fmla="*/ 57238 h 109"/>
                <a:gd name="T88" fmla="*/ 253582 w 194"/>
                <a:gd name="T89" fmla="*/ 68685 h 109"/>
                <a:gd name="T90" fmla="*/ 247862 w 194"/>
                <a:gd name="T91" fmla="*/ 22895 h 109"/>
                <a:gd name="T92" fmla="*/ 270742 w 194"/>
                <a:gd name="T93" fmla="*/ 9540 h 109"/>
                <a:gd name="T94" fmla="*/ 303155 w 194"/>
                <a:gd name="T95" fmla="*/ 22895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0" name="Freeform 1077"/>
            <p:cNvSpPr>
              <a:spLocks noChangeAspect="1"/>
            </p:cNvSpPr>
            <p:nvPr/>
          </p:nvSpPr>
          <p:spPr bwMode="auto">
            <a:xfrm>
              <a:off x="1669697" y="914208"/>
              <a:ext cx="245062" cy="122520"/>
            </a:xfrm>
            <a:custGeom>
              <a:avLst/>
              <a:gdLst>
                <a:gd name="T0" fmla="*/ 242888 w 128"/>
                <a:gd name="T1" fmla="*/ 43907 h 79"/>
                <a:gd name="T2" fmla="*/ 239093 w 128"/>
                <a:gd name="T3" fmla="*/ 36271 h 79"/>
                <a:gd name="T4" fmla="*/ 223912 w 128"/>
                <a:gd name="T5" fmla="*/ 30544 h 79"/>
                <a:gd name="T6" fmla="*/ 210629 w 128"/>
                <a:gd name="T7" fmla="*/ 17181 h 79"/>
                <a:gd name="T8" fmla="*/ 195449 w 128"/>
                <a:gd name="T9" fmla="*/ 13363 h 79"/>
                <a:gd name="T10" fmla="*/ 184064 w 128"/>
                <a:gd name="T11" fmla="*/ 17181 h 79"/>
                <a:gd name="T12" fmla="*/ 174576 w 128"/>
                <a:gd name="T13" fmla="*/ 24817 h 79"/>
                <a:gd name="T14" fmla="*/ 168883 w 128"/>
                <a:gd name="T15" fmla="*/ 22908 h 79"/>
                <a:gd name="T16" fmla="*/ 168883 w 128"/>
                <a:gd name="T17" fmla="*/ 17181 h 79"/>
                <a:gd name="T18" fmla="*/ 163190 w 128"/>
                <a:gd name="T19" fmla="*/ 15272 h 79"/>
                <a:gd name="T20" fmla="*/ 159395 w 128"/>
                <a:gd name="T21" fmla="*/ 20999 h 79"/>
                <a:gd name="T22" fmla="*/ 155600 w 128"/>
                <a:gd name="T23" fmla="*/ 15272 h 79"/>
                <a:gd name="T24" fmla="*/ 138522 w 128"/>
                <a:gd name="T25" fmla="*/ 9545 h 79"/>
                <a:gd name="T26" fmla="*/ 127137 w 128"/>
                <a:gd name="T27" fmla="*/ 1909 h 79"/>
                <a:gd name="T28" fmla="*/ 110059 w 128"/>
                <a:gd name="T29" fmla="*/ 7636 h 79"/>
                <a:gd name="T30" fmla="*/ 83493 w 128"/>
                <a:gd name="T31" fmla="*/ 7636 h 79"/>
                <a:gd name="T32" fmla="*/ 58824 w 128"/>
                <a:gd name="T33" fmla="*/ 7636 h 79"/>
                <a:gd name="T34" fmla="*/ 55029 w 128"/>
                <a:gd name="T35" fmla="*/ 9545 h 79"/>
                <a:gd name="T36" fmla="*/ 60722 w 128"/>
                <a:gd name="T37" fmla="*/ 24817 h 79"/>
                <a:gd name="T38" fmla="*/ 62620 w 128"/>
                <a:gd name="T39" fmla="*/ 34362 h 79"/>
                <a:gd name="T40" fmla="*/ 60722 w 128"/>
                <a:gd name="T41" fmla="*/ 40089 h 79"/>
                <a:gd name="T42" fmla="*/ 55029 w 128"/>
                <a:gd name="T43" fmla="*/ 47725 h 79"/>
                <a:gd name="T44" fmla="*/ 39849 w 128"/>
                <a:gd name="T45" fmla="*/ 59179 h 79"/>
                <a:gd name="T46" fmla="*/ 36054 w 128"/>
                <a:gd name="T47" fmla="*/ 61088 h 79"/>
                <a:gd name="T48" fmla="*/ 41746 w 128"/>
                <a:gd name="T49" fmla="*/ 66815 h 79"/>
                <a:gd name="T50" fmla="*/ 36054 w 128"/>
                <a:gd name="T51" fmla="*/ 72542 h 79"/>
                <a:gd name="T52" fmla="*/ 30361 w 128"/>
                <a:gd name="T53" fmla="*/ 72542 h 79"/>
                <a:gd name="T54" fmla="*/ 26566 w 128"/>
                <a:gd name="T55" fmla="*/ 85906 h 79"/>
                <a:gd name="T56" fmla="*/ 20873 w 128"/>
                <a:gd name="T57" fmla="*/ 85906 h 79"/>
                <a:gd name="T58" fmla="*/ 9488 w 128"/>
                <a:gd name="T59" fmla="*/ 103087 h 79"/>
                <a:gd name="T60" fmla="*/ 5693 w 128"/>
                <a:gd name="T61" fmla="*/ 108814 h 79"/>
                <a:gd name="T62" fmla="*/ 0 w 128"/>
                <a:gd name="T63" fmla="*/ 112632 h 79"/>
                <a:gd name="T64" fmla="*/ 5693 w 128"/>
                <a:gd name="T65" fmla="*/ 114541 h 79"/>
                <a:gd name="T66" fmla="*/ 18976 w 128"/>
                <a:gd name="T67" fmla="*/ 112632 h 79"/>
                <a:gd name="T68" fmla="*/ 28463 w 128"/>
                <a:gd name="T69" fmla="*/ 116450 h 79"/>
                <a:gd name="T70" fmla="*/ 36054 w 128"/>
                <a:gd name="T71" fmla="*/ 122177 h 79"/>
                <a:gd name="T72" fmla="*/ 39849 w 128"/>
                <a:gd name="T73" fmla="*/ 131722 h 79"/>
                <a:gd name="T74" fmla="*/ 43644 w 128"/>
                <a:gd name="T75" fmla="*/ 145085 h 79"/>
                <a:gd name="T76" fmla="*/ 55029 w 128"/>
                <a:gd name="T77" fmla="*/ 150812 h 79"/>
                <a:gd name="T78" fmla="*/ 60722 w 128"/>
                <a:gd name="T79" fmla="*/ 145085 h 79"/>
                <a:gd name="T80" fmla="*/ 77800 w 128"/>
                <a:gd name="T81" fmla="*/ 137449 h 79"/>
                <a:gd name="T82" fmla="*/ 79698 w 128"/>
                <a:gd name="T83" fmla="*/ 131722 h 79"/>
                <a:gd name="T84" fmla="*/ 83493 w 128"/>
                <a:gd name="T85" fmla="*/ 137449 h 79"/>
                <a:gd name="T86" fmla="*/ 94878 w 128"/>
                <a:gd name="T87" fmla="*/ 135540 h 79"/>
                <a:gd name="T88" fmla="*/ 104366 w 128"/>
                <a:gd name="T89" fmla="*/ 131722 h 79"/>
                <a:gd name="T90" fmla="*/ 111956 w 128"/>
                <a:gd name="T91" fmla="*/ 116450 h 79"/>
                <a:gd name="T92" fmla="*/ 111956 w 128"/>
                <a:gd name="T93" fmla="*/ 106905 h 79"/>
                <a:gd name="T94" fmla="*/ 123342 w 128"/>
                <a:gd name="T95" fmla="*/ 101178 h 79"/>
                <a:gd name="T96" fmla="*/ 138522 w 128"/>
                <a:gd name="T97" fmla="*/ 97360 h 79"/>
                <a:gd name="T98" fmla="*/ 149907 w 128"/>
                <a:gd name="T99" fmla="*/ 89724 h 79"/>
                <a:gd name="T100" fmla="*/ 151805 w 128"/>
                <a:gd name="T101" fmla="*/ 80179 h 79"/>
                <a:gd name="T102" fmla="*/ 174576 w 128"/>
                <a:gd name="T103" fmla="*/ 70633 h 79"/>
                <a:gd name="T104" fmla="*/ 193551 w 128"/>
                <a:gd name="T105" fmla="*/ 62997 h 79"/>
                <a:gd name="T106" fmla="*/ 208732 w 128"/>
                <a:gd name="T107" fmla="*/ 55361 h 79"/>
                <a:gd name="T108" fmla="*/ 220117 w 128"/>
                <a:gd name="T109" fmla="*/ 51543 h 79"/>
                <a:gd name="T110" fmla="*/ 235298 w 128"/>
                <a:gd name="T111" fmla="*/ 49634 h 79"/>
                <a:gd name="T112" fmla="*/ 242888 w 128"/>
                <a:gd name="T113" fmla="*/ 43907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1" name="Freeform 1078"/>
            <p:cNvSpPr>
              <a:spLocks noChangeAspect="1"/>
            </p:cNvSpPr>
            <p:nvPr/>
          </p:nvSpPr>
          <p:spPr bwMode="auto">
            <a:xfrm>
              <a:off x="1889132" y="831668"/>
              <a:ext cx="262680" cy="92857"/>
            </a:xfrm>
            <a:custGeom>
              <a:avLst/>
              <a:gdLst>
                <a:gd name="T0" fmla="*/ 222343 w 137"/>
                <a:gd name="T1" fmla="*/ 45720 h 60"/>
                <a:gd name="T2" fmla="*/ 203339 w 137"/>
                <a:gd name="T3" fmla="*/ 49530 h 60"/>
                <a:gd name="T4" fmla="*/ 203339 w 137"/>
                <a:gd name="T5" fmla="*/ 32385 h 60"/>
                <a:gd name="T6" fmla="*/ 201439 w 137"/>
                <a:gd name="T7" fmla="*/ 19050 h 60"/>
                <a:gd name="T8" fmla="*/ 199538 w 137"/>
                <a:gd name="T9" fmla="*/ 0 h 60"/>
                <a:gd name="T10" fmla="*/ 171033 w 137"/>
                <a:gd name="T11" fmla="*/ 17145 h 60"/>
                <a:gd name="T12" fmla="*/ 171033 w 137"/>
                <a:gd name="T13" fmla="*/ 30480 h 60"/>
                <a:gd name="T14" fmla="*/ 165332 w 137"/>
                <a:gd name="T15" fmla="*/ 43815 h 60"/>
                <a:gd name="T16" fmla="*/ 182435 w 137"/>
                <a:gd name="T17" fmla="*/ 51435 h 60"/>
                <a:gd name="T18" fmla="*/ 169132 w 137"/>
                <a:gd name="T19" fmla="*/ 59055 h 60"/>
                <a:gd name="T20" fmla="*/ 146328 w 137"/>
                <a:gd name="T21" fmla="*/ 55245 h 60"/>
                <a:gd name="T22" fmla="*/ 138727 w 137"/>
                <a:gd name="T23" fmla="*/ 49530 h 60"/>
                <a:gd name="T24" fmla="*/ 119723 w 137"/>
                <a:gd name="T25" fmla="*/ 49530 h 60"/>
                <a:gd name="T26" fmla="*/ 114022 w 137"/>
                <a:gd name="T27" fmla="*/ 32385 h 60"/>
                <a:gd name="T28" fmla="*/ 98819 w 137"/>
                <a:gd name="T29" fmla="*/ 26670 h 60"/>
                <a:gd name="T30" fmla="*/ 89317 w 137"/>
                <a:gd name="T31" fmla="*/ 20955 h 60"/>
                <a:gd name="T32" fmla="*/ 74114 w 137"/>
                <a:gd name="T33" fmla="*/ 17145 h 60"/>
                <a:gd name="T34" fmla="*/ 51310 w 137"/>
                <a:gd name="T35" fmla="*/ 26670 h 60"/>
                <a:gd name="T36" fmla="*/ 66513 w 137"/>
                <a:gd name="T37" fmla="*/ 30480 h 60"/>
                <a:gd name="T38" fmla="*/ 45609 w 137"/>
                <a:gd name="T39" fmla="*/ 30480 h 60"/>
                <a:gd name="T40" fmla="*/ 26605 w 137"/>
                <a:gd name="T41" fmla="*/ 45720 h 60"/>
                <a:gd name="T42" fmla="*/ 58911 w 137"/>
                <a:gd name="T43" fmla="*/ 43815 h 60"/>
                <a:gd name="T44" fmla="*/ 45609 w 137"/>
                <a:gd name="T45" fmla="*/ 47625 h 60"/>
                <a:gd name="T46" fmla="*/ 22804 w 137"/>
                <a:gd name="T47" fmla="*/ 49530 h 60"/>
                <a:gd name="T48" fmla="*/ 13303 w 137"/>
                <a:gd name="T49" fmla="*/ 60960 h 60"/>
                <a:gd name="T50" fmla="*/ 47509 w 137"/>
                <a:gd name="T51" fmla="*/ 55245 h 60"/>
                <a:gd name="T52" fmla="*/ 45609 w 137"/>
                <a:gd name="T53" fmla="*/ 60960 h 60"/>
                <a:gd name="T54" fmla="*/ 11402 w 137"/>
                <a:gd name="T55" fmla="*/ 66675 h 60"/>
                <a:gd name="T56" fmla="*/ 1900 w 137"/>
                <a:gd name="T57" fmla="*/ 74295 h 60"/>
                <a:gd name="T58" fmla="*/ 28505 w 137"/>
                <a:gd name="T59" fmla="*/ 74295 h 60"/>
                <a:gd name="T60" fmla="*/ 43708 w 137"/>
                <a:gd name="T61" fmla="*/ 83820 h 60"/>
                <a:gd name="T62" fmla="*/ 53210 w 137"/>
                <a:gd name="T63" fmla="*/ 76200 h 60"/>
                <a:gd name="T64" fmla="*/ 68413 w 137"/>
                <a:gd name="T65" fmla="*/ 80010 h 60"/>
                <a:gd name="T66" fmla="*/ 74114 w 137"/>
                <a:gd name="T67" fmla="*/ 70485 h 60"/>
                <a:gd name="T68" fmla="*/ 79815 w 137"/>
                <a:gd name="T69" fmla="*/ 74295 h 60"/>
                <a:gd name="T70" fmla="*/ 98819 w 137"/>
                <a:gd name="T71" fmla="*/ 78105 h 60"/>
                <a:gd name="T72" fmla="*/ 110221 w 137"/>
                <a:gd name="T73" fmla="*/ 78105 h 60"/>
                <a:gd name="T74" fmla="*/ 129225 w 137"/>
                <a:gd name="T75" fmla="*/ 74295 h 60"/>
                <a:gd name="T76" fmla="*/ 121623 w 137"/>
                <a:gd name="T77" fmla="*/ 85725 h 60"/>
                <a:gd name="T78" fmla="*/ 95018 w 137"/>
                <a:gd name="T79" fmla="*/ 87630 h 60"/>
                <a:gd name="T80" fmla="*/ 81716 w 137"/>
                <a:gd name="T81" fmla="*/ 91440 h 60"/>
                <a:gd name="T82" fmla="*/ 62712 w 137"/>
                <a:gd name="T83" fmla="*/ 102870 h 60"/>
                <a:gd name="T84" fmla="*/ 98819 w 137"/>
                <a:gd name="T85" fmla="*/ 112395 h 60"/>
                <a:gd name="T86" fmla="*/ 131125 w 137"/>
                <a:gd name="T87" fmla="*/ 102870 h 60"/>
                <a:gd name="T88" fmla="*/ 163431 w 137"/>
                <a:gd name="T89" fmla="*/ 89535 h 60"/>
                <a:gd name="T90" fmla="*/ 190036 w 137"/>
                <a:gd name="T91" fmla="*/ 89535 h 60"/>
                <a:gd name="T92" fmla="*/ 207140 w 137"/>
                <a:gd name="T93" fmla="*/ 91440 h 60"/>
                <a:gd name="T94" fmla="*/ 235645 w 137"/>
                <a:gd name="T95" fmla="*/ 80010 h 60"/>
                <a:gd name="T96" fmla="*/ 250848 w 137"/>
                <a:gd name="T97" fmla="*/ 66675 h 60"/>
                <a:gd name="T98" fmla="*/ 250848 w 137"/>
                <a:gd name="T99" fmla="*/ 41910 h 60"/>
                <a:gd name="T100" fmla="*/ 229944 w 137"/>
                <a:gd name="T101" fmla="*/ 41910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2" name="Freeform 1079"/>
            <p:cNvSpPr>
              <a:spLocks noChangeAspect="1"/>
            </p:cNvSpPr>
            <p:nvPr/>
          </p:nvSpPr>
          <p:spPr bwMode="auto">
            <a:xfrm>
              <a:off x="1794631" y="808454"/>
              <a:ext cx="168180" cy="64484"/>
            </a:xfrm>
            <a:custGeom>
              <a:avLst/>
              <a:gdLst>
                <a:gd name="T0" fmla="*/ 145852 w 88"/>
                <a:gd name="T1" fmla="*/ 0 h 42"/>
                <a:gd name="T2" fmla="*/ 164794 w 88"/>
                <a:gd name="T3" fmla="*/ 11339 h 42"/>
                <a:gd name="T4" fmla="*/ 162900 w 88"/>
                <a:gd name="T5" fmla="*/ 15119 h 42"/>
                <a:gd name="T6" fmla="*/ 151535 w 88"/>
                <a:gd name="T7" fmla="*/ 18899 h 42"/>
                <a:gd name="T8" fmla="*/ 145852 w 88"/>
                <a:gd name="T9" fmla="*/ 18899 h 42"/>
                <a:gd name="T10" fmla="*/ 149640 w 88"/>
                <a:gd name="T11" fmla="*/ 32128 h 42"/>
                <a:gd name="T12" fmla="*/ 140169 w 88"/>
                <a:gd name="T13" fmla="*/ 32128 h 42"/>
                <a:gd name="T14" fmla="*/ 143958 w 88"/>
                <a:gd name="T15" fmla="*/ 39688 h 42"/>
                <a:gd name="T16" fmla="*/ 125016 w 88"/>
                <a:gd name="T17" fmla="*/ 41577 h 42"/>
                <a:gd name="T18" fmla="*/ 117439 w 88"/>
                <a:gd name="T19" fmla="*/ 54807 h 42"/>
                <a:gd name="T20" fmla="*/ 106074 w 88"/>
                <a:gd name="T21" fmla="*/ 58586 h 42"/>
                <a:gd name="T22" fmla="*/ 98497 w 88"/>
                <a:gd name="T23" fmla="*/ 49137 h 42"/>
                <a:gd name="T24" fmla="*/ 104180 w 88"/>
                <a:gd name="T25" fmla="*/ 39688 h 42"/>
                <a:gd name="T26" fmla="*/ 107968 w 88"/>
                <a:gd name="T27" fmla="*/ 34018 h 42"/>
                <a:gd name="T28" fmla="*/ 98497 w 88"/>
                <a:gd name="T29" fmla="*/ 35908 h 42"/>
                <a:gd name="T30" fmla="*/ 89027 w 88"/>
                <a:gd name="T31" fmla="*/ 45357 h 42"/>
                <a:gd name="T32" fmla="*/ 81450 w 88"/>
                <a:gd name="T33" fmla="*/ 47247 h 42"/>
                <a:gd name="T34" fmla="*/ 89027 w 88"/>
                <a:gd name="T35" fmla="*/ 56696 h 42"/>
                <a:gd name="T36" fmla="*/ 75767 w 88"/>
                <a:gd name="T37" fmla="*/ 62366 h 42"/>
                <a:gd name="T38" fmla="*/ 71979 w 88"/>
                <a:gd name="T39" fmla="*/ 60476 h 42"/>
                <a:gd name="T40" fmla="*/ 70085 w 88"/>
                <a:gd name="T41" fmla="*/ 56696 h 42"/>
                <a:gd name="T42" fmla="*/ 68191 w 88"/>
                <a:gd name="T43" fmla="*/ 60476 h 42"/>
                <a:gd name="T44" fmla="*/ 58720 w 88"/>
                <a:gd name="T45" fmla="*/ 75595 h 42"/>
                <a:gd name="T46" fmla="*/ 45460 w 88"/>
                <a:gd name="T47" fmla="*/ 75595 h 42"/>
                <a:gd name="T48" fmla="*/ 45460 w 88"/>
                <a:gd name="T49" fmla="*/ 60476 h 42"/>
                <a:gd name="T50" fmla="*/ 41672 w 88"/>
                <a:gd name="T51" fmla="*/ 58586 h 42"/>
                <a:gd name="T52" fmla="*/ 35989 w 88"/>
                <a:gd name="T53" fmla="*/ 71815 h 42"/>
                <a:gd name="T54" fmla="*/ 30307 w 88"/>
                <a:gd name="T55" fmla="*/ 71815 h 42"/>
                <a:gd name="T56" fmla="*/ 18942 w 88"/>
                <a:gd name="T57" fmla="*/ 66146 h 42"/>
                <a:gd name="T58" fmla="*/ 7577 w 88"/>
                <a:gd name="T59" fmla="*/ 73705 h 42"/>
                <a:gd name="T60" fmla="*/ 0 w 88"/>
                <a:gd name="T61" fmla="*/ 68036 h 42"/>
                <a:gd name="T62" fmla="*/ 7577 w 88"/>
                <a:gd name="T63" fmla="*/ 56696 h 42"/>
                <a:gd name="T64" fmla="*/ 22730 w 88"/>
                <a:gd name="T65" fmla="*/ 51027 h 42"/>
                <a:gd name="T66" fmla="*/ 30307 w 88"/>
                <a:gd name="T67" fmla="*/ 52917 h 42"/>
                <a:gd name="T68" fmla="*/ 41672 w 88"/>
                <a:gd name="T69" fmla="*/ 39688 h 42"/>
                <a:gd name="T70" fmla="*/ 58720 w 88"/>
                <a:gd name="T71" fmla="*/ 32128 h 42"/>
                <a:gd name="T72" fmla="*/ 81450 w 88"/>
                <a:gd name="T73" fmla="*/ 17009 h 42"/>
                <a:gd name="T74" fmla="*/ 89027 w 88"/>
                <a:gd name="T75" fmla="*/ 9449 h 42"/>
                <a:gd name="T76" fmla="*/ 106074 w 88"/>
                <a:gd name="T77" fmla="*/ 7560 h 42"/>
                <a:gd name="T78" fmla="*/ 117439 w 88"/>
                <a:gd name="T79" fmla="*/ 7560 h 42"/>
                <a:gd name="T80" fmla="*/ 128804 w 88"/>
                <a:gd name="T81" fmla="*/ 13229 h 42"/>
                <a:gd name="T82" fmla="*/ 136381 w 88"/>
                <a:gd name="T83" fmla="*/ 11339 h 42"/>
                <a:gd name="T84" fmla="*/ 136381 w 88"/>
                <a:gd name="T85" fmla="*/ 3780 h 42"/>
                <a:gd name="T86" fmla="*/ 14585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3" name="Freeform 1080"/>
            <p:cNvSpPr>
              <a:spLocks noChangeAspect="1"/>
            </p:cNvSpPr>
            <p:nvPr/>
          </p:nvSpPr>
          <p:spPr bwMode="auto">
            <a:xfrm>
              <a:off x="1860301" y="861330"/>
              <a:ext cx="40042" cy="23214"/>
            </a:xfrm>
            <a:custGeom>
              <a:avLst/>
              <a:gdLst>
                <a:gd name="T0" fmla="*/ 1890 w 21"/>
                <a:gd name="T1" fmla="*/ 17145 h 15"/>
                <a:gd name="T2" fmla="*/ 1890 w 21"/>
                <a:gd name="T3" fmla="*/ 20955 h 15"/>
                <a:gd name="T4" fmla="*/ 15119 w 21"/>
                <a:gd name="T5" fmla="*/ 28575 h 15"/>
                <a:gd name="T6" fmla="*/ 22678 w 21"/>
                <a:gd name="T7" fmla="*/ 19050 h 15"/>
                <a:gd name="T8" fmla="*/ 39687 w 21"/>
                <a:gd name="T9" fmla="*/ 5715 h 15"/>
                <a:gd name="T10" fmla="*/ 37797 w 21"/>
                <a:gd name="T11" fmla="*/ 1905 h 15"/>
                <a:gd name="T12" fmla="*/ 28348 w 21"/>
                <a:gd name="T13" fmla="*/ 5715 h 15"/>
                <a:gd name="T14" fmla="*/ 15119 w 21"/>
                <a:gd name="T15" fmla="*/ 9525 h 15"/>
                <a:gd name="T16" fmla="*/ 1890 w 21"/>
                <a:gd name="T17" fmla="*/ 1714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4" name="Freeform 1081"/>
            <p:cNvSpPr>
              <a:spLocks noChangeAspect="1"/>
            </p:cNvSpPr>
            <p:nvPr/>
          </p:nvSpPr>
          <p:spPr bwMode="auto">
            <a:xfrm>
              <a:off x="1966014" y="831668"/>
              <a:ext cx="30432" cy="7738"/>
            </a:xfrm>
            <a:custGeom>
              <a:avLst/>
              <a:gdLst>
                <a:gd name="T0" fmla="*/ 3770 w 16"/>
                <a:gd name="T1" fmla="*/ 0 h 5"/>
                <a:gd name="T2" fmla="*/ 1885 w 16"/>
                <a:gd name="T3" fmla="*/ 5715 h 5"/>
                <a:gd name="T4" fmla="*/ 24507 w 16"/>
                <a:gd name="T5" fmla="*/ 9525 h 5"/>
                <a:gd name="T6" fmla="*/ 30162 w 16"/>
                <a:gd name="T7" fmla="*/ 3810 h 5"/>
                <a:gd name="T8" fmla="*/ 20736 w 16"/>
                <a:gd name="T9" fmla="*/ 1905 h 5"/>
                <a:gd name="T10" fmla="*/ 11311 w 16"/>
                <a:gd name="T11" fmla="*/ 1905 h 5"/>
                <a:gd name="T12" fmla="*/ 3770 w 16"/>
                <a:gd name="T13" fmla="*/ 0 h 5"/>
                <a:gd name="T14" fmla="*/ 0 60000 65536"/>
                <a:gd name="T15" fmla="*/ 0 60000 65536"/>
                <a:gd name="T16" fmla="*/ 0 60000 65536"/>
                <a:gd name="T17" fmla="*/ 0 60000 65536"/>
                <a:gd name="T18" fmla="*/ 0 60000 65536"/>
                <a:gd name="T19" fmla="*/ 0 60000 65536"/>
                <a:gd name="T20" fmla="*/ 0 60000 65536"/>
                <a:gd name="T21" fmla="*/ 0 w 16"/>
                <a:gd name="T22" fmla="*/ 0 h 5"/>
                <a:gd name="T23" fmla="*/ 16 w 1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5">
                  <a:moveTo>
                    <a:pt x="2" y="0"/>
                  </a:moveTo>
                  <a:cubicBezTo>
                    <a:pt x="1" y="1"/>
                    <a:pt x="0" y="3"/>
                    <a:pt x="1" y="3"/>
                  </a:cubicBezTo>
                  <a:cubicBezTo>
                    <a:pt x="4" y="5"/>
                    <a:pt x="9" y="5"/>
                    <a:pt x="13" y="5"/>
                  </a:cubicBezTo>
                  <a:cubicBezTo>
                    <a:pt x="14" y="5"/>
                    <a:pt x="16" y="3"/>
                    <a:pt x="16" y="2"/>
                  </a:cubicBezTo>
                  <a:cubicBezTo>
                    <a:pt x="15" y="1"/>
                    <a:pt x="13" y="1"/>
                    <a:pt x="11" y="1"/>
                  </a:cubicBezTo>
                  <a:cubicBezTo>
                    <a:pt x="9" y="0"/>
                    <a:pt x="7" y="1"/>
                    <a:pt x="6" y="1"/>
                  </a:cubicBezTo>
                  <a:cubicBezTo>
                    <a:pt x="4" y="1"/>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5" name="Freeform 1082"/>
            <p:cNvSpPr>
              <a:spLocks noChangeAspect="1"/>
            </p:cNvSpPr>
            <p:nvPr/>
          </p:nvSpPr>
          <p:spPr bwMode="auto">
            <a:xfrm>
              <a:off x="1978828" y="790398"/>
              <a:ext cx="27229" cy="15476"/>
            </a:xfrm>
            <a:custGeom>
              <a:avLst/>
              <a:gdLst>
                <a:gd name="T0" fmla="*/ 0 w 14"/>
                <a:gd name="T1" fmla="*/ 3810 h 10"/>
                <a:gd name="T2" fmla="*/ 0 w 14"/>
                <a:gd name="T3" fmla="*/ 7620 h 10"/>
                <a:gd name="T4" fmla="*/ 11566 w 14"/>
                <a:gd name="T5" fmla="*/ 13335 h 10"/>
                <a:gd name="T6" fmla="*/ 15421 w 14"/>
                <a:gd name="T7" fmla="*/ 19050 h 10"/>
                <a:gd name="T8" fmla="*/ 25059 w 14"/>
                <a:gd name="T9" fmla="*/ 13335 h 10"/>
                <a:gd name="T10" fmla="*/ 21204 w 14"/>
                <a:gd name="T11" fmla="*/ 5715 h 10"/>
                <a:gd name="T12" fmla="*/ 17349 w 14"/>
                <a:gd name="T13" fmla="*/ 1905 h 10"/>
                <a:gd name="T14" fmla="*/ 5783 w 14"/>
                <a:gd name="T15" fmla="*/ 1905 h 10"/>
                <a:gd name="T16" fmla="*/ 0 w 14"/>
                <a:gd name="T17" fmla="*/ 38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6" name="Freeform 1083"/>
            <p:cNvSpPr>
              <a:spLocks noChangeAspect="1"/>
            </p:cNvSpPr>
            <p:nvPr/>
          </p:nvSpPr>
          <p:spPr bwMode="auto">
            <a:xfrm>
              <a:off x="2009260" y="786529"/>
              <a:ext cx="81688" cy="32243"/>
            </a:xfrm>
            <a:custGeom>
              <a:avLst/>
              <a:gdLst>
                <a:gd name="T0" fmla="*/ 3855 w 42"/>
                <a:gd name="T1" fmla="*/ 11339 h 21"/>
                <a:gd name="T2" fmla="*/ 0 w 42"/>
                <a:gd name="T3" fmla="*/ 26459 h 21"/>
                <a:gd name="T4" fmla="*/ 9638 w 42"/>
                <a:gd name="T5" fmla="*/ 35908 h 21"/>
                <a:gd name="T6" fmla="*/ 19277 w 42"/>
                <a:gd name="T7" fmla="*/ 39688 h 21"/>
                <a:gd name="T8" fmla="*/ 36626 w 42"/>
                <a:gd name="T9" fmla="*/ 32128 h 21"/>
                <a:gd name="T10" fmla="*/ 46265 w 42"/>
                <a:gd name="T11" fmla="*/ 34018 h 21"/>
                <a:gd name="T12" fmla="*/ 53975 w 42"/>
                <a:gd name="T13" fmla="*/ 32128 h 21"/>
                <a:gd name="T14" fmla="*/ 65541 w 42"/>
                <a:gd name="T15" fmla="*/ 26459 h 21"/>
                <a:gd name="T16" fmla="*/ 65541 w 42"/>
                <a:gd name="T17" fmla="*/ 20789 h 21"/>
                <a:gd name="T18" fmla="*/ 53975 w 42"/>
                <a:gd name="T19" fmla="*/ 18899 h 21"/>
                <a:gd name="T20" fmla="*/ 46265 w 42"/>
                <a:gd name="T21" fmla="*/ 17009 h 21"/>
                <a:gd name="T22" fmla="*/ 57831 w 42"/>
                <a:gd name="T23" fmla="*/ 11339 h 21"/>
                <a:gd name="T24" fmla="*/ 73252 w 42"/>
                <a:gd name="T25" fmla="*/ 11339 h 21"/>
                <a:gd name="T26" fmla="*/ 79035 w 42"/>
                <a:gd name="T27" fmla="*/ 3780 h 21"/>
                <a:gd name="T28" fmla="*/ 71325 w 42"/>
                <a:gd name="T29" fmla="*/ 0 h 21"/>
                <a:gd name="T30" fmla="*/ 50120 w 42"/>
                <a:gd name="T31" fmla="*/ 1890 h 21"/>
                <a:gd name="T32" fmla="*/ 30843 w 42"/>
                <a:gd name="T33" fmla="*/ 5670 h 21"/>
                <a:gd name="T34" fmla="*/ 17349 w 42"/>
                <a:gd name="T35" fmla="*/ 9450 h 21"/>
                <a:gd name="T36" fmla="*/ 3855 w 42"/>
                <a:gd name="T37" fmla="*/ 11339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7" name="Freeform 1084"/>
            <p:cNvSpPr>
              <a:spLocks noChangeAspect="1"/>
            </p:cNvSpPr>
            <p:nvPr/>
          </p:nvSpPr>
          <p:spPr bwMode="auto">
            <a:xfrm>
              <a:off x="2018871" y="762026"/>
              <a:ext cx="76882" cy="20635"/>
            </a:xfrm>
            <a:custGeom>
              <a:avLst/>
              <a:gdLst>
                <a:gd name="T0" fmla="*/ 66675 w 40"/>
                <a:gd name="T1" fmla="*/ 1954 h 13"/>
                <a:gd name="T2" fmla="*/ 74295 w 40"/>
                <a:gd name="T3" fmla="*/ 11723 h 13"/>
                <a:gd name="T4" fmla="*/ 74295 w 40"/>
                <a:gd name="T5" fmla="*/ 23446 h 13"/>
                <a:gd name="T6" fmla="*/ 66675 w 40"/>
                <a:gd name="T7" fmla="*/ 23446 h 13"/>
                <a:gd name="T8" fmla="*/ 57150 w 40"/>
                <a:gd name="T9" fmla="*/ 23446 h 13"/>
                <a:gd name="T10" fmla="*/ 45720 w 40"/>
                <a:gd name="T11" fmla="*/ 19538 h 13"/>
                <a:gd name="T12" fmla="*/ 40005 w 40"/>
                <a:gd name="T13" fmla="*/ 25400 h 13"/>
                <a:gd name="T14" fmla="*/ 32385 w 40"/>
                <a:gd name="T15" fmla="*/ 23446 h 13"/>
                <a:gd name="T16" fmla="*/ 24765 w 40"/>
                <a:gd name="T17" fmla="*/ 17585 h 13"/>
                <a:gd name="T18" fmla="*/ 11430 w 40"/>
                <a:gd name="T19" fmla="*/ 23446 h 13"/>
                <a:gd name="T20" fmla="*/ 1905 w 40"/>
                <a:gd name="T21" fmla="*/ 23446 h 13"/>
                <a:gd name="T22" fmla="*/ 3810 w 40"/>
                <a:gd name="T23" fmla="*/ 15631 h 13"/>
                <a:gd name="T24" fmla="*/ 28575 w 40"/>
                <a:gd name="T25" fmla="*/ 9769 h 13"/>
                <a:gd name="T26" fmla="*/ 40005 w 40"/>
                <a:gd name="T27" fmla="*/ 9769 h 13"/>
                <a:gd name="T28" fmla="*/ 53340 w 40"/>
                <a:gd name="T29" fmla="*/ 1954 h 13"/>
                <a:gd name="T30" fmla="*/ 66675 w 40"/>
                <a:gd name="T31" fmla="*/ 1954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8" name="Freeform 1085"/>
            <p:cNvSpPr>
              <a:spLocks noChangeAspect="1"/>
            </p:cNvSpPr>
            <p:nvPr/>
          </p:nvSpPr>
          <p:spPr bwMode="auto">
            <a:xfrm>
              <a:off x="2148610" y="883256"/>
              <a:ext cx="28831" cy="18056"/>
            </a:xfrm>
            <a:custGeom>
              <a:avLst/>
              <a:gdLst>
                <a:gd name="T0" fmla="*/ 13335 w 15"/>
                <a:gd name="T1" fmla="*/ 1852 h 12"/>
                <a:gd name="T2" fmla="*/ 22860 w 15"/>
                <a:gd name="T3" fmla="*/ 1852 h 12"/>
                <a:gd name="T4" fmla="*/ 26670 w 15"/>
                <a:gd name="T5" fmla="*/ 14817 h 12"/>
                <a:gd name="T6" fmla="*/ 17145 w 15"/>
                <a:gd name="T7" fmla="*/ 22225 h 12"/>
                <a:gd name="T8" fmla="*/ 7620 w 15"/>
                <a:gd name="T9" fmla="*/ 18521 h 12"/>
                <a:gd name="T10" fmla="*/ 0 w 15"/>
                <a:gd name="T11" fmla="*/ 14817 h 12"/>
                <a:gd name="T12" fmla="*/ 7620 w 15"/>
                <a:gd name="T13" fmla="*/ 3704 h 12"/>
                <a:gd name="T14" fmla="*/ 13335 w 15"/>
                <a:gd name="T15" fmla="*/ 1852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9" name="Freeform 1086"/>
            <p:cNvSpPr>
              <a:spLocks noChangeAspect="1"/>
            </p:cNvSpPr>
            <p:nvPr/>
          </p:nvSpPr>
          <p:spPr bwMode="auto">
            <a:xfrm>
              <a:off x="2159822" y="799426"/>
              <a:ext cx="28831" cy="25793"/>
            </a:xfrm>
            <a:custGeom>
              <a:avLst/>
              <a:gdLst>
                <a:gd name="T0" fmla="*/ 5715 w 15"/>
                <a:gd name="T1" fmla="*/ 1868 h 17"/>
                <a:gd name="T2" fmla="*/ 19050 w 15"/>
                <a:gd name="T3" fmla="*/ 11206 h 17"/>
                <a:gd name="T4" fmla="*/ 28575 w 15"/>
                <a:gd name="T5" fmla="*/ 24279 h 17"/>
                <a:gd name="T6" fmla="*/ 19050 w 15"/>
                <a:gd name="T7" fmla="*/ 29882 h 17"/>
                <a:gd name="T8" fmla="*/ 9525 w 15"/>
                <a:gd name="T9" fmla="*/ 20544 h 17"/>
                <a:gd name="T10" fmla="*/ 0 w 15"/>
                <a:gd name="T11" fmla="*/ 5603 h 17"/>
                <a:gd name="T12" fmla="*/ 0 w 15"/>
                <a:gd name="T13" fmla="*/ 1868 h 17"/>
                <a:gd name="T14" fmla="*/ 5715 w 15"/>
                <a:gd name="T15" fmla="*/ 1868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0" name="Freeform 1087"/>
            <p:cNvSpPr>
              <a:spLocks noChangeAspect="1"/>
            </p:cNvSpPr>
            <p:nvPr/>
          </p:nvSpPr>
          <p:spPr bwMode="auto">
            <a:xfrm>
              <a:off x="2171034" y="836827"/>
              <a:ext cx="36839" cy="15476"/>
            </a:xfrm>
            <a:custGeom>
              <a:avLst/>
              <a:gdLst>
                <a:gd name="T0" fmla="*/ 21139 w 19"/>
                <a:gd name="T1" fmla="*/ 3810 h 10"/>
                <a:gd name="T2" fmla="*/ 34590 w 19"/>
                <a:gd name="T3" fmla="*/ 15240 h 10"/>
                <a:gd name="T4" fmla="*/ 24982 w 19"/>
                <a:gd name="T5" fmla="*/ 19050 h 10"/>
                <a:gd name="T6" fmla="*/ 11530 w 19"/>
                <a:gd name="T7" fmla="*/ 15240 h 10"/>
                <a:gd name="T8" fmla="*/ 1922 w 19"/>
                <a:gd name="T9" fmla="*/ 3810 h 10"/>
                <a:gd name="T10" fmla="*/ 21139 w 19"/>
                <a:gd name="T11" fmla="*/ 3810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1" name="Freeform 1088"/>
            <p:cNvSpPr>
              <a:spLocks noChangeAspect="1"/>
            </p:cNvSpPr>
            <p:nvPr/>
          </p:nvSpPr>
          <p:spPr bwMode="auto">
            <a:xfrm>
              <a:off x="2174237" y="852303"/>
              <a:ext cx="41645" cy="9027"/>
            </a:xfrm>
            <a:custGeom>
              <a:avLst/>
              <a:gdLst>
                <a:gd name="T0" fmla="*/ 37344 w 21"/>
                <a:gd name="T1" fmla="*/ 0 h 6"/>
                <a:gd name="T2" fmla="*/ 41275 w 21"/>
                <a:gd name="T3" fmla="*/ 1852 h 6"/>
                <a:gd name="T4" fmla="*/ 31448 w 21"/>
                <a:gd name="T5" fmla="*/ 9260 h 6"/>
                <a:gd name="T6" fmla="*/ 11793 w 21"/>
                <a:gd name="T7" fmla="*/ 11112 h 6"/>
                <a:gd name="T8" fmla="*/ 1965 w 21"/>
                <a:gd name="T9" fmla="*/ 9260 h 6"/>
                <a:gd name="T10" fmla="*/ 1965 w 21"/>
                <a:gd name="T11" fmla="*/ 3704 h 6"/>
                <a:gd name="T12" fmla="*/ 23586 w 21"/>
                <a:gd name="T13" fmla="*/ 1852 h 6"/>
                <a:gd name="T14" fmla="*/ 3734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2" name="Freeform 1089"/>
            <p:cNvSpPr>
              <a:spLocks noChangeAspect="1"/>
            </p:cNvSpPr>
            <p:nvPr/>
          </p:nvSpPr>
          <p:spPr bwMode="auto">
            <a:xfrm>
              <a:off x="2180643" y="861330"/>
              <a:ext cx="36839" cy="9029"/>
            </a:xfrm>
            <a:custGeom>
              <a:avLst/>
              <a:gdLst>
                <a:gd name="T0" fmla="*/ 15373 w 19"/>
                <a:gd name="T1" fmla="*/ 3704 h 6"/>
                <a:gd name="T2" fmla="*/ 28825 w 19"/>
                <a:gd name="T3" fmla="*/ 0 h 6"/>
                <a:gd name="T4" fmla="*/ 34590 w 19"/>
                <a:gd name="T5" fmla="*/ 1852 h 6"/>
                <a:gd name="T6" fmla="*/ 19217 w 19"/>
                <a:gd name="T7" fmla="*/ 5557 h 6"/>
                <a:gd name="T8" fmla="*/ 7687 w 19"/>
                <a:gd name="T9" fmla="*/ 11113 h 6"/>
                <a:gd name="T10" fmla="*/ 1922 w 19"/>
                <a:gd name="T11" fmla="*/ 7409 h 6"/>
                <a:gd name="T12" fmla="*/ 15373 w 19"/>
                <a:gd name="T13" fmla="*/ 3704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3" name="Freeform 1090"/>
            <p:cNvSpPr>
              <a:spLocks noChangeAspect="1"/>
            </p:cNvSpPr>
            <p:nvPr/>
          </p:nvSpPr>
          <p:spPr bwMode="auto">
            <a:xfrm>
              <a:off x="2193457" y="865200"/>
              <a:ext cx="27229" cy="11607"/>
            </a:xfrm>
            <a:custGeom>
              <a:avLst/>
              <a:gdLst>
                <a:gd name="T0" fmla="*/ 0 w 14"/>
                <a:gd name="T1" fmla="*/ 10205 h 7"/>
                <a:gd name="T2" fmla="*/ 7711 w 14"/>
                <a:gd name="T3" fmla="*/ 12246 h 7"/>
                <a:gd name="T4" fmla="*/ 17349 w 14"/>
                <a:gd name="T5" fmla="*/ 6123 h 7"/>
                <a:gd name="T6" fmla="*/ 26987 w 14"/>
                <a:gd name="T7" fmla="*/ 2041 h 7"/>
                <a:gd name="T8" fmla="*/ 23132 w 14"/>
                <a:gd name="T9" fmla="*/ 0 h 7"/>
                <a:gd name="T10" fmla="*/ 7711 w 14"/>
                <a:gd name="T11" fmla="*/ 4082 h 7"/>
                <a:gd name="T12" fmla="*/ 0 w 14"/>
                <a:gd name="T13" fmla="*/ 10205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4" name="Freeform 1091"/>
            <p:cNvSpPr>
              <a:spLocks noChangeAspect="1"/>
            </p:cNvSpPr>
            <p:nvPr/>
          </p:nvSpPr>
          <p:spPr bwMode="auto">
            <a:xfrm>
              <a:off x="2201466" y="839406"/>
              <a:ext cx="113721" cy="61904"/>
            </a:xfrm>
            <a:custGeom>
              <a:avLst/>
              <a:gdLst>
                <a:gd name="T0" fmla="*/ 42029 w 59"/>
                <a:gd name="T1" fmla="*/ 53340 h 40"/>
                <a:gd name="T2" fmla="*/ 38208 w 59"/>
                <a:gd name="T3" fmla="*/ 59055 h 40"/>
                <a:gd name="T4" fmla="*/ 43939 w 59"/>
                <a:gd name="T5" fmla="*/ 62865 h 40"/>
                <a:gd name="T6" fmla="*/ 38208 w 59"/>
                <a:gd name="T7" fmla="*/ 64770 h 40"/>
                <a:gd name="T8" fmla="*/ 40118 w 59"/>
                <a:gd name="T9" fmla="*/ 74295 h 40"/>
                <a:gd name="T10" fmla="*/ 49670 w 59"/>
                <a:gd name="T11" fmla="*/ 74295 h 40"/>
                <a:gd name="T12" fmla="*/ 57312 w 59"/>
                <a:gd name="T13" fmla="*/ 70485 h 40"/>
                <a:gd name="T14" fmla="*/ 63043 w 59"/>
                <a:gd name="T15" fmla="*/ 74295 h 40"/>
                <a:gd name="T16" fmla="*/ 72595 w 59"/>
                <a:gd name="T17" fmla="*/ 74295 h 40"/>
                <a:gd name="T18" fmla="*/ 87878 w 59"/>
                <a:gd name="T19" fmla="*/ 72390 h 40"/>
                <a:gd name="T20" fmla="*/ 87878 w 59"/>
                <a:gd name="T21" fmla="*/ 66675 h 40"/>
                <a:gd name="T22" fmla="*/ 95519 w 59"/>
                <a:gd name="T23" fmla="*/ 68580 h 40"/>
                <a:gd name="T24" fmla="*/ 91699 w 59"/>
                <a:gd name="T25" fmla="*/ 60960 h 40"/>
                <a:gd name="T26" fmla="*/ 91699 w 59"/>
                <a:gd name="T27" fmla="*/ 53340 h 40"/>
                <a:gd name="T28" fmla="*/ 97430 w 59"/>
                <a:gd name="T29" fmla="*/ 49530 h 40"/>
                <a:gd name="T30" fmla="*/ 105071 w 59"/>
                <a:gd name="T31" fmla="*/ 55245 h 40"/>
                <a:gd name="T32" fmla="*/ 108892 w 59"/>
                <a:gd name="T33" fmla="*/ 45720 h 40"/>
                <a:gd name="T34" fmla="*/ 103161 w 59"/>
                <a:gd name="T35" fmla="*/ 40005 h 40"/>
                <a:gd name="T36" fmla="*/ 108892 w 59"/>
                <a:gd name="T37" fmla="*/ 26670 h 40"/>
                <a:gd name="T38" fmla="*/ 110803 w 59"/>
                <a:gd name="T39" fmla="*/ 17145 h 40"/>
                <a:gd name="T40" fmla="*/ 112713 w 59"/>
                <a:gd name="T41" fmla="*/ 7620 h 40"/>
                <a:gd name="T42" fmla="*/ 103161 w 59"/>
                <a:gd name="T43" fmla="*/ 0 h 40"/>
                <a:gd name="T44" fmla="*/ 95519 w 59"/>
                <a:gd name="T45" fmla="*/ 1905 h 40"/>
                <a:gd name="T46" fmla="*/ 89788 w 59"/>
                <a:gd name="T47" fmla="*/ 9525 h 40"/>
                <a:gd name="T48" fmla="*/ 74505 w 59"/>
                <a:gd name="T49" fmla="*/ 1905 h 40"/>
                <a:gd name="T50" fmla="*/ 53491 w 59"/>
                <a:gd name="T51" fmla="*/ 3810 h 40"/>
                <a:gd name="T52" fmla="*/ 49670 w 59"/>
                <a:gd name="T53" fmla="*/ 11430 h 40"/>
                <a:gd name="T54" fmla="*/ 57312 w 59"/>
                <a:gd name="T55" fmla="*/ 13335 h 40"/>
                <a:gd name="T56" fmla="*/ 55401 w 59"/>
                <a:gd name="T57" fmla="*/ 19050 h 40"/>
                <a:gd name="T58" fmla="*/ 64953 w 59"/>
                <a:gd name="T59" fmla="*/ 19050 h 40"/>
                <a:gd name="T60" fmla="*/ 61132 w 59"/>
                <a:gd name="T61" fmla="*/ 26670 h 40"/>
                <a:gd name="T62" fmla="*/ 66864 w 59"/>
                <a:gd name="T63" fmla="*/ 34290 h 40"/>
                <a:gd name="T64" fmla="*/ 51581 w 59"/>
                <a:gd name="T65" fmla="*/ 28575 h 40"/>
                <a:gd name="T66" fmla="*/ 42029 w 59"/>
                <a:gd name="T67" fmla="*/ 13335 h 40"/>
                <a:gd name="T68" fmla="*/ 28656 w 59"/>
                <a:gd name="T69" fmla="*/ 9525 h 40"/>
                <a:gd name="T70" fmla="*/ 21014 w 59"/>
                <a:gd name="T71" fmla="*/ 19050 h 40"/>
                <a:gd name="T72" fmla="*/ 30566 w 59"/>
                <a:gd name="T73" fmla="*/ 22860 h 40"/>
                <a:gd name="T74" fmla="*/ 24835 w 59"/>
                <a:gd name="T75" fmla="*/ 28575 h 40"/>
                <a:gd name="T76" fmla="*/ 32477 w 59"/>
                <a:gd name="T77" fmla="*/ 28575 h 40"/>
                <a:gd name="T78" fmla="*/ 34387 w 59"/>
                <a:gd name="T79" fmla="*/ 38100 h 40"/>
                <a:gd name="T80" fmla="*/ 22925 w 59"/>
                <a:gd name="T81" fmla="*/ 36195 h 40"/>
                <a:gd name="T82" fmla="*/ 11462 w 59"/>
                <a:gd name="T83" fmla="*/ 43815 h 40"/>
                <a:gd name="T84" fmla="*/ 1910 w 59"/>
                <a:gd name="T85" fmla="*/ 45720 h 40"/>
                <a:gd name="T86" fmla="*/ 1910 w 59"/>
                <a:gd name="T87" fmla="*/ 53340 h 40"/>
                <a:gd name="T88" fmla="*/ 21014 w 59"/>
                <a:gd name="T89" fmla="*/ 49530 h 40"/>
                <a:gd name="T90" fmla="*/ 28656 w 59"/>
                <a:gd name="T91" fmla="*/ 45720 h 40"/>
                <a:gd name="T92" fmla="*/ 42029 w 59"/>
                <a:gd name="T93" fmla="*/ 45720 h 40"/>
                <a:gd name="T94" fmla="*/ 53491 w 59"/>
                <a:gd name="T95" fmla="*/ 41910 h 40"/>
                <a:gd name="T96" fmla="*/ 68774 w 59"/>
                <a:gd name="T97" fmla="*/ 41910 h 40"/>
                <a:gd name="T98" fmla="*/ 61132 w 59"/>
                <a:gd name="T99" fmla="*/ 45720 h 40"/>
                <a:gd name="T100" fmla="*/ 53491 w 59"/>
                <a:gd name="T101" fmla="*/ 51435 h 40"/>
                <a:gd name="T102" fmla="*/ 42029 w 59"/>
                <a:gd name="T103" fmla="*/ 53340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5" name="Freeform 1092"/>
            <p:cNvSpPr>
              <a:spLocks noChangeAspect="1"/>
            </p:cNvSpPr>
            <p:nvPr/>
          </p:nvSpPr>
          <p:spPr bwMode="auto">
            <a:xfrm>
              <a:off x="2238306" y="836827"/>
              <a:ext cx="25627" cy="7738"/>
            </a:xfrm>
            <a:custGeom>
              <a:avLst/>
              <a:gdLst>
                <a:gd name="T0" fmla="*/ 0 w 13"/>
                <a:gd name="T1" fmla="*/ 7620 h 5"/>
                <a:gd name="T2" fmla="*/ 0 w 13"/>
                <a:gd name="T3" fmla="*/ 9525 h 5"/>
                <a:gd name="T4" fmla="*/ 9769 w 13"/>
                <a:gd name="T5" fmla="*/ 9525 h 5"/>
                <a:gd name="T6" fmla="*/ 23446 w 13"/>
                <a:gd name="T7" fmla="*/ 1905 h 5"/>
                <a:gd name="T8" fmla="*/ 19538 w 13"/>
                <a:gd name="T9" fmla="*/ 1905 h 5"/>
                <a:gd name="T10" fmla="*/ 9769 w 13"/>
                <a:gd name="T11" fmla="*/ 1905 h 5"/>
                <a:gd name="T12" fmla="*/ 5862 w 13"/>
                <a:gd name="T13" fmla="*/ 5715 h 5"/>
                <a:gd name="T14" fmla="*/ 0 w 13"/>
                <a:gd name="T15" fmla="*/ 7620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6" name="Freeform 1093"/>
            <p:cNvSpPr>
              <a:spLocks noChangeAspect="1"/>
            </p:cNvSpPr>
            <p:nvPr/>
          </p:nvSpPr>
          <p:spPr bwMode="auto">
            <a:xfrm>
              <a:off x="2235102" y="792977"/>
              <a:ext cx="30432" cy="9027"/>
            </a:xfrm>
            <a:custGeom>
              <a:avLst/>
              <a:gdLst>
                <a:gd name="T0" fmla="*/ 0 w 16"/>
                <a:gd name="T1" fmla="*/ 5556 h 6"/>
                <a:gd name="T2" fmla="*/ 9426 w 16"/>
                <a:gd name="T3" fmla="*/ 11112 h 6"/>
                <a:gd name="T4" fmla="*/ 20736 w 16"/>
                <a:gd name="T5" fmla="*/ 5556 h 6"/>
                <a:gd name="T6" fmla="*/ 28277 w 16"/>
                <a:gd name="T7" fmla="*/ 7408 h 6"/>
                <a:gd name="T8" fmla="*/ 18851 w 16"/>
                <a:gd name="T9" fmla="*/ 1852 h 6"/>
                <a:gd name="T10" fmla="*/ 9426 w 16"/>
                <a:gd name="T11" fmla="*/ 1852 h 6"/>
                <a:gd name="T12" fmla="*/ 0 w 16"/>
                <a:gd name="T13" fmla="*/ 5556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7" name="Freeform 1094"/>
            <p:cNvSpPr>
              <a:spLocks noChangeAspect="1"/>
            </p:cNvSpPr>
            <p:nvPr/>
          </p:nvSpPr>
          <p:spPr bwMode="auto">
            <a:xfrm>
              <a:off x="2180643" y="737521"/>
              <a:ext cx="124934" cy="64484"/>
            </a:xfrm>
            <a:custGeom>
              <a:avLst/>
              <a:gdLst>
                <a:gd name="T0" fmla="*/ 108585 w 65"/>
                <a:gd name="T1" fmla="*/ 52917 h 42"/>
                <a:gd name="T2" fmla="*/ 121920 w 65"/>
                <a:gd name="T3" fmla="*/ 62366 h 42"/>
                <a:gd name="T4" fmla="*/ 116205 w 65"/>
                <a:gd name="T5" fmla="*/ 71815 h 42"/>
                <a:gd name="T6" fmla="*/ 99060 w 65"/>
                <a:gd name="T7" fmla="*/ 77485 h 42"/>
                <a:gd name="T8" fmla="*/ 89535 w 65"/>
                <a:gd name="T9" fmla="*/ 69926 h 42"/>
                <a:gd name="T10" fmla="*/ 81915 w 65"/>
                <a:gd name="T11" fmla="*/ 56696 h 42"/>
                <a:gd name="T12" fmla="*/ 70485 w 65"/>
                <a:gd name="T13" fmla="*/ 54807 h 42"/>
                <a:gd name="T14" fmla="*/ 53340 w 65"/>
                <a:gd name="T15" fmla="*/ 54807 h 42"/>
                <a:gd name="T16" fmla="*/ 45720 w 65"/>
                <a:gd name="T17" fmla="*/ 49137 h 42"/>
                <a:gd name="T18" fmla="*/ 24765 w 65"/>
                <a:gd name="T19" fmla="*/ 56696 h 42"/>
                <a:gd name="T20" fmla="*/ 9525 w 65"/>
                <a:gd name="T21" fmla="*/ 47247 h 42"/>
                <a:gd name="T22" fmla="*/ 13335 w 65"/>
                <a:gd name="T23" fmla="*/ 39688 h 42"/>
                <a:gd name="T24" fmla="*/ 30480 w 65"/>
                <a:gd name="T25" fmla="*/ 43467 h 42"/>
                <a:gd name="T26" fmla="*/ 41910 w 65"/>
                <a:gd name="T27" fmla="*/ 43467 h 42"/>
                <a:gd name="T28" fmla="*/ 40005 w 65"/>
                <a:gd name="T29" fmla="*/ 35908 h 42"/>
                <a:gd name="T30" fmla="*/ 43815 w 65"/>
                <a:gd name="T31" fmla="*/ 32128 h 42"/>
                <a:gd name="T32" fmla="*/ 28575 w 65"/>
                <a:gd name="T33" fmla="*/ 30238 h 42"/>
                <a:gd name="T34" fmla="*/ 32385 w 65"/>
                <a:gd name="T35" fmla="*/ 24568 h 42"/>
                <a:gd name="T36" fmla="*/ 24765 w 65"/>
                <a:gd name="T37" fmla="*/ 24568 h 42"/>
                <a:gd name="T38" fmla="*/ 15240 w 65"/>
                <a:gd name="T39" fmla="*/ 30238 h 42"/>
                <a:gd name="T40" fmla="*/ 17145 w 65"/>
                <a:gd name="T41" fmla="*/ 20789 h 42"/>
                <a:gd name="T42" fmla="*/ 15240 w 65"/>
                <a:gd name="T43" fmla="*/ 18899 h 42"/>
                <a:gd name="T44" fmla="*/ 7620 w 65"/>
                <a:gd name="T45" fmla="*/ 24568 h 42"/>
                <a:gd name="T46" fmla="*/ 0 w 65"/>
                <a:gd name="T47" fmla="*/ 13229 h 42"/>
                <a:gd name="T48" fmla="*/ 9525 w 65"/>
                <a:gd name="T49" fmla="*/ 7560 h 42"/>
                <a:gd name="T50" fmla="*/ 9525 w 65"/>
                <a:gd name="T51" fmla="*/ 1890 h 42"/>
                <a:gd name="T52" fmla="*/ 20955 w 65"/>
                <a:gd name="T53" fmla="*/ 7560 h 42"/>
                <a:gd name="T54" fmla="*/ 38100 w 65"/>
                <a:gd name="T55" fmla="*/ 0 h 42"/>
                <a:gd name="T56" fmla="*/ 55245 w 65"/>
                <a:gd name="T57" fmla="*/ 3780 h 42"/>
                <a:gd name="T58" fmla="*/ 60960 w 65"/>
                <a:gd name="T59" fmla="*/ 17009 h 42"/>
                <a:gd name="T60" fmla="*/ 62865 w 65"/>
                <a:gd name="T61" fmla="*/ 22679 h 42"/>
                <a:gd name="T62" fmla="*/ 76200 w 65"/>
                <a:gd name="T63" fmla="*/ 17009 h 42"/>
                <a:gd name="T64" fmla="*/ 89535 w 65"/>
                <a:gd name="T65" fmla="*/ 26458 h 42"/>
                <a:gd name="T66" fmla="*/ 89535 w 65"/>
                <a:gd name="T67" fmla="*/ 32128 h 42"/>
                <a:gd name="T68" fmla="*/ 104775 w 65"/>
                <a:gd name="T69" fmla="*/ 30238 h 42"/>
                <a:gd name="T70" fmla="*/ 112395 w 65"/>
                <a:gd name="T71" fmla="*/ 41577 h 42"/>
                <a:gd name="T72" fmla="*/ 108585 w 65"/>
                <a:gd name="T73" fmla="*/ 52917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8" name="Freeform 1095"/>
            <p:cNvSpPr>
              <a:spLocks noChangeAspect="1"/>
            </p:cNvSpPr>
            <p:nvPr/>
          </p:nvSpPr>
          <p:spPr bwMode="auto">
            <a:xfrm>
              <a:off x="2318391" y="709148"/>
              <a:ext cx="28831" cy="20635"/>
            </a:xfrm>
            <a:custGeom>
              <a:avLst/>
              <a:gdLst>
                <a:gd name="T0" fmla="*/ 9525 w 15"/>
                <a:gd name="T1" fmla="*/ 1954 h 13"/>
                <a:gd name="T2" fmla="*/ 1905 w 15"/>
                <a:gd name="T3" fmla="*/ 15631 h 13"/>
                <a:gd name="T4" fmla="*/ 13335 w 15"/>
                <a:gd name="T5" fmla="*/ 19538 h 13"/>
                <a:gd name="T6" fmla="*/ 19050 w 15"/>
                <a:gd name="T7" fmla="*/ 25400 h 13"/>
                <a:gd name="T8" fmla="*/ 24765 w 15"/>
                <a:gd name="T9" fmla="*/ 19538 h 13"/>
                <a:gd name="T10" fmla="*/ 24765 w 15"/>
                <a:gd name="T11" fmla="*/ 5862 h 13"/>
                <a:gd name="T12" fmla="*/ 15240 w 15"/>
                <a:gd name="T13" fmla="*/ 5862 h 13"/>
                <a:gd name="T14" fmla="*/ 9525 w 15"/>
                <a:gd name="T15" fmla="*/ 1954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9" name="Freeform 1096"/>
            <p:cNvSpPr>
              <a:spLocks noChangeAspect="1"/>
            </p:cNvSpPr>
            <p:nvPr/>
          </p:nvSpPr>
          <p:spPr bwMode="auto">
            <a:xfrm>
              <a:off x="2326400" y="756866"/>
              <a:ext cx="67272" cy="45138"/>
            </a:xfrm>
            <a:custGeom>
              <a:avLst/>
              <a:gdLst>
                <a:gd name="T0" fmla="*/ 9525 w 35"/>
                <a:gd name="T1" fmla="*/ 0 h 29"/>
                <a:gd name="T2" fmla="*/ 34290 w 35"/>
                <a:gd name="T3" fmla="*/ 7664 h 29"/>
                <a:gd name="T4" fmla="*/ 43815 w 35"/>
                <a:gd name="T5" fmla="*/ 13412 h 29"/>
                <a:gd name="T6" fmla="*/ 53340 w 35"/>
                <a:gd name="T7" fmla="*/ 17243 h 29"/>
                <a:gd name="T8" fmla="*/ 64770 w 35"/>
                <a:gd name="T9" fmla="*/ 24907 h 29"/>
                <a:gd name="T10" fmla="*/ 57150 w 35"/>
                <a:gd name="T11" fmla="*/ 32571 h 29"/>
                <a:gd name="T12" fmla="*/ 59055 w 35"/>
                <a:gd name="T13" fmla="*/ 44066 h 29"/>
                <a:gd name="T14" fmla="*/ 38100 w 35"/>
                <a:gd name="T15" fmla="*/ 51730 h 29"/>
                <a:gd name="T16" fmla="*/ 28575 w 35"/>
                <a:gd name="T17" fmla="*/ 47898 h 29"/>
                <a:gd name="T18" fmla="*/ 15240 w 35"/>
                <a:gd name="T19" fmla="*/ 55562 h 29"/>
                <a:gd name="T20" fmla="*/ 13335 w 35"/>
                <a:gd name="T21" fmla="*/ 45982 h 29"/>
                <a:gd name="T22" fmla="*/ 5715 w 35"/>
                <a:gd name="T23" fmla="*/ 38319 h 29"/>
                <a:gd name="T24" fmla="*/ 0 w 35"/>
                <a:gd name="T25" fmla="*/ 19159 h 29"/>
                <a:gd name="T26" fmla="*/ 3810 w 35"/>
                <a:gd name="T27" fmla="*/ 3832 h 29"/>
                <a:gd name="T28" fmla="*/ 9525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0" name="Freeform 1097"/>
            <p:cNvSpPr>
              <a:spLocks noChangeAspect="1"/>
            </p:cNvSpPr>
            <p:nvPr/>
          </p:nvSpPr>
          <p:spPr bwMode="auto">
            <a:xfrm>
              <a:off x="2355230" y="803295"/>
              <a:ext cx="67272" cy="14186"/>
            </a:xfrm>
            <a:custGeom>
              <a:avLst/>
              <a:gdLst>
                <a:gd name="T0" fmla="*/ 17145 w 35"/>
                <a:gd name="T1" fmla="*/ 0 h 9"/>
                <a:gd name="T2" fmla="*/ 1905 w 35"/>
                <a:gd name="T3" fmla="*/ 3880 h 9"/>
                <a:gd name="T4" fmla="*/ 3810 w 35"/>
                <a:gd name="T5" fmla="*/ 13582 h 9"/>
                <a:gd name="T6" fmla="*/ 34290 w 35"/>
                <a:gd name="T7" fmla="*/ 13582 h 9"/>
                <a:gd name="T8" fmla="*/ 55245 w 35"/>
                <a:gd name="T9" fmla="*/ 15522 h 9"/>
                <a:gd name="T10" fmla="*/ 60960 w 35"/>
                <a:gd name="T11" fmla="*/ 7761 h 9"/>
                <a:gd name="T12" fmla="*/ 64770 w 35"/>
                <a:gd name="T13" fmla="*/ 3880 h 9"/>
                <a:gd name="T14" fmla="*/ 57150 w 35"/>
                <a:gd name="T15" fmla="*/ 0 h 9"/>
                <a:gd name="T16" fmla="*/ 47625 w 35"/>
                <a:gd name="T17" fmla="*/ 1940 h 9"/>
                <a:gd name="T18" fmla="*/ 24765 w 35"/>
                <a:gd name="T19" fmla="*/ 0 h 9"/>
                <a:gd name="T20" fmla="*/ 17145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1" name="Freeform 1098"/>
            <p:cNvSpPr>
              <a:spLocks noChangeAspect="1"/>
            </p:cNvSpPr>
            <p:nvPr/>
          </p:nvSpPr>
          <p:spPr bwMode="auto">
            <a:xfrm>
              <a:off x="2460943" y="807164"/>
              <a:ext cx="24026" cy="14187"/>
            </a:xfrm>
            <a:custGeom>
              <a:avLst/>
              <a:gdLst>
                <a:gd name="T0" fmla="*/ 5953 w 12"/>
                <a:gd name="T1" fmla="*/ 1940 h 9"/>
                <a:gd name="T2" fmla="*/ 0 w 12"/>
                <a:gd name="T3" fmla="*/ 7761 h 9"/>
                <a:gd name="T4" fmla="*/ 7938 w 12"/>
                <a:gd name="T5" fmla="*/ 15523 h 9"/>
                <a:gd name="T6" fmla="*/ 17860 w 12"/>
                <a:gd name="T7" fmla="*/ 15523 h 9"/>
                <a:gd name="T8" fmla="*/ 21829 w 12"/>
                <a:gd name="T9" fmla="*/ 5821 h 9"/>
                <a:gd name="T10" fmla="*/ 11907 w 12"/>
                <a:gd name="T11" fmla="*/ 3881 h 9"/>
                <a:gd name="T12" fmla="*/ 5953 w 12"/>
                <a:gd name="T13" fmla="*/ 1940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2" name="Freeform 1099"/>
            <p:cNvSpPr>
              <a:spLocks noChangeAspect="1"/>
            </p:cNvSpPr>
            <p:nvPr/>
          </p:nvSpPr>
          <p:spPr bwMode="auto">
            <a:xfrm>
              <a:off x="2331205" y="826509"/>
              <a:ext cx="339563" cy="98015"/>
            </a:xfrm>
            <a:custGeom>
              <a:avLst/>
              <a:gdLst>
                <a:gd name="T0" fmla="*/ 325142 w 177"/>
                <a:gd name="T1" fmla="*/ 67028 h 63"/>
                <a:gd name="T2" fmla="*/ 332747 w 177"/>
                <a:gd name="T3" fmla="*/ 80433 h 63"/>
                <a:gd name="T4" fmla="*/ 321339 w 177"/>
                <a:gd name="T5" fmla="*/ 93839 h 63"/>
                <a:gd name="T6" fmla="*/ 332747 w 177"/>
                <a:gd name="T7" fmla="*/ 97669 h 63"/>
                <a:gd name="T8" fmla="*/ 317536 w 177"/>
                <a:gd name="T9" fmla="*/ 97669 h 63"/>
                <a:gd name="T10" fmla="*/ 319437 w 177"/>
                <a:gd name="T11" fmla="*/ 111075 h 63"/>
                <a:gd name="T12" fmla="*/ 296620 w 177"/>
                <a:gd name="T13" fmla="*/ 109160 h 63"/>
                <a:gd name="T14" fmla="*/ 266198 w 177"/>
                <a:gd name="T15" fmla="*/ 114905 h 63"/>
                <a:gd name="T16" fmla="*/ 250986 w 177"/>
                <a:gd name="T17" fmla="*/ 112990 h 63"/>
                <a:gd name="T18" fmla="*/ 222465 w 177"/>
                <a:gd name="T19" fmla="*/ 112990 h 63"/>
                <a:gd name="T20" fmla="*/ 214860 w 177"/>
                <a:gd name="T21" fmla="*/ 112990 h 63"/>
                <a:gd name="T22" fmla="*/ 203451 w 177"/>
                <a:gd name="T23" fmla="*/ 116820 h 63"/>
                <a:gd name="T24" fmla="*/ 192043 w 177"/>
                <a:gd name="T25" fmla="*/ 114905 h 63"/>
                <a:gd name="T26" fmla="*/ 182536 w 177"/>
                <a:gd name="T27" fmla="*/ 116820 h 63"/>
                <a:gd name="T28" fmla="*/ 148310 w 177"/>
                <a:gd name="T29" fmla="*/ 99584 h 63"/>
                <a:gd name="T30" fmla="*/ 136902 w 177"/>
                <a:gd name="T31" fmla="*/ 103414 h 63"/>
                <a:gd name="T32" fmla="*/ 114085 w 177"/>
                <a:gd name="T33" fmla="*/ 111075 h 63"/>
                <a:gd name="T34" fmla="*/ 95071 w 177"/>
                <a:gd name="T35" fmla="*/ 109160 h 63"/>
                <a:gd name="T36" fmla="*/ 79859 w 177"/>
                <a:gd name="T37" fmla="*/ 88094 h 63"/>
                <a:gd name="T38" fmla="*/ 79859 w 177"/>
                <a:gd name="T39" fmla="*/ 82348 h 63"/>
                <a:gd name="T40" fmla="*/ 89366 w 177"/>
                <a:gd name="T41" fmla="*/ 65113 h 63"/>
                <a:gd name="T42" fmla="*/ 79859 w 177"/>
                <a:gd name="T43" fmla="*/ 45962 h 63"/>
                <a:gd name="T44" fmla="*/ 66549 w 177"/>
                <a:gd name="T45" fmla="*/ 38302 h 63"/>
                <a:gd name="T46" fmla="*/ 32324 w 177"/>
                <a:gd name="T47" fmla="*/ 38302 h 63"/>
                <a:gd name="T48" fmla="*/ 34225 w 177"/>
                <a:gd name="T49" fmla="*/ 30641 h 63"/>
                <a:gd name="T50" fmla="*/ 13310 w 177"/>
                <a:gd name="T51" fmla="*/ 24896 h 63"/>
                <a:gd name="T52" fmla="*/ 5704 w 177"/>
                <a:gd name="T53" fmla="*/ 21066 h 63"/>
                <a:gd name="T54" fmla="*/ 9507 w 177"/>
                <a:gd name="T55" fmla="*/ 13406 h 63"/>
                <a:gd name="T56" fmla="*/ 15211 w 177"/>
                <a:gd name="T57" fmla="*/ 1915 h 63"/>
                <a:gd name="T58" fmla="*/ 45634 w 177"/>
                <a:gd name="T59" fmla="*/ 1915 h 63"/>
                <a:gd name="T60" fmla="*/ 68451 w 177"/>
                <a:gd name="T61" fmla="*/ 5745 h 63"/>
                <a:gd name="T62" fmla="*/ 76056 w 177"/>
                <a:gd name="T63" fmla="*/ 17236 h 63"/>
                <a:gd name="T64" fmla="*/ 81761 w 177"/>
                <a:gd name="T65" fmla="*/ 19151 h 63"/>
                <a:gd name="T66" fmla="*/ 114085 w 177"/>
                <a:gd name="T67" fmla="*/ 15321 h 63"/>
                <a:gd name="T68" fmla="*/ 127395 w 177"/>
                <a:gd name="T69" fmla="*/ 28726 h 63"/>
                <a:gd name="T70" fmla="*/ 112183 w 177"/>
                <a:gd name="T71" fmla="*/ 28726 h 63"/>
                <a:gd name="T72" fmla="*/ 144507 w 177"/>
                <a:gd name="T73" fmla="*/ 32556 h 63"/>
                <a:gd name="T74" fmla="*/ 148310 w 177"/>
                <a:gd name="T75" fmla="*/ 42132 h 63"/>
                <a:gd name="T76" fmla="*/ 104578 w 177"/>
                <a:gd name="T77" fmla="*/ 32556 h 63"/>
                <a:gd name="T78" fmla="*/ 121690 w 177"/>
                <a:gd name="T79" fmla="*/ 45962 h 63"/>
                <a:gd name="T80" fmla="*/ 112183 w 177"/>
                <a:gd name="T81" fmla="*/ 55537 h 63"/>
                <a:gd name="T82" fmla="*/ 135000 w 177"/>
                <a:gd name="T83" fmla="*/ 55537 h 63"/>
                <a:gd name="T84" fmla="*/ 138803 w 177"/>
                <a:gd name="T85" fmla="*/ 65113 h 63"/>
                <a:gd name="T86" fmla="*/ 133099 w 177"/>
                <a:gd name="T87" fmla="*/ 70858 h 63"/>
                <a:gd name="T88" fmla="*/ 144507 w 177"/>
                <a:gd name="T89" fmla="*/ 76603 h 63"/>
                <a:gd name="T90" fmla="*/ 150212 w 177"/>
                <a:gd name="T91" fmla="*/ 68943 h 63"/>
                <a:gd name="T92" fmla="*/ 165423 w 177"/>
                <a:gd name="T93" fmla="*/ 72773 h 63"/>
                <a:gd name="T94" fmla="*/ 176831 w 177"/>
                <a:gd name="T95" fmla="*/ 72773 h 63"/>
                <a:gd name="T96" fmla="*/ 197747 w 177"/>
                <a:gd name="T97" fmla="*/ 74688 h 63"/>
                <a:gd name="T98" fmla="*/ 214860 w 177"/>
                <a:gd name="T99" fmla="*/ 78518 h 63"/>
                <a:gd name="T100" fmla="*/ 228169 w 177"/>
                <a:gd name="T101" fmla="*/ 65113 h 63"/>
                <a:gd name="T102" fmla="*/ 256691 w 177"/>
                <a:gd name="T103" fmla="*/ 55537 h 63"/>
                <a:gd name="T104" fmla="*/ 287113 w 177"/>
                <a:gd name="T105" fmla="*/ 53622 h 63"/>
                <a:gd name="T106" fmla="*/ 311832 w 177"/>
                <a:gd name="T107" fmla="*/ 5936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3" name="Freeform 1100"/>
            <p:cNvSpPr>
              <a:spLocks noChangeAspect="1"/>
            </p:cNvSpPr>
            <p:nvPr/>
          </p:nvSpPr>
          <p:spPr bwMode="auto">
            <a:xfrm>
              <a:off x="2462545" y="830378"/>
              <a:ext cx="14415" cy="19346"/>
            </a:xfrm>
            <a:custGeom>
              <a:avLst/>
              <a:gdLst>
                <a:gd name="T0" fmla="*/ 0 w 7"/>
                <a:gd name="T1" fmla="*/ 3664 h 13"/>
                <a:gd name="T2" fmla="*/ 12246 w 7"/>
                <a:gd name="T3" fmla="*/ 1832 h 13"/>
                <a:gd name="T4" fmla="*/ 10205 w 7"/>
                <a:gd name="T5" fmla="*/ 21981 h 13"/>
                <a:gd name="T6" fmla="*/ 6123 w 7"/>
                <a:gd name="T7" fmla="*/ 20149 h 13"/>
                <a:gd name="T8" fmla="*/ 0 w 7"/>
                <a:gd name="T9" fmla="*/ 3664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4" name="Freeform 1101"/>
            <p:cNvSpPr>
              <a:spLocks noChangeAspect="1"/>
            </p:cNvSpPr>
            <p:nvPr/>
          </p:nvSpPr>
          <p:spPr bwMode="auto">
            <a:xfrm>
              <a:off x="2388866" y="654982"/>
              <a:ext cx="216230" cy="135417"/>
            </a:xfrm>
            <a:custGeom>
              <a:avLst/>
              <a:gdLst>
                <a:gd name="T0" fmla="*/ 100518 w 113"/>
                <a:gd name="T1" fmla="*/ 7664 h 87"/>
                <a:gd name="T2" fmla="*/ 128967 w 113"/>
                <a:gd name="T3" fmla="*/ 49815 h 87"/>
                <a:gd name="T4" fmla="*/ 159312 w 113"/>
                <a:gd name="T5" fmla="*/ 68974 h 87"/>
                <a:gd name="T6" fmla="*/ 176381 w 113"/>
                <a:gd name="T7" fmla="*/ 59395 h 87"/>
                <a:gd name="T8" fmla="*/ 176381 w 113"/>
                <a:gd name="T9" fmla="*/ 78554 h 87"/>
                <a:gd name="T10" fmla="*/ 187760 w 113"/>
                <a:gd name="T11" fmla="*/ 86218 h 87"/>
                <a:gd name="T12" fmla="*/ 201036 w 113"/>
                <a:gd name="T13" fmla="*/ 91966 h 87"/>
                <a:gd name="T14" fmla="*/ 178277 w 113"/>
                <a:gd name="T15" fmla="*/ 116873 h 87"/>
                <a:gd name="T16" fmla="*/ 165001 w 113"/>
                <a:gd name="T17" fmla="*/ 120705 h 87"/>
                <a:gd name="T18" fmla="*/ 146036 w 113"/>
                <a:gd name="T19" fmla="*/ 120705 h 87"/>
                <a:gd name="T20" fmla="*/ 142242 w 113"/>
                <a:gd name="T21" fmla="*/ 145613 h 87"/>
                <a:gd name="T22" fmla="*/ 125173 w 113"/>
                <a:gd name="T23" fmla="*/ 157108 h 87"/>
                <a:gd name="T24" fmla="*/ 100518 w 113"/>
                <a:gd name="T25" fmla="*/ 145613 h 87"/>
                <a:gd name="T26" fmla="*/ 92932 w 113"/>
                <a:gd name="T27" fmla="*/ 153276 h 87"/>
                <a:gd name="T28" fmla="*/ 66380 w 113"/>
                <a:gd name="T29" fmla="*/ 160940 h 87"/>
                <a:gd name="T30" fmla="*/ 64483 w 113"/>
                <a:gd name="T31" fmla="*/ 145613 h 87"/>
                <a:gd name="T32" fmla="*/ 45518 w 113"/>
                <a:gd name="T33" fmla="*/ 134117 h 87"/>
                <a:gd name="T34" fmla="*/ 37931 w 113"/>
                <a:gd name="T35" fmla="*/ 124537 h 87"/>
                <a:gd name="T36" fmla="*/ 85345 w 113"/>
                <a:gd name="T37" fmla="*/ 111125 h 87"/>
                <a:gd name="T38" fmla="*/ 73966 w 113"/>
                <a:gd name="T39" fmla="*/ 107293 h 87"/>
                <a:gd name="T40" fmla="*/ 64483 w 113"/>
                <a:gd name="T41" fmla="*/ 97714 h 87"/>
                <a:gd name="T42" fmla="*/ 39828 w 113"/>
                <a:gd name="T43" fmla="*/ 101546 h 87"/>
                <a:gd name="T44" fmla="*/ 13276 w 113"/>
                <a:gd name="T45" fmla="*/ 93882 h 87"/>
                <a:gd name="T46" fmla="*/ 32242 w 113"/>
                <a:gd name="T47" fmla="*/ 86218 h 87"/>
                <a:gd name="T48" fmla="*/ 1897 w 113"/>
                <a:gd name="T49" fmla="*/ 74722 h 87"/>
                <a:gd name="T50" fmla="*/ 37931 w 113"/>
                <a:gd name="T51" fmla="*/ 74722 h 87"/>
                <a:gd name="T52" fmla="*/ 26552 w 113"/>
                <a:gd name="T53" fmla="*/ 67058 h 87"/>
                <a:gd name="T54" fmla="*/ 17069 w 113"/>
                <a:gd name="T55" fmla="*/ 51731 h 87"/>
                <a:gd name="T56" fmla="*/ 55000 w 113"/>
                <a:gd name="T57" fmla="*/ 47899 h 87"/>
                <a:gd name="T58" fmla="*/ 34138 w 113"/>
                <a:gd name="T59" fmla="*/ 34487 h 87"/>
                <a:gd name="T60" fmla="*/ 60690 w 113"/>
                <a:gd name="T61" fmla="*/ 26823 h 87"/>
                <a:gd name="T62" fmla="*/ 77759 w 113"/>
                <a:gd name="T63" fmla="*/ 15328 h 87"/>
                <a:gd name="T64" fmla="*/ 53104 w 113"/>
                <a:gd name="T65" fmla="*/ 7664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5" name="Freeform 1102"/>
            <p:cNvSpPr>
              <a:spLocks noChangeAspect="1"/>
            </p:cNvSpPr>
            <p:nvPr/>
          </p:nvSpPr>
          <p:spPr bwMode="auto">
            <a:xfrm>
              <a:off x="2478562" y="586629"/>
              <a:ext cx="631075" cy="275991"/>
            </a:xfrm>
            <a:custGeom>
              <a:avLst/>
              <a:gdLst>
                <a:gd name="T0" fmla="*/ 108695 w 328"/>
                <a:gd name="T1" fmla="*/ 156503 h 178"/>
                <a:gd name="T2" fmla="*/ 139206 w 328"/>
                <a:gd name="T3" fmla="*/ 190857 h 178"/>
                <a:gd name="T4" fmla="*/ 122044 w 328"/>
                <a:gd name="T5" fmla="*/ 206125 h 178"/>
                <a:gd name="T6" fmla="*/ 158276 w 328"/>
                <a:gd name="T7" fmla="*/ 217577 h 178"/>
                <a:gd name="T8" fmla="*/ 110602 w 328"/>
                <a:gd name="T9" fmla="*/ 211851 h 178"/>
                <a:gd name="T10" fmla="*/ 62929 w 328"/>
                <a:gd name="T11" fmla="*/ 246205 h 178"/>
                <a:gd name="T12" fmla="*/ 112509 w 328"/>
                <a:gd name="T13" fmla="*/ 230937 h 178"/>
                <a:gd name="T14" fmla="*/ 95347 w 328"/>
                <a:gd name="T15" fmla="*/ 259565 h 178"/>
                <a:gd name="T16" fmla="*/ 108695 w 328"/>
                <a:gd name="T17" fmla="*/ 276742 h 178"/>
                <a:gd name="T18" fmla="*/ 152555 w 328"/>
                <a:gd name="T19" fmla="*/ 265291 h 178"/>
                <a:gd name="T20" fmla="*/ 85812 w 328"/>
                <a:gd name="T21" fmla="*/ 280559 h 178"/>
                <a:gd name="T22" fmla="*/ 47673 w 328"/>
                <a:gd name="T23" fmla="*/ 278651 h 178"/>
                <a:gd name="T24" fmla="*/ 34325 w 328"/>
                <a:gd name="T25" fmla="*/ 293919 h 178"/>
                <a:gd name="T26" fmla="*/ 17162 w 328"/>
                <a:gd name="T27" fmla="*/ 318731 h 178"/>
                <a:gd name="T28" fmla="*/ 32418 w 328"/>
                <a:gd name="T29" fmla="*/ 330182 h 178"/>
                <a:gd name="T30" fmla="*/ 76277 w 328"/>
                <a:gd name="T31" fmla="*/ 330182 h 178"/>
                <a:gd name="T32" fmla="*/ 95347 w 328"/>
                <a:gd name="T33" fmla="*/ 326365 h 178"/>
                <a:gd name="T34" fmla="*/ 135392 w 328"/>
                <a:gd name="T35" fmla="*/ 314914 h 178"/>
                <a:gd name="T36" fmla="*/ 148741 w 328"/>
                <a:gd name="T37" fmla="*/ 311096 h 178"/>
                <a:gd name="T38" fmla="*/ 171624 w 328"/>
                <a:gd name="T39" fmla="*/ 337816 h 178"/>
                <a:gd name="T40" fmla="*/ 240274 w 328"/>
                <a:gd name="T41" fmla="*/ 314914 h 178"/>
                <a:gd name="T42" fmla="*/ 207856 w 328"/>
                <a:gd name="T43" fmla="*/ 288194 h 178"/>
                <a:gd name="T44" fmla="*/ 163996 w 328"/>
                <a:gd name="T45" fmla="*/ 286285 h 178"/>
                <a:gd name="T46" fmla="*/ 200228 w 328"/>
                <a:gd name="T47" fmla="*/ 284377 h 178"/>
                <a:gd name="T48" fmla="*/ 272692 w 328"/>
                <a:gd name="T49" fmla="*/ 255748 h 178"/>
                <a:gd name="T50" fmla="*/ 316551 w 328"/>
                <a:gd name="T51" fmla="*/ 225211 h 178"/>
                <a:gd name="T52" fmla="*/ 270785 w 328"/>
                <a:gd name="T53" fmla="*/ 202308 h 178"/>
                <a:gd name="T54" fmla="*/ 331807 w 328"/>
                <a:gd name="T55" fmla="*/ 204217 h 178"/>
                <a:gd name="T56" fmla="*/ 331807 w 328"/>
                <a:gd name="T57" fmla="*/ 183222 h 178"/>
                <a:gd name="T58" fmla="*/ 356597 w 328"/>
                <a:gd name="T59" fmla="*/ 167954 h 178"/>
                <a:gd name="T60" fmla="*/ 389015 w 328"/>
                <a:gd name="T61" fmla="*/ 152685 h 178"/>
                <a:gd name="T62" fmla="*/ 488176 w 328"/>
                <a:gd name="T63" fmla="*/ 114514 h 178"/>
                <a:gd name="T64" fmla="*/ 526314 w 328"/>
                <a:gd name="T65" fmla="*/ 85886 h 178"/>
                <a:gd name="T66" fmla="*/ 543477 w 328"/>
                <a:gd name="T67" fmla="*/ 74434 h 178"/>
                <a:gd name="T68" fmla="*/ 610220 w 328"/>
                <a:gd name="T69" fmla="*/ 34354 h 178"/>
                <a:gd name="T70" fmla="*/ 543477 w 328"/>
                <a:gd name="T71" fmla="*/ 17177 h 178"/>
                <a:gd name="T72" fmla="*/ 514873 w 328"/>
                <a:gd name="T73" fmla="*/ 9543 h 178"/>
                <a:gd name="T74" fmla="*/ 425247 w 328"/>
                <a:gd name="T75" fmla="*/ 11451 h 178"/>
                <a:gd name="T76" fmla="*/ 381387 w 328"/>
                <a:gd name="T77" fmla="*/ 22903 h 178"/>
                <a:gd name="T78" fmla="*/ 305110 w 328"/>
                <a:gd name="T79" fmla="*/ 3817 h 178"/>
                <a:gd name="T80" fmla="*/ 276506 w 328"/>
                <a:gd name="T81" fmla="*/ 19086 h 178"/>
                <a:gd name="T82" fmla="*/ 245995 w 328"/>
                <a:gd name="T83" fmla="*/ 28629 h 178"/>
                <a:gd name="T84" fmla="*/ 211670 w 328"/>
                <a:gd name="T85" fmla="*/ 28629 h 178"/>
                <a:gd name="T86" fmla="*/ 238367 w 328"/>
                <a:gd name="T87" fmla="*/ 55348 h 178"/>
                <a:gd name="T88" fmla="*/ 192601 w 328"/>
                <a:gd name="T89" fmla="*/ 55348 h 178"/>
                <a:gd name="T90" fmla="*/ 123951 w 328"/>
                <a:gd name="T91" fmla="*/ 36263 h 178"/>
                <a:gd name="T92" fmla="*/ 110602 w 328"/>
                <a:gd name="T93" fmla="*/ 61074 h 178"/>
                <a:gd name="T94" fmla="*/ 133486 w 328"/>
                <a:gd name="T95" fmla="*/ 95428 h 178"/>
                <a:gd name="T96" fmla="*/ 66743 w 328"/>
                <a:gd name="T97" fmla="*/ 110697 h 178"/>
                <a:gd name="T98" fmla="*/ 144927 w 328"/>
                <a:gd name="T99" fmla="*/ 104971 h 178"/>
                <a:gd name="T100" fmla="*/ 120137 w 328"/>
                <a:gd name="T101" fmla="*/ 125965 h 178"/>
                <a:gd name="T102" fmla="*/ 171624 w 328"/>
                <a:gd name="T103" fmla="*/ 127874 h 178"/>
                <a:gd name="T104" fmla="*/ 202135 w 328"/>
                <a:gd name="T105" fmla="*/ 135508 h 178"/>
                <a:gd name="T106" fmla="*/ 289854 w 328"/>
                <a:gd name="T107" fmla="*/ 85886 h 178"/>
                <a:gd name="T108" fmla="*/ 312738 w 328"/>
                <a:gd name="T109" fmla="*/ 112605 h 178"/>
                <a:gd name="T110" fmla="*/ 230739 w 328"/>
                <a:gd name="T111" fmla="*/ 129783 h 178"/>
                <a:gd name="T112" fmla="*/ 223111 w 328"/>
                <a:gd name="T113" fmla="*/ 139325 h 178"/>
                <a:gd name="T114" fmla="*/ 194507 w 328"/>
                <a:gd name="T115" fmla="*/ 169863 h 178"/>
                <a:gd name="T116" fmla="*/ 186880 w 328"/>
                <a:gd name="T117" fmla="*/ 175588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6" name="Freeform 1103"/>
            <p:cNvSpPr>
              <a:spLocks noChangeAspect="1"/>
            </p:cNvSpPr>
            <p:nvPr/>
          </p:nvSpPr>
          <p:spPr bwMode="auto">
            <a:xfrm>
              <a:off x="2669166" y="856172"/>
              <a:ext cx="20823" cy="19346"/>
            </a:xfrm>
            <a:custGeom>
              <a:avLst/>
              <a:gdLst>
                <a:gd name="T0" fmla="*/ 16886 w 11"/>
                <a:gd name="T1" fmla="*/ 1984 h 12"/>
                <a:gd name="T2" fmla="*/ 1876 w 11"/>
                <a:gd name="T3" fmla="*/ 17860 h 12"/>
                <a:gd name="T4" fmla="*/ 5629 w 11"/>
                <a:gd name="T5" fmla="*/ 23813 h 12"/>
                <a:gd name="T6" fmla="*/ 11257 w 11"/>
                <a:gd name="T7" fmla="*/ 15875 h 12"/>
                <a:gd name="T8" fmla="*/ 18762 w 11"/>
                <a:gd name="T9" fmla="*/ 19844 h 12"/>
                <a:gd name="T10" fmla="*/ 15009 w 11"/>
                <a:gd name="T11" fmla="*/ 11907 h 12"/>
                <a:gd name="T12" fmla="*/ 20638 w 11"/>
                <a:gd name="T13" fmla="*/ 3969 h 12"/>
                <a:gd name="T14" fmla="*/ 16886 w 11"/>
                <a:gd name="T15" fmla="*/ 1984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7" name="Freeform 1104"/>
            <p:cNvSpPr>
              <a:spLocks noChangeAspect="1"/>
            </p:cNvSpPr>
            <p:nvPr/>
          </p:nvSpPr>
          <p:spPr bwMode="auto">
            <a:xfrm>
              <a:off x="2568258" y="749128"/>
              <a:ext cx="25627" cy="11607"/>
            </a:xfrm>
            <a:custGeom>
              <a:avLst/>
              <a:gdLst>
                <a:gd name="T0" fmla="*/ 15631 w 13"/>
                <a:gd name="T1" fmla="*/ 0 h 7"/>
                <a:gd name="T2" fmla="*/ 23446 w 13"/>
                <a:gd name="T3" fmla="*/ 4082 h 7"/>
                <a:gd name="T4" fmla="*/ 7815 w 13"/>
                <a:gd name="T5" fmla="*/ 10205 h 7"/>
                <a:gd name="T6" fmla="*/ 1954 w 13"/>
                <a:gd name="T7" fmla="*/ 12246 h 7"/>
                <a:gd name="T8" fmla="*/ 5862 w 13"/>
                <a:gd name="T9" fmla="*/ 4082 h 7"/>
                <a:gd name="T10" fmla="*/ 15631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8" name="Freeform 1105"/>
            <p:cNvSpPr>
              <a:spLocks noChangeAspect="1"/>
            </p:cNvSpPr>
            <p:nvPr/>
          </p:nvSpPr>
          <p:spPr bwMode="auto">
            <a:xfrm>
              <a:off x="2401680" y="687224"/>
              <a:ext cx="25627" cy="5158"/>
            </a:xfrm>
            <a:custGeom>
              <a:avLst/>
              <a:gdLst>
                <a:gd name="T0" fmla="*/ 19538 w 13"/>
                <a:gd name="T1" fmla="*/ 0 h 3"/>
                <a:gd name="T2" fmla="*/ 23446 w 13"/>
                <a:gd name="T3" fmla="*/ 4233 h 3"/>
                <a:gd name="T4" fmla="*/ 11723 w 13"/>
                <a:gd name="T5" fmla="*/ 4233 h 3"/>
                <a:gd name="T6" fmla="*/ 1954 w 13"/>
                <a:gd name="T7" fmla="*/ 4233 h 3"/>
                <a:gd name="T8" fmla="*/ 7815 w 13"/>
                <a:gd name="T9" fmla="*/ 0 h 3"/>
                <a:gd name="T10" fmla="*/ 19538 w 13"/>
                <a:gd name="T11" fmla="*/ 0 h 3"/>
                <a:gd name="T12" fmla="*/ 0 60000 65536"/>
                <a:gd name="T13" fmla="*/ 0 60000 65536"/>
                <a:gd name="T14" fmla="*/ 0 60000 65536"/>
                <a:gd name="T15" fmla="*/ 0 60000 65536"/>
                <a:gd name="T16" fmla="*/ 0 60000 65536"/>
                <a:gd name="T17" fmla="*/ 0 60000 65536"/>
                <a:gd name="T18" fmla="*/ 0 w 13"/>
                <a:gd name="T19" fmla="*/ 0 h 3"/>
                <a:gd name="T20" fmla="*/ 13 w 13"/>
                <a:gd name="T21" fmla="*/ 3 h 3"/>
              </a:gdLst>
              <a:ahLst/>
              <a:cxnLst>
                <a:cxn ang="T12">
                  <a:pos x="T0" y="T1"/>
                </a:cxn>
                <a:cxn ang="T13">
                  <a:pos x="T2" y="T3"/>
                </a:cxn>
                <a:cxn ang="T14">
                  <a:pos x="T4" y="T5"/>
                </a:cxn>
                <a:cxn ang="T15">
                  <a:pos x="T6" y="T7"/>
                </a:cxn>
                <a:cxn ang="T16">
                  <a:pos x="T8" y="T9"/>
                </a:cxn>
                <a:cxn ang="T17">
                  <a:pos x="T10" y="T11"/>
                </a:cxn>
              </a:cxnLst>
              <a:rect l="T18" t="T19" r="T20" b="T21"/>
              <a:pathLst>
                <a:path w="13" h="3">
                  <a:moveTo>
                    <a:pt x="10" y="0"/>
                  </a:moveTo>
                  <a:cubicBezTo>
                    <a:pt x="11" y="0"/>
                    <a:pt x="13" y="2"/>
                    <a:pt x="12" y="2"/>
                  </a:cubicBezTo>
                  <a:cubicBezTo>
                    <a:pt x="11" y="3"/>
                    <a:pt x="8" y="2"/>
                    <a:pt x="6" y="2"/>
                  </a:cubicBezTo>
                  <a:cubicBezTo>
                    <a:pt x="5" y="2"/>
                    <a:pt x="2" y="3"/>
                    <a:pt x="1" y="2"/>
                  </a:cubicBezTo>
                  <a:cubicBezTo>
                    <a:pt x="0" y="1"/>
                    <a:pt x="3" y="0"/>
                    <a:pt x="4" y="0"/>
                  </a:cubicBezTo>
                  <a:cubicBezTo>
                    <a:pt x="6" y="0"/>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9" name="Freeform 1106"/>
            <p:cNvSpPr>
              <a:spLocks noChangeAspect="1"/>
            </p:cNvSpPr>
            <p:nvPr/>
          </p:nvSpPr>
          <p:spPr bwMode="auto">
            <a:xfrm>
              <a:off x="2840549" y="569863"/>
              <a:ext cx="1239725" cy="824105"/>
            </a:xfrm>
            <a:custGeom>
              <a:avLst/>
              <a:gdLst>
                <a:gd name="T0" fmla="*/ 1114425 w 645"/>
                <a:gd name="T1" fmla="*/ 139196 h 532"/>
                <a:gd name="T2" fmla="*/ 1152525 w 645"/>
                <a:gd name="T3" fmla="*/ 156357 h 532"/>
                <a:gd name="T4" fmla="*/ 1087755 w 645"/>
                <a:gd name="T5" fmla="*/ 177332 h 532"/>
                <a:gd name="T6" fmla="*/ 1083945 w 645"/>
                <a:gd name="T7" fmla="*/ 215467 h 532"/>
                <a:gd name="T8" fmla="*/ 1049655 w 645"/>
                <a:gd name="T9" fmla="*/ 276485 h 532"/>
                <a:gd name="T10" fmla="*/ 1085850 w 645"/>
                <a:gd name="T11" fmla="*/ 306993 h 532"/>
                <a:gd name="T12" fmla="*/ 1055370 w 645"/>
                <a:gd name="T13" fmla="*/ 327968 h 532"/>
                <a:gd name="T14" fmla="*/ 1064895 w 645"/>
                <a:gd name="T15" fmla="*/ 354663 h 532"/>
                <a:gd name="T16" fmla="*/ 1070610 w 645"/>
                <a:gd name="T17" fmla="*/ 398519 h 532"/>
                <a:gd name="T18" fmla="*/ 1024890 w 645"/>
                <a:gd name="T19" fmla="*/ 406146 h 532"/>
                <a:gd name="T20" fmla="*/ 1076325 w 645"/>
                <a:gd name="T21" fmla="*/ 434748 h 532"/>
                <a:gd name="T22" fmla="*/ 1017270 w 645"/>
                <a:gd name="T23" fmla="*/ 461443 h 532"/>
                <a:gd name="T24" fmla="*/ 1011555 w 645"/>
                <a:gd name="T25" fmla="*/ 480511 h 532"/>
                <a:gd name="T26" fmla="*/ 948690 w 645"/>
                <a:gd name="T27" fmla="*/ 470977 h 532"/>
                <a:gd name="T28" fmla="*/ 942975 w 645"/>
                <a:gd name="T29" fmla="*/ 491952 h 532"/>
                <a:gd name="T30" fmla="*/ 950595 w 645"/>
                <a:gd name="T31" fmla="*/ 514834 h 532"/>
                <a:gd name="T32" fmla="*/ 998220 w 645"/>
                <a:gd name="T33" fmla="*/ 539622 h 532"/>
                <a:gd name="T34" fmla="*/ 1015365 w 645"/>
                <a:gd name="T35" fmla="*/ 573944 h 532"/>
                <a:gd name="T36" fmla="*/ 986790 w 645"/>
                <a:gd name="T37" fmla="*/ 596826 h 532"/>
                <a:gd name="T38" fmla="*/ 880110 w 645"/>
                <a:gd name="T39" fmla="*/ 533902 h 532"/>
                <a:gd name="T40" fmla="*/ 927735 w 645"/>
                <a:gd name="T41" fmla="*/ 570131 h 532"/>
                <a:gd name="T42" fmla="*/ 857250 w 645"/>
                <a:gd name="T43" fmla="*/ 602546 h 532"/>
                <a:gd name="T44" fmla="*/ 920115 w 645"/>
                <a:gd name="T45" fmla="*/ 608266 h 532"/>
                <a:gd name="T46" fmla="*/ 948690 w 645"/>
                <a:gd name="T47" fmla="*/ 642589 h 532"/>
                <a:gd name="T48" fmla="*/ 773430 w 645"/>
                <a:gd name="T49" fmla="*/ 680724 h 532"/>
                <a:gd name="T50" fmla="*/ 689610 w 645"/>
                <a:gd name="T51" fmla="*/ 781784 h 532"/>
                <a:gd name="T52" fmla="*/ 643890 w 645"/>
                <a:gd name="T53" fmla="*/ 793225 h 532"/>
                <a:gd name="T54" fmla="*/ 598170 w 645"/>
                <a:gd name="T55" fmla="*/ 842802 h 532"/>
                <a:gd name="T56" fmla="*/ 546735 w 645"/>
                <a:gd name="T57" fmla="*/ 936234 h 532"/>
                <a:gd name="T58" fmla="*/ 474345 w 645"/>
                <a:gd name="T59" fmla="*/ 974370 h 532"/>
                <a:gd name="T60" fmla="*/ 377190 w 645"/>
                <a:gd name="T61" fmla="*/ 896192 h 532"/>
                <a:gd name="T62" fmla="*/ 333375 w 645"/>
                <a:gd name="T63" fmla="*/ 783691 h 532"/>
                <a:gd name="T64" fmla="*/ 329565 w 645"/>
                <a:gd name="T65" fmla="*/ 694072 h 532"/>
                <a:gd name="T66" fmla="*/ 401955 w 645"/>
                <a:gd name="T67" fmla="*/ 621614 h 532"/>
                <a:gd name="T68" fmla="*/ 352425 w 645"/>
                <a:gd name="T69" fmla="*/ 587292 h 532"/>
                <a:gd name="T70" fmla="*/ 344805 w 645"/>
                <a:gd name="T71" fmla="*/ 558690 h 532"/>
                <a:gd name="T72" fmla="*/ 306705 w 645"/>
                <a:gd name="T73" fmla="*/ 429028 h 532"/>
                <a:gd name="T74" fmla="*/ 135255 w 645"/>
                <a:gd name="T75" fmla="*/ 350850 h 532"/>
                <a:gd name="T76" fmla="*/ 80010 w 645"/>
                <a:gd name="T77" fmla="*/ 335595 h 532"/>
                <a:gd name="T78" fmla="*/ 53340 w 645"/>
                <a:gd name="T79" fmla="*/ 308900 h 532"/>
                <a:gd name="T80" fmla="*/ 102870 w 645"/>
                <a:gd name="T81" fmla="*/ 287925 h 532"/>
                <a:gd name="T82" fmla="*/ 59055 w 645"/>
                <a:gd name="T83" fmla="*/ 234535 h 532"/>
                <a:gd name="T84" fmla="*/ 194310 w 645"/>
                <a:gd name="T85" fmla="*/ 167798 h 532"/>
                <a:gd name="T86" fmla="*/ 209550 w 645"/>
                <a:gd name="T87" fmla="*/ 125848 h 532"/>
                <a:gd name="T88" fmla="*/ 403860 w 645"/>
                <a:gd name="T89" fmla="*/ 68644 h 532"/>
                <a:gd name="T90" fmla="*/ 476250 w 645"/>
                <a:gd name="T91" fmla="*/ 87712 h 532"/>
                <a:gd name="T92" fmla="*/ 575310 w 645"/>
                <a:gd name="T93" fmla="*/ 97246 h 532"/>
                <a:gd name="T94" fmla="*/ 615315 w 645"/>
                <a:gd name="T95" fmla="*/ 51483 h 532"/>
                <a:gd name="T96" fmla="*/ 645795 w 645"/>
                <a:gd name="T97" fmla="*/ 32415 h 532"/>
                <a:gd name="T98" fmla="*/ 727710 w 645"/>
                <a:gd name="T99" fmla="*/ 17161 h 532"/>
                <a:gd name="T100" fmla="*/ 939165 w 645"/>
                <a:gd name="T101" fmla="*/ 11441 h 532"/>
                <a:gd name="T102" fmla="*/ 828675 w 645"/>
                <a:gd name="T103" fmla="*/ 40043 h 532"/>
                <a:gd name="T104" fmla="*/ 1040130 w 645"/>
                <a:gd name="T105" fmla="*/ 47670 h 532"/>
                <a:gd name="T106" fmla="*/ 805815 w 645"/>
                <a:gd name="T107" fmla="*/ 87712 h 532"/>
                <a:gd name="T108" fmla="*/ 986790 w 645"/>
                <a:gd name="T109" fmla="*/ 81992 h 532"/>
                <a:gd name="T110" fmla="*/ 1005840 w 645"/>
                <a:gd name="T111" fmla="*/ 135382 h 532"/>
                <a:gd name="T112" fmla="*/ 1112520 w 645"/>
                <a:gd name="T113" fmla="*/ 104874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0" name="Freeform 1107"/>
            <p:cNvSpPr>
              <a:spLocks noChangeAspect="1"/>
            </p:cNvSpPr>
            <p:nvPr/>
          </p:nvSpPr>
          <p:spPr bwMode="auto">
            <a:xfrm>
              <a:off x="3151282" y="1061231"/>
              <a:ext cx="67272" cy="38690"/>
            </a:xfrm>
            <a:custGeom>
              <a:avLst/>
              <a:gdLst>
                <a:gd name="T0" fmla="*/ 11430 w 35"/>
                <a:gd name="T1" fmla="*/ 0 h 25"/>
                <a:gd name="T2" fmla="*/ 36195 w 35"/>
                <a:gd name="T3" fmla="*/ 5715 h 25"/>
                <a:gd name="T4" fmla="*/ 53340 w 35"/>
                <a:gd name="T5" fmla="*/ 17145 h 25"/>
                <a:gd name="T6" fmla="*/ 64770 w 35"/>
                <a:gd name="T7" fmla="*/ 22860 h 25"/>
                <a:gd name="T8" fmla="*/ 57150 w 35"/>
                <a:gd name="T9" fmla="*/ 40005 h 25"/>
                <a:gd name="T10" fmla="*/ 28575 w 35"/>
                <a:gd name="T11" fmla="*/ 45720 h 25"/>
                <a:gd name="T12" fmla="*/ 15240 w 35"/>
                <a:gd name="T13" fmla="*/ 41910 h 25"/>
                <a:gd name="T14" fmla="*/ 28575 w 35"/>
                <a:gd name="T15" fmla="*/ 34290 h 25"/>
                <a:gd name="T16" fmla="*/ 3810 w 35"/>
                <a:gd name="T17" fmla="*/ 30480 h 25"/>
                <a:gd name="T18" fmla="*/ 5715 w 35"/>
                <a:gd name="T19" fmla="*/ 22860 h 25"/>
                <a:gd name="T20" fmla="*/ 5715 w 35"/>
                <a:gd name="T21" fmla="*/ 15240 h 25"/>
                <a:gd name="T22" fmla="*/ 13335 w 35"/>
                <a:gd name="T23" fmla="*/ 15240 h 25"/>
                <a:gd name="T24" fmla="*/ 5715 w 35"/>
                <a:gd name="T25" fmla="*/ 7620 h 25"/>
                <a:gd name="T26" fmla="*/ 11430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1" name="Freeform 1108"/>
            <p:cNvSpPr>
              <a:spLocks noChangeAspect="1"/>
            </p:cNvSpPr>
            <p:nvPr/>
          </p:nvSpPr>
          <p:spPr bwMode="auto">
            <a:xfrm>
              <a:off x="2909423" y="811034"/>
              <a:ext cx="56061" cy="11607"/>
            </a:xfrm>
            <a:custGeom>
              <a:avLst/>
              <a:gdLst>
                <a:gd name="T0" fmla="*/ 9580 w 29"/>
                <a:gd name="T1" fmla="*/ 2041 h 7"/>
                <a:gd name="T2" fmla="*/ 1916 w 29"/>
                <a:gd name="T3" fmla="*/ 6123 h 7"/>
                <a:gd name="T4" fmla="*/ 19160 w 29"/>
                <a:gd name="T5" fmla="*/ 10205 h 7"/>
                <a:gd name="T6" fmla="*/ 40235 w 29"/>
                <a:gd name="T7" fmla="*/ 12246 h 7"/>
                <a:gd name="T8" fmla="*/ 55563 w 29"/>
                <a:gd name="T9" fmla="*/ 14287 h 7"/>
                <a:gd name="T10" fmla="*/ 55563 w 29"/>
                <a:gd name="T11" fmla="*/ 10205 h 7"/>
                <a:gd name="T12" fmla="*/ 38319 w 29"/>
                <a:gd name="T13" fmla="*/ 2041 h 7"/>
                <a:gd name="T14" fmla="*/ 21076 w 29"/>
                <a:gd name="T15" fmla="*/ 4082 h 7"/>
                <a:gd name="T16" fmla="*/ 9580 w 29"/>
                <a:gd name="T17" fmla="*/ 204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2" name="Freeform 1109"/>
            <p:cNvSpPr>
              <a:spLocks noChangeAspect="1"/>
            </p:cNvSpPr>
            <p:nvPr/>
          </p:nvSpPr>
          <p:spPr bwMode="auto">
            <a:xfrm>
              <a:off x="2861371" y="809743"/>
              <a:ext cx="27230" cy="6449"/>
            </a:xfrm>
            <a:custGeom>
              <a:avLst/>
              <a:gdLst>
                <a:gd name="T0" fmla="*/ 13494 w 14"/>
                <a:gd name="T1" fmla="*/ 1985 h 4"/>
                <a:gd name="T2" fmla="*/ 25060 w 14"/>
                <a:gd name="T3" fmla="*/ 3969 h 4"/>
                <a:gd name="T4" fmla="*/ 25060 w 14"/>
                <a:gd name="T5" fmla="*/ 7938 h 4"/>
                <a:gd name="T6" fmla="*/ 7711 w 14"/>
                <a:gd name="T7" fmla="*/ 7938 h 4"/>
                <a:gd name="T8" fmla="*/ 1928 w 14"/>
                <a:gd name="T9" fmla="*/ 3969 h 4"/>
                <a:gd name="T10" fmla="*/ 13494 w 14"/>
                <a:gd name="T11" fmla="*/ 1985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3" name="Freeform 1110"/>
            <p:cNvSpPr>
              <a:spLocks noChangeAspect="1"/>
            </p:cNvSpPr>
            <p:nvPr/>
          </p:nvSpPr>
          <p:spPr bwMode="auto">
            <a:xfrm>
              <a:off x="2834142" y="814902"/>
              <a:ext cx="25627" cy="6449"/>
            </a:xfrm>
            <a:custGeom>
              <a:avLst/>
              <a:gdLst>
                <a:gd name="T0" fmla="*/ 5862 w 13"/>
                <a:gd name="T1" fmla="*/ 0 h 4"/>
                <a:gd name="T2" fmla="*/ 19538 w 13"/>
                <a:gd name="T3" fmla="*/ 1985 h 4"/>
                <a:gd name="T4" fmla="*/ 25400 w 13"/>
                <a:gd name="T5" fmla="*/ 3969 h 4"/>
                <a:gd name="T6" fmla="*/ 19538 w 13"/>
                <a:gd name="T7" fmla="*/ 7938 h 4"/>
                <a:gd name="T8" fmla="*/ 7815 w 13"/>
                <a:gd name="T9" fmla="*/ 3969 h 4"/>
                <a:gd name="T10" fmla="*/ 0 w 13"/>
                <a:gd name="T11" fmla="*/ 1985 h 4"/>
                <a:gd name="T12" fmla="*/ 5862 w 13"/>
                <a:gd name="T13" fmla="*/ 0 h 4"/>
                <a:gd name="T14" fmla="*/ 0 60000 65536"/>
                <a:gd name="T15" fmla="*/ 0 60000 65536"/>
                <a:gd name="T16" fmla="*/ 0 60000 65536"/>
                <a:gd name="T17" fmla="*/ 0 60000 65536"/>
                <a:gd name="T18" fmla="*/ 0 60000 65536"/>
                <a:gd name="T19" fmla="*/ 0 60000 65536"/>
                <a:gd name="T20" fmla="*/ 0 60000 65536"/>
                <a:gd name="T21" fmla="*/ 0 w 13"/>
                <a:gd name="T22" fmla="*/ 0 h 4"/>
                <a:gd name="T23" fmla="*/ 13 w 1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
                  <a:moveTo>
                    <a:pt x="3" y="0"/>
                  </a:moveTo>
                  <a:cubicBezTo>
                    <a:pt x="5" y="0"/>
                    <a:pt x="8" y="0"/>
                    <a:pt x="10" y="1"/>
                  </a:cubicBezTo>
                  <a:cubicBezTo>
                    <a:pt x="11" y="1"/>
                    <a:pt x="13" y="1"/>
                    <a:pt x="13" y="2"/>
                  </a:cubicBezTo>
                  <a:cubicBezTo>
                    <a:pt x="13" y="3"/>
                    <a:pt x="11" y="4"/>
                    <a:pt x="10" y="4"/>
                  </a:cubicBezTo>
                  <a:cubicBezTo>
                    <a:pt x="8" y="4"/>
                    <a:pt x="6" y="3"/>
                    <a:pt x="4" y="2"/>
                  </a:cubicBezTo>
                  <a:cubicBezTo>
                    <a:pt x="3" y="2"/>
                    <a:pt x="1"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4" name="Freeform 1111"/>
            <p:cNvSpPr>
              <a:spLocks noChangeAspect="1"/>
            </p:cNvSpPr>
            <p:nvPr/>
          </p:nvSpPr>
          <p:spPr bwMode="auto">
            <a:xfrm>
              <a:off x="3255392" y="620161"/>
              <a:ext cx="35238" cy="18056"/>
            </a:xfrm>
            <a:custGeom>
              <a:avLst/>
              <a:gdLst>
                <a:gd name="T0" fmla="*/ 1940 w 18"/>
                <a:gd name="T1" fmla="*/ 0 h 12"/>
                <a:gd name="T2" fmla="*/ 1940 w 18"/>
                <a:gd name="T3" fmla="*/ 9260 h 12"/>
                <a:gd name="T4" fmla="*/ 25224 w 18"/>
                <a:gd name="T5" fmla="*/ 18521 h 12"/>
                <a:gd name="T6" fmla="*/ 34925 w 18"/>
                <a:gd name="T7" fmla="*/ 18521 h 12"/>
                <a:gd name="T8" fmla="*/ 27164 w 18"/>
                <a:gd name="T9" fmla="*/ 12965 h 12"/>
                <a:gd name="T10" fmla="*/ 13582 w 18"/>
                <a:gd name="T11" fmla="*/ 7408 h 12"/>
                <a:gd name="T12" fmla="*/ 1940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5" name="Freeform 1112"/>
            <p:cNvSpPr>
              <a:spLocks noChangeAspect="1"/>
            </p:cNvSpPr>
            <p:nvPr/>
          </p:nvSpPr>
          <p:spPr bwMode="auto">
            <a:xfrm>
              <a:off x="3362708" y="615003"/>
              <a:ext cx="56060" cy="21924"/>
            </a:xfrm>
            <a:custGeom>
              <a:avLst/>
              <a:gdLst>
                <a:gd name="T0" fmla="*/ 3832 w 29"/>
                <a:gd name="T1" fmla="*/ 0 h 14"/>
                <a:gd name="T2" fmla="*/ 15327 w 29"/>
                <a:gd name="T3" fmla="*/ 0 h 14"/>
                <a:gd name="T4" fmla="*/ 32571 w 29"/>
                <a:gd name="T5" fmla="*/ 1928 h 14"/>
                <a:gd name="T6" fmla="*/ 53646 w 29"/>
                <a:gd name="T7" fmla="*/ 7711 h 14"/>
                <a:gd name="T8" fmla="*/ 55562 w 29"/>
                <a:gd name="T9" fmla="*/ 11566 h 14"/>
                <a:gd name="T10" fmla="*/ 45982 w 29"/>
                <a:gd name="T11" fmla="*/ 15421 h 14"/>
                <a:gd name="T12" fmla="*/ 49814 w 29"/>
                <a:gd name="T13" fmla="*/ 21204 h 14"/>
                <a:gd name="T14" fmla="*/ 44066 w 29"/>
                <a:gd name="T15" fmla="*/ 26987 h 14"/>
                <a:gd name="T16" fmla="*/ 13412 w 29"/>
                <a:gd name="T17" fmla="*/ 9638 h 14"/>
                <a:gd name="T18" fmla="*/ 1916 w 29"/>
                <a:gd name="T19" fmla="*/ 1928 h 14"/>
                <a:gd name="T20" fmla="*/ 383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6" name="Freeform 1113"/>
            <p:cNvSpPr>
              <a:spLocks noChangeAspect="1"/>
            </p:cNvSpPr>
            <p:nvPr/>
          </p:nvSpPr>
          <p:spPr bwMode="auto">
            <a:xfrm>
              <a:off x="3349894" y="602106"/>
              <a:ext cx="12814" cy="10318"/>
            </a:xfrm>
            <a:custGeom>
              <a:avLst/>
              <a:gdLst>
                <a:gd name="T0" fmla="*/ 1814 w 7"/>
                <a:gd name="T1" fmla="*/ 0 h 6"/>
                <a:gd name="T2" fmla="*/ 1814 w 7"/>
                <a:gd name="T3" fmla="*/ 8467 h 6"/>
                <a:gd name="T4" fmla="*/ 12700 w 7"/>
                <a:gd name="T5" fmla="*/ 8467 h 6"/>
                <a:gd name="T6" fmla="*/ 1814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7" name="Freeform 1114"/>
            <p:cNvSpPr>
              <a:spLocks noChangeAspect="1"/>
            </p:cNvSpPr>
            <p:nvPr/>
          </p:nvSpPr>
          <p:spPr bwMode="auto">
            <a:xfrm>
              <a:off x="3377123" y="590497"/>
              <a:ext cx="38441" cy="21925"/>
            </a:xfrm>
            <a:custGeom>
              <a:avLst/>
              <a:gdLst>
                <a:gd name="T0" fmla="*/ 1905 w 20"/>
                <a:gd name="T1" fmla="*/ 13494 h 14"/>
                <a:gd name="T2" fmla="*/ 17145 w 20"/>
                <a:gd name="T3" fmla="*/ 26988 h 14"/>
                <a:gd name="T4" fmla="*/ 36195 w 20"/>
                <a:gd name="T5" fmla="*/ 21205 h 14"/>
                <a:gd name="T6" fmla="*/ 24765 w 20"/>
                <a:gd name="T7" fmla="*/ 11566 h 14"/>
                <a:gd name="T8" fmla="*/ 17145 w 20"/>
                <a:gd name="T9" fmla="*/ 1928 h 14"/>
                <a:gd name="T10" fmla="*/ 7620 w 20"/>
                <a:gd name="T11" fmla="*/ 7711 h 14"/>
                <a:gd name="T12" fmla="*/ 13335 w 20"/>
                <a:gd name="T13" fmla="*/ 15422 h 14"/>
                <a:gd name="T14" fmla="*/ 1905 w 20"/>
                <a:gd name="T15" fmla="*/ 13494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8" name="Freeform 1115"/>
            <p:cNvSpPr>
              <a:spLocks noChangeAspect="1"/>
            </p:cNvSpPr>
            <p:nvPr/>
          </p:nvSpPr>
          <p:spPr bwMode="auto">
            <a:xfrm>
              <a:off x="3783957" y="959346"/>
              <a:ext cx="60865" cy="9029"/>
            </a:xfrm>
            <a:custGeom>
              <a:avLst/>
              <a:gdLst>
                <a:gd name="T0" fmla="*/ 7541 w 32"/>
                <a:gd name="T1" fmla="*/ 1852 h 6"/>
                <a:gd name="T2" fmla="*/ 1885 w 32"/>
                <a:gd name="T3" fmla="*/ 7409 h 6"/>
                <a:gd name="T4" fmla="*/ 22622 w 32"/>
                <a:gd name="T5" fmla="*/ 11113 h 6"/>
                <a:gd name="T6" fmla="*/ 49014 w 32"/>
                <a:gd name="T7" fmla="*/ 11113 h 6"/>
                <a:gd name="T8" fmla="*/ 58440 w 32"/>
                <a:gd name="T9" fmla="*/ 9261 h 6"/>
                <a:gd name="T10" fmla="*/ 47129 w 32"/>
                <a:gd name="T11" fmla="*/ 7409 h 6"/>
                <a:gd name="T12" fmla="*/ 22622 w 32"/>
                <a:gd name="T13" fmla="*/ 5557 h 6"/>
                <a:gd name="T14" fmla="*/ 20737 w 32"/>
                <a:gd name="T15" fmla="*/ 3704 h 6"/>
                <a:gd name="T16" fmla="*/ 45244 w 32"/>
                <a:gd name="T17" fmla="*/ 5557 h 6"/>
                <a:gd name="T18" fmla="*/ 45244 w 32"/>
                <a:gd name="T19" fmla="*/ 1852 h 6"/>
                <a:gd name="T20" fmla="*/ 22622 w 32"/>
                <a:gd name="T21" fmla="*/ 0 h 6"/>
                <a:gd name="T22" fmla="*/ 7541 w 32"/>
                <a:gd name="T23" fmla="*/ 185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9" name="Freeform 1116"/>
            <p:cNvSpPr>
              <a:spLocks noChangeAspect="1"/>
            </p:cNvSpPr>
            <p:nvPr/>
          </p:nvSpPr>
          <p:spPr bwMode="auto">
            <a:xfrm>
              <a:off x="3726296" y="1038016"/>
              <a:ext cx="64069" cy="19345"/>
            </a:xfrm>
            <a:custGeom>
              <a:avLst/>
              <a:gdLst>
                <a:gd name="T0" fmla="*/ 9621 w 33"/>
                <a:gd name="T1" fmla="*/ 16485 h 13"/>
                <a:gd name="T2" fmla="*/ 21167 w 33"/>
                <a:gd name="T3" fmla="*/ 7327 h 13"/>
                <a:gd name="T4" fmla="*/ 34636 w 33"/>
                <a:gd name="T5" fmla="*/ 5495 h 13"/>
                <a:gd name="T6" fmla="*/ 46182 w 33"/>
                <a:gd name="T7" fmla="*/ 0 h 13"/>
                <a:gd name="T8" fmla="*/ 57727 w 33"/>
                <a:gd name="T9" fmla="*/ 3663 h 13"/>
                <a:gd name="T10" fmla="*/ 53879 w 33"/>
                <a:gd name="T11" fmla="*/ 9158 h 13"/>
                <a:gd name="T12" fmla="*/ 61576 w 33"/>
                <a:gd name="T13" fmla="*/ 16485 h 13"/>
                <a:gd name="T14" fmla="*/ 40409 w 33"/>
                <a:gd name="T15" fmla="*/ 20149 h 13"/>
                <a:gd name="T16" fmla="*/ 34636 w 33"/>
                <a:gd name="T17" fmla="*/ 18317 h 13"/>
                <a:gd name="T18" fmla="*/ 23091 w 33"/>
                <a:gd name="T19" fmla="*/ 21980 h 13"/>
                <a:gd name="T20" fmla="*/ 13470 w 33"/>
                <a:gd name="T21" fmla="*/ 23812 h 13"/>
                <a:gd name="T22" fmla="*/ 1924 w 33"/>
                <a:gd name="T23" fmla="*/ 21980 h 13"/>
                <a:gd name="T24" fmla="*/ 3848 w 33"/>
                <a:gd name="T25" fmla="*/ 18317 h 13"/>
                <a:gd name="T26" fmla="*/ 9621 w 33"/>
                <a:gd name="T27" fmla="*/ 16485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0" name="Freeform 1117"/>
            <p:cNvSpPr>
              <a:spLocks noChangeAspect="1"/>
            </p:cNvSpPr>
            <p:nvPr/>
          </p:nvSpPr>
          <p:spPr bwMode="auto">
            <a:xfrm>
              <a:off x="1392602" y="1642875"/>
              <a:ext cx="94501" cy="72222"/>
            </a:xfrm>
            <a:custGeom>
              <a:avLst/>
              <a:gdLst>
                <a:gd name="T0" fmla="*/ 5734 w 49"/>
                <a:gd name="T1" fmla="*/ 1891 h 47"/>
                <a:gd name="T2" fmla="*/ 47787 w 49"/>
                <a:gd name="T3" fmla="*/ 18915 h 47"/>
                <a:gd name="T4" fmla="*/ 57344 w 49"/>
                <a:gd name="T5" fmla="*/ 20806 h 47"/>
                <a:gd name="T6" fmla="*/ 64990 w 49"/>
                <a:gd name="T7" fmla="*/ 39721 h 47"/>
                <a:gd name="T8" fmla="*/ 64990 w 49"/>
                <a:gd name="T9" fmla="*/ 47287 h 47"/>
                <a:gd name="T10" fmla="*/ 82193 w 49"/>
                <a:gd name="T11" fmla="*/ 52962 h 47"/>
                <a:gd name="T12" fmla="*/ 89839 w 49"/>
                <a:gd name="T13" fmla="*/ 73768 h 47"/>
                <a:gd name="T14" fmla="*/ 89839 w 49"/>
                <a:gd name="T15" fmla="*/ 85117 h 47"/>
                <a:gd name="T16" fmla="*/ 74547 w 49"/>
                <a:gd name="T17" fmla="*/ 87009 h 47"/>
                <a:gd name="T18" fmla="*/ 55433 w 49"/>
                <a:gd name="T19" fmla="*/ 75660 h 47"/>
                <a:gd name="T20" fmla="*/ 61167 w 49"/>
                <a:gd name="T21" fmla="*/ 66202 h 47"/>
                <a:gd name="T22" fmla="*/ 45875 w 49"/>
                <a:gd name="T23" fmla="*/ 66202 h 47"/>
                <a:gd name="T24" fmla="*/ 38229 w 49"/>
                <a:gd name="T25" fmla="*/ 60528 h 47"/>
                <a:gd name="T26" fmla="*/ 36318 w 49"/>
                <a:gd name="T27" fmla="*/ 51070 h 47"/>
                <a:gd name="T28" fmla="*/ 26761 w 49"/>
                <a:gd name="T29" fmla="*/ 43504 h 47"/>
                <a:gd name="T30" fmla="*/ 19115 w 49"/>
                <a:gd name="T31" fmla="*/ 32155 h 47"/>
                <a:gd name="T32" fmla="*/ 19115 w 49"/>
                <a:gd name="T33" fmla="*/ 24589 h 47"/>
                <a:gd name="T34" fmla="*/ 7646 w 49"/>
                <a:gd name="T35" fmla="*/ 24589 h 47"/>
                <a:gd name="T36" fmla="*/ 13380 w 49"/>
                <a:gd name="T37" fmla="*/ 15132 h 47"/>
                <a:gd name="T38" fmla="*/ 3823 w 49"/>
                <a:gd name="T39" fmla="*/ 11349 h 47"/>
                <a:gd name="T40" fmla="*/ 0 w 49"/>
                <a:gd name="T41" fmla="*/ 3783 h 47"/>
                <a:gd name="T42" fmla="*/ 5734 w 49"/>
                <a:gd name="T43" fmla="*/ 189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1" name="Freeform 1118"/>
            <p:cNvSpPr>
              <a:spLocks noChangeAspect="1"/>
            </p:cNvSpPr>
            <p:nvPr/>
          </p:nvSpPr>
          <p:spPr bwMode="auto">
            <a:xfrm>
              <a:off x="1309313" y="1551309"/>
              <a:ext cx="33636" cy="29663"/>
            </a:xfrm>
            <a:custGeom>
              <a:avLst/>
              <a:gdLst>
                <a:gd name="T0" fmla="*/ 33337 w 17"/>
                <a:gd name="T1" fmla="*/ 5765 h 19"/>
                <a:gd name="T2" fmla="*/ 25493 w 17"/>
                <a:gd name="T3" fmla="*/ 21139 h 19"/>
                <a:gd name="T4" fmla="*/ 19610 w 17"/>
                <a:gd name="T5" fmla="*/ 34590 h 19"/>
                <a:gd name="T6" fmla="*/ 7844 w 17"/>
                <a:gd name="T7" fmla="*/ 36512 h 19"/>
                <a:gd name="T8" fmla="*/ 1961 w 17"/>
                <a:gd name="T9" fmla="*/ 28825 h 19"/>
                <a:gd name="T10" fmla="*/ 3922 w 17"/>
                <a:gd name="T11" fmla="*/ 11530 h 19"/>
                <a:gd name="T12" fmla="*/ 3922 w 17"/>
                <a:gd name="T13" fmla="*/ 1922 h 19"/>
                <a:gd name="T14" fmla="*/ 23532 w 17"/>
                <a:gd name="T15" fmla="*/ 5765 h 19"/>
                <a:gd name="T16" fmla="*/ 33337 w 17"/>
                <a:gd name="T17" fmla="*/ 5765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2" name="Freeform 1119"/>
            <p:cNvSpPr>
              <a:spLocks noChangeAspect="1"/>
            </p:cNvSpPr>
            <p:nvPr/>
          </p:nvSpPr>
          <p:spPr bwMode="auto">
            <a:xfrm>
              <a:off x="1315720" y="1579681"/>
              <a:ext cx="28831" cy="34821"/>
            </a:xfrm>
            <a:custGeom>
              <a:avLst/>
              <a:gdLst>
                <a:gd name="T0" fmla="*/ 19050 w 15"/>
                <a:gd name="T1" fmla="*/ 1864 h 23"/>
                <a:gd name="T2" fmla="*/ 1905 w 15"/>
                <a:gd name="T3" fmla="*/ 5591 h 23"/>
                <a:gd name="T4" fmla="*/ 9525 w 15"/>
                <a:gd name="T5" fmla="*/ 11181 h 23"/>
                <a:gd name="T6" fmla="*/ 11430 w 15"/>
                <a:gd name="T7" fmla="*/ 24226 h 23"/>
                <a:gd name="T8" fmla="*/ 24765 w 15"/>
                <a:gd name="T9" fmla="*/ 40998 h 23"/>
                <a:gd name="T10" fmla="*/ 26670 w 15"/>
                <a:gd name="T11" fmla="*/ 37271 h 23"/>
                <a:gd name="T12" fmla="*/ 19050 w 15"/>
                <a:gd name="T13" fmla="*/ 27953 h 23"/>
                <a:gd name="T14" fmla="*/ 15240 w 15"/>
                <a:gd name="T15" fmla="*/ 11181 h 23"/>
                <a:gd name="T16" fmla="*/ 19050 w 15"/>
                <a:gd name="T17" fmla="*/ 1864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3" name="Freeform 1120"/>
            <p:cNvSpPr>
              <a:spLocks noChangeAspect="1"/>
            </p:cNvSpPr>
            <p:nvPr/>
          </p:nvSpPr>
          <p:spPr bwMode="auto">
            <a:xfrm>
              <a:off x="556509" y="1268868"/>
              <a:ext cx="65670" cy="24504"/>
            </a:xfrm>
            <a:custGeom>
              <a:avLst/>
              <a:gdLst>
                <a:gd name="T0" fmla="*/ 7657 w 34"/>
                <a:gd name="T1" fmla="*/ 3770 h 16"/>
                <a:gd name="T2" fmla="*/ 1914 w 34"/>
                <a:gd name="T3" fmla="*/ 20737 h 16"/>
                <a:gd name="T4" fmla="*/ 15315 w 34"/>
                <a:gd name="T5" fmla="*/ 20737 h 16"/>
                <a:gd name="T6" fmla="*/ 26801 w 34"/>
                <a:gd name="T7" fmla="*/ 18852 h 16"/>
                <a:gd name="T8" fmla="*/ 38286 w 34"/>
                <a:gd name="T9" fmla="*/ 24507 h 16"/>
                <a:gd name="T10" fmla="*/ 47858 w 34"/>
                <a:gd name="T11" fmla="*/ 30163 h 16"/>
                <a:gd name="T12" fmla="*/ 65087 w 34"/>
                <a:gd name="T13" fmla="*/ 20737 h 16"/>
                <a:gd name="T14" fmla="*/ 47858 w 34"/>
                <a:gd name="T15" fmla="*/ 13196 h 16"/>
                <a:gd name="T16" fmla="*/ 44029 w 34"/>
                <a:gd name="T17" fmla="*/ 7541 h 16"/>
                <a:gd name="T18" fmla="*/ 36372 w 34"/>
                <a:gd name="T19" fmla="*/ 7541 h 16"/>
                <a:gd name="T20" fmla="*/ 24886 w 34"/>
                <a:gd name="T21" fmla="*/ 13196 h 16"/>
                <a:gd name="T22" fmla="*/ 11486 w 34"/>
                <a:gd name="T23" fmla="*/ 13196 h 16"/>
                <a:gd name="T24" fmla="*/ 7657 w 34"/>
                <a:gd name="T25" fmla="*/ 377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4" name="Freeform 1121"/>
            <p:cNvSpPr>
              <a:spLocks noChangeAspect="1"/>
            </p:cNvSpPr>
            <p:nvPr/>
          </p:nvSpPr>
          <p:spPr bwMode="auto">
            <a:xfrm>
              <a:off x="1307711" y="1493273"/>
              <a:ext cx="35238" cy="46429"/>
            </a:xfrm>
            <a:custGeom>
              <a:avLst/>
              <a:gdLst>
                <a:gd name="T0" fmla="*/ 21343 w 18"/>
                <a:gd name="T1" fmla="*/ 5715 h 30"/>
                <a:gd name="T2" fmla="*/ 32985 w 18"/>
                <a:gd name="T3" fmla="*/ 26670 h 30"/>
                <a:gd name="T4" fmla="*/ 34925 w 18"/>
                <a:gd name="T5" fmla="*/ 49530 h 30"/>
                <a:gd name="T6" fmla="*/ 31044 w 18"/>
                <a:gd name="T7" fmla="*/ 55245 h 30"/>
                <a:gd name="T8" fmla="*/ 19403 w 18"/>
                <a:gd name="T9" fmla="*/ 41910 h 30"/>
                <a:gd name="T10" fmla="*/ 11642 w 18"/>
                <a:gd name="T11" fmla="*/ 38100 h 30"/>
                <a:gd name="T12" fmla="*/ 15522 w 18"/>
                <a:gd name="T13" fmla="*/ 26670 h 30"/>
                <a:gd name="T14" fmla="*/ 9701 w 18"/>
                <a:gd name="T15" fmla="*/ 22860 h 30"/>
                <a:gd name="T16" fmla="*/ 17463 w 18"/>
                <a:gd name="T17" fmla="*/ 13335 h 30"/>
                <a:gd name="T18" fmla="*/ 1940 w 18"/>
                <a:gd name="T19" fmla="*/ 15240 h 30"/>
                <a:gd name="T20" fmla="*/ 9701 w 18"/>
                <a:gd name="T21" fmla="*/ 1905 h 30"/>
                <a:gd name="T22" fmla="*/ 21343 w 18"/>
                <a:gd name="T23" fmla="*/ 5715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5" name="Freeform 1122"/>
            <p:cNvSpPr>
              <a:spLocks noChangeAspect="1"/>
            </p:cNvSpPr>
            <p:nvPr/>
          </p:nvSpPr>
          <p:spPr bwMode="auto">
            <a:xfrm>
              <a:off x="1317321" y="1472637"/>
              <a:ext cx="28831" cy="20635"/>
            </a:xfrm>
            <a:custGeom>
              <a:avLst/>
              <a:gdLst>
                <a:gd name="T0" fmla="*/ 1905 w 15"/>
                <a:gd name="T1" fmla="*/ 3908 h 13"/>
                <a:gd name="T2" fmla="*/ 1905 w 15"/>
                <a:gd name="T3" fmla="*/ 23446 h 13"/>
                <a:gd name="T4" fmla="*/ 15240 w 15"/>
                <a:gd name="T5" fmla="*/ 21492 h 13"/>
                <a:gd name="T6" fmla="*/ 15240 w 15"/>
                <a:gd name="T7" fmla="*/ 15631 h 13"/>
                <a:gd name="T8" fmla="*/ 22860 w 15"/>
                <a:gd name="T9" fmla="*/ 19538 h 13"/>
                <a:gd name="T10" fmla="*/ 26670 w 15"/>
                <a:gd name="T11" fmla="*/ 19538 h 13"/>
                <a:gd name="T12" fmla="*/ 19050 w 15"/>
                <a:gd name="T13" fmla="*/ 7815 h 13"/>
                <a:gd name="T14" fmla="*/ 9525 w 15"/>
                <a:gd name="T15" fmla="*/ 5862 h 13"/>
                <a:gd name="T16" fmla="*/ 1905 w 15"/>
                <a:gd name="T17" fmla="*/ 390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6" name="Freeform 1123"/>
            <p:cNvSpPr>
              <a:spLocks noChangeAspect="1"/>
            </p:cNvSpPr>
            <p:nvPr/>
          </p:nvSpPr>
          <p:spPr bwMode="auto">
            <a:xfrm>
              <a:off x="1301304" y="1477797"/>
              <a:ext cx="14416" cy="23214"/>
            </a:xfrm>
            <a:custGeom>
              <a:avLst/>
              <a:gdLst>
                <a:gd name="T0" fmla="*/ 6123 w 7"/>
                <a:gd name="T1" fmla="*/ 1905 h 15"/>
                <a:gd name="T2" fmla="*/ 4082 w 7"/>
                <a:gd name="T3" fmla="*/ 17145 h 15"/>
                <a:gd name="T4" fmla="*/ 4082 w 7"/>
                <a:gd name="T5" fmla="*/ 28575 h 15"/>
                <a:gd name="T6" fmla="*/ 12247 w 7"/>
                <a:gd name="T7" fmla="*/ 17145 h 15"/>
                <a:gd name="T8" fmla="*/ 12247 w 7"/>
                <a:gd name="T9" fmla="*/ 7620 h 15"/>
                <a:gd name="T10" fmla="*/ 10206 w 7"/>
                <a:gd name="T11" fmla="*/ 1905 h 15"/>
                <a:gd name="T12" fmla="*/ 6123 w 7"/>
                <a:gd name="T13" fmla="*/ 1905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7" name="Freeform 1124"/>
            <p:cNvSpPr>
              <a:spLocks noChangeAspect="1"/>
            </p:cNvSpPr>
            <p:nvPr/>
          </p:nvSpPr>
          <p:spPr bwMode="auto">
            <a:xfrm>
              <a:off x="1285287" y="1464900"/>
              <a:ext cx="16017" cy="30953"/>
            </a:xfrm>
            <a:custGeom>
              <a:avLst/>
              <a:gdLst>
                <a:gd name="T0" fmla="*/ 1764 w 9"/>
                <a:gd name="T1" fmla="*/ 0 h 20"/>
                <a:gd name="T2" fmla="*/ 1764 w 9"/>
                <a:gd name="T3" fmla="*/ 5715 h 20"/>
                <a:gd name="T4" fmla="*/ 5292 w 9"/>
                <a:gd name="T5" fmla="*/ 26670 h 20"/>
                <a:gd name="T6" fmla="*/ 8819 w 9"/>
                <a:gd name="T7" fmla="*/ 38100 h 20"/>
                <a:gd name="T8" fmla="*/ 15875 w 9"/>
                <a:gd name="T9" fmla="*/ 24765 h 20"/>
                <a:gd name="T10" fmla="*/ 12347 w 9"/>
                <a:gd name="T11" fmla="*/ 5715 h 20"/>
                <a:gd name="T12" fmla="*/ 7056 w 9"/>
                <a:gd name="T13" fmla="*/ 1905 h 20"/>
                <a:gd name="T14" fmla="*/ 1764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8" name="Freeform 1125"/>
            <p:cNvSpPr>
              <a:spLocks noChangeAspect="1"/>
            </p:cNvSpPr>
            <p:nvPr/>
          </p:nvSpPr>
          <p:spPr bwMode="auto">
            <a:xfrm>
              <a:off x="1267668" y="1444265"/>
              <a:ext cx="38441" cy="23214"/>
            </a:xfrm>
            <a:custGeom>
              <a:avLst/>
              <a:gdLst>
                <a:gd name="T0" fmla="*/ 1905 w 20"/>
                <a:gd name="T1" fmla="*/ 3810 h 15"/>
                <a:gd name="T2" fmla="*/ 1905 w 20"/>
                <a:gd name="T3" fmla="*/ 9525 h 15"/>
                <a:gd name="T4" fmla="*/ 15240 w 20"/>
                <a:gd name="T5" fmla="*/ 26670 h 15"/>
                <a:gd name="T6" fmla="*/ 17145 w 20"/>
                <a:gd name="T7" fmla="*/ 20955 h 15"/>
                <a:gd name="T8" fmla="*/ 17145 w 20"/>
                <a:gd name="T9" fmla="*/ 17145 h 15"/>
                <a:gd name="T10" fmla="*/ 34290 w 20"/>
                <a:gd name="T11" fmla="*/ 22860 h 15"/>
                <a:gd name="T12" fmla="*/ 34290 w 20"/>
                <a:gd name="T13" fmla="*/ 15240 h 15"/>
                <a:gd name="T14" fmla="*/ 20955 w 20"/>
                <a:gd name="T15" fmla="*/ 9525 h 15"/>
                <a:gd name="T16" fmla="*/ 26670 w 20"/>
                <a:gd name="T17" fmla="*/ 9525 h 15"/>
                <a:gd name="T18" fmla="*/ 36195 w 20"/>
                <a:gd name="T19" fmla="*/ 11430 h 15"/>
                <a:gd name="T20" fmla="*/ 34290 w 20"/>
                <a:gd name="T21" fmla="*/ 3810 h 15"/>
                <a:gd name="T22" fmla="*/ 20955 w 20"/>
                <a:gd name="T23" fmla="*/ 0 h 15"/>
                <a:gd name="T24" fmla="*/ 7620 w 20"/>
                <a:gd name="T25" fmla="*/ 3810 h 15"/>
                <a:gd name="T26" fmla="*/ 1905 w 20"/>
                <a:gd name="T27" fmla="*/ 381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9" name="Freeform 1126"/>
            <p:cNvSpPr>
              <a:spLocks noChangeAspect="1"/>
            </p:cNvSpPr>
            <p:nvPr/>
          </p:nvSpPr>
          <p:spPr bwMode="auto">
            <a:xfrm>
              <a:off x="1354160" y="1503590"/>
              <a:ext cx="19221" cy="21925"/>
            </a:xfrm>
            <a:custGeom>
              <a:avLst/>
              <a:gdLst>
                <a:gd name="T0" fmla="*/ 5715 w 10"/>
                <a:gd name="T1" fmla="*/ 5783 h 14"/>
                <a:gd name="T2" fmla="*/ 1905 w 10"/>
                <a:gd name="T3" fmla="*/ 19277 h 14"/>
                <a:gd name="T4" fmla="*/ 13335 w 10"/>
                <a:gd name="T5" fmla="*/ 25060 h 14"/>
                <a:gd name="T6" fmla="*/ 19050 w 10"/>
                <a:gd name="T7" fmla="*/ 9639 h 14"/>
                <a:gd name="T8" fmla="*/ 17145 w 10"/>
                <a:gd name="T9" fmla="*/ 1928 h 14"/>
                <a:gd name="T10" fmla="*/ 5715 w 10"/>
                <a:gd name="T11" fmla="*/ 5783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0" name="Freeform 1127"/>
            <p:cNvSpPr>
              <a:spLocks noChangeAspect="1"/>
            </p:cNvSpPr>
            <p:nvPr/>
          </p:nvSpPr>
          <p:spPr bwMode="auto">
            <a:xfrm>
              <a:off x="1334940" y="1494562"/>
              <a:ext cx="11212" cy="10318"/>
            </a:xfrm>
            <a:custGeom>
              <a:avLst/>
              <a:gdLst>
                <a:gd name="T0" fmla="*/ 5556 w 6"/>
                <a:gd name="T1" fmla="*/ 1814 h 7"/>
                <a:gd name="T2" fmla="*/ 0 w 6"/>
                <a:gd name="T3" fmla="*/ 5443 h 7"/>
                <a:gd name="T4" fmla="*/ 5556 w 6"/>
                <a:gd name="T5" fmla="*/ 10886 h 7"/>
                <a:gd name="T6" fmla="*/ 11112 w 6"/>
                <a:gd name="T7" fmla="*/ 7257 h 7"/>
                <a:gd name="T8" fmla="*/ 5556 w 6"/>
                <a:gd name="T9" fmla="*/ 1814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3" y="1"/>
                  </a:moveTo>
                  <a:cubicBezTo>
                    <a:pt x="2" y="0"/>
                    <a:pt x="0" y="2"/>
                    <a:pt x="0" y="3"/>
                  </a:cubicBezTo>
                  <a:cubicBezTo>
                    <a:pt x="0" y="4"/>
                    <a:pt x="2" y="6"/>
                    <a:pt x="3" y="6"/>
                  </a:cubicBezTo>
                  <a:cubicBezTo>
                    <a:pt x="4" y="7"/>
                    <a:pt x="6" y="5"/>
                    <a:pt x="6" y="4"/>
                  </a:cubicBezTo>
                  <a:cubicBezTo>
                    <a:pt x="6" y="2"/>
                    <a:pt x="5"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1" name="Freeform 1128"/>
            <p:cNvSpPr>
              <a:spLocks noChangeAspect="1"/>
            </p:cNvSpPr>
            <p:nvPr/>
          </p:nvSpPr>
          <p:spPr bwMode="auto">
            <a:xfrm>
              <a:off x="1037022" y="1377201"/>
              <a:ext cx="28831" cy="19346"/>
            </a:xfrm>
            <a:custGeom>
              <a:avLst/>
              <a:gdLst>
                <a:gd name="T0" fmla="*/ 1905 w 15"/>
                <a:gd name="T1" fmla="*/ 18318 h 13"/>
                <a:gd name="T2" fmla="*/ 7620 w 15"/>
                <a:gd name="T3" fmla="*/ 23813 h 13"/>
                <a:gd name="T4" fmla="*/ 28575 w 15"/>
                <a:gd name="T5" fmla="*/ 1832 h 13"/>
                <a:gd name="T6" fmla="*/ 26670 w 15"/>
                <a:gd name="T7" fmla="*/ 0 h 13"/>
                <a:gd name="T8" fmla="*/ 1905 w 15"/>
                <a:gd name="T9" fmla="*/ 18318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2" name="Freeform 1129"/>
            <p:cNvSpPr>
              <a:spLocks noChangeAspect="1"/>
            </p:cNvSpPr>
            <p:nvPr/>
          </p:nvSpPr>
          <p:spPr bwMode="auto">
            <a:xfrm>
              <a:off x="854427" y="1452002"/>
              <a:ext cx="65670" cy="33532"/>
            </a:xfrm>
            <a:custGeom>
              <a:avLst/>
              <a:gdLst>
                <a:gd name="T0" fmla="*/ 1914 w 34"/>
                <a:gd name="T1" fmla="*/ 11793 h 21"/>
                <a:gd name="T2" fmla="*/ 0 w 34"/>
                <a:gd name="T3" fmla="*/ 21620 h 21"/>
                <a:gd name="T4" fmla="*/ 3829 w 34"/>
                <a:gd name="T5" fmla="*/ 31448 h 21"/>
                <a:gd name="T6" fmla="*/ 3829 w 34"/>
                <a:gd name="T7" fmla="*/ 41275 h 21"/>
                <a:gd name="T8" fmla="*/ 13400 w 34"/>
                <a:gd name="T9" fmla="*/ 35379 h 21"/>
                <a:gd name="T10" fmla="*/ 22972 w 34"/>
                <a:gd name="T11" fmla="*/ 39310 h 21"/>
                <a:gd name="T12" fmla="*/ 40201 w 34"/>
                <a:gd name="T13" fmla="*/ 25551 h 21"/>
                <a:gd name="T14" fmla="*/ 61258 w 34"/>
                <a:gd name="T15" fmla="*/ 15724 h 21"/>
                <a:gd name="T16" fmla="*/ 59344 w 34"/>
                <a:gd name="T17" fmla="*/ 1965 h 21"/>
                <a:gd name="T18" fmla="*/ 47858 w 34"/>
                <a:gd name="T19" fmla="*/ 1965 h 21"/>
                <a:gd name="T20" fmla="*/ 36372 w 34"/>
                <a:gd name="T21" fmla="*/ 5896 h 21"/>
                <a:gd name="T22" fmla="*/ 28715 w 34"/>
                <a:gd name="T23" fmla="*/ 1965 h 21"/>
                <a:gd name="T24" fmla="*/ 24886 w 34"/>
                <a:gd name="T25" fmla="*/ 13758 h 21"/>
                <a:gd name="T26" fmla="*/ 21058 w 34"/>
                <a:gd name="T27" fmla="*/ 19655 h 21"/>
                <a:gd name="T28" fmla="*/ 21058 w 34"/>
                <a:gd name="T29" fmla="*/ 9827 h 21"/>
                <a:gd name="T30" fmla="*/ 9572 w 34"/>
                <a:gd name="T31" fmla="*/ 9827 h 21"/>
                <a:gd name="T32" fmla="*/ 1914 w 34"/>
                <a:gd name="T33" fmla="*/ 11793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3" name="Freeform 1130"/>
            <p:cNvSpPr>
              <a:spLocks noChangeAspect="1"/>
            </p:cNvSpPr>
            <p:nvPr/>
          </p:nvSpPr>
          <p:spPr bwMode="auto">
            <a:xfrm>
              <a:off x="900876" y="1436526"/>
              <a:ext cx="30433" cy="14187"/>
            </a:xfrm>
            <a:custGeom>
              <a:avLst/>
              <a:gdLst>
                <a:gd name="T0" fmla="*/ 18852 w 16"/>
                <a:gd name="T1" fmla="*/ 0 h 9"/>
                <a:gd name="T2" fmla="*/ 1885 w 16"/>
                <a:gd name="T3" fmla="*/ 11642 h 9"/>
                <a:gd name="T4" fmla="*/ 9426 w 16"/>
                <a:gd name="T5" fmla="*/ 17463 h 9"/>
                <a:gd name="T6" fmla="*/ 28278 w 16"/>
                <a:gd name="T7" fmla="*/ 9702 h 9"/>
                <a:gd name="T8" fmla="*/ 20737 w 16"/>
                <a:gd name="T9" fmla="*/ 3881 h 9"/>
                <a:gd name="T10" fmla="*/ 1885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4" name="Freeform 1131"/>
            <p:cNvSpPr>
              <a:spLocks noChangeAspect="1"/>
            </p:cNvSpPr>
            <p:nvPr/>
          </p:nvSpPr>
          <p:spPr bwMode="auto">
            <a:xfrm>
              <a:off x="598153" y="1529383"/>
              <a:ext cx="36839" cy="19346"/>
            </a:xfrm>
            <a:custGeom>
              <a:avLst/>
              <a:gdLst>
                <a:gd name="T0" fmla="*/ 36512 w 19"/>
                <a:gd name="T1" fmla="*/ 0 h 12"/>
                <a:gd name="T2" fmla="*/ 36512 w 19"/>
                <a:gd name="T3" fmla="*/ 11907 h 12"/>
                <a:gd name="T4" fmla="*/ 15373 w 19"/>
                <a:gd name="T5" fmla="*/ 15875 h 12"/>
                <a:gd name="T6" fmla="*/ 3843 w 19"/>
                <a:gd name="T7" fmla="*/ 23813 h 12"/>
                <a:gd name="T8" fmla="*/ 1922 w 19"/>
                <a:gd name="T9" fmla="*/ 17860 h 12"/>
                <a:gd name="T10" fmla="*/ 13452 w 19"/>
                <a:gd name="T11" fmla="*/ 5953 h 12"/>
                <a:gd name="T12" fmla="*/ 24982 w 19"/>
                <a:gd name="T13" fmla="*/ 3969 h 12"/>
                <a:gd name="T14" fmla="*/ 36512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5" name="Freeform 1132"/>
            <p:cNvSpPr>
              <a:spLocks noChangeAspect="1"/>
            </p:cNvSpPr>
            <p:nvPr/>
          </p:nvSpPr>
          <p:spPr bwMode="auto">
            <a:xfrm>
              <a:off x="521271" y="1555176"/>
              <a:ext cx="40042" cy="23214"/>
            </a:xfrm>
            <a:custGeom>
              <a:avLst/>
              <a:gdLst>
                <a:gd name="T0" fmla="*/ 37797 w 21"/>
                <a:gd name="T1" fmla="*/ 11430 h 15"/>
                <a:gd name="T2" fmla="*/ 1890 w 21"/>
                <a:gd name="T3" fmla="*/ 26670 h 15"/>
                <a:gd name="T4" fmla="*/ 3780 w 21"/>
                <a:gd name="T5" fmla="*/ 20955 h 15"/>
                <a:gd name="T6" fmla="*/ 17009 w 21"/>
                <a:gd name="T7" fmla="*/ 15240 h 15"/>
                <a:gd name="T8" fmla="*/ 26458 w 21"/>
                <a:gd name="T9" fmla="*/ 9525 h 15"/>
                <a:gd name="T10" fmla="*/ 17009 w 21"/>
                <a:gd name="T11" fmla="*/ 3810 h 15"/>
                <a:gd name="T12" fmla="*/ 34017 w 21"/>
                <a:gd name="T13" fmla="*/ 1905 h 15"/>
                <a:gd name="T14" fmla="*/ 32128 w 21"/>
                <a:gd name="T15" fmla="*/ 9525 h 15"/>
                <a:gd name="T16" fmla="*/ 37797 w 21"/>
                <a:gd name="T17" fmla="*/ 1143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6" name="Freeform 1133"/>
            <p:cNvSpPr>
              <a:spLocks noChangeAspect="1"/>
            </p:cNvSpPr>
            <p:nvPr/>
          </p:nvSpPr>
          <p:spPr bwMode="auto">
            <a:xfrm>
              <a:off x="489236" y="1564205"/>
              <a:ext cx="32034" cy="21924"/>
            </a:xfrm>
            <a:custGeom>
              <a:avLst/>
              <a:gdLst>
                <a:gd name="T0" fmla="*/ 0 w 17"/>
                <a:gd name="T1" fmla="*/ 26987 h 14"/>
                <a:gd name="T2" fmla="*/ 18676 w 17"/>
                <a:gd name="T3" fmla="*/ 13494 h 14"/>
                <a:gd name="T4" fmla="*/ 31750 w 17"/>
                <a:gd name="T5" fmla="*/ 3855 h 14"/>
                <a:gd name="T6" fmla="*/ 22412 w 17"/>
                <a:gd name="T7" fmla="*/ 1928 h 14"/>
                <a:gd name="T8" fmla="*/ 18676 w 17"/>
                <a:gd name="T9" fmla="*/ 13494 h 14"/>
                <a:gd name="T10" fmla="*/ 9338 w 17"/>
                <a:gd name="T11" fmla="*/ 13494 h 14"/>
                <a:gd name="T12" fmla="*/ 0 w 17"/>
                <a:gd name="T13" fmla="*/ 2698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7" name="Freeform 1140"/>
            <p:cNvSpPr>
              <a:spLocks noChangeAspect="1"/>
            </p:cNvSpPr>
            <p:nvPr/>
          </p:nvSpPr>
          <p:spPr bwMode="auto">
            <a:xfrm>
              <a:off x="612568" y="1374622"/>
              <a:ext cx="38441" cy="21925"/>
            </a:xfrm>
            <a:custGeom>
              <a:avLst/>
              <a:gdLst>
                <a:gd name="T0" fmla="*/ 1905 w 20"/>
                <a:gd name="T1" fmla="*/ 7711 h 14"/>
                <a:gd name="T2" fmla="*/ 1905 w 20"/>
                <a:gd name="T3" fmla="*/ 15422 h 14"/>
                <a:gd name="T4" fmla="*/ 19050 w 20"/>
                <a:gd name="T5" fmla="*/ 26988 h 14"/>
                <a:gd name="T6" fmla="*/ 26670 w 20"/>
                <a:gd name="T7" fmla="*/ 21205 h 14"/>
                <a:gd name="T8" fmla="*/ 32385 w 20"/>
                <a:gd name="T9" fmla="*/ 21205 h 14"/>
                <a:gd name="T10" fmla="*/ 38100 w 20"/>
                <a:gd name="T11" fmla="*/ 3855 h 14"/>
                <a:gd name="T12" fmla="*/ 32385 w 20"/>
                <a:gd name="T13" fmla="*/ 1928 h 14"/>
                <a:gd name="T14" fmla="*/ 17145 w 20"/>
                <a:gd name="T15" fmla="*/ 9639 h 14"/>
                <a:gd name="T16" fmla="*/ 1905 w 20"/>
                <a:gd name="T17" fmla="*/ 77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8" name="Freeform 1141"/>
            <p:cNvSpPr>
              <a:spLocks noChangeAspect="1"/>
            </p:cNvSpPr>
            <p:nvPr/>
          </p:nvSpPr>
          <p:spPr bwMode="auto">
            <a:xfrm>
              <a:off x="473220" y="2361226"/>
              <a:ext cx="17618" cy="12897"/>
            </a:xfrm>
            <a:custGeom>
              <a:avLst/>
              <a:gdLst>
                <a:gd name="T0" fmla="*/ 1940 w 9"/>
                <a:gd name="T1" fmla="*/ 1984 h 8"/>
                <a:gd name="T2" fmla="*/ 1940 w 9"/>
                <a:gd name="T3" fmla="*/ 11906 h 8"/>
                <a:gd name="T4" fmla="*/ 11641 w 9"/>
                <a:gd name="T5" fmla="*/ 13891 h 8"/>
                <a:gd name="T6" fmla="*/ 13582 w 9"/>
                <a:gd name="T7" fmla="*/ 3969 h 8"/>
                <a:gd name="T8" fmla="*/ 1940 w 9"/>
                <a:gd name="T9" fmla="*/ 1984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1" y="1"/>
                  </a:moveTo>
                  <a:cubicBezTo>
                    <a:pt x="0" y="2"/>
                    <a:pt x="0" y="5"/>
                    <a:pt x="1" y="6"/>
                  </a:cubicBezTo>
                  <a:cubicBezTo>
                    <a:pt x="2" y="7"/>
                    <a:pt x="5" y="8"/>
                    <a:pt x="6" y="7"/>
                  </a:cubicBezTo>
                  <a:cubicBezTo>
                    <a:pt x="8" y="6"/>
                    <a:pt x="9" y="3"/>
                    <a:pt x="7" y="2"/>
                  </a:cubicBezTo>
                  <a:cubicBezTo>
                    <a:pt x="6" y="0"/>
                    <a:pt x="3"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9" name="Freeform 1142"/>
            <p:cNvSpPr>
              <a:spLocks noChangeAspect="1"/>
            </p:cNvSpPr>
            <p:nvPr/>
          </p:nvSpPr>
          <p:spPr bwMode="auto">
            <a:xfrm>
              <a:off x="508457" y="2374123"/>
              <a:ext cx="19221" cy="10318"/>
            </a:xfrm>
            <a:custGeom>
              <a:avLst/>
              <a:gdLst>
                <a:gd name="T0" fmla="*/ 1905 w 10"/>
                <a:gd name="T1" fmla="*/ 3629 h 7"/>
                <a:gd name="T2" fmla="*/ 11430 w 10"/>
                <a:gd name="T3" fmla="*/ 0 h 7"/>
                <a:gd name="T4" fmla="*/ 19050 w 10"/>
                <a:gd name="T5" fmla="*/ 10886 h 7"/>
                <a:gd name="T6" fmla="*/ 9525 w 10"/>
                <a:gd name="T7" fmla="*/ 10886 h 7"/>
                <a:gd name="T8" fmla="*/ 1905 w 10"/>
                <a:gd name="T9" fmla="*/ 3629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1" y="2"/>
                  </a:moveTo>
                  <a:cubicBezTo>
                    <a:pt x="1" y="0"/>
                    <a:pt x="4" y="0"/>
                    <a:pt x="6" y="0"/>
                  </a:cubicBezTo>
                  <a:cubicBezTo>
                    <a:pt x="8" y="1"/>
                    <a:pt x="10" y="4"/>
                    <a:pt x="10" y="6"/>
                  </a:cubicBezTo>
                  <a:cubicBezTo>
                    <a:pt x="10" y="7"/>
                    <a:pt x="7" y="6"/>
                    <a:pt x="5" y="6"/>
                  </a:cubicBezTo>
                  <a:cubicBezTo>
                    <a:pt x="3" y="5"/>
                    <a:pt x="0" y="4"/>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0" name="Freeform 1143"/>
            <p:cNvSpPr>
              <a:spLocks noChangeAspect="1"/>
            </p:cNvSpPr>
            <p:nvPr/>
          </p:nvSpPr>
          <p:spPr bwMode="auto">
            <a:xfrm>
              <a:off x="543696" y="2390888"/>
              <a:ext cx="17618" cy="10318"/>
            </a:xfrm>
            <a:custGeom>
              <a:avLst/>
              <a:gdLst>
                <a:gd name="T0" fmla="*/ 1940 w 9"/>
                <a:gd name="T1" fmla="*/ 1814 h 7"/>
                <a:gd name="T2" fmla="*/ 11641 w 9"/>
                <a:gd name="T3" fmla="*/ 3629 h 7"/>
                <a:gd name="T4" fmla="*/ 17462 w 9"/>
                <a:gd name="T5" fmla="*/ 10886 h 7"/>
                <a:gd name="T6" fmla="*/ 5821 w 9"/>
                <a:gd name="T7" fmla="*/ 12700 h 7"/>
                <a:gd name="T8" fmla="*/ 1940 w 9"/>
                <a:gd name="T9" fmla="*/ 7257 h 7"/>
                <a:gd name="T10" fmla="*/ 1940 w 9"/>
                <a:gd name="T11" fmla="*/ 1814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1" y="1"/>
                  </a:moveTo>
                  <a:cubicBezTo>
                    <a:pt x="3" y="0"/>
                    <a:pt x="4" y="1"/>
                    <a:pt x="6" y="2"/>
                  </a:cubicBezTo>
                  <a:cubicBezTo>
                    <a:pt x="7" y="3"/>
                    <a:pt x="9" y="4"/>
                    <a:pt x="9" y="6"/>
                  </a:cubicBezTo>
                  <a:cubicBezTo>
                    <a:pt x="8" y="7"/>
                    <a:pt x="5" y="7"/>
                    <a:pt x="3" y="7"/>
                  </a:cubicBezTo>
                  <a:cubicBezTo>
                    <a:pt x="2" y="6"/>
                    <a:pt x="2" y="5"/>
                    <a:pt x="1" y="4"/>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1" name="Freeform 1144"/>
            <p:cNvSpPr>
              <a:spLocks noChangeAspect="1"/>
            </p:cNvSpPr>
            <p:nvPr/>
          </p:nvSpPr>
          <p:spPr bwMode="auto">
            <a:xfrm>
              <a:off x="553305" y="2410234"/>
              <a:ext cx="33636" cy="29663"/>
            </a:xfrm>
            <a:custGeom>
              <a:avLst/>
              <a:gdLst>
                <a:gd name="T0" fmla="*/ 7844 w 17"/>
                <a:gd name="T1" fmla="*/ 0 h 19"/>
                <a:gd name="T2" fmla="*/ 9805 w 17"/>
                <a:gd name="T3" fmla="*/ 5765 h 19"/>
                <a:gd name="T4" fmla="*/ 0 w 17"/>
                <a:gd name="T5" fmla="*/ 15373 h 19"/>
                <a:gd name="T6" fmla="*/ 5883 w 17"/>
                <a:gd name="T7" fmla="*/ 24982 h 19"/>
                <a:gd name="T8" fmla="*/ 5883 w 17"/>
                <a:gd name="T9" fmla="*/ 36512 h 19"/>
                <a:gd name="T10" fmla="*/ 21571 w 17"/>
                <a:gd name="T11" fmla="*/ 26904 h 19"/>
                <a:gd name="T12" fmla="*/ 31376 w 17"/>
                <a:gd name="T13" fmla="*/ 19217 h 19"/>
                <a:gd name="T14" fmla="*/ 27454 w 17"/>
                <a:gd name="T15" fmla="*/ 13452 h 19"/>
                <a:gd name="T16" fmla="*/ 25493 w 17"/>
                <a:gd name="T17" fmla="*/ 7687 h 19"/>
                <a:gd name="T18" fmla="*/ 7844 w 17"/>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9"/>
                <a:gd name="T32" fmla="*/ 17 w 17"/>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9">
                  <a:moveTo>
                    <a:pt x="4" y="0"/>
                  </a:moveTo>
                  <a:cubicBezTo>
                    <a:pt x="3" y="0"/>
                    <a:pt x="5" y="2"/>
                    <a:pt x="5" y="3"/>
                  </a:cubicBezTo>
                  <a:cubicBezTo>
                    <a:pt x="4" y="5"/>
                    <a:pt x="1" y="6"/>
                    <a:pt x="0" y="8"/>
                  </a:cubicBezTo>
                  <a:cubicBezTo>
                    <a:pt x="0" y="10"/>
                    <a:pt x="2" y="11"/>
                    <a:pt x="3" y="13"/>
                  </a:cubicBezTo>
                  <a:cubicBezTo>
                    <a:pt x="3" y="15"/>
                    <a:pt x="2" y="19"/>
                    <a:pt x="3" y="19"/>
                  </a:cubicBezTo>
                  <a:cubicBezTo>
                    <a:pt x="6" y="19"/>
                    <a:pt x="8" y="16"/>
                    <a:pt x="11" y="14"/>
                  </a:cubicBezTo>
                  <a:cubicBezTo>
                    <a:pt x="13" y="13"/>
                    <a:pt x="15" y="12"/>
                    <a:pt x="16" y="10"/>
                  </a:cubicBezTo>
                  <a:cubicBezTo>
                    <a:pt x="17" y="9"/>
                    <a:pt x="15" y="8"/>
                    <a:pt x="14" y="7"/>
                  </a:cubicBezTo>
                  <a:cubicBezTo>
                    <a:pt x="14" y="6"/>
                    <a:pt x="14" y="4"/>
                    <a:pt x="13" y="4"/>
                  </a:cubicBezTo>
                  <a:cubicBezTo>
                    <a:pt x="10" y="2"/>
                    <a:pt x="8"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2" name="Freeform 1145"/>
            <p:cNvSpPr>
              <a:spLocks noChangeAspect="1"/>
            </p:cNvSpPr>
            <p:nvPr/>
          </p:nvSpPr>
          <p:spPr bwMode="auto">
            <a:xfrm>
              <a:off x="2941457" y="4093264"/>
              <a:ext cx="38441" cy="24504"/>
            </a:xfrm>
            <a:custGeom>
              <a:avLst/>
              <a:gdLst>
                <a:gd name="T0" fmla="*/ 11430 w 20"/>
                <a:gd name="T1" fmla="*/ 28278 h 16"/>
                <a:gd name="T2" fmla="*/ 36195 w 20"/>
                <a:gd name="T3" fmla="*/ 3770 h 16"/>
                <a:gd name="T4" fmla="*/ 32385 w 20"/>
                <a:gd name="T5" fmla="*/ 0 h 16"/>
                <a:gd name="T6" fmla="*/ 20955 w 20"/>
                <a:gd name="T7" fmla="*/ 3770 h 16"/>
                <a:gd name="T8" fmla="*/ 11430 w 20"/>
                <a:gd name="T9" fmla="*/ 1885 h 16"/>
                <a:gd name="T10" fmla="*/ 11430 w 20"/>
                <a:gd name="T11" fmla="*/ 5656 h 16"/>
                <a:gd name="T12" fmla="*/ 7620 w 20"/>
                <a:gd name="T13" fmla="*/ 9426 h 16"/>
                <a:gd name="T14" fmla="*/ 17145 w 20"/>
                <a:gd name="T15" fmla="*/ 11311 h 16"/>
                <a:gd name="T16" fmla="*/ 9525 w 20"/>
                <a:gd name="T17" fmla="*/ 18852 h 16"/>
                <a:gd name="T18" fmla="*/ 0 w 20"/>
                <a:gd name="T19" fmla="*/ 24507 h 16"/>
                <a:gd name="T20" fmla="*/ 11430 w 20"/>
                <a:gd name="T21" fmla="*/ 2827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3" name="Freeform 1146"/>
            <p:cNvSpPr>
              <a:spLocks noChangeAspect="1"/>
            </p:cNvSpPr>
            <p:nvPr/>
          </p:nvSpPr>
          <p:spPr bwMode="auto">
            <a:xfrm>
              <a:off x="2971890" y="4093264"/>
              <a:ext cx="44848" cy="27084"/>
            </a:xfrm>
            <a:custGeom>
              <a:avLst/>
              <a:gdLst>
                <a:gd name="T0" fmla="*/ 1933 w 23"/>
                <a:gd name="T1" fmla="*/ 17650 h 17"/>
                <a:gd name="T2" fmla="*/ 34787 w 23"/>
                <a:gd name="T3" fmla="*/ 1961 h 17"/>
                <a:gd name="T4" fmla="*/ 44450 w 23"/>
                <a:gd name="T5" fmla="*/ 7844 h 17"/>
                <a:gd name="T6" fmla="*/ 36720 w 23"/>
                <a:gd name="T7" fmla="*/ 13727 h 17"/>
                <a:gd name="T8" fmla="*/ 28989 w 23"/>
                <a:gd name="T9" fmla="*/ 15688 h 17"/>
                <a:gd name="T10" fmla="*/ 19326 w 23"/>
                <a:gd name="T11" fmla="*/ 21572 h 17"/>
                <a:gd name="T12" fmla="*/ 11596 w 23"/>
                <a:gd name="T13" fmla="*/ 23533 h 17"/>
                <a:gd name="T14" fmla="*/ 11596 w 23"/>
                <a:gd name="T15" fmla="*/ 29416 h 17"/>
                <a:gd name="T16" fmla="*/ 1933 w 23"/>
                <a:gd name="T17" fmla="*/ 31377 h 17"/>
                <a:gd name="T18" fmla="*/ 1933 w 23"/>
                <a:gd name="T19" fmla="*/ 1765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4" name="Freeform 1147"/>
            <p:cNvSpPr>
              <a:spLocks noChangeAspect="1"/>
            </p:cNvSpPr>
            <p:nvPr/>
          </p:nvSpPr>
          <p:spPr bwMode="auto">
            <a:xfrm>
              <a:off x="3470022" y="4166775"/>
              <a:ext cx="51255" cy="27083"/>
            </a:xfrm>
            <a:custGeom>
              <a:avLst/>
              <a:gdLst>
                <a:gd name="T0" fmla="*/ 50800 w 26"/>
                <a:gd name="T1" fmla="*/ 29633 h 18"/>
                <a:gd name="T2" fmla="*/ 42985 w 26"/>
                <a:gd name="T3" fmla="*/ 16669 h 18"/>
                <a:gd name="T4" fmla="*/ 29308 w 26"/>
                <a:gd name="T5" fmla="*/ 3704 h 18"/>
                <a:gd name="T6" fmla="*/ 11723 w 26"/>
                <a:gd name="T7" fmla="*/ 0 h 18"/>
                <a:gd name="T8" fmla="*/ 0 w 26"/>
                <a:gd name="T9" fmla="*/ 0 h 18"/>
                <a:gd name="T10" fmla="*/ 15631 w 26"/>
                <a:gd name="T11" fmla="*/ 7408 h 18"/>
                <a:gd name="T12" fmla="*/ 37123 w 26"/>
                <a:gd name="T13" fmla="*/ 24077 h 18"/>
                <a:gd name="T14" fmla="*/ 46892 w 26"/>
                <a:gd name="T15" fmla="*/ 33337 h 18"/>
                <a:gd name="T16" fmla="*/ 50800 w 26"/>
                <a:gd name="T17" fmla="*/ 2963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8"/>
                <a:gd name="T29" fmla="*/ 26 w 2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8">
                  <a:moveTo>
                    <a:pt x="26" y="16"/>
                  </a:moveTo>
                  <a:cubicBezTo>
                    <a:pt x="25" y="13"/>
                    <a:pt x="24" y="11"/>
                    <a:pt x="22" y="9"/>
                  </a:cubicBezTo>
                  <a:cubicBezTo>
                    <a:pt x="20" y="6"/>
                    <a:pt x="18" y="4"/>
                    <a:pt x="15" y="2"/>
                  </a:cubicBezTo>
                  <a:cubicBezTo>
                    <a:pt x="12" y="1"/>
                    <a:pt x="9" y="1"/>
                    <a:pt x="6" y="0"/>
                  </a:cubicBezTo>
                  <a:cubicBezTo>
                    <a:pt x="4" y="0"/>
                    <a:pt x="2" y="0"/>
                    <a:pt x="0" y="0"/>
                  </a:cubicBezTo>
                  <a:cubicBezTo>
                    <a:pt x="3" y="2"/>
                    <a:pt x="5" y="2"/>
                    <a:pt x="8" y="4"/>
                  </a:cubicBezTo>
                  <a:cubicBezTo>
                    <a:pt x="12" y="7"/>
                    <a:pt x="16" y="10"/>
                    <a:pt x="19" y="13"/>
                  </a:cubicBezTo>
                  <a:cubicBezTo>
                    <a:pt x="21" y="14"/>
                    <a:pt x="23" y="16"/>
                    <a:pt x="24" y="18"/>
                  </a:cubicBezTo>
                  <a:cubicBezTo>
                    <a:pt x="25" y="17"/>
                    <a:pt x="26" y="17"/>
                    <a:pt x="26"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5" name="Freeform 1148"/>
            <p:cNvSpPr>
              <a:spLocks noChangeAspect="1"/>
            </p:cNvSpPr>
            <p:nvPr/>
          </p:nvSpPr>
          <p:spPr bwMode="auto">
            <a:xfrm>
              <a:off x="2246314" y="2606264"/>
              <a:ext cx="4806" cy="3868"/>
            </a:xfrm>
            <a:custGeom>
              <a:avLst/>
              <a:gdLst>
                <a:gd name="T0" fmla="*/ 3175 w 3"/>
                <a:gd name="T1" fmla="*/ 3175 h 3"/>
                <a:gd name="T2" fmla="*/ 4763 w 3"/>
                <a:gd name="T3" fmla="*/ 4762 h 3"/>
                <a:gd name="T4" fmla="*/ 1588 w 3"/>
                <a:gd name="T5" fmla="*/ 3175 h 3"/>
                <a:gd name="T6" fmla="*/ 1588 w 3"/>
                <a:gd name="T7" fmla="*/ 1587 h 3"/>
                <a:gd name="T8" fmla="*/ 3175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6" name="Freeform 1149"/>
            <p:cNvSpPr>
              <a:spLocks noChangeAspect="1"/>
            </p:cNvSpPr>
            <p:nvPr/>
          </p:nvSpPr>
          <p:spPr bwMode="auto">
            <a:xfrm>
              <a:off x="2870990" y="4185921"/>
              <a:ext cx="24026" cy="7738"/>
            </a:xfrm>
            <a:custGeom>
              <a:avLst/>
              <a:gdLst>
                <a:gd name="T0" fmla="*/ 1832 w 13"/>
                <a:gd name="T1" fmla="*/ 5715 h 5"/>
                <a:gd name="T2" fmla="*/ 7327 w 13"/>
                <a:gd name="T3" fmla="*/ 1905 h 5"/>
                <a:gd name="T4" fmla="*/ 21981 w 13"/>
                <a:gd name="T5" fmla="*/ 1905 h 5"/>
                <a:gd name="T6" fmla="*/ 18318 w 13"/>
                <a:gd name="T7" fmla="*/ 5715 h 5"/>
                <a:gd name="T8" fmla="*/ 9159 w 13"/>
                <a:gd name="T9" fmla="*/ 5715 h 5"/>
                <a:gd name="T10" fmla="*/ 5495 w 13"/>
                <a:gd name="T11" fmla="*/ 9525 h 5"/>
                <a:gd name="T12" fmla="*/ 1832 w 13"/>
                <a:gd name="T13" fmla="*/ 5715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7" name="Oval 2"/>
            <p:cNvSpPr/>
            <p:nvPr/>
          </p:nvSpPr>
          <p:spPr>
            <a:xfrm>
              <a:off x="2327047" y="2074051"/>
              <a:ext cx="125904" cy="165783"/>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58" name="Oval 1157"/>
            <p:cNvSpPr/>
            <p:nvPr/>
          </p:nvSpPr>
          <p:spPr>
            <a:xfrm>
              <a:off x="5412922" y="2115366"/>
              <a:ext cx="36577" cy="27433"/>
            </a:xfrm>
            <a:prstGeom prst="ellipse">
              <a:avLst/>
            </a:prstGeom>
            <a:grpFill/>
            <a:ln>
              <a:solidFill>
                <a:srgbClr val="68B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1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59" name="Oval 1158"/>
            <p:cNvSpPr/>
            <p:nvPr/>
          </p:nvSpPr>
          <p:spPr>
            <a:xfrm>
              <a:off x="5624854" y="2382068"/>
              <a:ext cx="36577" cy="27433"/>
            </a:xfrm>
            <a:prstGeom prst="ellipse">
              <a:avLst/>
            </a:prstGeom>
            <a:grpFill/>
            <a:ln>
              <a:solidFill>
                <a:srgbClr val="68B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1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0" name="Oval 2"/>
            <p:cNvSpPr/>
            <p:nvPr/>
          </p:nvSpPr>
          <p:spPr>
            <a:xfrm>
              <a:off x="6212466" y="2467756"/>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1" name="Oval 2"/>
            <p:cNvSpPr/>
            <p:nvPr/>
          </p:nvSpPr>
          <p:spPr>
            <a:xfrm>
              <a:off x="1647037" y="1884848"/>
              <a:ext cx="125904" cy="165783"/>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2" name="Oval 2"/>
            <p:cNvSpPr/>
            <p:nvPr/>
          </p:nvSpPr>
          <p:spPr>
            <a:xfrm>
              <a:off x="6166479" y="2497375"/>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3" name="Oval 2"/>
            <p:cNvSpPr/>
            <p:nvPr/>
          </p:nvSpPr>
          <p:spPr>
            <a:xfrm>
              <a:off x="6168545" y="2394641"/>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4" name="Oval 2"/>
            <p:cNvSpPr/>
            <p:nvPr/>
          </p:nvSpPr>
          <p:spPr>
            <a:xfrm>
              <a:off x="6397072" y="2230034"/>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grpSp>
        <p:nvGrpSpPr>
          <p:cNvPr id="1166" name="Group 1165"/>
          <p:cNvGrpSpPr/>
          <p:nvPr/>
        </p:nvGrpSpPr>
        <p:grpSpPr>
          <a:xfrm>
            <a:off x="2271427" y="1636813"/>
            <a:ext cx="228475" cy="214417"/>
            <a:chOff x="3543098" y="5387170"/>
            <a:chExt cx="731520" cy="731521"/>
          </a:xfrm>
          <a:effectLst/>
        </p:grpSpPr>
        <p:sp>
          <p:nvSpPr>
            <p:cNvPr id="1167" name="Teardrop 1166"/>
            <p:cNvSpPr/>
            <p:nvPr/>
          </p:nvSpPr>
          <p:spPr>
            <a:xfrm rot="8326575">
              <a:off x="3543098" y="5387170"/>
              <a:ext cx="731520" cy="731521"/>
            </a:xfrm>
            <a:prstGeom prst="teardrop">
              <a:avLst>
                <a:gd name="adj" fmla="val 144344"/>
              </a:avLst>
            </a:prstGeom>
            <a:solidFill>
              <a:srgbClr val="92D050"/>
            </a:solidFill>
            <a:ln>
              <a:solidFill>
                <a:sysClr val="window" lastClr="FFFFFF"/>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sp>
          <p:nvSpPr>
            <p:cNvPr id="1168" name="Oval 1167"/>
            <p:cNvSpPr/>
            <p:nvPr/>
          </p:nvSpPr>
          <p:spPr>
            <a:xfrm>
              <a:off x="3756612" y="5615763"/>
              <a:ext cx="269497" cy="274320"/>
            </a:xfrm>
            <a:prstGeom prst="ellipse">
              <a:avLst/>
            </a:prstGeom>
            <a:solidFill>
              <a:srgbClr val="5C5C5C"/>
            </a:solidFill>
            <a:ln>
              <a:solidFill>
                <a:srgbClr val="99CC00"/>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grpSp>
      <p:sp>
        <p:nvSpPr>
          <p:cNvPr id="1173" name="TextBox 1172"/>
          <p:cNvSpPr txBox="1"/>
          <p:nvPr/>
        </p:nvSpPr>
        <p:spPr>
          <a:xfrm>
            <a:off x="6650403" y="1925824"/>
            <a:ext cx="1931622" cy="297454"/>
          </a:xfrm>
          <a:prstGeom prst="rect">
            <a:avLst/>
          </a:prstGeom>
          <a:solidFill>
            <a:schemeClr val="bg1">
              <a:lumMod val="95000"/>
              <a:alpha val="50000"/>
            </a:schemeClr>
          </a:solidFill>
          <a:effectLst/>
        </p:spPr>
        <p:txBody>
          <a:bodyPr wrap="square" rtlCol="0">
            <a:spAutoFit/>
          </a:bodyPr>
          <a:lstStyle/>
          <a:p>
            <a:pPr marL="0" marR="0" lvl="0" indent="0" algn="l" defTabSz="60875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Offshore – </a:t>
            </a:r>
            <a:r>
              <a:rPr kumimoji="0" lang="en-US" sz="1333"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India</a:t>
            </a:r>
          </a:p>
        </p:txBody>
      </p:sp>
      <p:grpSp>
        <p:nvGrpSpPr>
          <p:cNvPr id="1174" name="Group 1173"/>
          <p:cNvGrpSpPr/>
          <p:nvPr/>
        </p:nvGrpSpPr>
        <p:grpSpPr>
          <a:xfrm>
            <a:off x="6437165" y="2159354"/>
            <a:ext cx="228475" cy="214417"/>
            <a:chOff x="3543098" y="5387170"/>
            <a:chExt cx="731520" cy="731521"/>
          </a:xfrm>
          <a:effectLst/>
        </p:grpSpPr>
        <p:sp>
          <p:nvSpPr>
            <p:cNvPr id="1175" name="Teardrop 1174"/>
            <p:cNvSpPr/>
            <p:nvPr/>
          </p:nvSpPr>
          <p:spPr>
            <a:xfrm rot="8326575">
              <a:off x="3543098" y="5387170"/>
              <a:ext cx="731520" cy="731521"/>
            </a:xfrm>
            <a:prstGeom prst="teardrop">
              <a:avLst>
                <a:gd name="adj" fmla="val 144344"/>
              </a:avLst>
            </a:prstGeom>
            <a:solidFill>
              <a:srgbClr val="92D050"/>
            </a:solidFill>
            <a:ln>
              <a:solidFill>
                <a:sysClr val="window" lastClr="FFFFFF"/>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sp>
          <p:nvSpPr>
            <p:cNvPr id="1176" name="Oval 1175"/>
            <p:cNvSpPr/>
            <p:nvPr/>
          </p:nvSpPr>
          <p:spPr>
            <a:xfrm>
              <a:off x="3756612" y="5615763"/>
              <a:ext cx="269497" cy="274320"/>
            </a:xfrm>
            <a:prstGeom prst="ellipse">
              <a:avLst/>
            </a:prstGeom>
            <a:solidFill>
              <a:srgbClr val="5C5C5C"/>
            </a:solidFill>
            <a:ln>
              <a:solidFill>
                <a:srgbClr val="99CC00"/>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grpSp>
      <p:sp>
        <p:nvSpPr>
          <p:cNvPr id="1178" name="Rectangle 1177"/>
          <p:cNvSpPr/>
          <p:nvPr/>
        </p:nvSpPr>
        <p:spPr bwMode="auto">
          <a:xfrm>
            <a:off x="8924008" y="4581264"/>
            <a:ext cx="414768" cy="689517"/>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sp>
        <p:nvSpPr>
          <p:cNvPr id="1179" name="Rectangle 1178"/>
          <p:cNvSpPr/>
          <p:nvPr/>
        </p:nvSpPr>
        <p:spPr bwMode="auto">
          <a:xfrm>
            <a:off x="5312744" y="4204874"/>
            <a:ext cx="440269" cy="726192"/>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grpSp>
        <p:nvGrpSpPr>
          <p:cNvPr id="1180" name="Group 1179"/>
          <p:cNvGrpSpPr/>
          <p:nvPr/>
        </p:nvGrpSpPr>
        <p:grpSpPr>
          <a:xfrm>
            <a:off x="4383008" y="5228148"/>
            <a:ext cx="1966656" cy="936419"/>
            <a:chOff x="4300391" y="4296937"/>
            <a:chExt cx="2202863" cy="1226411"/>
          </a:xfrm>
        </p:grpSpPr>
        <p:cxnSp>
          <p:nvCxnSpPr>
            <p:cNvPr id="1181" name="Elbow Connector 1180"/>
            <p:cNvCxnSpPr>
              <a:stCxn id="1182" idx="0"/>
            </p:cNvCxnSpPr>
            <p:nvPr/>
          </p:nvCxnSpPr>
          <p:spPr>
            <a:xfrm rot="16200000" flipV="1">
              <a:off x="4820781" y="4628700"/>
              <a:ext cx="912806" cy="249280"/>
            </a:xfrm>
            <a:prstGeom prst="bentConnector3">
              <a:avLst>
                <a:gd name="adj1" fmla="val 34565"/>
              </a:avLst>
            </a:prstGeom>
            <a:solidFill>
              <a:srgbClr val="D8750D"/>
            </a:solidFill>
            <a:ln w="19050" cap="flat" cmpd="sng" algn="ctr">
              <a:solidFill>
                <a:srgbClr val="141414"/>
              </a:solidFill>
              <a:prstDash val="sysDash"/>
              <a:round/>
              <a:headEnd type="none" w="med" len="med"/>
              <a:tailEnd type="triangle" w="med" len="med"/>
            </a:ln>
            <a:effectLst/>
          </p:spPr>
        </p:cxnSp>
        <p:sp>
          <p:nvSpPr>
            <p:cNvPr id="1182" name="Rounded Rectangle 1181"/>
            <p:cNvSpPr/>
            <p:nvPr/>
          </p:nvSpPr>
          <p:spPr bwMode="auto">
            <a:xfrm>
              <a:off x="4300391" y="5209742"/>
              <a:ext cx="2202863" cy="277886"/>
            </a:xfrm>
            <a:prstGeom prst="roundRect">
              <a:avLst>
                <a:gd name="adj" fmla="val 50000"/>
              </a:avLst>
            </a:prstGeom>
            <a:solidFill>
              <a:schemeClr val="tx1">
                <a:lumMod val="95000"/>
                <a:lumOff val="5000"/>
              </a:schemeClr>
            </a:solidFill>
            <a:ln w="9525" cap="flat" cmpd="sng" algn="ctr">
              <a:solidFill>
                <a:sysClr val="window" lastClr="FFFFFF">
                  <a:lumMod val="75000"/>
                </a:sys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41001" tIns="70497" rIns="141001" bIns="70497" numCol="1" rtlCol="0" anchor="ctr" anchorCtr="0" compatLnSpc="1">
              <a:prstTxWarp prst="textNoShape">
                <a:avLst/>
              </a:prstTxWarp>
            </a:bodyPr>
            <a:lstStyle/>
            <a:p>
              <a:pPr marL="0" marR="0" lvl="0" indent="0" algn="ctr" defTabSz="1829632" rtl="0" eaLnBrk="1" fontAlgn="base" latinLnBrk="0" hangingPunct="1">
                <a:lnSpc>
                  <a:spcPct val="100000"/>
                </a:lnSpc>
                <a:spcBef>
                  <a:spcPct val="0"/>
                </a:spcBef>
                <a:spcAft>
                  <a:spcPct val="0"/>
                </a:spcAft>
                <a:buClrTx/>
                <a:buSzTx/>
                <a:buFontTx/>
                <a:buNone/>
                <a:tabLst/>
                <a:defRPr/>
              </a:pPr>
              <a:r>
                <a:rPr kumimoji="0" lang="en-US" sz="1427"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itchFamily="34" charset="0"/>
                </a:rPr>
                <a:t>Shift Handshake</a:t>
              </a:r>
            </a:p>
          </p:txBody>
        </p:sp>
        <p:pic>
          <p:nvPicPr>
            <p:cNvPr id="1183" name="Picture 1182" descr="han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22409" y="5209742"/>
              <a:ext cx="485030" cy="313606"/>
            </a:xfrm>
            <a:prstGeom prst="rect">
              <a:avLst/>
            </a:prstGeom>
          </p:spPr>
        </p:pic>
      </p:grpSp>
      <p:sp>
        <p:nvSpPr>
          <p:cNvPr id="1184" name="Rectangle 1183"/>
          <p:cNvSpPr/>
          <p:nvPr/>
        </p:nvSpPr>
        <p:spPr bwMode="auto">
          <a:xfrm>
            <a:off x="1746117" y="4204874"/>
            <a:ext cx="395632" cy="1064060"/>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cxnSp>
        <p:nvCxnSpPr>
          <p:cNvPr id="1185" name="Elbow Connector 1184"/>
          <p:cNvCxnSpPr>
            <a:endCxn id="1184" idx="2"/>
          </p:cNvCxnSpPr>
          <p:nvPr/>
        </p:nvCxnSpPr>
        <p:spPr>
          <a:xfrm rot="10800000">
            <a:off x="1943933" y="5268935"/>
            <a:ext cx="2326550" cy="759645"/>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cxnSp>
        <p:nvCxnSpPr>
          <p:cNvPr id="1186" name="Elbow Connector 1185"/>
          <p:cNvCxnSpPr/>
          <p:nvPr/>
        </p:nvCxnSpPr>
        <p:spPr>
          <a:xfrm flipV="1">
            <a:off x="6650403" y="5244655"/>
            <a:ext cx="2480989" cy="243454"/>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sp>
        <p:nvSpPr>
          <p:cNvPr id="1187" name="Rectangle 1186"/>
          <p:cNvSpPr/>
          <p:nvPr/>
        </p:nvSpPr>
        <p:spPr bwMode="auto">
          <a:xfrm>
            <a:off x="7123568" y="3851657"/>
            <a:ext cx="414768" cy="1079409"/>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cxnSp>
        <p:nvCxnSpPr>
          <p:cNvPr id="1188" name="Elbow Connector 1187"/>
          <p:cNvCxnSpPr>
            <a:endCxn id="1187" idx="2"/>
          </p:cNvCxnSpPr>
          <p:nvPr/>
        </p:nvCxnSpPr>
        <p:spPr>
          <a:xfrm rot="5400000" flipH="1" flipV="1">
            <a:off x="6326528" y="5024153"/>
            <a:ext cx="1097511" cy="911338"/>
          </a:xfrm>
          <a:prstGeom prst="bentConnector3">
            <a:avLst>
              <a:gd name="adj1" fmla="val 50000"/>
            </a:avLst>
          </a:prstGeom>
          <a:solidFill>
            <a:srgbClr val="D8750D"/>
          </a:solidFill>
          <a:ln w="19050" cap="flat" cmpd="sng" algn="ctr">
            <a:solidFill>
              <a:srgbClr val="141414"/>
            </a:solidFill>
            <a:prstDash val="sysDash"/>
            <a:round/>
            <a:headEnd type="none" w="med" len="med"/>
            <a:tailEnd type="triangle" w="med" len="med"/>
          </a:ln>
          <a:effectLst/>
        </p:spPr>
      </p:cxnSp>
      <p:sp>
        <p:nvSpPr>
          <p:cNvPr id="1198" name="Rectangle 1197"/>
          <p:cNvSpPr/>
          <p:nvPr/>
        </p:nvSpPr>
        <p:spPr>
          <a:xfrm>
            <a:off x="10100719" y="5376426"/>
            <a:ext cx="2572383" cy="257443"/>
          </a:xfrm>
          <a:prstGeom prst="rect">
            <a:avLst/>
          </a:prstGeom>
        </p:spPr>
        <p:txBody>
          <a:bodyPr wrap="square">
            <a:spAutoFit/>
          </a:bodyPr>
          <a:lstStyle/>
          <a:p>
            <a:pPr marL="0" marR="0" lvl="0" indent="0" algn="l" defTabSz="594316" rtl="0" eaLnBrk="1" fontAlgn="base" latinLnBrk="0" hangingPunct="1">
              <a:lnSpc>
                <a:spcPct val="100000"/>
              </a:lnSpc>
              <a:spcBef>
                <a:spcPct val="0"/>
              </a:spcBef>
              <a:spcAft>
                <a:spcPct val="0"/>
              </a:spcAft>
              <a:buClrTx/>
              <a:buSzTx/>
              <a:buFontTx/>
              <a:buNone/>
              <a:tabLst/>
              <a:defRPr/>
            </a:pPr>
            <a:r>
              <a:rPr kumimoji="0" lang="en-US" sz="1073" b="0"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mn-cs"/>
              </a:rPr>
              <a:t>Offshore Support</a:t>
            </a:r>
          </a:p>
        </p:txBody>
      </p:sp>
      <p:sp>
        <p:nvSpPr>
          <p:cNvPr id="1199" name="Rectangle 1198"/>
          <p:cNvSpPr/>
          <p:nvPr/>
        </p:nvSpPr>
        <p:spPr>
          <a:xfrm>
            <a:off x="9657198" y="5373289"/>
            <a:ext cx="406439" cy="263717"/>
          </a:xfrm>
          <a:prstGeom prst="rect">
            <a:avLst/>
          </a:prstGeom>
          <a:solidFill>
            <a:srgbClr val="A9D08E"/>
          </a:solidFill>
          <a:ln w="25400" cap="flat" cmpd="sng" algn="ctr">
            <a:solidFill>
              <a:srgbClr val="A9D08E"/>
            </a:solidFill>
            <a:prstDash val="solid"/>
          </a:ln>
          <a:effectLst/>
        </p:spPr>
        <p:txBody>
          <a:bodyPr rtlCol="0" anchor="ctr"/>
          <a:lstStyle/>
          <a:p>
            <a:pPr marL="0" marR="0" lvl="0" indent="0" algn="ctr" defTabSz="594330" rtl="0" eaLnBrk="1" fontAlgn="auto" latinLnBrk="0" hangingPunct="1">
              <a:lnSpc>
                <a:spcPct val="100000"/>
              </a:lnSpc>
              <a:spcBef>
                <a:spcPts val="0"/>
              </a:spcBef>
              <a:spcAft>
                <a:spcPts val="0"/>
              </a:spcAft>
              <a:buClrTx/>
              <a:buSzTx/>
              <a:buFontTx/>
              <a:buNone/>
              <a:tabLst/>
              <a:defRPr/>
            </a:pPr>
            <a:endParaRPr kumimoji="0" lang="en-US" sz="175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02" name="Rectangle 1201"/>
          <p:cNvSpPr/>
          <p:nvPr/>
        </p:nvSpPr>
        <p:spPr>
          <a:xfrm>
            <a:off x="10100719" y="5733623"/>
            <a:ext cx="2572383" cy="257443"/>
          </a:xfrm>
          <a:prstGeom prst="rect">
            <a:avLst/>
          </a:prstGeom>
        </p:spPr>
        <p:txBody>
          <a:bodyPr wrap="square">
            <a:spAutoFit/>
          </a:bodyPr>
          <a:lstStyle/>
          <a:p>
            <a:pPr marL="0" marR="0" lvl="0" indent="0" algn="l" defTabSz="594316" rtl="0" eaLnBrk="1" fontAlgn="base" latinLnBrk="0" hangingPunct="1">
              <a:lnSpc>
                <a:spcPct val="100000"/>
              </a:lnSpc>
              <a:spcBef>
                <a:spcPct val="0"/>
              </a:spcBef>
              <a:spcAft>
                <a:spcPct val="0"/>
              </a:spcAft>
              <a:buClrTx/>
              <a:buSzTx/>
              <a:buFontTx/>
              <a:buNone/>
              <a:tabLst/>
              <a:defRPr/>
            </a:pPr>
            <a:r>
              <a:rPr kumimoji="0" lang="en-US" sz="1073" b="0"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mn-cs"/>
              </a:rPr>
              <a:t>Onsite Support</a:t>
            </a:r>
          </a:p>
        </p:txBody>
      </p:sp>
      <p:sp>
        <p:nvSpPr>
          <p:cNvPr id="1203" name="Rectangle 1202"/>
          <p:cNvSpPr/>
          <p:nvPr/>
        </p:nvSpPr>
        <p:spPr>
          <a:xfrm>
            <a:off x="9657198" y="5730487"/>
            <a:ext cx="406439" cy="263717"/>
          </a:xfrm>
          <a:prstGeom prst="rect">
            <a:avLst/>
          </a:prstGeom>
          <a:solidFill>
            <a:srgbClr val="F4B183"/>
          </a:solidFill>
          <a:ln w="25400" cap="flat" cmpd="sng" algn="ctr">
            <a:solidFill>
              <a:srgbClr val="F4B183"/>
            </a:solidFill>
            <a:prstDash val="solid"/>
          </a:ln>
          <a:effectLst/>
        </p:spPr>
        <p:txBody>
          <a:bodyPr rtlCol="0" anchor="ctr"/>
          <a:lstStyle/>
          <a:p>
            <a:pPr marL="0" marR="0" lvl="0" indent="0" algn="ctr" defTabSz="594330" rtl="0" eaLnBrk="1" fontAlgn="auto" latinLnBrk="0" hangingPunct="1">
              <a:lnSpc>
                <a:spcPct val="100000"/>
              </a:lnSpc>
              <a:spcBef>
                <a:spcPts val="0"/>
              </a:spcBef>
              <a:spcAft>
                <a:spcPts val="0"/>
              </a:spcAft>
              <a:buClrTx/>
              <a:buSzTx/>
              <a:buFontTx/>
              <a:buNone/>
              <a:tabLst/>
              <a:defRPr/>
            </a:pPr>
            <a:endParaRPr kumimoji="0" lang="en-US" sz="175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189" name="Elbow Connector 1188"/>
          <p:cNvCxnSpPr>
            <a:stCxn id="1182" idx="3"/>
            <a:endCxn id="1190" idx="2"/>
          </p:cNvCxnSpPr>
          <p:nvPr/>
        </p:nvCxnSpPr>
        <p:spPr>
          <a:xfrm flipV="1">
            <a:off x="6349664" y="5275902"/>
            <a:ext cx="5022588" cy="755302"/>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sp>
        <p:nvSpPr>
          <p:cNvPr id="1190" name="Rectangle 1189"/>
          <p:cNvSpPr/>
          <p:nvPr/>
        </p:nvSpPr>
        <p:spPr bwMode="auto">
          <a:xfrm>
            <a:off x="11164868" y="3836582"/>
            <a:ext cx="414768" cy="1439320"/>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sp>
        <p:nvSpPr>
          <p:cNvPr id="3" name="Rectangle 2"/>
          <p:cNvSpPr/>
          <p:nvPr/>
        </p:nvSpPr>
        <p:spPr>
          <a:xfrm>
            <a:off x="8715375" y="789923"/>
            <a:ext cx="3390899" cy="2970044"/>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cs typeface="Times New Roman" panose="02020603050405020304" pitchFamily="18" charset="0"/>
              </a:rPr>
              <a:t>The Service hours are considered as </a:t>
            </a:r>
            <a:r>
              <a:rPr lang="en-US" sz="1100" b="1" dirty="0">
                <a:latin typeface="Calibri" panose="020F0502020204030204" pitchFamily="34" charset="0"/>
                <a:ea typeface="Times New Roman" panose="02020603050405020304" pitchFamily="18" charset="0"/>
                <a:cs typeface="Times New Roman" panose="02020603050405020304" pitchFamily="18" charset="0"/>
              </a:rPr>
              <a:t>24x7, with on-call coverage for Major Incident Management, Problem Management, Monitoring and Business critical services.</a:t>
            </a:r>
            <a:r>
              <a:rPr lang="en-US" sz="1100" dirty="0">
                <a:latin typeface="Calibri" panose="020F0502020204030204" pitchFamily="34" charset="0"/>
                <a:ea typeface="Times New Roman" panose="02020603050405020304" pitchFamily="18" charset="0"/>
                <a:cs typeface="Times New Roman" panose="02020603050405020304" pitchFamily="18" charset="0"/>
              </a:rPr>
              <a:t> All other processes as part of scope will be provided 8x5 coverage</a:t>
            </a:r>
            <a:r>
              <a:rPr lang="en-US" sz="1100" dirty="0" smtClean="0">
                <a:latin typeface="Calibri" panose="020F0502020204030204" pitchFamily="34" charset="0"/>
                <a:ea typeface="Times New Roman" panose="02020603050405020304" pitchFamily="18" charset="0"/>
                <a:cs typeface="Times New Roman" panose="02020603050405020304" pitchFamily="18" charset="0"/>
              </a:rPr>
              <a:t>.</a:t>
            </a:r>
          </a:p>
          <a:p>
            <a:endParaRPr lang="en-US" sz="1100" dirty="0">
              <a:latin typeface="Calibri" panose="020F0502020204030204" pitchFamily="34" charset="0"/>
              <a:cs typeface="Times New Roman" panose="02020603050405020304" pitchFamily="18" charset="0"/>
            </a:endParaRPr>
          </a:p>
          <a:p>
            <a:r>
              <a:rPr lang="en-US" sz="1100" b="1" dirty="0"/>
              <a:t>Onsite Team – Washington, DC</a:t>
            </a:r>
          </a:p>
          <a:p>
            <a:pPr marL="285750" indent="-285750" algn="just">
              <a:buFont typeface="Arial" panose="020B0604020202020204" pitchFamily="34" charset="0"/>
              <a:buChar char="•"/>
            </a:pPr>
            <a:r>
              <a:rPr lang="en-US" sz="1100" dirty="0"/>
              <a:t>Service Management Lead – Ensure overall governance, SLA &amp; KPI Reporting, Liaise with Marriott </a:t>
            </a:r>
          </a:p>
          <a:p>
            <a:pPr marL="285750" indent="-285750" algn="just">
              <a:buFont typeface="Arial" panose="020B0604020202020204" pitchFamily="34" charset="0"/>
              <a:buChar char="•"/>
            </a:pPr>
            <a:r>
              <a:rPr lang="en-US" sz="1100" dirty="0"/>
              <a:t>Problem Manager – Institutionalize process, End to End coordination with other suppliers</a:t>
            </a:r>
          </a:p>
          <a:p>
            <a:pPr marL="285750" indent="-285750">
              <a:buFont typeface="Arial" panose="020B0604020202020204" pitchFamily="34" charset="0"/>
              <a:buChar char="•"/>
            </a:pPr>
            <a:endParaRPr lang="en-US" sz="1100" dirty="0"/>
          </a:p>
          <a:p>
            <a:r>
              <a:rPr lang="en-US" sz="1100" b="1" dirty="0"/>
              <a:t>Offshore Team – Chennai, India</a:t>
            </a:r>
          </a:p>
          <a:p>
            <a:pPr marL="285750" indent="-285750" algn="just">
              <a:buFont typeface="Arial" panose="020B0604020202020204" pitchFamily="34" charset="0"/>
              <a:buChar char="•"/>
            </a:pPr>
            <a:r>
              <a:rPr lang="en-US" sz="1100" dirty="0"/>
              <a:t>Other process leads – work with SMO and Marriott to drive all individual processes.    </a:t>
            </a:r>
          </a:p>
          <a:p>
            <a:endParaRPr lang="en-US" sz="1100" dirty="0"/>
          </a:p>
        </p:txBody>
      </p:sp>
      <p:sp>
        <p:nvSpPr>
          <p:cNvPr id="1177" name="TextBox 1176"/>
          <p:cNvSpPr txBox="1"/>
          <p:nvPr/>
        </p:nvSpPr>
        <p:spPr>
          <a:xfrm>
            <a:off x="2499058" y="1925824"/>
            <a:ext cx="2320591" cy="297454"/>
          </a:xfrm>
          <a:prstGeom prst="rect">
            <a:avLst/>
          </a:prstGeom>
          <a:solidFill>
            <a:schemeClr val="bg1">
              <a:lumMod val="95000"/>
              <a:alpha val="50000"/>
            </a:schemeClr>
          </a:solidFill>
          <a:effectLst/>
        </p:spPr>
        <p:txBody>
          <a:bodyPr wrap="square" rtlCol="0">
            <a:spAutoFit/>
          </a:bodyPr>
          <a:lstStyle/>
          <a:p>
            <a:pPr marL="0" marR="0" lvl="0" indent="0" algn="l" defTabSz="60875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Onshore </a:t>
            </a:r>
            <a:r>
              <a:rPr kumimoji="0" lang="en-US" sz="1333"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 </a:t>
            </a:r>
            <a:r>
              <a:rPr kumimoji="0" lang="en-US" sz="1333"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US</a:t>
            </a:r>
          </a:p>
        </p:txBody>
      </p:sp>
    </p:spTree>
    <p:extLst>
      <p:ext uri="{BB962C8B-B14F-4D97-AF65-F5344CB8AC3E}">
        <p14:creationId xmlns:p14="http://schemas.microsoft.com/office/powerpoint/2010/main" val="1942616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ance </a:t>
            </a:r>
            <a:r>
              <a:rPr lang="en-US" dirty="0"/>
              <a:t>Structure for </a:t>
            </a:r>
            <a:r>
              <a:rPr lang="en-US" dirty="0" smtClean="0"/>
              <a:t>Marriott</a:t>
            </a:r>
            <a:endParaRPr lang="en-US" dirty="0"/>
          </a:p>
        </p:txBody>
      </p:sp>
      <p:grpSp>
        <p:nvGrpSpPr>
          <p:cNvPr id="13" name="Group 72"/>
          <p:cNvGrpSpPr/>
          <p:nvPr/>
        </p:nvGrpSpPr>
        <p:grpSpPr>
          <a:xfrm>
            <a:off x="0" y="856344"/>
            <a:ext cx="12192000" cy="5413827"/>
            <a:chOff x="-335482" y="224000"/>
            <a:chExt cx="9998084" cy="5206877"/>
          </a:xfrm>
        </p:grpSpPr>
        <p:sp>
          <p:nvSpPr>
            <p:cNvPr id="14" name="Freeform 13"/>
            <p:cNvSpPr/>
            <p:nvPr/>
          </p:nvSpPr>
          <p:spPr>
            <a:xfrm>
              <a:off x="3582075" y="1566962"/>
              <a:ext cx="1806204" cy="602090"/>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 name="connsiteX0" fmla="*/ 0 w 4878614"/>
                <a:gd name="connsiteY0" fmla="*/ 0 h 462734"/>
                <a:gd name="connsiteX1" fmla="*/ 4878614 w 4878614"/>
                <a:gd name="connsiteY1" fmla="*/ 462735 h 462734"/>
                <a:gd name="connsiteX2" fmla="*/ 4878614 w 4878614"/>
                <a:gd name="connsiteY2" fmla="*/ 462735 h 462734"/>
                <a:gd name="connsiteX0" fmla="*/ 0 w 5257879"/>
                <a:gd name="connsiteY0" fmla="*/ 186493 h 650891"/>
                <a:gd name="connsiteX1" fmla="*/ 4878614 w 5257879"/>
                <a:gd name="connsiteY1" fmla="*/ 649228 h 650891"/>
                <a:gd name="connsiteX2" fmla="*/ 4945775 w 5257879"/>
                <a:gd name="connsiteY2" fmla="*/ 0 h 650891"/>
                <a:gd name="connsiteX0" fmla="*/ 0 w 4945774"/>
                <a:gd name="connsiteY0" fmla="*/ 186493 h 1343874"/>
                <a:gd name="connsiteX1" fmla="*/ 2595119 w 4945774"/>
                <a:gd name="connsiteY1" fmla="*/ 1343232 h 1343874"/>
                <a:gd name="connsiteX2" fmla="*/ 4945775 w 4945774"/>
                <a:gd name="connsiteY2" fmla="*/ 0 h 1343874"/>
                <a:gd name="connsiteX0" fmla="*/ 0 w 4901000"/>
                <a:gd name="connsiteY0" fmla="*/ 52170 h 1208959"/>
                <a:gd name="connsiteX1" fmla="*/ 2595119 w 4901000"/>
                <a:gd name="connsiteY1" fmla="*/ 1208909 h 1208959"/>
                <a:gd name="connsiteX2" fmla="*/ 4901000 w 4901000"/>
                <a:gd name="connsiteY2" fmla="*/ 0 h 1208959"/>
                <a:gd name="connsiteX0" fmla="*/ 0 w 4901000"/>
                <a:gd name="connsiteY0" fmla="*/ 52170 h 1208960"/>
                <a:gd name="connsiteX1" fmla="*/ 2595119 w 4901000"/>
                <a:gd name="connsiteY1" fmla="*/ 1208909 h 1208960"/>
                <a:gd name="connsiteX2" fmla="*/ 4901000 w 4901000"/>
                <a:gd name="connsiteY2" fmla="*/ 0 h 1208960"/>
                <a:gd name="connsiteX0" fmla="*/ 0 w 4901000"/>
                <a:gd name="connsiteY0" fmla="*/ 52170 h 1186575"/>
                <a:gd name="connsiteX1" fmla="*/ 2460796 w 4901000"/>
                <a:gd name="connsiteY1" fmla="*/ 1186522 h 1186575"/>
                <a:gd name="connsiteX2" fmla="*/ 4901000 w 4901000"/>
                <a:gd name="connsiteY2" fmla="*/ 0 h 1186575"/>
              </a:gdLst>
              <a:ahLst/>
              <a:cxnLst>
                <a:cxn ang="0">
                  <a:pos x="connsiteX0" y="connsiteY0"/>
                </a:cxn>
                <a:cxn ang="0">
                  <a:pos x="connsiteX1" y="connsiteY1"/>
                </a:cxn>
                <a:cxn ang="0">
                  <a:pos x="connsiteX2" y="connsiteY2"/>
                </a:cxn>
              </a:cxnLst>
              <a:rect l="l" t="t" r="r" b="b"/>
              <a:pathLst>
                <a:path w="4901000" h="1186575">
                  <a:moveTo>
                    <a:pt x="0" y="52170"/>
                  </a:moveTo>
                  <a:cubicBezTo>
                    <a:pt x="194872" y="132117"/>
                    <a:pt x="1643963" y="1195217"/>
                    <a:pt x="2460796" y="1186522"/>
                  </a:cubicBezTo>
                  <a:cubicBezTo>
                    <a:pt x="3277629" y="1177827"/>
                    <a:pt x="4520417" y="753702"/>
                    <a:pt x="4901000" y="0"/>
                  </a:cubicBezTo>
                </a:path>
              </a:pathLst>
            </a:custGeom>
            <a:noFill/>
            <a:ln w="12700" cap="flat" cmpd="sng" algn="ctr">
              <a:solidFill>
                <a:sysClr val="windowText" lastClr="000000"/>
              </a:solidFill>
              <a:prstDash val="sysDash"/>
              <a:headEnd type="arrow"/>
              <a:tailEnd type="arrow"/>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15" name="Freeform 14"/>
            <p:cNvSpPr/>
            <p:nvPr/>
          </p:nvSpPr>
          <p:spPr>
            <a:xfrm>
              <a:off x="3231157" y="1987150"/>
              <a:ext cx="2458834" cy="568691"/>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 name="connsiteX0" fmla="*/ 0 w 4878614"/>
                <a:gd name="connsiteY0" fmla="*/ 0 h 462734"/>
                <a:gd name="connsiteX1" fmla="*/ 4878614 w 4878614"/>
                <a:gd name="connsiteY1" fmla="*/ 462735 h 462734"/>
                <a:gd name="connsiteX2" fmla="*/ 4878614 w 4878614"/>
                <a:gd name="connsiteY2" fmla="*/ 462735 h 462734"/>
                <a:gd name="connsiteX0" fmla="*/ 0 w 5257879"/>
                <a:gd name="connsiteY0" fmla="*/ 186493 h 650891"/>
                <a:gd name="connsiteX1" fmla="*/ 4878614 w 5257879"/>
                <a:gd name="connsiteY1" fmla="*/ 649228 h 650891"/>
                <a:gd name="connsiteX2" fmla="*/ 4945775 w 5257879"/>
                <a:gd name="connsiteY2" fmla="*/ 0 h 650891"/>
                <a:gd name="connsiteX0" fmla="*/ 0 w 4945774"/>
                <a:gd name="connsiteY0" fmla="*/ 186493 h 1343874"/>
                <a:gd name="connsiteX1" fmla="*/ 2595119 w 4945774"/>
                <a:gd name="connsiteY1" fmla="*/ 1343232 h 1343874"/>
                <a:gd name="connsiteX2" fmla="*/ 4945775 w 4945774"/>
                <a:gd name="connsiteY2" fmla="*/ 0 h 1343874"/>
                <a:gd name="connsiteX0" fmla="*/ 0 w 4901000"/>
                <a:gd name="connsiteY0" fmla="*/ 52170 h 1208959"/>
                <a:gd name="connsiteX1" fmla="*/ 2595119 w 4901000"/>
                <a:gd name="connsiteY1" fmla="*/ 1208909 h 1208959"/>
                <a:gd name="connsiteX2" fmla="*/ 4901000 w 4901000"/>
                <a:gd name="connsiteY2" fmla="*/ 0 h 1208959"/>
                <a:gd name="connsiteX0" fmla="*/ 0 w 4901000"/>
                <a:gd name="connsiteY0" fmla="*/ 52170 h 1208960"/>
                <a:gd name="connsiteX1" fmla="*/ 2595119 w 4901000"/>
                <a:gd name="connsiteY1" fmla="*/ 1208909 h 1208960"/>
                <a:gd name="connsiteX2" fmla="*/ 4901000 w 4901000"/>
                <a:gd name="connsiteY2" fmla="*/ 0 h 1208960"/>
                <a:gd name="connsiteX0" fmla="*/ 0 w 4901000"/>
                <a:gd name="connsiteY0" fmla="*/ 52170 h 1186575"/>
                <a:gd name="connsiteX1" fmla="*/ 2460796 w 4901000"/>
                <a:gd name="connsiteY1" fmla="*/ 1186522 h 1186575"/>
                <a:gd name="connsiteX2" fmla="*/ 4901000 w 4901000"/>
                <a:gd name="connsiteY2" fmla="*/ 0 h 1186575"/>
              </a:gdLst>
              <a:ahLst/>
              <a:cxnLst>
                <a:cxn ang="0">
                  <a:pos x="connsiteX0" y="connsiteY0"/>
                </a:cxn>
                <a:cxn ang="0">
                  <a:pos x="connsiteX1" y="connsiteY1"/>
                </a:cxn>
                <a:cxn ang="0">
                  <a:pos x="connsiteX2" y="connsiteY2"/>
                </a:cxn>
              </a:cxnLst>
              <a:rect l="l" t="t" r="r" b="b"/>
              <a:pathLst>
                <a:path w="4901000" h="1186575">
                  <a:moveTo>
                    <a:pt x="0" y="52170"/>
                  </a:moveTo>
                  <a:cubicBezTo>
                    <a:pt x="194872" y="132117"/>
                    <a:pt x="1643963" y="1195217"/>
                    <a:pt x="2460796" y="1186522"/>
                  </a:cubicBezTo>
                  <a:cubicBezTo>
                    <a:pt x="3277629" y="1177827"/>
                    <a:pt x="4520417" y="753702"/>
                    <a:pt x="4901000" y="0"/>
                  </a:cubicBezTo>
                </a:path>
              </a:pathLst>
            </a:custGeom>
            <a:noFill/>
            <a:ln w="12700" cap="flat" cmpd="sng" algn="ctr">
              <a:solidFill>
                <a:sysClr val="windowText" lastClr="000000"/>
              </a:solidFill>
              <a:prstDash val="sysDash"/>
              <a:headEnd type="arrow"/>
              <a:tailEnd type="arrow"/>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16" name="Pie 15"/>
            <p:cNvSpPr/>
            <p:nvPr/>
          </p:nvSpPr>
          <p:spPr>
            <a:xfrm>
              <a:off x="1660729" y="250064"/>
              <a:ext cx="5831756" cy="661294"/>
            </a:xfrm>
            <a:prstGeom prst="pie">
              <a:avLst>
                <a:gd name="adj1" fmla="val 0"/>
                <a:gd name="adj2" fmla="val 10791812"/>
              </a:avLst>
            </a:prstGeom>
            <a:solidFill>
              <a:srgbClr val="B77B3F"/>
            </a:solidFill>
            <a:ln w="25400" cap="flat" cmpd="sng" algn="ctr">
              <a:noFill/>
              <a:prstDash val="solid"/>
            </a:ln>
            <a:effectLst/>
          </p:spPr>
          <p:txBody>
            <a:bodyPr lIns="76197" tIns="38098" rIns="76197" bIns="3809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alibri "/>
                <a:ea typeface="+mn-ea"/>
                <a:cs typeface="Arial" panose="020B0604020202020204" pitchFamily="34" charset="0"/>
              </a:endParaRPr>
            </a:p>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alibri "/>
                <a:ea typeface="+mn-ea"/>
                <a:cs typeface="Arial" panose="020B0604020202020204" pitchFamily="34" charset="0"/>
              </a:endParaRPr>
            </a:p>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alibri "/>
                  <a:ea typeface="+mn-ea"/>
                  <a:cs typeface="Arial" panose="020B0604020202020204" pitchFamily="34" charset="0"/>
                </a:rPr>
                <a:t>Governance with a standard escalation management</a:t>
              </a:r>
            </a:p>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p:txBody>
        </p:sp>
        <p:sp>
          <p:nvSpPr>
            <p:cNvPr id="17" name="Freeform 16"/>
            <p:cNvSpPr/>
            <p:nvPr/>
          </p:nvSpPr>
          <p:spPr>
            <a:xfrm>
              <a:off x="3690958" y="1988083"/>
              <a:ext cx="1649431" cy="792947"/>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560" h="1188720">
                  <a:moveTo>
                    <a:pt x="289560" y="0"/>
                  </a:moveTo>
                  <a:cubicBezTo>
                    <a:pt x="980440" y="574040"/>
                    <a:pt x="1457960" y="416560"/>
                    <a:pt x="1859280" y="30480"/>
                  </a:cubicBezTo>
                  <a:lnTo>
                    <a:pt x="2194560" y="457200"/>
                  </a:lnTo>
                  <a:cubicBezTo>
                    <a:pt x="1432560" y="1188720"/>
                    <a:pt x="518160" y="868680"/>
                    <a:pt x="0" y="411480"/>
                  </a:cubicBezTo>
                  <a:lnTo>
                    <a:pt x="289560" y="0"/>
                  </a:lnTo>
                  <a:close/>
                </a:path>
              </a:pathLst>
            </a:custGeom>
            <a:solidFill>
              <a:srgbClr val="B5DAF9"/>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18" name="Freeform 17"/>
            <p:cNvSpPr/>
            <p:nvPr/>
          </p:nvSpPr>
          <p:spPr>
            <a:xfrm>
              <a:off x="3328055" y="2324814"/>
              <a:ext cx="2404287" cy="986129"/>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560" h="1315180">
                  <a:moveTo>
                    <a:pt x="289560" y="0"/>
                  </a:moveTo>
                  <a:cubicBezTo>
                    <a:pt x="897627" y="637271"/>
                    <a:pt x="1602883" y="543019"/>
                    <a:pt x="1859280" y="30480"/>
                  </a:cubicBezTo>
                  <a:lnTo>
                    <a:pt x="2194560" y="457200"/>
                  </a:lnTo>
                  <a:cubicBezTo>
                    <a:pt x="1422209" y="1315180"/>
                    <a:pt x="445698" y="944556"/>
                    <a:pt x="0" y="411480"/>
                  </a:cubicBezTo>
                  <a:lnTo>
                    <a:pt x="289560" y="0"/>
                  </a:lnTo>
                  <a:close/>
                </a:path>
              </a:pathLst>
            </a:custGeom>
            <a:solidFill>
              <a:srgbClr val="DEE0BE"/>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19" name="Freeform 18"/>
            <p:cNvSpPr/>
            <p:nvPr/>
          </p:nvSpPr>
          <p:spPr>
            <a:xfrm>
              <a:off x="2878855" y="2689369"/>
              <a:ext cx="3288884" cy="1183427"/>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19222 w 2124222"/>
                <a:gd name="connsiteY0" fmla="*/ 0 h 1315180"/>
                <a:gd name="connsiteX1" fmla="*/ 1788942 w 2124222"/>
                <a:gd name="connsiteY1" fmla="*/ 30480 h 1315180"/>
                <a:gd name="connsiteX2" fmla="*/ 2124222 w 2124222"/>
                <a:gd name="connsiteY2" fmla="*/ 457200 h 1315180"/>
                <a:gd name="connsiteX3" fmla="*/ 0 w 2124222"/>
                <a:gd name="connsiteY3" fmla="*/ 404671 h 1315180"/>
                <a:gd name="connsiteX4" fmla="*/ 219222 w 2124222"/>
                <a:gd name="connsiteY4" fmla="*/ 0 h 1315180"/>
                <a:gd name="connsiteX0" fmla="*/ 219222 w 2039816"/>
                <a:gd name="connsiteY0" fmla="*/ 0 h 1262651"/>
                <a:gd name="connsiteX1" fmla="*/ 1788942 w 2039816"/>
                <a:gd name="connsiteY1" fmla="*/ 30480 h 1262651"/>
                <a:gd name="connsiteX2" fmla="*/ 2039816 w 2039816"/>
                <a:gd name="connsiteY2" fmla="*/ 404671 h 1262651"/>
                <a:gd name="connsiteX3" fmla="*/ 0 w 2039816"/>
                <a:gd name="connsiteY3" fmla="*/ 404671 h 1262651"/>
                <a:gd name="connsiteX4" fmla="*/ 219222 w 2039816"/>
                <a:gd name="connsiteY4" fmla="*/ 0 h 126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9816" h="1262651">
                  <a:moveTo>
                    <a:pt x="219222" y="0"/>
                  </a:moveTo>
                  <a:cubicBezTo>
                    <a:pt x="855425" y="738439"/>
                    <a:pt x="1497376" y="522785"/>
                    <a:pt x="1788942" y="30480"/>
                  </a:cubicBezTo>
                  <a:lnTo>
                    <a:pt x="2039816" y="404671"/>
                  </a:lnTo>
                  <a:cubicBezTo>
                    <a:pt x="1267465" y="1262651"/>
                    <a:pt x="445698" y="937747"/>
                    <a:pt x="0" y="404671"/>
                  </a:cubicBezTo>
                  <a:lnTo>
                    <a:pt x="219222" y="0"/>
                  </a:lnTo>
                  <a:close/>
                </a:path>
              </a:pathLst>
            </a:custGeom>
            <a:solidFill>
              <a:srgbClr val="DBD6EA"/>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20" name="Rectangle 19"/>
            <p:cNvSpPr/>
            <p:nvPr/>
          </p:nvSpPr>
          <p:spPr>
            <a:xfrm>
              <a:off x="4049893" y="2264572"/>
              <a:ext cx="963983" cy="237050"/>
            </a:xfrm>
            <a:prstGeom prst="rect">
              <a:avLst/>
            </a:prstGeom>
            <a:noFill/>
            <a:ln w="25400" cap="flat" cmpd="sng" algn="ctr">
              <a:noFill/>
              <a:prstDash val="solid"/>
            </a:ln>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Steering Committee</a:t>
              </a:r>
            </a:p>
          </p:txBody>
        </p:sp>
        <p:sp>
          <p:nvSpPr>
            <p:cNvPr id="21" name="Rectangle 20"/>
            <p:cNvSpPr/>
            <p:nvPr/>
          </p:nvSpPr>
          <p:spPr>
            <a:xfrm>
              <a:off x="3914178" y="2699205"/>
              <a:ext cx="1159857" cy="253400"/>
            </a:xfrm>
            <a:prstGeom prst="rect">
              <a:avLst/>
            </a:prstGeom>
            <a:noFill/>
            <a:ln w="25400" cap="flat" cmpd="sng" algn="ctr">
              <a:noFill/>
              <a:prstDash val="solid"/>
            </a:ln>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Service Management Office</a:t>
              </a:r>
            </a:p>
          </p:txBody>
        </p:sp>
        <p:sp>
          <p:nvSpPr>
            <p:cNvPr id="22" name="Rectangle 21"/>
            <p:cNvSpPr/>
            <p:nvPr/>
          </p:nvSpPr>
          <p:spPr>
            <a:xfrm>
              <a:off x="3861684" y="3233508"/>
              <a:ext cx="1236101" cy="218529"/>
            </a:xfrm>
            <a:prstGeom prst="rect">
              <a:avLst/>
            </a:prstGeom>
            <a:noFill/>
            <a:ln w="25400" cap="flat" cmpd="sng" algn="ctr">
              <a:noFill/>
              <a:prstDash val="solid"/>
            </a:ln>
            <a:effectLst/>
          </p:spPr>
          <p:txBody>
            <a:bodyPr lIns="18288" tIns="18288" rIns="18288" bIns="18288"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Delivery Management</a:t>
              </a:r>
            </a:p>
          </p:txBody>
        </p:sp>
        <p:sp>
          <p:nvSpPr>
            <p:cNvPr id="23" name="Oval 22"/>
            <p:cNvSpPr/>
            <p:nvPr/>
          </p:nvSpPr>
          <p:spPr>
            <a:xfrm>
              <a:off x="3845782" y="2138647"/>
              <a:ext cx="234609" cy="189640"/>
            </a:xfrm>
            <a:prstGeom prst="ellipse">
              <a:avLst/>
            </a:prstGeom>
            <a:solidFill>
              <a:sysClr val="window" lastClr="FFFFFF"/>
            </a:solidFill>
            <a:ln w="25400" cap="flat" cmpd="sng" algn="ctr">
              <a:solidFill>
                <a:sysClr val="window" lastClr="FFFFFF"/>
              </a:solidFill>
              <a:prstDash val="solid"/>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F497D">
                      <a:lumMod val="60000"/>
                      <a:lumOff val="40000"/>
                    </a:srgbClr>
                  </a:solidFill>
                  <a:effectLst/>
                  <a:uLnTx/>
                  <a:uFillTx/>
                  <a:latin typeface="Calibri "/>
                  <a:ea typeface="+mn-ea"/>
                  <a:cs typeface="Arial" panose="020B0604020202020204" pitchFamily="34" charset="0"/>
                </a:rPr>
                <a:t>2</a:t>
              </a:r>
            </a:p>
          </p:txBody>
        </p:sp>
        <p:sp>
          <p:nvSpPr>
            <p:cNvPr id="24" name="Oval 23"/>
            <p:cNvSpPr/>
            <p:nvPr/>
          </p:nvSpPr>
          <p:spPr>
            <a:xfrm>
              <a:off x="3523247" y="2464973"/>
              <a:ext cx="241718" cy="189640"/>
            </a:xfrm>
            <a:prstGeom prst="ellipse">
              <a:avLst/>
            </a:prstGeom>
            <a:solidFill>
              <a:sysClr val="window" lastClr="FFFFFF"/>
            </a:solidFill>
            <a:ln w="25400" cap="flat" cmpd="sng" algn="ctr">
              <a:solidFill>
                <a:sysClr val="window" lastClr="FFFFFF"/>
              </a:solidFill>
              <a:prstDash val="solid"/>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9BBB59">
                      <a:lumMod val="75000"/>
                    </a:srgbClr>
                  </a:solidFill>
                  <a:effectLst/>
                  <a:uLnTx/>
                  <a:uFillTx/>
                  <a:latin typeface="Calibri "/>
                  <a:ea typeface="+mn-ea"/>
                  <a:cs typeface="Arial" panose="020B0604020202020204" pitchFamily="34" charset="0"/>
                </a:rPr>
                <a:t>3</a:t>
              </a:r>
            </a:p>
          </p:txBody>
        </p:sp>
        <p:sp>
          <p:nvSpPr>
            <p:cNvPr id="26" name="Oval 25"/>
            <p:cNvSpPr/>
            <p:nvPr/>
          </p:nvSpPr>
          <p:spPr>
            <a:xfrm>
              <a:off x="3131333" y="2868376"/>
              <a:ext cx="243808" cy="189640"/>
            </a:xfrm>
            <a:prstGeom prst="ellipse">
              <a:avLst/>
            </a:prstGeom>
            <a:solidFill>
              <a:sysClr val="window" lastClr="FFFFFF"/>
            </a:solidFill>
            <a:ln w="25400" cap="flat" cmpd="sng" algn="ctr">
              <a:solidFill>
                <a:sysClr val="window" lastClr="FFFFFF"/>
              </a:solidFill>
              <a:prstDash val="solid"/>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8064A2">
                      <a:lumMod val="75000"/>
                    </a:srgbClr>
                  </a:solidFill>
                  <a:effectLst/>
                  <a:uLnTx/>
                  <a:uFillTx/>
                  <a:latin typeface="Calibri "/>
                  <a:ea typeface="+mn-ea"/>
                  <a:cs typeface="Arial" panose="020B0604020202020204" pitchFamily="34" charset="0"/>
                </a:rPr>
                <a:t>4</a:t>
              </a:r>
            </a:p>
          </p:txBody>
        </p:sp>
        <p:pic>
          <p:nvPicPr>
            <p:cNvPr id="27" name="Picture 26" descr="gm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21535" y="2584007"/>
              <a:ext cx="162492" cy="194478"/>
            </a:xfrm>
            <a:prstGeom prst="rect">
              <a:avLst/>
            </a:prstGeom>
          </p:spPr>
        </p:pic>
        <p:pic>
          <p:nvPicPr>
            <p:cNvPr id="28" name="Picture 27" descr="viome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89239" y="3105426"/>
              <a:ext cx="162492" cy="194478"/>
            </a:xfrm>
            <a:prstGeom prst="rect">
              <a:avLst/>
            </a:prstGeom>
          </p:spPr>
        </p:pic>
        <p:pic>
          <p:nvPicPr>
            <p:cNvPr id="29" name="Picture 28" descr="men1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03790" y="2148291"/>
              <a:ext cx="173305" cy="207419"/>
            </a:xfrm>
            <a:prstGeom prst="rect">
              <a:avLst/>
            </a:prstGeom>
          </p:spPr>
        </p:pic>
        <p:pic>
          <p:nvPicPr>
            <p:cNvPr id="30" name="Picture 29" descr="gm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84028" y="2536597"/>
              <a:ext cx="162492" cy="194478"/>
            </a:xfrm>
            <a:prstGeom prst="rect">
              <a:avLst/>
            </a:prstGeom>
          </p:spPr>
        </p:pic>
        <p:pic>
          <p:nvPicPr>
            <p:cNvPr id="31" name="Picture 30" descr="viome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51731" y="3010607"/>
              <a:ext cx="162492" cy="194478"/>
            </a:xfrm>
            <a:prstGeom prst="rect">
              <a:avLst/>
            </a:prstGeom>
          </p:spPr>
        </p:pic>
        <p:pic>
          <p:nvPicPr>
            <p:cNvPr id="32" name="Picture 31" descr="viome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14223" y="2915787"/>
              <a:ext cx="162492" cy="194478"/>
            </a:xfrm>
            <a:prstGeom prst="rect">
              <a:avLst/>
            </a:prstGeom>
          </p:spPr>
        </p:pic>
        <p:sp>
          <p:nvSpPr>
            <p:cNvPr id="33" name="Freeform 32"/>
            <p:cNvSpPr/>
            <p:nvPr/>
          </p:nvSpPr>
          <p:spPr>
            <a:xfrm>
              <a:off x="2745831" y="3036697"/>
              <a:ext cx="3455945" cy="553272"/>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Lst>
              <a:ahLst/>
              <a:cxnLst>
                <a:cxn ang="0">
                  <a:pos x="connsiteX0" y="connsiteY0"/>
                </a:cxn>
                <a:cxn ang="0">
                  <a:pos x="connsiteX1" y="connsiteY1"/>
                </a:cxn>
                <a:cxn ang="0">
                  <a:pos x="connsiteX2" y="connsiteY2"/>
                </a:cxn>
              </a:cxnLst>
              <a:rect l="l" t="t" r="r" b="b"/>
              <a:pathLst>
                <a:path w="4721902" h="653118">
                  <a:moveTo>
                    <a:pt x="0" y="0"/>
                  </a:moveTo>
                  <a:cubicBezTo>
                    <a:pt x="194872" y="79947"/>
                    <a:pt x="2488368" y="1419068"/>
                    <a:pt x="4721902" y="14990"/>
                  </a:cubicBezTo>
                  <a:lnTo>
                    <a:pt x="4721902" y="14990"/>
                  </a:lnTo>
                </a:path>
              </a:pathLst>
            </a:custGeom>
            <a:noFill/>
            <a:ln w="12700" cap="flat" cmpd="sng" algn="ctr">
              <a:solidFill>
                <a:sysClr val="windowText" lastClr="000000"/>
              </a:solidFill>
              <a:prstDash val="sysDash"/>
              <a:headEnd type="arrow"/>
              <a:tailEnd type="arrow"/>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34" name="Rectangle 33"/>
            <p:cNvSpPr/>
            <p:nvPr/>
          </p:nvSpPr>
          <p:spPr>
            <a:xfrm rot="10800000" flipV="1">
              <a:off x="562314" y="846110"/>
              <a:ext cx="3756666" cy="310793"/>
            </a:xfrm>
            <a:prstGeom prst="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prstClr val="black"/>
                  </a:solidFill>
                  <a:effectLst/>
                  <a:uLnTx/>
                  <a:uFillTx/>
                  <a:latin typeface="Calibri "/>
                  <a:ea typeface="+mn-ea"/>
                  <a:cs typeface="Arial" panose="020B0604020202020204" pitchFamily="34" charset="0"/>
                </a:rPr>
                <a:t>Marriott</a:t>
              </a:r>
              <a:endParaRPr kumimoji="0" lang="en-US" sz="20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p:txBody>
        </p:sp>
        <p:sp>
          <p:nvSpPr>
            <p:cNvPr id="35" name="Rectangle 34"/>
            <p:cNvSpPr/>
            <p:nvPr/>
          </p:nvSpPr>
          <p:spPr>
            <a:xfrm>
              <a:off x="4722522" y="862821"/>
              <a:ext cx="3883070" cy="336457"/>
            </a:xfrm>
            <a:prstGeom prst="rect">
              <a:avLst/>
            </a:prstGeom>
            <a:gradFill flip="none" rotWithShape="1">
              <a:gsLst>
                <a:gs pos="0">
                  <a:srgbClr val="00FF99">
                    <a:tint val="66000"/>
                    <a:satMod val="160000"/>
                  </a:srgbClr>
                </a:gs>
                <a:gs pos="50000">
                  <a:srgbClr val="00FF99">
                    <a:tint val="44500"/>
                    <a:satMod val="160000"/>
                  </a:srgbClr>
                </a:gs>
                <a:gs pos="100000">
                  <a:srgbClr val="00FF99">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Cognizant</a:t>
              </a:r>
            </a:p>
          </p:txBody>
        </p:sp>
        <p:sp>
          <p:nvSpPr>
            <p:cNvPr id="36" name="Freeform 35"/>
            <p:cNvSpPr/>
            <p:nvPr/>
          </p:nvSpPr>
          <p:spPr>
            <a:xfrm>
              <a:off x="2967494" y="2435636"/>
              <a:ext cx="3064767" cy="648870"/>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Lst>
              <a:ahLst/>
              <a:cxnLst>
                <a:cxn ang="0">
                  <a:pos x="connsiteX0" y="connsiteY0"/>
                </a:cxn>
                <a:cxn ang="0">
                  <a:pos x="connsiteX1" y="connsiteY1"/>
                </a:cxn>
                <a:cxn ang="0">
                  <a:pos x="connsiteX2" y="connsiteY2"/>
                </a:cxn>
              </a:cxnLst>
              <a:rect l="l" t="t" r="r" b="b"/>
              <a:pathLst>
                <a:path w="4721902" h="653118">
                  <a:moveTo>
                    <a:pt x="0" y="0"/>
                  </a:moveTo>
                  <a:cubicBezTo>
                    <a:pt x="194872" y="79947"/>
                    <a:pt x="2488368" y="1419068"/>
                    <a:pt x="4721902" y="14990"/>
                  </a:cubicBezTo>
                  <a:lnTo>
                    <a:pt x="4721902" y="14990"/>
                  </a:lnTo>
                </a:path>
              </a:pathLst>
            </a:custGeom>
            <a:noFill/>
            <a:ln w="12700" cap="flat" cmpd="sng" algn="ctr">
              <a:solidFill>
                <a:sysClr val="windowText" lastClr="000000"/>
              </a:solidFill>
              <a:prstDash val="sysDash"/>
              <a:headEnd type="arrow"/>
              <a:tailEnd type="arrow"/>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37" name="Rounded Rectangle 36"/>
            <p:cNvSpPr/>
            <p:nvPr/>
          </p:nvSpPr>
          <p:spPr>
            <a:xfrm>
              <a:off x="439916" y="2891639"/>
              <a:ext cx="2322672" cy="559466"/>
            </a:xfrm>
            <a:prstGeom prst="round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Application Owners</a:t>
              </a:r>
            </a:p>
          </p:txBody>
        </p:sp>
        <p:sp>
          <p:nvSpPr>
            <p:cNvPr id="38" name="Rounded Rectangle 37"/>
            <p:cNvSpPr/>
            <p:nvPr/>
          </p:nvSpPr>
          <p:spPr>
            <a:xfrm>
              <a:off x="6219124" y="2899198"/>
              <a:ext cx="2322672" cy="546472"/>
            </a:xfrm>
            <a:prstGeom prst="roundRect">
              <a:avLst/>
            </a:prstGeom>
            <a:gradFill flip="none" rotWithShape="1">
              <a:gsLst>
                <a:gs pos="0">
                  <a:srgbClr val="00FF99">
                    <a:tint val="66000"/>
                    <a:satMod val="160000"/>
                  </a:srgbClr>
                </a:gs>
                <a:gs pos="50000">
                  <a:srgbClr val="00FF99">
                    <a:tint val="44500"/>
                    <a:satMod val="160000"/>
                  </a:srgbClr>
                </a:gs>
                <a:gs pos="100000">
                  <a:srgbClr val="00FF99">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Project Managers/Scrum Masters,  L2/L3 Service Lead</a:t>
              </a:r>
            </a:p>
          </p:txBody>
        </p:sp>
        <p:sp>
          <p:nvSpPr>
            <p:cNvPr id="39" name="Rounded Rectangle 38"/>
            <p:cNvSpPr/>
            <p:nvPr/>
          </p:nvSpPr>
          <p:spPr>
            <a:xfrm>
              <a:off x="637783" y="2305779"/>
              <a:ext cx="2322672" cy="536997"/>
            </a:xfrm>
            <a:prstGeom prst="round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Operating Leaders / Tower Leaders </a:t>
              </a:r>
            </a:p>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p:txBody>
        </p:sp>
        <p:sp>
          <p:nvSpPr>
            <p:cNvPr id="40" name="Rounded Rectangle 39"/>
            <p:cNvSpPr/>
            <p:nvPr/>
          </p:nvSpPr>
          <p:spPr>
            <a:xfrm>
              <a:off x="6077455" y="2326436"/>
              <a:ext cx="2322672" cy="495813"/>
            </a:xfrm>
            <a:prstGeom prst="roundRect">
              <a:avLst/>
            </a:prstGeom>
            <a:gradFill flip="none" rotWithShape="1">
              <a:gsLst>
                <a:gs pos="0">
                  <a:srgbClr val="00FF99">
                    <a:tint val="66000"/>
                    <a:satMod val="160000"/>
                  </a:srgbClr>
                </a:gs>
                <a:gs pos="50000">
                  <a:srgbClr val="00FF99">
                    <a:tint val="44500"/>
                    <a:satMod val="160000"/>
                  </a:srgbClr>
                </a:gs>
                <a:gs pos="100000">
                  <a:srgbClr val="00FF99">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Delivery Director, Service Delivery Manager</a:t>
              </a:r>
            </a:p>
          </p:txBody>
        </p:sp>
        <p:sp>
          <p:nvSpPr>
            <p:cNvPr id="41" name="Rounded Rectangle 40"/>
            <p:cNvSpPr/>
            <p:nvPr/>
          </p:nvSpPr>
          <p:spPr>
            <a:xfrm>
              <a:off x="874427" y="1722127"/>
              <a:ext cx="2322672" cy="520196"/>
            </a:xfrm>
            <a:prstGeom prst="round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Tower Leaders </a:t>
              </a:r>
            </a:p>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p:txBody>
        </p:sp>
        <p:sp>
          <p:nvSpPr>
            <p:cNvPr id="42" name="Rounded Rectangle 41"/>
            <p:cNvSpPr/>
            <p:nvPr/>
          </p:nvSpPr>
          <p:spPr>
            <a:xfrm>
              <a:off x="5793591" y="1770048"/>
              <a:ext cx="2322672" cy="485086"/>
            </a:xfrm>
            <a:prstGeom prst="roundRect">
              <a:avLst/>
            </a:prstGeom>
            <a:gradFill flip="none" rotWithShape="1">
              <a:gsLst>
                <a:gs pos="0">
                  <a:srgbClr val="00FF99">
                    <a:tint val="66000"/>
                    <a:satMod val="160000"/>
                  </a:srgbClr>
                </a:gs>
                <a:gs pos="50000">
                  <a:srgbClr val="00FF99">
                    <a:tint val="44500"/>
                    <a:satMod val="160000"/>
                  </a:srgbClr>
                </a:gs>
                <a:gs pos="100000">
                  <a:srgbClr val="00FF99">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Delivery Partner, Service Delivery Director</a:t>
              </a:r>
            </a:p>
          </p:txBody>
        </p:sp>
        <p:sp>
          <p:nvSpPr>
            <p:cNvPr id="43" name="Rounded Rectangle 42"/>
            <p:cNvSpPr/>
            <p:nvPr/>
          </p:nvSpPr>
          <p:spPr>
            <a:xfrm>
              <a:off x="-335482" y="224000"/>
              <a:ext cx="9998084" cy="359609"/>
            </a:xfrm>
            <a:prstGeom prst="roundRect">
              <a:avLst>
                <a:gd name="adj" fmla="val 0"/>
              </a:avLst>
            </a:prstGeom>
            <a:solidFill>
              <a:srgbClr val="82582D"/>
            </a:soli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
                  <a:ea typeface="+mn-ea"/>
                  <a:cs typeface="Arial" panose="020B0604020202020204" pitchFamily="34" charset="0"/>
                </a:rPr>
                <a:t>Incorporating strong envisioning, planning and execution capabilities</a:t>
              </a:r>
            </a:p>
          </p:txBody>
        </p:sp>
        <p:cxnSp>
          <p:nvCxnSpPr>
            <p:cNvPr id="44" name="Curved Connector 43"/>
            <p:cNvCxnSpPr/>
            <p:nvPr/>
          </p:nvCxnSpPr>
          <p:spPr>
            <a:xfrm rot="10800000" flipH="1">
              <a:off x="416166" y="2586405"/>
              <a:ext cx="221617" cy="478709"/>
            </a:xfrm>
            <a:prstGeom prst="curvedConnector3">
              <a:avLst>
                <a:gd name="adj1" fmla="val -76251"/>
              </a:avLst>
            </a:prstGeom>
            <a:noFill/>
            <a:ln w="9525" cap="flat" cmpd="sng" algn="ctr">
              <a:solidFill>
                <a:sysClr val="windowText" lastClr="000000"/>
              </a:solidFill>
              <a:prstDash val="solid"/>
              <a:headEnd type="arrow"/>
              <a:tailEnd type="arrow"/>
            </a:ln>
            <a:effectLst/>
          </p:spPr>
        </p:cxnSp>
        <p:cxnSp>
          <p:nvCxnSpPr>
            <p:cNvPr id="45" name="Curved Connector 44"/>
            <p:cNvCxnSpPr/>
            <p:nvPr/>
          </p:nvCxnSpPr>
          <p:spPr>
            <a:xfrm rot="10800000" flipH="1">
              <a:off x="604642" y="1925099"/>
              <a:ext cx="273857" cy="535225"/>
            </a:xfrm>
            <a:prstGeom prst="curvedConnector3">
              <a:avLst>
                <a:gd name="adj1" fmla="val -61705"/>
              </a:avLst>
            </a:prstGeom>
            <a:noFill/>
            <a:ln w="9525" cap="flat" cmpd="sng" algn="ctr">
              <a:solidFill>
                <a:sysClr val="windowText" lastClr="000000"/>
              </a:solidFill>
              <a:prstDash val="solid"/>
              <a:headEnd type="arrow"/>
              <a:tailEnd type="arrow"/>
            </a:ln>
            <a:effectLst/>
          </p:spPr>
        </p:cxnSp>
        <p:cxnSp>
          <p:nvCxnSpPr>
            <p:cNvPr id="46" name="Curved Connector 45"/>
            <p:cNvCxnSpPr/>
            <p:nvPr/>
          </p:nvCxnSpPr>
          <p:spPr>
            <a:xfrm>
              <a:off x="8133136" y="1938949"/>
              <a:ext cx="263608" cy="508758"/>
            </a:xfrm>
            <a:prstGeom prst="curvedConnector3">
              <a:avLst>
                <a:gd name="adj1" fmla="val 168227"/>
              </a:avLst>
            </a:prstGeom>
            <a:noFill/>
            <a:ln w="9525" cap="flat" cmpd="sng" algn="ctr">
              <a:solidFill>
                <a:sysClr val="windowText" lastClr="000000"/>
              </a:solidFill>
              <a:prstDash val="solid"/>
              <a:headEnd type="arrow"/>
              <a:tailEnd type="arrow"/>
            </a:ln>
            <a:effectLst/>
          </p:spPr>
        </p:cxnSp>
        <p:cxnSp>
          <p:nvCxnSpPr>
            <p:cNvPr id="47" name="Curved Connector 46"/>
            <p:cNvCxnSpPr/>
            <p:nvPr/>
          </p:nvCxnSpPr>
          <p:spPr>
            <a:xfrm>
              <a:off x="8379131" y="2588638"/>
              <a:ext cx="177294" cy="584115"/>
            </a:xfrm>
            <a:prstGeom prst="curvedConnector3">
              <a:avLst>
                <a:gd name="adj1" fmla="val 222106"/>
              </a:avLst>
            </a:prstGeom>
            <a:noFill/>
            <a:ln w="9525" cap="flat" cmpd="sng" algn="ctr">
              <a:solidFill>
                <a:sysClr val="windowText" lastClr="000000"/>
              </a:solidFill>
              <a:prstDash val="solid"/>
              <a:headEnd type="arrow"/>
              <a:tailEnd type="arrow"/>
            </a:ln>
            <a:effectLst/>
          </p:spPr>
        </p:cxnSp>
        <p:sp>
          <p:nvSpPr>
            <p:cNvPr id="48" name="TextBox 47"/>
            <p:cNvSpPr txBox="1"/>
            <p:nvPr/>
          </p:nvSpPr>
          <p:spPr>
            <a:xfrm>
              <a:off x="8531130" y="1767656"/>
              <a:ext cx="713945"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Monthly Review</a:t>
              </a:r>
            </a:p>
          </p:txBody>
        </p:sp>
        <p:sp>
          <p:nvSpPr>
            <p:cNvPr id="49" name="TextBox 48"/>
            <p:cNvSpPr txBox="1"/>
            <p:nvPr/>
          </p:nvSpPr>
          <p:spPr>
            <a:xfrm>
              <a:off x="8700398" y="2358239"/>
              <a:ext cx="697123"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Weekly Review</a:t>
              </a:r>
            </a:p>
          </p:txBody>
        </p:sp>
        <p:sp>
          <p:nvSpPr>
            <p:cNvPr id="50" name="TextBox 49"/>
            <p:cNvSpPr txBox="1"/>
            <p:nvPr/>
          </p:nvSpPr>
          <p:spPr>
            <a:xfrm>
              <a:off x="8652911" y="3005039"/>
              <a:ext cx="668727"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Weekly Review</a:t>
              </a:r>
            </a:p>
          </p:txBody>
        </p:sp>
        <p:sp>
          <p:nvSpPr>
            <p:cNvPr id="51" name="TextBox 50"/>
            <p:cNvSpPr txBox="1"/>
            <p:nvPr/>
          </p:nvSpPr>
          <p:spPr>
            <a:xfrm>
              <a:off x="37930" y="1692914"/>
              <a:ext cx="728734"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Monthly Review</a:t>
              </a:r>
            </a:p>
          </p:txBody>
        </p:sp>
        <p:sp>
          <p:nvSpPr>
            <p:cNvPr id="52" name="TextBox 51"/>
            <p:cNvSpPr txBox="1"/>
            <p:nvPr/>
          </p:nvSpPr>
          <p:spPr>
            <a:xfrm>
              <a:off x="-48588" y="2319002"/>
              <a:ext cx="666370"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Weekly Review</a:t>
              </a:r>
            </a:p>
          </p:txBody>
        </p:sp>
        <p:sp>
          <p:nvSpPr>
            <p:cNvPr id="53" name="TextBox 52"/>
            <p:cNvSpPr txBox="1"/>
            <p:nvPr/>
          </p:nvSpPr>
          <p:spPr>
            <a:xfrm>
              <a:off x="-77003" y="3065353"/>
              <a:ext cx="700961"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Weekly Review</a:t>
              </a:r>
            </a:p>
          </p:txBody>
        </p:sp>
        <p:cxnSp>
          <p:nvCxnSpPr>
            <p:cNvPr id="54" name="Straight Arrow Connector 53"/>
            <p:cNvCxnSpPr/>
            <p:nvPr/>
          </p:nvCxnSpPr>
          <p:spPr bwMode="auto">
            <a:xfrm flipV="1">
              <a:off x="2887569" y="1690750"/>
              <a:ext cx="1119341" cy="1261641"/>
            </a:xfrm>
            <a:prstGeom prst="straightConnector1">
              <a:avLst/>
            </a:prstGeom>
            <a:solidFill>
              <a:srgbClr val="4F81BD"/>
            </a:solidFill>
            <a:ln w="9525" cap="flat" cmpd="sng" algn="ctr">
              <a:solidFill>
                <a:srgbClr val="1F497D">
                  <a:lumMod val="60000"/>
                  <a:lumOff val="40000"/>
                </a:srgbClr>
              </a:solidFill>
              <a:prstDash val="sysDash"/>
              <a:round/>
              <a:headEnd type="none" w="med" len="med"/>
              <a:tailEnd type="arrow"/>
            </a:ln>
            <a:effectLst/>
          </p:spPr>
        </p:cxnSp>
        <p:cxnSp>
          <p:nvCxnSpPr>
            <p:cNvPr id="55" name="Straight Arrow Connector 54"/>
            <p:cNvCxnSpPr/>
            <p:nvPr/>
          </p:nvCxnSpPr>
          <p:spPr bwMode="auto">
            <a:xfrm>
              <a:off x="5037644" y="1782953"/>
              <a:ext cx="1063106" cy="1131876"/>
            </a:xfrm>
            <a:prstGeom prst="straightConnector1">
              <a:avLst/>
            </a:prstGeom>
            <a:solidFill>
              <a:srgbClr val="4F81BD"/>
            </a:solidFill>
            <a:ln w="9525" cap="flat" cmpd="sng" algn="ctr">
              <a:solidFill>
                <a:srgbClr val="1F497D">
                  <a:lumMod val="60000"/>
                  <a:lumOff val="40000"/>
                </a:srgbClr>
              </a:solidFill>
              <a:prstDash val="sysDash"/>
              <a:round/>
              <a:headEnd type="none" w="med" len="med"/>
              <a:tailEnd type="arrow"/>
            </a:ln>
            <a:effectLst/>
          </p:spPr>
        </p:cxnSp>
        <p:sp>
          <p:nvSpPr>
            <p:cNvPr id="56" name="Rectangle 8"/>
            <p:cNvSpPr>
              <a:spLocks noChangeArrowheads="1"/>
            </p:cNvSpPr>
            <p:nvPr/>
          </p:nvSpPr>
          <p:spPr bwMode="auto">
            <a:xfrm>
              <a:off x="4817645" y="3657158"/>
              <a:ext cx="2427403" cy="1773719"/>
            </a:xfrm>
            <a:prstGeom prst="rect">
              <a:avLst/>
            </a:prstGeom>
            <a:solidFill>
              <a:srgbClr val="E9D5C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lIns="75820" tIns="37909" rIns="75820" bIns="37909" anchor="t">
              <a:noAutofit/>
            </a:bodyPr>
            <a:lstStyle/>
            <a:p>
              <a:pPr marL="130235" marR="0" lvl="0" indent="-130235" algn="l" defTabSz="814892" rtl="0" eaLnBrk="1" fontAlgn="base" latinLnBrk="0" hangingPunct="1">
                <a:lnSpc>
                  <a:spcPct val="120000"/>
                </a:lnSpc>
                <a:spcBef>
                  <a:spcPct val="0"/>
                </a:spcBef>
                <a:spcAft>
                  <a:spcPct val="0"/>
                </a:spcAft>
                <a:buClr>
                  <a:srgbClr val="DF7A1C"/>
                </a:buClr>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Service Management Office</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Setup of ITIL processes, SLA /KPI</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Plan  30 /60/90 day Continuous improvement &amp; Innovation targets</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End to end SLA/ KPI  management</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Manage cross tower dependencies</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Manage stakeholder communications and reporting </a:t>
              </a:r>
            </a:p>
          </p:txBody>
        </p:sp>
        <p:sp>
          <p:nvSpPr>
            <p:cNvPr id="57" name="Rectangle 9"/>
            <p:cNvSpPr>
              <a:spLocks noChangeArrowheads="1"/>
            </p:cNvSpPr>
            <p:nvPr/>
          </p:nvSpPr>
          <p:spPr bwMode="auto">
            <a:xfrm>
              <a:off x="7279085" y="3657151"/>
              <a:ext cx="2276919" cy="1773726"/>
            </a:xfrm>
            <a:prstGeom prst="rect">
              <a:avLst/>
            </a:prstGeom>
            <a:solidFill>
              <a:srgbClr val="E9D5C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lIns="75820" tIns="37909" rIns="75820" bIns="37909" anchor="t">
              <a:noAutofit/>
            </a:bodyPr>
            <a:lstStyle/>
            <a:p>
              <a:pPr marL="130235" marR="0" lvl="0" indent="-130235" algn="l" defTabSz="814892" rtl="0" eaLnBrk="1" fontAlgn="base" latinLnBrk="0" hangingPunct="1">
                <a:lnSpc>
                  <a:spcPct val="120000"/>
                </a:lnSpc>
                <a:spcBef>
                  <a:spcPct val="0"/>
                </a:spcBef>
                <a:spcAft>
                  <a:spcPct val="0"/>
                </a:spcAft>
                <a:buClr>
                  <a:srgbClr val="DF7A1C"/>
                </a:buClr>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Delivery Management</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Manage application development &amp; maintenance work</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Provide status reports, metrics report, root cause analysis</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Provide application management services </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Knowledge management</a:t>
              </a:r>
            </a:p>
          </p:txBody>
        </p:sp>
        <p:sp>
          <p:nvSpPr>
            <p:cNvPr id="58" name="Freeform 57"/>
            <p:cNvSpPr/>
            <p:nvPr/>
          </p:nvSpPr>
          <p:spPr>
            <a:xfrm>
              <a:off x="3976861" y="1727014"/>
              <a:ext cx="1078834" cy="606614"/>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560" h="1188720">
                  <a:moveTo>
                    <a:pt x="289560" y="0"/>
                  </a:moveTo>
                  <a:cubicBezTo>
                    <a:pt x="980440" y="574040"/>
                    <a:pt x="1457960" y="416560"/>
                    <a:pt x="1859280" y="30480"/>
                  </a:cubicBezTo>
                  <a:lnTo>
                    <a:pt x="2194560" y="457200"/>
                  </a:lnTo>
                  <a:cubicBezTo>
                    <a:pt x="1432560" y="1188720"/>
                    <a:pt x="518160" y="868680"/>
                    <a:pt x="0" y="411480"/>
                  </a:cubicBezTo>
                  <a:lnTo>
                    <a:pt x="289560" y="0"/>
                  </a:lnTo>
                  <a:close/>
                </a:path>
              </a:pathLst>
            </a:custGeom>
            <a:solidFill>
              <a:srgbClr val="C0504D">
                <a:lumMod val="40000"/>
                <a:lumOff val="60000"/>
              </a:srgbClr>
            </a:solidFill>
            <a:ln w="9525" cap="flat" cmpd="sng" algn="ctr">
              <a:solidFill>
                <a:sysClr val="window" lastClr="FFFFFF"/>
              </a:solidFill>
              <a:prstDash val="solid"/>
            </a:ln>
            <a:effectLst>
              <a:outerShdw blurRad="40000" dist="20000" dir="5400000" rotWithShape="0">
                <a:srgbClr val="000000">
                  <a:alpha val="38000"/>
                </a:srgbClr>
              </a:outerShdw>
            </a:effectLst>
          </p:spPr>
          <p:txBody>
            <a:bodyPr lIns="15239" tIns="15239" rIns="15239" bIns="15239"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
                <a:ea typeface="+mn-ea"/>
                <a:cs typeface="Arial" panose="020B0604020202020204" pitchFamily="34" charset="0"/>
              </a:endParaRPr>
            </a:p>
          </p:txBody>
        </p:sp>
        <p:sp>
          <p:nvSpPr>
            <p:cNvPr id="59" name="Rectangle 58"/>
            <p:cNvSpPr/>
            <p:nvPr/>
          </p:nvSpPr>
          <p:spPr>
            <a:xfrm>
              <a:off x="4097574" y="1905397"/>
              <a:ext cx="891662" cy="314597"/>
            </a:xfrm>
            <a:prstGeom prst="rect">
              <a:avLst/>
            </a:prstGeom>
            <a:noFill/>
            <a:ln w="25400" cap="flat" cmpd="sng" algn="ctr">
              <a:noFill/>
              <a:prstDash val="solid"/>
            </a:ln>
            <a:effectLst/>
          </p:spPr>
          <p:txBody>
            <a:bodyPr lIns="15239" tIns="15239" rIns="15239" bIns="15239"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Executive Council</a:t>
              </a:r>
            </a:p>
          </p:txBody>
        </p:sp>
        <p:sp>
          <p:nvSpPr>
            <p:cNvPr id="60" name="Oval 59"/>
            <p:cNvSpPr/>
            <p:nvPr/>
          </p:nvSpPr>
          <p:spPr>
            <a:xfrm>
              <a:off x="4071775" y="1838280"/>
              <a:ext cx="188482" cy="144962"/>
            </a:xfrm>
            <a:prstGeom prst="ellipse">
              <a:avLst/>
            </a:prstGeom>
            <a:solidFill>
              <a:sysClr val="window" lastClr="FFFFFF"/>
            </a:solidFill>
            <a:ln w="25400" cap="flat" cmpd="sng" algn="ctr">
              <a:solidFill>
                <a:sysClr val="window" lastClr="FFFFFF"/>
              </a:solidFill>
              <a:prstDash val="solid"/>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F497D">
                      <a:lumMod val="60000"/>
                      <a:lumOff val="40000"/>
                    </a:srgbClr>
                  </a:solidFill>
                  <a:effectLst/>
                  <a:uLnTx/>
                  <a:uFillTx/>
                  <a:latin typeface="Calibri "/>
                  <a:ea typeface="+mn-ea"/>
                  <a:cs typeface="Arial" panose="020B0604020202020204" pitchFamily="34" charset="0"/>
                </a:rPr>
                <a:t>1</a:t>
              </a:r>
            </a:p>
          </p:txBody>
        </p:sp>
        <p:pic>
          <p:nvPicPr>
            <p:cNvPr id="61" name="Picture 60" descr="men1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7647" y="1828516"/>
              <a:ext cx="171589" cy="205365"/>
            </a:xfrm>
            <a:prstGeom prst="rect">
              <a:avLst/>
            </a:prstGeom>
          </p:spPr>
        </p:pic>
        <p:sp>
          <p:nvSpPr>
            <p:cNvPr id="62" name="Rounded Rectangle 61"/>
            <p:cNvSpPr/>
            <p:nvPr/>
          </p:nvSpPr>
          <p:spPr>
            <a:xfrm>
              <a:off x="1065016" y="1207759"/>
              <a:ext cx="2485843" cy="403343"/>
            </a:xfrm>
            <a:prstGeom prst="round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CIO, Service Review Board</a:t>
              </a:r>
            </a:p>
          </p:txBody>
        </p:sp>
        <p:sp>
          <p:nvSpPr>
            <p:cNvPr id="63" name="Rounded Rectangle 62"/>
            <p:cNvSpPr/>
            <p:nvPr/>
          </p:nvSpPr>
          <p:spPr>
            <a:xfrm>
              <a:off x="5507845" y="1247239"/>
              <a:ext cx="2322672" cy="434432"/>
            </a:xfrm>
            <a:prstGeom prst="roundRect">
              <a:avLst/>
            </a:prstGeom>
            <a:gradFill flip="none" rotWithShape="1">
              <a:gsLst>
                <a:gs pos="0">
                  <a:srgbClr val="00FF99">
                    <a:tint val="66000"/>
                    <a:satMod val="160000"/>
                  </a:srgbClr>
                </a:gs>
                <a:gs pos="50000">
                  <a:srgbClr val="00FF99">
                    <a:tint val="44500"/>
                    <a:satMod val="160000"/>
                  </a:srgbClr>
                </a:gs>
                <a:gs pos="100000">
                  <a:srgbClr val="00FF99">
                    <a:tint val="23500"/>
                    <a:satMod val="160000"/>
                  </a:srgbClr>
                </a:gs>
              </a:gsLst>
              <a:path path="circle">
                <a:fillToRect l="100000" b="100000"/>
              </a:path>
              <a:tileRect t="-100000" r="-100000"/>
            </a:gradFill>
            <a:ln w="25400" cap="flat" cmpd="sng" algn="ctr">
              <a:noFill/>
              <a:prstDash val="solid"/>
            </a:ln>
            <a:effectLst/>
          </p:spPr>
          <p:txBody>
            <a:bodyPr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Client Partner, Business Unit Head</a:t>
              </a:r>
            </a:p>
            <a:p>
              <a:pPr marL="0" marR="0" lvl="0" indent="0" algn="ctr" defTabSz="81489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
                <a:ea typeface="+mn-ea"/>
                <a:cs typeface="Arial" panose="020B0604020202020204" pitchFamily="34" charset="0"/>
              </a:endParaRPr>
            </a:p>
          </p:txBody>
        </p:sp>
        <p:sp>
          <p:nvSpPr>
            <p:cNvPr id="64" name="TextBox 63"/>
            <p:cNvSpPr txBox="1"/>
            <p:nvPr/>
          </p:nvSpPr>
          <p:spPr>
            <a:xfrm>
              <a:off x="8413930" y="1291044"/>
              <a:ext cx="713945"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Quarterly Review</a:t>
              </a:r>
            </a:p>
          </p:txBody>
        </p:sp>
        <p:cxnSp>
          <p:nvCxnSpPr>
            <p:cNvPr id="65" name="Curved Connector 64"/>
            <p:cNvCxnSpPr/>
            <p:nvPr/>
          </p:nvCxnSpPr>
          <p:spPr>
            <a:xfrm>
              <a:off x="7921334" y="1382149"/>
              <a:ext cx="219758" cy="469276"/>
            </a:xfrm>
            <a:prstGeom prst="curvedConnector3">
              <a:avLst>
                <a:gd name="adj1" fmla="val 222106"/>
              </a:avLst>
            </a:prstGeom>
            <a:noFill/>
            <a:ln w="9525" cap="flat" cmpd="sng" algn="ctr">
              <a:solidFill>
                <a:sysClr val="windowText" lastClr="000000"/>
              </a:solidFill>
              <a:prstDash val="solid"/>
              <a:headEnd type="arrow"/>
              <a:tailEnd type="arrow"/>
            </a:ln>
            <a:effectLst/>
          </p:spPr>
        </p:cxnSp>
        <p:cxnSp>
          <p:nvCxnSpPr>
            <p:cNvPr id="66" name="Curved Connector 65"/>
            <p:cNvCxnSpPr/>
            <p:nvPr/>
          </p:nvCxnSpPr>
          <p:spPr>
            <a:xfrm rot="10800000" flipH="1">
              <a:off x="814380" y="1344036"/>
              <a:ext cx="219423" cy="438854"/>
            </a:xfrm>
            <a:prstGeom prst="curvedConnector3">
              <a:avLst>
                <a:gd name="adj1" fmla="val -76251"/>
              </a:avLst>
            </a:prstGeom>
            <a:noFill/>
            <a:ln w="9525" cap="flat" cmpd="sng" algn="ctr">
              <a:solidFill>
                <a:sysClr val="windowText" lastClr="000000"/>
              </a:solidFill>
              <a:prstDash val="solid"/>
              <a:headEnd type="arrow"/>
              <a:tailEnd type="arrow"/>
            </a:ln>
            <a:effectLst/>
          </p:spPr>
        </p:cxnSp>
        <p:sp>
          <p:nvSpPr>
            <p:cNvPr id="67" name="Rectangle 7"/>
            <p:cNvSpPr>
              <a:spLocks noChangeArrowheads="1"/>
            </p:cNvSpPr>
            <p:nvPr/>
          </p:nvSpPr>
          <p:spPr bwMode="auto">
            <a:xfrm>
              <a:off x="2430350" y="3657161"/>
              <a:ext cx="2276918" cy="1773716"/>
            </a:xfrm>
            <a:prstGeom prst="rect">
              <a:avLst/>
            </a:prstGeom>
            <a:solidFill>
              <a:srgbClr val="E9D5C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lIns="75820" tIns="37909" rIns="75820" bIns="37909" anchor="t">
              <a:noAutofit/>
            </a:bodyPr>
            <a:lstStyle/>
            <a:p>
              <a:pPr marL="130235" marR="0" lvl="0" indent="-130235" algn="l" defTabSz="814892" rtl="0" eaLnBrk="1" fontAlgn="base" latinLnBrk="0" hangingPunct="1">
                <a:lnSpc>
                  <a:spcPct val="120000"/>
                </a:lnSpc>
                <a:spcBef>
                  <a:spcPct val="0"/>
                </a:spcBef>
                <a:spcAft>
                  <a:spcPct val="0"/>
                </a:spcAft>
                <a:buClr>
                  <a:srgbClr val="DF7A1C"/>
                </a:buClr>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Steering Committee</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Alignment of business &amp; strategic goals</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Provide Thought Leadership</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Drive effective partnership for Transition &amp; Transformation</a:t>
              </a:r>
            </a:p>
            <a:p>
              <a:pPr marL="171427" marR="0" lvl="0" indent="-171427" algn="l" defTabSz="814892" rtl="0" eaLnBrk="1" fontAlgn="base" latinLnBrk="0" hangingPunct="1">
                <a:lnSpc>
                  <a:spcPct val="120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Review performance / progress /RCA &amp; take key design decisions</a:t>
              </a:r>
            </a:p>
          </p:txBody>
        </p:sp>
        <p:sp>
          <p:nvSpPr>
            <p:cNvPr id="68" name="Rectangle 7"/>
            <p:cNvSpPr>
              <a:spLocks noChangeArrowheads="1"/>
            </p:cNvSpPr>
            <p:nvPr/>
          </p:nvSpPr>
          <p:spPr bwMode="auto">
            <a:xfrm>
              <a:off x="-6" y="3657155"/>
              <a:ext cx="2276918" cy="1756198"/>
            </a:xfrm>
            <a:prstGeom prst="rect">
              <a:avLst/>
            </a:prstGeom>
            <a:solidFill>
              <a:srgbClr val="E9D5C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lIns="75820" tIns="37909" rIns="75820" bIns="37909" anchor="t">
              <a:noAutofit/>
            </a:bodyPr>
            <a:lstStyle/>
            <a:p>
              <a:pPr marL="130235" marR="0" lvl="0" indent="-130235" algn="l" defTabSz="814892" rtl="0" eaLnBrk="1" fontAlgn="base" latinLnBrk="0" hangingPunct="1">
                <a:lnSpc>
                  <a:spcPct val="120000"/>
                </a:lnSpc>
                <a:spcBef>
                  <a:spcPct val="0"/>
                </a:spcBef>
                <a:spcAft>
                  <a:spcPct val="0"/>
                </a:spcAft>
                <a:buClr>
                  <a:srgbClr val="DF7A1C"/>
                </a:buClr>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Executive Council</a:t>
              </a:r>
            </a:p>
            <a:p>
              <a:pPr marL="130235" marR="0" lvl="0" indent="-130235" algn="l" defTabSz="814892" rtl="0" eaLnBrk="1" fontAlgn="base" latinLnBrk="0" hangingPunct="1">
                <a:lnSpc>
                  <a:spcPct val="120000"/>
                </a:lnSpc>
                <a:spcBef>
                  <a:spcPct val="0"/>
                </a:spcBef>
                <a:spcAft>
                  <a:spcPct val="0"/>
                </a:spcAft>
                <a:buClr>
                  <a:prstClr val="black"/>
                </a:buClr>
                <a:buSzPct val="95000"/>
                <a:buFont typeface="Wingdings" pitchFamily="2" charset="2"/>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Providing strategic direction to the overall engagement</a:t>
              </a:r>
            </a:p>
            <a:p>
              <a:pPr marL="130235" marR="0" lvl="0" indent="-130235" algn="l" defTabSz="814892" rtl="0" eaLnBrk="1" fontAlgn="base" latinLnBrk="0" hangingPunct="1">
                <a:lnSpc>
                  <a:spcPct val="120000"/>
                </a:lnSpc>
                <a:spcBef>
                  <a:spcPct val="0"/>
                </a:spcBef>
                <a:spcAft>
                  <a:spcPct val="0"/>
                </a:spcAft>
                <a:buClr>
                  <a:prstClr val="black"/>
                </a:buClr>
                <a:buSzPct val="95000"/>
                <a:buFont typeface="Wingdings" pitchFamily="2" charset="2"/>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Executive Management’s commitment and sponsorship</a:t>
              </a:r>
            </a:p>
            <a:p>
              <a:pPr marL="130235" marR="0" lvl="0" indent="-130235" algn="l" defTabSz="814892" rtl="0" eaLnBrk="1" fontAlgn="base" latinLnBrk="0" hangingPunct="1">
                <a:lnSpc>
                  <a:spcPct val="120000"/>
                </a:lnSpc>
                <a:spcBef>
                  <a:spcPct val="0"/>
                </a:spcBef>
                <a:spcAft>
                  <a:spcPct val="0"/>
                </a:spcAft>
                <a:buClr>
                  <a:prstClr val="black"/>
                </a:buClr>
                <a:buSzPct val="95000"/>
                <a:buFont typeface="Wingdings" pitchFamily="2" charset="2"/>
                <a:buChar char="§"/>
                <a:tabLst/>
                <a:defRPr/>
              </a:pPr>
              <a:r>
                <a:rPr kumimoji="0" lang="en-US" sz="1050" b="0" i="0"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rPr>
                <a:t>Top down communication for organizational alignment</a:t>
              </a:r>
            </a:p>
            <a:p>
              <a:pPr marL="130235" marR="0" lvl="0" indent="-130235" algn="l" defTabSz="814892" rtl="0" eaLnBrk="1" fontAlgn="base" latinLnBrk="0" hangingPunct="1">
                <a:lnSpc>
                  <a:spcPct val="120000"/>
                </a:lnSpc>
                <a:spcBef>
                  <a:spcPct val="0"/>
                </a:spcBef>
                <a:spcAft>
                  <a:spcPct val="0"/>
                </a:spcAft>
                <a:buClr>
                  <a:prstClr val="black"/>
                </a:buClr>
                <a:buSzPct val="95000"/>
                <a:buFont typeface="Wingdings" pitchFamily="2" charset="2"/>
                <a:buChar char="§"/>
                <a:tabLst/>
                <a:defRPr/>
              </a:pPr>
              <a:endParaRPr kumimoji="0" lang="en-US" sz="1050" b="0" i="1" u="none" strike="noStrike" kern="0" cap="none" spc="0" normalizeH="0" baseline="0" noProof="0" dirty="0">
                <a:ln>
                  <a:noFill/>
                </a:ln>
                <a:solidFill>
                  <a:prstClr val="black"/>
                </a:solidFill>
                <a:effectLst/>
                <a:uLnTx/>
                <a:uFillTx/>
                <a:latin typeface="Calibri "/>
                <a:ea typeface="ＭＳ Ｐゴシック" pitchFamily="34" charset="-128"/>
                <a:cs typeface="Calibri" panose="020F0502020204030204" pitchFamily="34" charset="0"/>
              </a:endParaRPr>
            </a:p>
          </p:txBody>
        </p:sp>
        <p:sp>
          <p:nvSpPr>
            <p:cNvPr id="69" name="TextBox 68"/>
            <p:cNvSpPr txBox="1"/>
            <p:nvPr/>
          </p:nvSpPr>
          <p:spPr>
            <a:xfrm>
              <a:off x="96588" y="1209197"/>
              <a:ext cx="728734" cy="399615"/>
            </a:xfrm>
            <a:prstGeom prst="rect">
              <a:avLst/>
            </a:prstGeom>
            <a:noFill/>
          </p:spPr>
          <p:txBody>
            <a:bodyPr wrap="square" rtlCol="0">
              <a:spAutoFit/>
            </a:bodyPr>
            <a:lstStyle/>
            <a:p>
              <a:pPr marL="0" marR="0" lvl="0" indent="0" algn="l" defTabSz="8148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Quarterly Review</a:t>
              </a:r>
            </a:p>
          </p:txBody>
        </p:sp>
        <p:sp>
          <p:nvSpPr>
            <p:cNvPr id="70" name="TextBox 69"/>
            <p:cNvSpPr txBox="1"/>
            <p:nvPr/>
          </p:nvSpPr>
          <p:spPr bwMode="auto">
            <a:xfrm rot="19309741">
              <a:off x="3069334" y="1914116"/>
              <a:ext cx="900629" cy="236805"/>
            </a:xfrm>
            <a:prstGeom prst="rect">
              <a:avLst/>
            </a:prstGeom>
            <a:noFill/>
            <a:ln w="9525">
              <a:noFill/>
              <a:miter lim="800000"/>
              <a:headEnd/>
              <a:tailEnd/>
            </a:ln>
          </p:spPr>
          <p:txBody>
            <a:bodyPr wrap="square" lIns="76197" tIns="38098" rIns="76197" bIns="38098" rtlCol="0">
              <a:prstTxWarp prst="textNoShape">
                <a:avLst/>
              </a:prstTxWarp>
              <a:spAutoFit/>
            </a:bodyPr>
            <a:lstStyle/>
            <a:p>
              <a:pPr marL="0" marR="0" lvl="0" indent="0" algn="l" defTabSz="814892"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Escalation</a:t>
              </a:r>
            </a:p>
          </p:txBody>
        </p:sp>
        <p:sp>
          <p:nvSpPr>
            <p:cNvPr id="71" name="TextBox 70"/>
            <p:cNvSpPr txBox="1"/>
            <p:nvPr/>
          </p:nvSpPr>
          <p:spPr bwMode="auto">
            <a:xfrm rot="2112586">
              <a:off x="5143273" y="2020875"/>
              <a:ext cx="1002192" cy="399611"/>
            </a:xfrm>
            <a:prstGeom prst="rect">
              <a:avLst/>
            </a:prstGeom>
            <a:noFill/>
            <a:ln w="9525">
              <a:noFill/>
              <a:miter lim="800000"/>
              <a:headEnd/>
              <a:tailEnd/>
            </a:ln>
          </p:spPr>
          <p:txBody>
            <a:bodyPr wrap="square" lIns="76197" tIns="38098" rIns="76197" bIns="38098" rtlCol="0">
              <a:prstTxWarp prst="textNoShape">
                <a:avLst/>
              </a:prstTxWarp>
              <a:spAutoFit/>
            </a:bodyPr>
            <a:lstStyle/>
            <a:p>
              <a:pPr marL="0" marR="0" lvl="0" indent="0" algn="ctr" defTabSz="814892"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Policies, Directions</a:t>
              </a:r>
            </a:p>
          </p:txBody>
        </p:sp>
        <p:sp>
          <p:nvSpPr>
            <p:cNvPr id="72" name="Oval 71"/>
            <p:cNvSpPr/>
            <p:nvPr/>
          </p:nvSpPr>
          <p:spPr>
            <a:xfrm>
              <a:off x="3933130" y="876624"/>
              <a:ext cx="1198496" cy="1031078"/>
            </a:xfrm>
            <a:prstGeom prst="ellipse">
              <a:avLst/>
            </a:prstGeom>
            <a:solidFill>
              <a:sysClr val="window" lastClr="FFFFFF">
                <a:lumMod val="85000"/>
              </a:sysClr>
            </a:solidFill>
            <a:ln w="25400" cap="flat" cmpd="sng" algn="ctr">
              <a:solidFill>
                <a:sysClr val="window" lastClr="FFFFFF"/>
              </a:solidFill>
              <a:prstDash val="solid"/>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a:sp3d>
          </p:spPr>
          <p:txBody>
            <a:bodyPr lIns="0" tIns="0" rIns="0" bIns="0" rtlCol="0" anchor="ctr"/>
            <a:lstStyle/>
            <a:p>
              <a:pPr marL="0" marR="0" lvl="0" indent="0" algn="ctr" defTabSz="8148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
                  <a:ea typeface="+mn-ea"/>
                  <a:cs typeface="Arial" panose="020B0604020202020204" pitchFamily="34" charset="0"/>
                </a:rPr>
                <a:t>Governance Model</a:t>
              </a:r>
            </a:p>
          </p:txBody>
        </p:sp>
      </p:grpSp>
      <p:sp>
        <p:nvSpPr>
          <p:cNvPr id="73" name="Diagonal Stripe 72"/>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Need merge with next slide</a:t>
            </a:r>
            <a:endParaRPr lang="en-US" sz="1400" dirty="0">
              <a:solidFill>
                <a:srgbClr val="FF0000"/>
              </a:solidFill>
            </a:endParaRPr>
          </a:p>
        </p:txBody>
      </p:sp>
    </p:spTree>
    <p:extLst>
      <p:ext uri="{BB962C8B-B14F-4D97-AF65-F5344CB8AC3E}">
        <p14:creationId xmlns:p14="http://schemas.microsoft.com/office/powerpoint/2010/main" val="358870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172"/>
        <p:cNvGrpSpPr/>
        <p:nvPr/>
      </p:nvGrpSpPr>
      <p:grpSpPr>
        <a:xfrm>
          <a:off x="0" y="0"/>
          <a:ext cx="0" cy="0"/>
          <a:chOff x="0" y="0"/>
          <a:chExt cx="0" cy="0"/>
        </a:xfrm>
      </p:grpSpPr>
      <p:sp>
        <p:nvSpPr>
          <p:cNvPr id="1174" name="Shape 1174"/>
          <p:cNvSpPr/>
          <p:nvPr/>
        </p:nvSpPr>
        <p:spPr>
          <a:xfrm>
            <a:off x="444646" y="1242965"/>
            <a:ext cx="11559408" cy="1666006"/>
          </a:xfrm>
          <a:prstGeom prst="rect">
            <a:avLst/>
          </a:prstGeom>
          <a:noFill/>
          <a:ln>
            <a:noFill/>
          </a:ln>
        </p:spPr>
        <p:txBody>
          <a:bodyPr lIns="121900" tIns="60933" rIns="121900" bIns="60933" anchor="t" anchorCtr="0">
            <a:noAutofit/>
          </a:bodyPr>
          <a:lstStyle/>
          <a:p>
            <a:pPr>
              <a:buClr>
                <a:schemeClr val="dk1"/>
              </a:buClr>
              <a:buSzPct val="25000"/>
            </a:pPr>
            <a:r>
              <a:rPr lang="en-US" sz="2667" b="1" u="sng" dirty="0">
                <a:solidFill>
                  <a:schemeClr val="tx2"/>
                </a:solidFill>
              </a:rPr>
              <a:t>Cognizant Studios </a:t>
            </a:r>
            <a:r>
              <a:rPr lang="en-US" sz="2667" b="1" u="sng" dirty="0" smtClean="0">
                <a:solidFill>
                  <a:schemeClr val="tx2"/>
                </a:solidFill>
              </a:rPr>
              <a:t>Framework</a:t>
            </a:r>
            <a:r>
              <a:rPr lang="en-US" sz="2667" b="1" dirty="0" smtClean="0">
                <a:solidFill>
                  <a:schemeClr val="tx2"/>
                </a:solidFill>
              </a:rPr>
              <a:t> </a:t>
            </a:r>
            <a:r>
              <a:rPr lang="en-US" sz="2667" dirty="0">
                <a:solidFill>
                  <a:schemeClr val="tx2"/>
                </a:solidFill>
              </a:rPr>
              <a:t>enables us to stand up PODs with Next Gen Technology enabled to meet </a:t>
            </a:r>
            <a:r>
              <a:rPr lang="en-US" sz="2667" dirty="0" smtClean="0">
                <a:solidFill>
                  <a:schemeClr val="tx2"/>
                </a:solidFill>
              </a:rPr>
              <a:t>Marriott’s </a:t>
            </a:r>
            <a:r>
              <a:rPr lang="en-US" sz="2667" dirty="0">
                <a:solidFill>
                  <a:schemeClr val="tx2"/>
                </a:solidFill>
              </a:rPr>
              <a:t>Demand. </a:t>
            </a:r>
          </a:p>
          <a:p>
            <a:pPr>
              <a:buSzPct val="25000"/>
            </a:pPr>
            <a:endParaRPr lang="en-US" sz="1733" dirty="0">
              <a:solidFill>
                <a:schemeClr val="tx2"/>
              </a:solidFill>
            </a:endParaRPr>
          </a:p>
          <a:p>
            <a:pPr marL="285750" indent="-285750">
              <a:buSzPct val="25000"/>
              <a:buFont typeface="Arial" panose="020B0604020202020204" pitchFamily="34" charset="0"/>
              <a:buChar char="•"/>
            </a:pPr>
            <a:r>
              <a:rPr lang="en-US" sz="1733" dirty="0">
                <a:solidFill>
                  <a:schemeClr val="tx2"/>
                </a:solidFill>
              </a:rPr>
              <a:t>Teams are small, cross-functional, co-located and empowered to respond to change. </a:t>
            </a:r>
            <a:endParaRPr lang="en-US" sz="1733" dirty="0" smtClean="0">
              <a:solidFill>
                <a:schemeClr val="tx2"/>
              </a:solidFill>
            </a:endParaRPr>
          </a:p>
          <a:p>
            <a:pPr marL="285750" indent="-285750">
              <a:buSzPct val="25000"/>
              <a:buFont typeface="Arial" panose="020B0604020202020204" pitchFamily="34" charset="0"/>
              <a:buChar char="•"/>
            </a:pPr>
            <a:endParaRPr lang="en-US" sz="1733" dirty="0" smtClean="0">
              <a:solidFill>
                <a:schemeClr val="tx2"/>
              </a:solidFill>
            </a:endParaRPr>
          </a:p>
          <a:p>
            <a:pPr marL="285750" indent="-285750">
              <a:buSzPct val="25000"/>
              <a:buFont typeface="Arial" panose="020B0604020202020204" pitchFamily="34" charset="0"/>
              <a:buChar char="•"/>
            </a:pPr>
            <a:r>
              <a:rPr lang="en-US" sz="1733" dirty="0" smtClean="0">
                <a:solidFill>
                  <a:schemeClr val="tx2"/>
                </a:solidFill>
              </a:rPr>
              <a:t>Highly customized and domain driven assessment and selection processes to pick the best talents </a:t>
            </a:r>
            <a:endParaRPr lang="en-US" sz="1733" dirty="0">
              <a:solidFill>
                <a:schemeClr val="tx2"/>
              </a:solidFill>
            </a:endParaRPr>
          </a:p>
          <a:p>
            <a:endParaRPr sz="1733" dirty="0">
              <a:solidFill>
                <a:schemeClr val="tx2"/>
              </a:solidFill>
            </a:endParaRPr>
          </a:p>
        </p:txBody>
      </p:sp>
      <p:sp>
        <p:nvSpPr>
          <p:cNvPr id="2" name="Rectangle 1"/>
          <p:cNvSpPr/>
          <p:nvPr/>
        </p:nvSpPr>
        <p:spPr>
          <a:xfrm>
            <a:off x="554338" y="3296167"/>
            <a:ext cx="8168413" cy="646331"/>
          </a:xfrm>
          <a:prstGeom prst="rect">
            <a:avLst/>
          </a:prstGeom>
        </p:spPr>
        <p:txBody>
          <a:bodyPr wrap="square">
            <a:spAutoFit/>
          </a:bodyPr>
          <a:lstStyle/>
          <a:p>
            <a:pPr lvl="0">
              <a:lnSpc>
                <a:spcPct val="150000"/>
              </a:lnSpc>
              <a:buSzPct val="25000"/>
            </a:pPr>
            <a:r>
              <a:rPr lang="en-US" sz="2400" b="1" dirty="0">
                <a:solidFill>
                  <a:schemeClr val="tx2"/>
                </a:solidFill>
              </a:rPr>
              <a:t>Practices that enable teams to develop with agility:</a:t>
            </a:r>
          </a:p>
        </p:txBody>
      </p:sp>
      <p:sp>
        <p:nvSpPr>
          <p:cNvPr id="25" name="Rectangle 24"/>
          <p:cNvSpPr/>
          <p:nvPr/>
        </p:nvSpPr>
        <p:spPr>
          <a:xfrm>
            <a:off x="444844" y="5309935"/>
            <a:ext cx="1228028" cy="297454"/>
          </a:xfrm>
          <a:prstGeom prst="rect">
            <a:avLst/>
          </a:prstGeom>
        </p:spPr>
        <p:txBody>
          <a:bodyPr wrap="none">
            <a:spAutoFit/>
          </a:bodyPr>
          <a:lstStyle/>
          <a:p>
            <a:pPr marL="228594" indent="-228594">
              <a:buClr>
                <a:schemeClr val="dk1"/>
              </a:buClr>
              <a:buSzPct val="100000"/>
              <a:buFont typeface="Arial" charset="0"/>
              <a:buChar char="•"/>
            </a:pPr>
            <a:r>
              <a:rPr lang="en-US" sz="1333" b="1" dirty="0">
                <a:solidFill>
                  <a:schemeClr val="tx2"/>
                </a:solidFill>
              </a:rPr>
              <a:t>Refactoring</a:t>
            </a:r>
          </a:p>
        </p:txBody>
      </p:sp>
      <p:sp>
        <p:nvSpPr>
          <p:cNvPr id="28" name="Rectangle 27"/>
          <p:cNvSpPr/>
          <p:nvPr/>
        </p:nvSpPr>
        <p:spPr>
          <a:xfrm>
            <a:off x="9311908" y="5215882"/>
            <a:ext cx="1607748" cy="297454"/>
          </a:xfrm>
          <a:prstGeom prst="rect">
            <a:avLst/>
          </a:prstGeom>
        </p:spPr>
        <p:txBody>
          <a:bodyPr wrap="none">
            <a:spAutoFit/>
          </a:bodyPr>
          <a:lstStyle/>
          <a:p>
            <a:pPr marL="228594" indent="-228594">
              <a:buClr>
                <a:schemeClr val="dk1"/>
              </a:buClr>
              <a:buSzPct val="100000"/>
              <a:buFont typeface="Arial" charset="0"/>
              <a:buChar char="•"/>
            </a:pPr>
            <a:r>
              <a:rPr lang="en-US" sz="1333" b="1">
                <a:solidFill>
                  <a:schemeClr val="tx2"/>
                </a:solidFill>
              </a:rPr>
              <a:t>Sustainable pace</a:t>
            </a:r>
            <a:endParaRPr lang="en-US" sz="1333" b="1" dirty="0">
              <a:solidFill>
                <a:schemeClr val="tx2"/>
              </a:solidFill>
            </a:endParaRPr>
          </a:p>
        </p:txBody>
      </p:sp>
      <p:sp>
        <p:nvSpPr>
          <p:cNvPr id="38" name="Rectangle 37"/>
          <p:cNvSpPr/>
          <p:nvPr/>
        </p:nvSpPr>
        <p:spPr>
          <a:xfrm>
            <a:off x="444646" y="4485216"/>
            <a:ext cx="1911313" cy="297454"/>
          </a:xfrm>
          <a:prstGeom prst="rect">
            <a:avLst/>
          </a:prstGeom>
        </p:spPr>
        <p:txBody>
          <a:bodyPr wrap="square">
            <a:spAutoFit/>
          </a:bodyPr>
          <a:lstStyle/>
          <a:p>
            <a:pPr marL="228594" indent="-228594">
              <a:buClr>
                <a:schemeClr val="dk1"/>
              </a:buClr>
              <a:buSzPct val="100000"/>
              <a:buFont typeface="Arial" charset="0"/>
              <a:buChar char="•"/>
            </a:pPr>
            <a:r>
              <a:rPr lang="en-US" sz="1333" b="1" dirty="0">
                <a:solidFill>
                  <a:schemeClr val="tx2"/>
                </a:solidFill>
              </a:rPr>
              <a:t>Pair programming</a:t>
            </a:r>
          </a:p>
        </p:txBody>
      </p:sp>
      <p:sp>
        <p:nvSpPr>
          <p:cNvPr id="39" name="Rectangle 38"/>
          <p:cNvSpPr/>
          <p:nvPr/>
        </p:nvSpPr>
        <p:spPr>
          <a:xfrm>
            <a:off x="2925548" y="4457659"/>
            <a:ext cx="2142421" cy="707694"/>
          </a:xfrm>
          <a:prstGeom prst="rect">
            <a:avLst/>
          </a:prstGeom>
        </p:spPr>
        <p:txBody>
          <a:bodyPr wrap="square">
            <a:spAutoFit/>
          </a:bodyPr>
          <a:lstStyle/>
          <a:p>
            <a:pPr marL="228594" indent="-228594">
              <a:buClr>
                <a:schemeClr val="dk1"/>
              </a:buClr>
              <a:buSzPct val="100000"/>
              <a:buFont typeface="Arial" charset="0"/>
              <a:buChar char="•"/>
            </a:pPr>
            <a:r>
              <a:rPr lang="en-US" sz="1333" b="1" dirty="0">
                <a:solidFill>
                  <a:schemeClr val="tx2"/>
                </a:solidFill>
              </a:rPr>
              <a:t>Test-Driven Development and Automation</a:t>
            </a:r>
          </a:p>
        </p:txBody>
      </p:sp>
      <p:sp>
        <p:nvSpPr>
          <p:cNvPr id="40" name="Rectangle 39"/>
          <p:cNvSpPr/>
          <p:nvPr/>
        </p:nvSpPr>
        <p:spPr>
          <a:xfrm>
            <a:off x="6168236" y="4441432"/>
            <a:ext cx="2554515" cy="502573"/>
          </a:xfrm>
          <a:prstGeom prst="rect">
            <a:avLst/>
          </a:prstGeom>
        </p:spPr>
        <p:txBody>
          <a:bodyPr wrap="square">
            <a:spAutoFit/>
          </a:bodyPr>
          <a:lstStyle/>
          <a:p>
            <a:pPr marL="228594" indent="-228594">
              <a:buClr>
                <a:schemeClr val="dk1"/>
              </a:buClr>
              <a:buSzPct val="100000"/>
              <a:buFont typeface="Arial" charset="0"/>
              <a:buChar char="•"/>
            </a:pPr>
            <a:r>
              <a:rPr lang="en-US" sz="1333" b="1" dirty="0">
                <a:solidFill>
                  <a:schemeClr val="tx2"/>
                </a:solidFill>
              </a:rPr>
              <a:t>Continuous integration and deployment</a:t>
            </a:r>
          </a:p>
        </p:txBody>
      </p:sp>
      <p:sp>
        <p:nvSpPr>
          <p:cNvPr id="41" name="Rectangle 40"/>
          <p:cNvSpPr/>
          <p:nvPr/>
        </p:nvSpPr>
        <p:spPr>
          <a:xfrm>
            <a:off x="9270664" y="4442163"/>
            <a:ext cx="2487036" cy="502573"/>
          </a:xfrm>
          <a:prstGeom prst="rect">
            <a:avLst/>
          </a:prstGeom>
        </p:spPr>
        <p:txBody>
          <a:bodyPr wrap="square">
            <a:spAutoFit/>
          </a:bodyPr>
          <a:lstStyle/>
          <a:p>
            <a:pPr marL="228594" indent="-228594">
              <a:buClr>
                <a:schemeClr val="dk1"/>
              </a:buClr>
              <a:buSzPct val="100000"/>
              <a:buFont typeface="Arial" charset="0"/>
              <a:buChar char="•"/>
            </a:pPr>
            <a:r>
              <a:rPr lang="en-US" sz="1333" b="1" dirty="0">
                <a:solidFill>
                  <a:schemeClr val="tx2"/>
                </a:solidFill>
              </a:rPr>
              <a:t>Small, iterative and incremental releases</a:t>
            </a:r>
          </a:p>
        </p:txBody>
      </p:sp>
      <p:sp>
        <p:nvSpPr>
          <p:cNvPr id="42" name="Rectangle 41"/>
          <p:cNvSpPr/>
          <p:nvPr/>
        </p:nvSpPr>
        <p:spPr>
          <a:xfrm>
            <a:off x="6168236" y="5145065"/>
            <a:ext cx="2043405" cy="502573"/>
          </a:xfrm>
          <a:prstGeom prst="rect">
            <a:avLst/>
          </a:prstGeom>
        </p:spPr>
        <p:txBody>
          <a:bodyPr wrap="square">
            <a:spAutoFit/>
          </a:bodyPr>
          <a:lstStyle/>
          <a:p>
            <a:pPr marL="228594" indent="-228594">
              <a:buClr>
                <a:schemeClr val="dk1"/>
              </a:buClr>
              <a:buSzPct val="100000"/>
              <a:buFont typeface="Arial" charset="0"/>
              <a:buChar char="•"/>
            </a:pPr>
            <a:r>
              <a:rPr lang="en-US" sz="1333" b="1">
                <a:solidFill>
                  <a:schemeClr val="tx2"/>
                </a:solidFill>
              </a:rPr>
              <a:t>Collective code ownership</a:t>
            </a:r>
            <a:endParaRPr lang="en-US" sz="1333" b="1" dirty="0">
              <a:solidFill>
                <a:schemeClr val="tx2"/>
              </a:solidFill>
            </a:endParaRPr>
          </a:p>
        </p:txBody>
      </p:sp>
      <p:sp>
        <p:nvSpPr>
          <p:cNvPr id="43" name="Rectangle 42"/>
          <p:cNvSpPr/>
          <p:nvPr/>
        </p:nvSpPr>
        <p:spPr>
          <a:xfrm>
            <a:off x="2890788" y="5215882"/>
            <a:ext cx="2630896" cy="502573"/>
          </a:xfrm>
          <a:prstGeom prst="rect">
            <a:avLst/>
          </a:prstGeom>
        </p:spPr>
        <p:txBody>
          <a:bodyPr wrap="square">
            <a:spAutoFit/>
          </a:bodyPr>
          <a:lstStyle/>
          <a:p>
            <a:pPr marL="228594" indent="-228594">
              <a:buSzPct val="100000"/>
              <a:buFont typeface="Arial" charset="0"/>
              <a:buChar char="•"/>
            </a:pPr>
            <a:r>
              <a:rPr lang="en-US" sz="1333" b="1" dirty="0">
                <a:solidFill>
                  <a:schemeClr val="tx2"/>
                </a:solidFill>
              </a:rPr>
              <a:t>Shared understanding of the customer</a:t>
            </a:r>
          </a:p>
        </p:txBody>
      </p:sp>
      <p:sp>
        <p:nvSpPr>
          <p:cNvPr id="50" name="Footer Placeholder 10">
            <a:extLst>
              <a:ext uri="{FF2B5EF4-FFF2-40B4-BE49-F238E27FC236}">
                <a16:creationId xmlns:a16="http://schemas.microsoft.com/office/drawing/2014/main" id="{593BD8E8-263E-4363-B56A-C654487075F5}"/>
              </a:ext>
            </a:extLst>
          </p:cNvPr>
          <p:cNvSpPr>
            <a:spLocks noGrp="1"/>
          </p:cNvSpPr>
          <p:nvPr>
            <p:ph type="ftr" sz="quarter" idx="4294967295"/>
          </p:nvPr>
        </p:nvSpPr>
        <p:spPr bwMode="white">
          <a:xfrm>
            <a:off x="5486400" y="6446838"/>
            <a:ext cx="6705600" cy="246062"/>
          </a:xfrm>
          <a:prstGeom prst="rect">
            <a:avLst/>
          </a:prstGeom>
        </p:spPr>
        <p:txBody>
          <a:bodyPr>
            <a:spAutoFit/>
          </a:bodyPr>
          <a:lstStyle>
            <a:lvl1pPr>
              <a:defRPr sz="1000">
                <a:solidFill>
                  <a:schemeClr val="bg1"/>
                </a:solidFill>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pPr algn="r"/>
            <a:r>
              <a:rPr lang="en-US" dirty="0"/>
              <a:t>© 2018 Cognizant</a:t>
            </a:r>
          </a:p>
        </p:txBody>
      </p:sp>
      <p:pic>
        <p:nvPicPr>
          <p:cNvPr id="51" name="Picture 50">
            <a:extLst>
              <a:ext uri="{FF2B5EF4-FFF2-40B4-BE49-F238E27FC236}">
                <a16:creationId xmlns:a16="http://schemas.microsoft.com/office/drawing/2014/main" id="{05BD48D0-E8C8-4058-B322-A6DC8E33D7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44646" y="6458419"/>
            <a:ext cx="1164004" cy="249820"/>
          </a:xfrm>
          <a:prstGeom prst="rect">
            <a:avLst/>
          </a:prstGeom>
        </p:spPr>
      </p:pic>
      <p:sp>
        <p:nvSpPr>
          <p:cNvPr id="20" name="Title 1"/>
          <p:cNvSpPr txBox="1">
            <a:spLocks/>
          </p:cNvSpPr>
          <p:nvPr/>
        </p:nvSpPr>
        <p:spPr>
          <a:xfrm>
            <a:off x="-537316" y="212577"/>
            <a:ext cx="11180064" cy="419851"/>
          </a:xfrm>
          <a:prstGeom prst="rect">
            <a:avLst/>
          </a:prstGeom>
        </p:spPr>
        <p:txBody>
          <a:bodyPr vert="horz" lIns="0" tIns="0" rIns="0" bIns="0" rtlCol="0" anchor="t" anchorCtr="0">
            <a:normAutofit/>
          </a:bodyPr>
          <a:lstStyle>
            <a:lvl1pPr algn="l" defTabSz="914378"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algn="ctr"/>
            <a:r>
              <a:rPr lang="en-US" b="1" dirty="0">
                <a:latin typeface="+mn-lt"/>
                <a:cs typeface="+mj-cs"/>
              </a:rPr>
              <a:t>Leveraging Cognizant Studios Framework for Extending and Scaling PODs  </a:t>
            </a:r>
          </a:p>
        </p:txBody>
      </p:sp>
      <p:sp>
        <p:nvSpPr>
          <p:cNvPr id="15" name="TextBox 14"/>
          <p:cNvSpPr txBox="1"/>
          <p:nvPr/>
        </p:nvSpPr>
        <p:spPr>
          <a:xfrm>
            <a:off x="9776879" y="149304"/>
            <a:ext cx="2227175" cy="646331"/>
          </a:xfrm>
          <a:prstGeom prst="rect">
            <a:avLst/>
          </a:prstGeom>
          <a:solidFill>
            <a:srgbClr val="FFFF00"/>
          </a:solidFill>
        </p:spPr>
        <p:txBody>
          <a:bodyPr wrap="square" rtlCol="0">
            <a:spAutoFit/>
          </a:bodyPr>
          <a:lstStyle/>
          <a:p>
            <a:r>
              <a:rPr lang="en-US" dirty="0" smtClean="0"/>
              <a:t>Agree, delete this slide. (Sagar)</a:t>
            </a:r>
            <a:endParaRPr lang="en-US" dirty="0"/>
          </a:p>
        </p:txBody>
      </p:sp>
    </p:spTree>
    <p:extLst>
      <p:ext uri="{BB962C8B-B14F-4D97-AF65-F5344CB8AC3E}">
        <p14:creationId xmlns:p14="http://schemas.microsoft.com/office/powerpoint/2010/main" val="188852077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27178" y="3849241"/>
          <a:ext cx="11494499" cy="1426660"/>
        </p:xfrm>
        <a:graphic>
          <a:graphicData uri="http://schemas.openxmlformats.org/drawingml/2006/table">
            <a:tbl>
              <a:tblPr/>
              <a:tblGrid>
                <a:gridCol w="809501">
                  <a:extLst>
                    <a:ext uri="{9D8B030D-6E8A-4147-A177-3AD203B41FA5}">
                      <a16:colId xmlns:a16="http://schemas.microsoft.com/office/drawing/2014/main" val="495716388"/>
                    </a:ext>
                  </a:extLst>
                </a:gridCol>
                <a:gridCol w="400318">
                  <a:extLst>
                    <a:ext uri="{9D8B030D-6E8A-4147-A177-3AD203B41FA5}">
                      <a16:colId xmlns:a16="http://schemas.microsoft.com/office/drawing/2014/main" val="1445187322"/>
                    </a:ext>
                  </a:extLst>
                </a:gridCol>
                <a:gridCol w="447160">
                  <a:extLst>
                    <a:ext uri="{9D8B030D-6E8A-4147-A177-3AD203B41FA5}">
                      <a16:colId xmlns:a16="http://schemas.microsoft.com/office/drawing/2014/main" val="3194054231"/>
                    </a:ext>
                  </a:extLst>
                </a:gridCol>
                <a:gridCol w="447160">
                  <a:extLst>
                    <a:ext uri="{9D8B030D-6E8A-4147-A177-3AD203B41FA5}">
                      <a16:colId xmlns:a16="http://schemas.microsoft.com/office/drawing/2014/main" val="975828576"/>
                    </a:ext>
                  </a:extLst>
                </a:gridCol>
                <a:gridCol w="447160">
                  <a:extLst>
                    <a:ext uri="{9D8B030D-6E8A-4147-A177-3AD203B41FA5}">
                      <a16:colId xmlns:a16="http://schemas.microsoft.com/office/drawing/2014/main" val="4110772240"/>
                    </a:ext>
                  </a:extLst>
                </a:gridCol>
                <a:gridCol w="447160">
                  <a:extLst>
                    <a:ext uri="{9D8B030D-6E8A-4147-A177-3AD203B41FA5}">
                      <a16:colId xmlns:a16="http://schemas.microsoft.com/office/drawing/2014/main" val="407349899"/>
                    </a:ext>
                  </a:extLst>
                </a:gridCol>
                <a:gridCol w="447160">
                  <a:extLst>
                    <a:ext uri="{9D8B030D-6E8A-4147-A177-3AD203B41FA5}">
                      <a16:colId xmlns:a16="http://schemas.microsoft.com/office/drawing/2014/main" val="1995623026"/>
                    </a:ext>
                  </a:extLst>
                </a:gridCol>
                <a:gridCol w="447160">
                  <a:extLst>
                    <a:ext uri="{9D8B030D-6E8A-4147-A177-3AD203B41FA5}">
                      <a16:colId xmlns:a16="http://schemas.microsoft.com/office/drawing/2014/main" val="534574934"/>
                    </a:ext>
                  </a:extLst>
                </a:gridCol>
                <a:gridCol w="447160">
                  <a:extLst>
                    <a:ext uri="{9D8B030D-6E8A-4147-A177-3AD203B41FA5}">
                      <a16:colId xmlns:a16="http://schemas.microsoft.com/office/drawing/2014/main" val="4119839112"/>
                    </a:ext>
                  </a:extLst>
                </a:gridCol>
                <a:gridCol w="447160">
                  <a:extLst>
                    <a:ext uri="{9D8B030D-6E8A-4147-A177-3AD203B41FA5}">
                      <a16:colId xmlns:a16="http://schemas.microsoft.com/office/drawing/2014/main" val="467353571"/>
                    </a:ext>
                  </a:extLst>
                </a:gridCol>
                <a:gridCol w="447160">
                  <a:extLst>
                    <a:ext uri="{9D8B030D-6E8A-4147-A177-3AD203B41FA5}">
                      <a16:colId xmlns:a16="http://schemas.microsoft.com/office/drawing/2014/main" val="852184204"/>
                    </a:ext>
                  </a:extLst>
                </a:gridCol>
                <a:gridCol w="447160">
                  <a:extLst>
                    <a:ext uri="{9D8B030D-6E8A-4147-A177-3AD203B41FA5}">
                      <a16:colId xmlns:a16="http://schemas.microsoft.com/office/drawing/2014/main" val="3127600751"/>
                    </a:ext>
                  </a:extLst>
                </a:gridCol>
                <a:gridCol w="447160">
                  <a:extLst>
                    <a:ext uri="{9D8B030D-6E8A-4147-A177-3AD203B41FA5}">
                      <a16:colId xmlns:a16="http://schemas.microsoft.com/office/drawing/2014/main" val="419682992"/>
                    </a:ext>
                  </a:extLst>
                </a:gridCol>
                <a:gridCol w="447160">
                  <a:extLst>
                    <a:ext uri="{9D8B030D-6E8A-4147-A177-3AD203B41FA5}">
                      <a16:colId xmlns:a16="http://schemas.microsoft.com/office/drawing/2014/main" val="1903686105"/>
                    </a:ext>
                  </a:extLst>
                </a:gridCol>
                <a:gridCol w="447160">
                  <a:extLst>
                    <a:ext uri="{9D8B030D-6E8A-4147-A177-3AD203B41FA5}">
                      <a16:colId xmlns:a16="http://schemas.microsoft.com/office/drawing/2014/main" val="2753295422"/>
                    </a:ext>
                  </a:extLst>
                </a:gridCol>
                <a:gridCol w="447160">
                  <a:extLst>
                    <a:ext uri="{9D8B030D-6E8A-4147-A177-3AD203B41FA5}">
                      <a16:colId xmlns:a16="http://schemas.microsoft.com/office/drawing/2014/main" val="3094345185"/>
                    </a:ext>
                  </a:extLst>
                </a:gridCol>
                <a:gridCol w="447160">
                  <a:extLst>
                    <a:ext uri="{9D8B030D-6E8A-4147-A177-3AD203B41FA5}">
                      <a16:colId xmlns:a16="http://schemas.microsoft.com/office/drawing/2014/main" val="3194690792"/>
                    </a:ext>
                  </a:extLst>
                </a:gridCol>
                <a:gridCol w="447160">
                  <a:extLst>
                    <a:ext uri="{9D8B030D-6E8A-4147-A177-3AD203B41FA5}">
                      <a16:colId xmlns:a16="http://schemas.microsoft.com/office/drawing/2014/main" val="3905078717"/>
                    </a:ext>
                  </a:extLst>
                </a:gridCol>
                <a:gridCol w="447160">
                  <a:extLst>
                    <a:ext uri="{9D8B030D-6E8A-4147-A177-3AD203B41FA5}">
                      <a16:colId xmlns:a16="http://schemas.microsoft.com/office/drawing/2014/main" val="406896203"/>
                    </a:ext>
                  </a:extLst>
                </a:gridCol>
                <a:gridCol w="447160">
                  <a:extLst>
                    <a:ext uri="{9D8B030D-6E8A-4147-A177-3AD203B41FA5}">
                      <a16:colId xmlns:a16="http://schemas.microsoft.com/office/drawing/2014/main" val="3137086948"/>
                    </a:ext>
                  </a:extLst>
                </a:gridCol>
                <a:gridCol w="447160">
                  <a:extLst>
                    <a:ext uri="{9D8B030D-6E8A-4147-A177-3AD203B41FA5}">
                      <a16:colId xmlns:a16="http://schemas.microsoft.com/office/drawing/2014/main" val="1114741872"/>
                    </a:ext>
                  </a:extLst>
                </a:gridCol>
                <a:gridCol w="447160">
                  <a:extLst>
                    <a:ext uri="{9D8B030D-6E8A-4147-A177-3AD203B41FA5}">
                      <a16:colId xmlns:a16="http://schemas.microsoft.com/office/drawing/2014/main" val="2054508518"/>
                    </a:ext>
                  </a:extLst>
                </a:gridCol>
                <a:gridCol w="447160">
                  <a:extLst>
                    <a:ext uri="{9D8B030D-6E8A-4147-A177-3AD203B41FA5}">
                      <a16:colId xmlns:a16="http://schemas.microsoft.com/office/drawing/2014/main" val="441171693"/>
                    </a:ext>
                  </a:extLst>
                </a:gridCol>
                <a:gridCol w="447160">
                  <a:extLst>
                    <a:ext uri="{9D8B030D-6E8A-4147-A177-3AD203B41FA5}">
                      <a16:colId xmlns:a16="http://schemas.microsoft.com/office/drawing/2014/main" val="2567737874"/>
                    </a:ext>
                  </a:extLst>
                </a:gridCol>
                <a:gridCol w="447160">
                  <a:extLst>
                    <a:ext uri="{9D8B030D-6E8A-4147-A177-3AD203B41FA5}">
                      <a16:colId xmlns:a16="http://schemas.microsoft.com/office/drawing/2014/main" val="2762076582"/>
                    </a:ext>
                  </a:extLst>
                </a:gridCol>
              </a:tblGrid>
              <a:tr h="337404">
                <a:tc>
                  <a:txBody>
                    <a:bodyPr/>
                    <a:lstStyle/>
                    <a:p>
                      <a:pPr algn="ctr" rtl="0" fontAlgn="b"/>
                      <a:r>
                        <a:rPr lang="en-US" sz="1050" b="1" i="0" u="none" strike="noStrike">
                          <a:solidFill>
                            <a:srgbClr val="FFFFFF"/>
                          </a:solidFill>
                          <a:effectLst/>
                          <a:latin typeface="Calibri" panose="020F0502020204030204" pitchFamily="34" charset="0"/>
                        </a:rPr>
                        <a:t>US Time</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a:solidFill>
                            <a:srgbClr val="000000"/>
                          </a:solidFill>
                          <a:effectLst/>
                          <a:latin typeface="Calibri" panose="020F0502020204030204" pitchFamily="34" charset="0"/>
                        </a:rPr>
                        <a:t>18: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dirty="0">
                          <a:solidFill>
                            <a:srgbClr val="000000"/>
                          </a:solidFill>
                          <a:effectLst/>
                          <a:latin typeface="Calibri" panose="020F0502020204030204" pitchFamily="34" charset="0"/>
                        </a:rPr>
                        <a:t>19: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1: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3: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5: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6: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7: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8: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9: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0: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1: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2: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3: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4: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5: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6: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c>
                  <a:txBody>
                    <a:bodyPr/>
                    <a:lstStyle/>
                    <a:p>
                      <a:pPr algn="ctr" rtl="0" fontAlgn="b"/>
                      <a:r>
                        <a:rPr lang="en-US" sz="900" b="0" i="0" u="none" strike="noStrike">
                          <a:solidFill>
                            <a:srgbClr val="000000"/>
                          </a:solidFill>
                          <a:effectLst/>
                          <a:latin typeface="Calibri" panose="020F0502020204030204" pitchFamily="34" charset="0"/>
                        </a:rPr>
                        <a:t>17:0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70679506"/>
                  </a:ext>
                </a:extLst>
              </a:tr>
              <a:tr h="357696">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1</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a:solidFill>
                            <a:srgbClr val="000000"/>
                          </a:solidFill>
                          <a:effectLst/>
                          <a:latin typeface="Calibri" panose="020F0502020204030204" pitchFamily="34" charset="0"/>
                        </a:rPr>
                        <a:t>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904384040"/>
                  </a:ext>
                </a:extLst>
              </a:tr>
              <a:tr h="365760">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2 </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a:solidFill>
                            <a:srgbClr val="000000"/>
                          </a:solidFill>
                          <a:effectLst/>
                          <a:latin typeface="Calibri" panose="020F0502020204030204" pitchFamily="34" charset="0"/>
                        </a:rPr>
                        <a:t>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318969292"/>
                  </a:ext>
                </a:extLst>
              </a:tr>
              <a:tr h="365800">
                <a:tc>
                  <a:txBody>
                    <a:bodyPr/>
                    <a:lstStyle/>
                    <a:p>
                      <a:pPr algn="ctr" rtl="0" fontAlgn="ctr"/>
                      <a:r>
                        <a:rPr lang="en-US" sz="1050" b="1" i="0" u="none" strike="noStrike" dirty="0">
                          <a:solidFill>
                            <a:srgbClr val="FFFFFF"/>
                          </a:solidFill>
                          <a:effectLst/>
                          <a:latin typeface="Calibri" panose="020F0502020204030204" pitchFamily="34" charset="0"/>
                        </a:rPr>
                        <a:t>India Time</a:t>
                      </a:r>
                    </a:p>
                    <a:p>
                      <a:pPr algn="ctr" rtl="0" fontAlgn="ctr"/>
                      <a:r>
                        <a:rPr lang="en-US" sz="1050" b="1" i="0" u="none" strike="noStrike" dirty="0">
                          <a:solidFill>
                            <a:srgbClr val="FFFFFF"/>
                          </a:solidFill>
                          <a:effectLst/>
                          <a:latin typeface="Calibri" panose="020F0502020204030204" pitchFamily="34" charset="0"/>
                        </a:rPr>
                        <a:t>Shift 3</a:t>
                      </a:r>
                    </a:p>
                  </a:txBody>
                  <a:tcPr marL="6572" marR="6572" marT="657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F7F7F"/>
                    </a:solidFill>
                  </a:tcPr>
                </a:tc>
                <a:tc>
                  <a:txBody>
                    <a:bodyPr/>
                    <a:lstStyle/>
                    <a:p>
                      <a:pPr algn="ctr" rtl="0" fontAlgn="b"/>
                      <a:r>
                        <a:rPr lang="en-US" sz="900" b="0" i="0" u="none" strike="noStrike">
                          <a:solidFill>
                            <a:srgbClr val="000000"/>
                          </a:solidFill>
                          <a:effectLst/>
                          <a:latin typeface="Calibri" panose="020F0502020204030204" pitchFamily="34" charset="0"/>
                        </a:rPr>
                        <a:t>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4: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5: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6: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7: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8: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19: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b"/>
                      <a:r>
                        <a:rPr lang="en-US" sz="900" b="0" i="0" u="none" strike="noStrike">
                          <a:solidFill>
                            <a:srgbClr val="000000"/>
                          </a:solidFill>
                          <a:effectLst/>
                          <a:latin typeface="Calibri" panose="020F0502020204030204" pitchFamily="34" charset="0"/>
                        </a:rPr>
                        <a:t>2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23: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0: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a:solidFill>
                            <a:srgbClr val="000000"/>
                          </a:solidFill>
                          <a:effectLst/>
                          <a:latin typeface="Calibri" panose="020F0502020204030204" pitchFamily="34" charset="0"/>
                        </a:rPr>
                        <a:t>1: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tc>
                  <a:txBody>
                    <a:bodyPr/>
                    <a:lstStyle/>
                    <a:p>
                      <a:pPr algn="ctr" rtl="0" fontAlgn="b"/>
                      <a:r>
                        <a:rPr lang="en-US" sz="900" b="0" i="0" u="none" strike="noStrike" dirty="0">
                          <a:solidFill>
                            <a:srgbClr val="000000"/>
                          </a:solidFill>
                          <a:effectLst/>
                          <a:latin typeface="Calibri" panose="020F0502020204030204" pitchFamily="34" charset="0"/>
                        </a:rPr>
                        <a:t>2:30</a:t>
                      </a:r>
                    </a:p>
                  </a:txBody>
                  <a:tcPr marL="6572" marR="6572" marT="6572"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4"/>
                    </a:solidFill>
                  </a:tcPr>
                </a:tc>
                <a:extLst>
                  <a:ext uri="{0D108BD9-81ED-4DB2-BD59-A6C34878D82A}">
                    <a16:rowId xmlns:a16="http://schemas.microsoft.com/office/drawing/2014/main" val="2095040161"/>
                  </a:ext>
                </a:extLst>
              </a:tr>
            </a:tbl>
          </a:graphicData>
        </a:graphic>
      </p:graphicFrame>
      <p:sp>
        <p:nvSpPr>
          <p:cNvPr id="2" name="Title 1"/>
          <p:cNvSpPr>
            <a:spLocks noGrp="1"/>
          </p:cNvSpPr>
          <p:nvPr>
            <p:ph type="title"/>
          </p:nvPr>
        </p:nvSpPr>
        <p:spPr/>
        <p:txBody>
          <a:bodyPr/>
          <a:lstStyle/>
          <a:p>
            <a:r>
              <a:rPr lang="en-US" dirty="0" smtClean="0"/>
              <a:t>Location Strategy Through Global </a:t>
            </a:r>
            <a:r>
              <a:rPr lang="en-US" dirty="0"/>
              <a:t>D</a:t>
            </a:r>
            <a:r>
              <a:rPr lang="en-US" dirty="0" smtClean="0"/>
              <a:t>elivery</a:t>
            </a:r>
            <a:endParaRPr lang="en-US" dirty="0"/>
          </a:p>
        </p:txBody>
      </p:sp>
      <p:sp>
        <p:nvSpPr>
          <p:cNvPr id="8" name="Rectangle 7"/>
          <p:cNvSpPr/>
          <p:nvPr/>
        </p:nvSpPr>
        <p:spPr>
          <a:xfrm>
            <a:off x="8606118" y="930648"/>
            <a:ext cx="3513391" cy="861774"/>
          </a:xfrm>
          <a:prstGeom prst="rect">
            <a:avLst/>
          </a:prstGeom>
        </p:spPr>
        <p:txBody>
          <a:bodyPr wrap="square">
            <a:spAutoFit/>
          </a:bodyPr>
          <a:lstStyle/>
          <a:p>
            <a:pPr marL="457189" marR="0" lvl="0" indent="0" algn="just"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rPr>
              <a:t>Below is an indicative representation on the handover to occur between the different shifts who will be supporting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rPr>
              <a:t>from India , US and Mexico. </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rPr>
              <a:t>On-Call support at Onsite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rPr>
              <a:t>will be provided outside the normal shift hours.</a:t>
            </a:r>
          </a:p>
        </p:txBody>
      </p:sp>
      <p:grpSp>
        <p:nvGrpSpPr>
          <p:cNvPr id="26" name="Group 25"/>
          <p:cNvGrpSpPr/>
          <p:nvPr/>
        </p:nvGrpSpPr>
        <p:grpSpPr>
          <a:xfrm>
            <a:off x="473820" y="857386"/>
            <a:ext cx="8640816" cy="2931116"/>
            <a:chOff x="463609" y="569863"/>
            <a:chExt cx="8216783" cy="3654950"/>
          </a:xfrm>
          <a:solidFill>
            <a:srgbClr val="68B9CD"/>
          </a:solidFill>
        </p:grpSpPr>
        <p:sp>
          <p:nvSpPr>
            <p:cNvPr id="27" name="Freeform 4"/>
            <p:cNvSpPr>
              <a:spLocks noChangeAspect="1"/>
            </p:cNvSpPr>
            <p:nvPr/>
          </p:nvSpPr>
          <p:spPr bwMode="auto">
            <a:xfrm>
              <a:off x="3955341" y="794267"/>
              <a:ext cx="9610" cy="11608"/>
            </a:xfrm>
            <a:custGeom>
              <a:avLst/>
              <a:gdLst>
                <a:gd name="T0" fmla="*/ 5715 w 5"/>
                <a:gd name="T1" fmla="*/ 10206 h 7"/>
                <a:gd name="T2" fmla="*/ 1905 w 5"/>
                <a:gd name="T3" fmla="*/ 14288 h 7"/>
                <a:gd name="T4" fmla="*/ 1905 w 5"/>
                <a:gd name="T5" fmla="*/ 6123 h 7"/>
                <a:gd name="T6" fmla="*/ 7620 w 5"/>
                <a:gd name="T7" fmla="*/ 2041 h 7"/>
                <a:gd name="T8" fmla="*/ 5715 w 5"/>
                <a:gd name="T9" fmla="*/ 10206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5"/>
                  </a:moveTo>
                  <a:cubicBezTo>
                    <a:pt x="3" y="6"/>
                    <a:pt x="1" y="7"/>
                    <a:pt x="1" y="7"/>
                  </a:cubicBezTo>
                  <a:cubicBezTo>
                    <a:pt x="0" y="6"/>
                    <a:pt x="0" y="4"/>
                    <a:pt x="1" y="3"/>
                  </a:cubicBezTo>
                  <a:cubicBezTo>
                    <a:pt x="2" y="2"/>
                    <a:pt x="3" y="0"/>
                    <a:pt x="4" y="1"/>
                  </a:cubicBezTo>
                  <a:cubicBezTo>
                    <a:pt x="5" y="2"/>
                    <a:pt x="4" y="4"/>
                    <a:pt x="3"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Freeform 5"/>
            <p:cNvSpPr>
              <a:spLocks noChangeAspect="1"/>
            </p:cNvSpPr>
            <p:nvPr/>
          </p:nvSpPr>
          <p:spPr bwMode="auto">
            <a:xfrm>
              <a:off x="3902484" y="629188"/>
              <a:ext cx="19221" cy="14187"/>
            </a:xfrm>
            <a:custGeom>
              <a:avLst/>
              <a:gdLst>
                <a:gd name="T0" fmla="*/ 13335 w 10"/>
                <a:gd name="T1" fmla="*/ 7761 h 9"/>
                <a:gd name="T2" fmla="*/ 19050 w 10"/>
                <a:gd name="T3" fmla="*/ 17463 h 9"/>
                <a:gd name="T4" fmla="*/ 7620 w 10"/>
                <a:gd name="T5" fmla="*/ 11642 h 9"/>
                <a:gd name="T6" fmla="*/ 1905 w 10"/>
                <a:gd name="T7" fmla="*/ 0 h 9"/>
                <a:gd name="T8" fmla="*/ 13335 w 10"/>
                <a:gd name="T9" fmla="*/ 7761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 name="Freeform 6"/>
            <p:cNvSpPr>
              <a:spLocks noChangeAspect="1"/>
            </p:cNvSpPr>
            <p:nvPr/>
          </p:nvSpPr>
          <p:spPr bwMode="auto">
            <a:xfrm>
              <a:off x="3929714" y="627899"/>
              <a:ext cx="16017" cy="10318"/>
            </a:xfrm>
            <a:custGeom>
              <a:avLst/>
              <a:gdLst>
                <a:gd name="T0" fmla="*/ 9922 w 8"/>
                <a:gd name="T1" fmla="*/ 7257 h 7"/>
                <a:gd name="T2" fmla="*/ 13891 w 8"/>
                <a:gd name="T3" fmla="*/ 12700 h 7"/>
                <a:gd name="T4" fmla="*/ 7938 w 8"/>
                <a:gd name="T5" fmla="*/ 9071 h 7"/>
                <a:gd name="T6" fmla="*/ 1984 w 8"/>
                <a:gd name="T7" fmla="*/ 0 h 7"/>
                <a:gd name="T8" fmla="*/ 9922 w 8"/>
                <a:gd name="T9" fmla="*/ 7257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Freeform 7"/>
            <p:cNvSpPr>
              <a:spLocks noChangeAspect="1"/>
            </p:cNvSpPr>
            <p:nvPr/>
          </p:nvSpPr>
          <p:spPr bwMode="auto">
            <a:xfrm>
              <a:off x="3937721" y="643375"/>
              <a:ext cx="11213" cy="7738"/>
            </a:xfrm>
            <a:custGeom>
              <a:avLst/>
              <a:gdLst>
                <a:gd name="T0" fmla="*/ 7409 w 6"/>
                <a:gd name="T1" fmla="*/ 3810 h 5"/>
                <a:gd name="T2" fmla="*/ 9261 w 6"/>
                <a:gd name="T3" fmla="*/ 9525 h 5"/>
                <a:gd name="T4" fmla="*/ 3704 w 6"/>
                <a:gd name="T5" fmla="*/ 5715 h 5"/>
                <a:gd name="T6" fmla="*/ 1852 w 6"/>
                <a:gd name="T7" fmla="*/ 0 h 5"/>
                <a:gd name="T8" fmla="*/ 7409 w 6"/>
                <a:gd name="T9" fmla="*/ 381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 name="Freeform 8"/>
            <p:cNvSpPr>
              <a:spLocks noChangeAspect="1"/>
            </p:cNvSpPr>
            <p:nvPr/>
          </p:nvSpPr>
          <p:spPr bwMode="auto">
            <a:xfrm>
              <a:off x="3928112" y="911628"/>
              <a:ext cx="8009" cy="5158"/>
            </a:xfrm>
            <a:custGeom>
              <a:avLst/>
              <a:gdLst>
                <a:gd name="T0" fmla="*/ 5953 w 4"/>
                <a:gd name="T1" fmla="*/ 4233 h 3"/>
                <a:gd name="T2" fmla="*/ 3969 w 4"/>
                <a:gd name="T3" fmla="*/ 6350 h 3"/>
                <a:gd name="T4" fmla="*/ 1985 w 4"/>
                <a:gd name="T5" fmla="*/ 4233 h 3"/>
                <a:gd name="T6" fmla="*/ 3969 w 4"/>
                <a:gd name="T7" fmla="*/ 0 h 3"/>
                <a:gd name="T8" fmla="*/ 5953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3"/>
                    <a:pt x="3" y="3"/>
                    <a:pt x="2" y="3"/>
                  </a:cubicBezTo>
                  <a:cubicBezTo>
                    <a:pt x="1" y="3"/>
                    <a:pt x="0" y="2"/>
                    <a:pt x="1" y="2"/>
                  </a:cubicBezTo>
                  <a:cubicBezTo>
                    <a:pt x="1" y="1"/>
                    <a:pt x="1" y="0"/>
                    <a:pt x="2" y="0"/>
                  </a:cubicBezTo>
                  <a:cubicBezTo>
                    <a:pt x="4"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 name="Freeform 9"/>
            <p:cNvSpPr>
              <a:spLocks noChangeAspect="1"/>
            </p:cNvSpPr>
            <p:nvPr/>
          </p:nvSpPr>
          <p:spPr bwMode="auto">
            <a:xfrm>
              <a:off x="3960146" y="745259"/>
              <a:ext cx="9610" cy="9029"/>
            </a:xfrm>
            <a:custGeom>
              <a:avLst/>
              <a:gdLst>
                <a:gd name="T0" fmla="*/ 5715 w 5"/>
                <a:gd name="T1" fmla="*/ 7409 h 6"/>
                <a:gd name="T2" fmla="*/ 1905 w 5"/>
                <a:gd name="T3" fmla="*/ 9261 h 6"/>
                <a:gd name="T4" fmla="*/ 1905 w 5"/>
                <a:gd name="T5" fmla="*/ 5557 h 6"/>
                <a:gd name="T6" fmla="*/ 5715 w 5"/>
                <a:gd name="T7" fmla="*/ 1852 h 6"/>
                <a:gd name="T8" fmla="*/ 5715 w 5"/>
                <a:gd name="T9" fmla="*/ 7409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3" y="5"/>
                    <a:pt x="2" y="6"/>
                    <a:pt x="1" y="5"/>
                  </a:cubicBezTo>
                  <a:cubicBezTo>
                    <a:pt x="0" y="5"/>
                    <a:pt x="1" y="4"/>
                    <a:pt x="1" y="3"/>
                  </a:cubicBezTo>
                  <a:cubicBezTo>
                    <a:pt x="1" y="2"/>
                    <a:pt x="2" y="0"/>
                    <a:pt x="3" y="1"/>
                  </a:cubicBezTo>
                  <a:cubicBezTo>
                    <a:pt x="5" y="2"/>
                    <a:pt x="4" y="3"/>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 name="Freeform 10"/>
            <p:cNvSpPr>
              <a:spLocks noChangeAspect="1"/>
            </p:cNvSpPr>
            <p:nvPr/>
          </p:nvSpPr>
          <p:spPr bwMode="auto">
            <a:xfrm>
              <a:off x="3924907" y="706569"/>
              <a:ext cx="9610" cy="7738"/>
            </a:xfrm>
            <a:custGeom>
              <a:avLst/>
              <a:gdLst>
                <a:gd name="T0" fmla="*/ 5715 w 5"/>
                <a:gd name="T1" fmla="*/ 7620 h 5"/>
                <a:gd name="T2" fmla="*/ 1905 w 5"/>
                <a:gd name="T3" fmla="*/ 7620 h 5"/>
                <a:gd name="T4" fmla="*/ 3810 w 5"/>
                <a:gd name="T5" fmla="*/ 3810 h 5"/>
                <a:gd name="T6" fmla="*/ 9525 w 5"/>
                <a:gd name="T7" fmla="*/ 1905 h 5"/>
                <a:gd name="T8" fmla="*/ 5715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 name="Freeform 11"/>
            <p:cNvSpPr>
              <a:spLocks noChangeAspect="1"/>
            </p:cNvSpPr>
            <p:nvPr/>
          </p:nvSpPr>
          <p:spPr bwMode="auto">
            <a:xfrm>
              <a:off x="3902484" y="849724"/>
              <a:ext cx="6407" cy="3868"/>
            </a:xfrm>
            <a:custGeom>
              <a:avLst/>
              <a:gdLst>
                <a:gd name="T0" fmla="*/ 2117 w 3"/>
                <a:gd name="T1" fmla="*/ 4762 h 2"/>
                <a:gd name="T2" fmla="*/ 0 w 3"/>
                <a:gd name="T3" fmla="*/ 2381 h 2"/>
                <a:gd name="T4" fmla="*/ 4233 w 3"/>
                <a:gd name="T5" fmla="*/ 0 h 2"/>
                <a:gd name="T6" fmla="*/ 6350 w 3"/>
                <a:gd name="T7" fmla="*/ 2381 h 2"/>
                <a:gd name="T8" fmla="*/ 2117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1" y="0"/>
                    <a:pt x="1" y="0"/>
                    <a:pt x="2" y="0"/>
                  </a:cubicBezTo>
                  <a:cubicBezTo>
                    <a:pt x="2" y="0"/>
                    <a:pt x="3" y="1"/>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 name="Freeform 12"/>
            <p:cNvSpPr>
              <a:spLocks noChangeAspect="1"/>
            </p:cNvSpPr>
            <p:nvPr/>
          </p:nvSpPr>
          <p:spPr bwMode="auto">
            <a:xfrm>
              <a:off x="3892874" y="845854"/>
              <a:ext cx="6407" cy="2579"/>
            </a:xfrm>
            <a:custGeom>
              <a:avLst/>
              <a:gdLst>
                <a:gd name="T0" fmla="*/ 2117 w 3"/>
                <a:gd name="T1" fmla="*/ 3175 h 2"/>
                <a:gd name="T2" fmla="*/ 0 w 3"/>
                <a:gd name="T3" fmla="*/ 1588 h 2"/>
                <a:gd name="T4" fmla="*/ 4233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1"/>
                    <a:pt x="0" y="1"/>
                    <a:pt x="0" y="1"/>
                  </a:cubicBezTo>
                  <a:cubicBezTo>
                    <a:pt x="0" y="0"/>
                    <a:pt x="1" y="0"/>
                    <a:pt x="2"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 name="Freeform 13"/>
            <p:cNvSpPr>
              <a:spLocks noChangeAspect="1"/>
            </p:cNvSpPr>
            <p:nvPr/>
          </p:nvSpPr>
          <p:spPr bwMode="auto">
            <a:xfrm>
              <a:off x="3883263" y="841985"/>
              <a:ext cx="6407" cy="3868"/>
            </a:xfrm>
            <a:custGeom>
              <a:avLst/>
              <a:gdLst>
                <a:gd name="T0" fmla="*/ 2117 w 3"/>
                <a:gd name="T1" fmla="*/ 4762 h 2"/>
                <a:gd name="T2" fmla="*/ 0 w 3"/>
                <a:gd name="T3" fmla="*/ 2381 h 2"/>
                <a:gd name="T4" fmla="*/ 2117 w 3"/>
                <a:gd name="T5" fmla="*/ 0 h 2"/>
                <a:gd name="T6" fmla="*/ 4233 w 3"/>
                <a:gd name="T7" fmla="*/ 4762 h 2"/>
                <a:gd name="T8" fmla="*/ 2117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1"/>
                    <a:pt x="3" y="1"/>
                    <a:pt x="2" y="2"/>
                  </a:cubicBezTo>
                  <a:cubicBezTo>
                    <a:pt x="2" y="2"/>
                    <a:pt x="1"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Freeform 14"/>
            <p:cNvSpPr>
              <a:spLocks noChangeAspect="1"/>
            </p:cNvSpPr>
            <p:nvPr/>
          </p:nvSpPr>
          <p:spPr bwMode="auto">
            <a:xfrm>
              <a:off x="3939324" y="910338"/>
              <a:ext cx="4805" cy="3869"/>
            </a:xfrm>
            <a:custGeom>
              <a:avLst/>
              <a:gdLst>
                <a:gd name="T0" fmla="*/ 2381 w 2"/>
                <a:gd name="T1" fmla="*/ 2382 h 2"/>
                <a:gd name="T2" fmla="*/ 0 w 2"/>
                <a:gd name="T3" fmla="*/ 4763 h 2"/>
                <a:gd name="T4" fmla="*/ 0 w 2"/>
                <a:gd name="T5" fmla="*/ 2382 h 2"/>
                <a:gd name="T6" fmla="*/ 2381 w 2"/>
                <a:gd name="T7" fmla="*/ 0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0" y="2"/>
                  </a:cubicBezTo>
                  <a:cubicBezTo>
                    <a:pt x="0" y="2"/>
                    <a:pt x="0" y="1"/>
                    <a:pt x="0" y="1"/>
                  </a:cubicBezTo>
                  <a:cubicBezTo>
                    <a:pt x="0" y="0"/>
                    <a:pt x="0" y="0"/>
                    <a:pt x="1" y="0"/>
                  </a:cubicBezTo>
                  <a:cubicBezTo>
                    <a:pt x="2"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 name="Freeform 15"/>
            <p:cNvSpPr>
              <a:spLocks noChangeAspect="1"/>
            </p:cNvSpPr>
            <p:nvPr/>
          </p:nvSpPr>
          <p:spPr bwMode="auto">
            <a:xfrm>
              <a:off x="3920103" y="776212"/>
              <a:ext cx="1601" cy="2579"/>
            </a:xfrm>
            <a:custGeom>
              <a:avLst/>
              <a:gdLst>
                <a:gd name="T0" fmla="*/ 1587 w 1"/>
                <a:gd name="T1" fmla="*/ 1588 h 2"/>
                <a:gd name="T2" fmla="*/ 0 w 1"/>
                <a:gd name="T3" fmla="*/ 3175 h 2"/>
                <a:gd name="T4" fmla="*/ 0 w 1"/>
                <a:gd name="T5" fmla="*/ 1588 h 2"/>
                <a:gd name="T6" fmla="*/ 1587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Freeform 16"/>
            <p:cNvSpPr>
              <a:spLocks noChangeAspect="1"/>
            </p:cNvSpPr>
            <p:nvPr/>
          </p:nvSpPr>
          <p:spPr bwMode="auto">
            <a:xfrm>
              <a:off x="3926511" y="774922"/>
              <a:ext cx="3203" cy="3868"/>
            </a:xfrm>
            <a:custGeom>
              <a:avLst/>
              <a:gdLst>
                <a:gd name="T0" fmla="*/ 3175 w 2"/>
                <a:gd name="T1" fmla="*/ 1587 h 3"/>
                <a:gd name="T2" fmla="*/ 3175 w 2"/>
                <a:gd name="T3" fmla="*/ 4762 h 3"/>
                <a:gd name="T4" fmla="*/ 1588 w 2"/>
                <a:gd name="T5" fmla="*/ 3175 h 3"/>
                <a:gd name="T6" fmla="*/ 1588 w 2"/>
                <a:gd name="T7" fmla="*/ 0 h 3"/>
                <a:gd name="T8" fmla="*/ 3175 w 2"/>
                <a:gd name="T9" fmla="*/ 158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3"/>
                    <a:pt x="2" y="3"/>
                  </a:cubicBezTo>
                  <a:cubicBezTo>
                    <a:pt x="1"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Freeform 17"/>
            <p:cNvSpPr>
              <a:spLocks noChangeAspect="1"/>
            </p:cNvSpPr>
            <p:nvPr/>
          </p:nvSpPr>
          <p:spPr bwMode="auto">
            <a:xfrm>
              <a:off x="3934519" y="786529"/>
              <a:ext cx="4806" cy="5158"/>
            </a:xfrm>
            <a:custGeom>
              <a:avLst/>
              <a:gdLst>
                <a:gd name="T0" fmla="*/ 3175 w 3"/>
                <a:gd name="T1" fmla="*/ 4233 h 3"/>
                <a:gd name="T2" fmla="*/ 1588 w 3"/>
                <a:gd name="T3" fmla="*/ 6350 h 3"/>
                <a:gd name="T4" fmla="*/ 1588 w 3"/>
                <a:gd name="T5" fmla="*/ 2117 h 3"/>
                <a:gd name="T6" fmla="*/ 3175 w 3"/>
                <a:gd name="T7" fmla="*/ 2117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1" y="3"/>
                  </a:cubicBezTo>
                  <a:cubicBezTo>
                    <a:pt x="0" y="2"/>
                    <a:pt x="0" y="2"/>
                    <a:pt x="1" y="1"/>
                  </a:cubicBezTo>
                  <a:cubicBezTo>
                    <a:pt x="1" y="1"/>
                    <a:pt x="2" y="0"/>
                    <a:pt x="2" y="1"/>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Freeform 18"/>
            <p:cNvSpPr>
              <a:spLocks noChangeAspect="1"/>
            </p:cNvSpPr>
            <p:nvPr/>
          </p:nvSpPr>
          <p:spPr bwMode="auto">
            <a:xfrm>
              <a:off x="3905688" y="783950"/>
              <a:ext cx="4806" cy="1290"/>
            </a:xfrm>
            <a:custGeom>
              <a:avLst/>
              <a:gdLst>
                <a:gd name="T0" fmla="*/ 1588 w 3"/>
                <a:gd name="T1" fmla="*/ 1588 h 1"/>
                <a:gd name="T2" fmla="*/ 0 w 3"/>
                <a:gd name="T3" fmla="*/ 1588 h 1"/>
                <a:gd name="T4" fmla="*/ 1588 w 3"/>
                <a:gd name="T5" fmla="*/ 0 h 1"/>
                <a:gd name="T6" fmla="*/ 4763 w 3"/>
                <a:gd name="T7" fmla="*/ 0 h 1"/>
                <a:gd name="T8" fmla="*/ 1588 w 3"/>
                <a:gd name="T9" fmla="*/ 1588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 name="Freeform 19"/>
            <p:cNvSpPr>
              <a:spLocks noChangeAspect="1"/>
            </p:cNvSpPr>
            <p:nvPr/>
          </p:nvSpPr>
          <p:spPr bwMode="auto">
            <a:xfrm>
              <a:off x="3931315" y="777502"/>
              <a:ext cx="6407" cy="5158"/>
            </a:xfrm>
            <a:custGeom>
              <a:avLst/>
              <a:gdLst>
                <a:gd name="T0" fmla="*/ 4233 w 3"/>
                <a:gd name="T1" fmla="*/ 6350 h 3"/>
                <a:gd name="T2" fmla="*/ 2117 w 3"/>
                <a:gd name="T3" fmla="*/ 6350 h 3"/>
                <a:gd name="T4" fmla="*/ 2117 w 3"/>
                <a:gd name="T5" fmla="*/ 4233 h 3"/>
                <a:gd name="T6" fmla="*/ 4233 w 3"/>
                <a:gd name="T7" fmla="*/ 2117 h 3"/>
                <a:gd name="T8" fmla="*/ 4233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2" y="3"/>
                    <a:pt x="1" y="3"/>
                    <a:pt x="1" y="3"/>
                  </a:cubicBezTo>
                  <a:cubicBezTo>
                    <a:pt x="0" y="2"/>
                    <a:pt x="1" y="2"/>
                    <a:pt x="1" y="2"/>
                  </a:cubicBezTo>
                  <a:cubicBezTo>
                    <a:pt x="1" y="1"/>
                    <a:pt x="2" y="0"/>
                    <a:pt x="2" y="1"/>
                  </a:cubicBezTo>
                  <a:cubicBezTo>
                    <a:pt x="3" y="2"/>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 name="Freeform 20"/>
            <p:cNvSpPr>
              <a:spLocks noChangeAspect="1"/>
            </p:cNvSpPr>
            <p:nvPr/>
          </p:nvSpPr>
          <p:spPr bwMode="auto">
            <a:xfrm>
              <a:off x="3948934" y="767184"/>
              <a:ext cx="4805" cy="3868"/>
            </a:xfrm>
            <a:custGeom>
              <a:avLst/>
              <a:gdLst>
                <a:gd name="T0" fmla="*/ 2381 w 2"/>
                <a:gd name="T1" fmla="*/ 3175 h 3"/>
                <a:gd name="T2" fmla="*/ 0 w 2"/>
                <a:gd name="T3" fmla="*/ 4762 h 3"/>
                <a:gd name="T4" fmla="*/ 0 w 2"/>
                <a:gd name="T5" fmla="*/ 1587 h 3"/>
                <a:gd name="T6" fmla="*/ 2381 w 2"/>
                <a:gd name="T7" fmla="*/ 0 h 3"/>
                <a:gd name="T8" fmla="*/ 2381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 name="Freeform 21"/>
            <p:cNvSpPr>
              <a:spLocks noChangeAspect="1"/>
            </p:cNvSpPr>
            <p:nvPr/>
          </p:nvSpPr>
          <p:spPr bwMode="auto">
            <a:xfrm>
              <a:off x="3928112" y="756866"/>
              <a:ext cx="6407" cy="6448"/>
            </a:xfrm>
            <a:custGeom>
              <a:avLst/>
              <a:gdLst>
                <a:gd name="T0" fmla="*/ 4233 w 3"/>
                <a:gd name="T1" fmla="*/ 5953 h 4"/>
                <a:gd name="T2" fmla="*/ 2117 w 3"/>
                <a:gd name="T3" fmla="*/ 7937 h 4"/>
                <a:gd name="T4" fmla="*/ 0 w 3"/>
                <a:gd name="T5" fmla="*/ 3969 h 4"/>
                <a:gd name="T6" fmla="*/ 4233 w 3"/>
                <a:gd name="T7" fmla="*/ 1984 h 4"/>
                <a:gd name="T8" fmla="*/ 4233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4"/>
                  </a:cubicBezTo>
                  <a:cubicBezTo>
                    <a:pt x="0" y="3"/>
                    <a:pt x="0" y="3"/>
                    <a:pt x="0" y="2"/>
                  </a:cubicBezTo>
                  <a:cubicBezTo>
                    <a:pt x="1" y="1"/>
                    <a:pt x="1" y="0"/>
                    <a:pt x="2" y="1"/>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 name="Freeform 22"/>
            <p:cNvSpPr>
              <a:spLocks noChangeAspect="1"/>
            </p:cNvSpPr>
            <p:nvPr/>
          </p:nvSpPr>
          <p:spPr bwMode="auto">
            <a:xfrm>
              <a:off x="3929714" y="836827"/>
              <a:ext cx="9610" cy="32242"/>
            </a:xfrm>
            <a:custGeom>
              <a:avLst/>
              <a:gdLst>
                <a:gd name="T0" fmla="*/ 3810 w 5"/>
                <a:gd name="T1" fmla="*/ 1890 h 21"/>
                <a:gd name="T2" fmla="*/ 0 w 5"/>
                <a:gd name="T3" fmla="*/ 11339 h 21"/>
                <a:gd name="T4" fmla="*/ 5715 w 5"/>
                <a:gd name="T5" fmla="*/ 37797 h 21"/>
                <a:gd name="T6" fmla="*/ 9525 w 5"/>
                <a:gd name="T7" fmla="*/ 37797 h 21"/>
                <a:gd name="T8" fmla="*/ 7620 w 5"/>
                <a:gd name="T9" fmla="*/ 7559 h 21"/>
                <a:gd name="T10" fmla="*/ 3810 w 5"/>
                <a:gd name="T11" fmla="*/ 1890 h 21"/>
                <a:gd name="T12" fmla="*/ 0 60000 65536"/>
                <a:gd name="T13" fmla="*/ 0 60000 65536"/>
                <a:gd name="T14" fmla="*/ 0 60000 65536"/>
                <a:gd name="T15" fmla="*/ 0 60000 65536"/>
                <a:gd name="T16" fmla="*/ 0 60000 65536"/>
                <a:gd name="T17" fmla="*/ 0 60000 65536"/>
                <a:gd name="T18" fmla="*/ 0 w 5"/>
                <a:gd name="T19" fmla="*/ 0 h 21"/>
                <a:gd name="T20" fmla="*/ 5 w 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 h="21">
                  <a:moveTo>
                    <a:pt x="2" y="1"/>
                  </a:moveTo>
                  <a:cubicBezTo>
                    <a:pt x="0" y="2"/>
                    <a:pt x="0" y="4"/>
                    <a:pt x="0" y="6"/>
                  </a:cubicBezTo>
                  <a:cubicBezTo>
                    <a:pt x="0" y="11"/>
                    <a:pt x="1" y="16"/>
                    <a:pt x="3" y="20"/>
                  </a:cubicBezTo>
                  <a:cubicBezTo>
                    <a:pt x="3" y="21"/>
                    <a:pt x="5" y="20"/>
                    <a:pt x="5" y="20"/>
                  </a:cubicBezTo>
                  <a:cubicBezTo>
                    <a:pt x="5" y="14"/>
                    <a:pt x="5" y="9"/>
                    <a:pt x="4" y="4"/>
                  </a:cubicBezTo>
                  <a:cubicBezTo>
                    <a:pt x="4" y="3"/>
                    <a:pt x="3"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 name="Freeform 23"/>
            <p:cNvSpPr>
              <a:spLocks noChangeAspect="1"/>
            </p:cNvSpPr>
            <p:nvPr/>
          </p:nvSpPr>
          <p:spPr bwMode="auto">
            <a:xfrm>
              <a:off x="3931315" y="885835"/>
              <a:ext cx="36840" cy="18056"/>
            </a:xfrm>
            <a:custGeom>
              <a:avLst/>
              <a:gdLst>
                <a:gd name="T0" fmla="*/ 1922 w 19"/>
                <a:gd name="T1" fmla="*/ 3704 h 12"/>
                <a:gd name="T2" fmla="*/ 1922 w 19"/>
                <a:gd name="T3" fmla="*/ 18521 h 12"/>
                <a:gd name="T4" fmla="*/ 17296 w 19"/>
                <a:gd name="T5" fmla="*/ 18521 h 12"/>
                <a:gd name="T6" fmla="*/ 30748 w 19"/>
                <a:gd name="T7" fmla="*/ 18521 h 12"/>
                <a:gd name="T8" fmla="*/ 36513 w 19"/>
                <a:gd name="T9" fmla="*/ 12965 h 12"/>
                <a:gd name="T10" fmla="*/ 34591 w 19"/>
                <a:gd name="T11" fmla="*/ 9260 h 12"/>
                <a:gd name="T12" fmla="*/ 26904 w 19"/>
                <a:gd name="T13" fmla="*/ 12965 h 12"/>
                <a:gd name="T14" fmla="*/ 19217 w 19"/>
                <a:gd name="T15" fmla="*/ 7408 h 12"/>
                <a:gd name="T16" fmla="*/ 23061 w 19"/>
                <a:gd name="T17" fmla="*/ 3704 h 12"/>
                <a:gd name="T18" fmla="*/ 21139 w 19"/>
                <a:gd name="T19" fmla="*/ 0 h 12"/>
                <a:gd name="T20" fmla="*/ 15374 w 19"/>
                <a:gd name="T21" fmla="*/ 7408 h 12"/>
                <a:gd name="T22" fmla="*/ 9609 w 19"/>
                <a:gd name="T23" fmla="*/ 1852 h 12"/>
                <a:gd name="T24" fmla="*/ 1922 w 19"/>
                <a:gd name="T25" fmla="*/ 3704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2"/>
                <a:gd name="T41" fmla="*/ 19 w 19"/>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2">
                  <a:moveTo>
                    <a:pt x="1" y="2"/>
                  </a:moveTo>
                  <a:cubicBezTo>
                    <a:pt x="2" y="4"/>
                    <a:pt x="1" y="8"/>
                    <a:pt x="1" y="10"/>
                  </a:cubicBezTo>
                  <a:cubicBezTo>
                    <a:pt x="2" y="12"/>
                    <a:pt x="7" y="10"/>
                    <a:pt x="9" y="10"/>
                  </a:cubicBezTo>
                  <a:cubicBezTo>
                    <a:pt x="11" y="10"/>
                    <a:pt x="14" y="11"/>
                    <a:pt x="16" y="10"/>
                  </a:cubicBezTo>
                  <a:cubicBezTo>
                    <a:pt x="17" y="10"/>
                    <a:pt x="18" y="9"/>
                    <a:pt x="19" y="7"/>
                  </a:cubicBezTo>
                  <a:cubicBezTo>
                    <a:pt x="19" y="7"/>
                    <a:pt x="19" y="5"/>
                    <a:pt x="18" y="5"/>
                  </a:cubicBezTo>
                  <a:cubicBezTo>
                    <a:pt x="17" y="5"/>
                    <a:pt x="16" y="8"/>
                    <a:pt x="14" y="7"/>
                  </a:cubicBezTo>
                  <a:cubicBezTo>
                    <a:pt x="13" y="7"/>
                    <a:pt x="11" y="6"/>
                    <a:pt x="10" y="4"/>
                  </a:cubicBezTo>
                  <a:cubicBezTo>
                    <a:pt x="10" y="3"/>
                    <a:pt x="12" y="3"/>
                    <a:pt x="12" y="2"/>
                  </a:cubicBezTo>
                  <a:cubicBezTo>
                    <a:pt x="12" y="1"/>
                    <a:pt x="12" y="0"/>
                    <a:pt x="11" y="0"/>
                  </a:cubicBezTo>
                  <a:cubicBezTo>
                    <a:pt x="9" y="1"/>
                    <a:pt x="10" y="4"/>
                    <a:pt x="8" y="4"/>
                  </a:cubicBezTo>
                  <a:cubicBezTo>
                    <a:pt x="7" y="4"/>
                    <a:pt x="7" y="1"/>
                    <a:pt x="5" y="1"/>
                  </a:cubicBezTo>
                  <a:cubicBezTo>
                    <a:pt x="4" y="1"/>
                    <a:pt x="0" y="0"/>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 name="Freeform 24"/>
            <p:cNvSpPr>
              <a:spLocks noChangeAspect="1"/>
            </p:cNvSpPr>
            <p:nvPr/>
          </p:nvSpPr>
          <p:spPr bwMode="auto">
            <a:xfrm>
              <a:off x="3899281" y="898731"/>
              <a:ext cx="12814" cy="12897"/>
            </a:xfrm>
            <a:custGeom>
              <a:avLst/>
              <a:gdLst>
                <a:gd name="T0" fmla="*/ 3629 w 7"/>
                <a:gd name="T1" fmla="*/ 1764 h 9"/>
                <a:gd name="T2" fmla="*/ 1814 w 7"/>
                <a:gd name="T3" fmla="*/ 14111 h 9"/>
                <a:gd name="T4" fmla="*/ 9071 w 7"/>
                <a:gd name="T5" fmla="*/ 14111 h 9"/>
                <a:gd name="T6" fmla="*/ 12700 w 7"/>
                <a:gd name="T7" fmla="*/ 10583 h 9"/>
                <a:gd name="T8" fmla="*/ 9071 w 7"/>
                <a:gd name="T9" fmla="*/ 7056 h 9"/>
                <a:gd name="T10" fmla="*/ 10886 w 7"/>
                <a:gd name="T11" fmla="*/ 3528 h 9"/>
                <a:gd name="T12" fmla="*/ 3629 w 7"/>
                <a:gd name="T13" fmla="*/ 1764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2" y="1"/>
                  </a:moveTo>
                  <a:cubicBezTo>
                    <a:pt x="1" y="3"/>
                    <a:pt x="0" y="6"/>
                    <a:pt x="1" y="8"/>
                  </a:cubicBezTo>
                  <a:cubicBezTo>
                    <a:pt x="2" y="9"/>
                    <a:pt x="4" y="9"/>
                    <a:pt x="5" y="8"/>
                  </a:cubicBezTo>
                  <a:cubicBezTo>
                    <a:pt x="6" y="8"/>
                    <a:pt x="7" y="7"/>
                    <a:pt x="7" y="6"/>
                  </a:cubicBezTo>
                  <a:cubicBezTo>
                    <a:pt x="7" y="5"/>
                    <a:pt x="6" y="5"/>
                    <a:pt x="5" y="4"/>
                  </a:cubicBezTo>
                  <a:cubicBezTo>
                    <a:pt x="5" y="3"/>
                    <a:pt x="6" y="2"/>
                    <a:pt x="6" y="2"/>
                  </a:cubicBezTo>
                  <a:cubicBezTo>
                    <a:pt x="5" y="1"/>
                    <a:pt x="3"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 name="Freeform 25"/>
            <p:cNvSpPr>
              <a:spLocks noChangeAspect="1"/>
            </p:cNvSpPr>
            <p:nvPr/>
          </p:nvSpPr>
          <p:spPr bwMode="auto">
            <a:xfrm>
              <a:off x="3868849" y="921946"/>
              <a:ext cx="36839" cy="15476"/>
            </a:xfrm>
            <a:custGeom>
              <a:avLst/>
              <a:gdLst>
                <a:gd name="T0" fmla="*/ 1922 w 19"/>
                <a:gd name="T1" fmla="*/ 1905 h 10"/>
                <a:gd name="T2" fmla="*/ 1922 w 19"/>
                <a:gd name="T3" fmla="*/ 7620 h 10"/>
                <a:gd name="T4" fmla="*/ 13452 w 19"/>
                <a:gd name="T5" fmla="*/ 11430 h 10"/>
                <a:gd name="T6" fmla="*/ 21139 w 19"/>
                <a:gd name="T7" fmla="*/ 15240 h 10"/>
                <a:gd name="T8" fmla="*/ 34590 w 19"/>
                <a:gd name="T9" fmla="*/ 15240 h 10"/>
                <a:gd name="T10" fmla="*/ 30747 w 19"/>
                <a:gd name="T11" fmla="*/ 7620 h 10"/>
                <a:gd name="T12" fmla="*/ 24982 w 19"/>
                <a:gd name="T13" fmla="*/ 3810 h 10"/>
                <a:gd name="T14" fmla="*/ 1922 w 19"/>
                <a:gd name="T15" fmla="*/ 1905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 name="Freeform 26"/>
            <p:cNvSpPr>
              <a:spLocks noChangeAspect="1"/>
            </p:cNvSpPr>
            <p:nvPr/>
          </p:nvSpPr>
          <p:spPr bwMode="auto">
            <a:xfrm>
              <a:off x="3803178" y="976112"/>
              <a:ext cx="64069" cy="24503"/>
            </a:xfrm>
            <a:custGeom>
              <a:avLst/>
              <a:gdLst>
                <a:gd name="T0" fmla="*/ 1924 w 33"/>
                <a:gd name="T1" fmla="*/ 1885 h 16"/>
                <a:gd name="T2" fmla="*/ 1924 w 33"/>
                <a:gd name="T3" fmla="*/ 7541 h 16"/>
                <a:gd name="T4" fmla="*/ 17318 w 33"/>
                <a:gd name="T5" fmla="*/ 16966 h 16"/>
                <a:gd name="T6" fmla="*/ 30788 w 33"/>
                <a:gd name="T7" fmla="*/ 18851 h 16"/>
                <a:gd name="T8" fmla="*/ 57727 w 33"/>
                <a:gd name="T9" fmla="*/ 30162 h 16"/>
                <a:gd name="T10" fmla="*/ 57727 w 33"/>
                <a:gd name="T11" fmla="*/ 26392 h 16"/>
                <a:gd name="T12" fmla="*/ 40409 w 33"/>
                <a:gd name="T13" fmla="*/ 16966 h 16"/>
                <a:gd name="T14" fmla="*/ 44258 w 33"/>
                <a:gd name="T15" fmla="*/ 15081 h 16"/>
                <a:gd name="T16" fmla="*/ 61576 w 33"/>
                <a:gd name="T17" fmla="*/ 20736 h 16"/>
                <a:gd name="T18" fmla="*/ 59652 w 33"/>
                <a:gd name="T19" fmla="*/ 15081 h 16"/>
                <a:gd name="T20" fmla="*/ 34636 w 33"/>
                <a:gd name="T21" fmla="*/ 5655 h 16"/>
                <a:gd name="T22" fmla="*/ 17318 w 33"/>
                <a:gd name="T23" fmla="*/ 1885 h 16"/>
                <a:gd name="T24" fmla="*/ 1924 w 33"/>
                <a:gd name="T25" fmla="*/ 188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Freeform 27"/>
            <p:cNvSpPr>
              <a:spLocks noChangeAspect="1"/>
            </p:cNvSpPr>
            <p:nvPr/>
          </p:nvSpPr>
          <p:spPr bwMode="auto">
            <a:xfrm>
              <a:off x="3804780" y="969664"/>
              <a:ext cx="59263" cy="12897"/>
            </a:xfrm>
            <a:custGeom>
              <a:avLst/>
              <a:gdLst>
                <a:gd name="T0" fmla="*/ 1895 w 31"/>
                <a:gd name="T1" fmla="*/ 1984 h 8"/>
                <a:gd name="T2" fmla="*/ 3789 w 31"/>
                <a:gd name="T3" fmla="*/ 5953 h 8"/>
                <a:gd name="T4" fmla="*/ 30316 w 31"/>
                <a:gd name="T5" fmla="*/ 5953 h 8"/>
                <a:gd name="T6" fmla="*/ 43579 w 31"/>
                <a:gd name="T7" fmla="*/ 13891 h 8"/>
                <a:gd name="T8" fmla="*/ 56842 w 31"/>
                <a:gd name="T9" fmla="*/ 13891 h 8"/>
                <a:gd name="T10" fmla="*/ 53053 w 31"/>
                <a:gd name="T11" fmla="*/ 9922 h 8"/>
                <a:gd name="T12" fmla="*/ 54948 w 31"/>
                <a:gd name="T13" fmla="*/ 3969 h 8"/>
                <a:gd name="T14" fmla="*/ 47369 w 31"/>
                <a:gd name="T15" fmla="*/ 0 h 8"/>
                <a:gd name="T16" fmla="*/ 28421 w 31"/>
                <a:gd name="T17" fmla="*/ 1984 h 8"/>
                <a:gd name="T18" fmla="*/ 1895 w 31"/>
                <a:gd name="T19" fmla="*/ 1984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Freeform 29"/>
            <p:cNvSpPr>
              <a:spLocks noChangeAspect="1"/>
            </p:cNvSpPr>
            <p:nvPr/>
          </p:nvSpPr>
          <p:spPr bwMode="auto">
            <a:xfrm>
              <a:off x="7514345" y="2874520"/>
              <a:ext cx="243461" cy="198610"/>
            </a:xfrm>
            <a:custGeom>
              <a:avLst/>
              <a:gdLst>
                <a:gd name="T0" fmla="*/ 224200 w 127"/>
                <a:gd name="T1" fmla="*/ 231105 h 128"/>
                <a:gd name="T2" fmla="*/ 191900 w 127"/>
                <a:gd name="T3" fmla="*/ 219645 h 128"/>
                <a:gd name="T4" fmla="*/ 191900 w 127"/>
                <a:gd name="T5" fmla="*/ 206276 h 128"/>
                <a:gd name="T6" fmla="*/ 182400 w 127"/>
                <a:gd name="T7" fmla="*/ 190996 h 128"/>
                <a:gd name="T8" fmla="*/ 186200 w 127"/>
                <a:gd name="T9" fmla="*/ 179536 h 128"/>
                <a:gd name="T10" fmla="*/ 176700 w 127"/>
                <a:gd name="T11" fmla="*/ 158527 h 128"/>
                <a:gd name="T12" fmla="*/ 159600 w 127"/>
                <a:gd name="T13" fmla="*/ 133697 h 128"/>
                <a:gd name="T14" fmla="*/ 115900 w 127"/>
                <a:gd name="T15" fmla="*/ 114598 h 128"/>
                <a:gd name="T16" fmla="*/ 89300 w 127"/>
                <a:gd name="T17" fmla="*/ 106958 h 128"/>
                <a:gd name="T18" fmla="*/ 81700 w 127"/>
                <a:gd name="T19" fmla="*/ 101228 h 128"/>
                <a:gd name="T20" fmla="*/ 66500 w 127"/>
                <a:gd name="T21" fmla="*/ 85948 h 128"/>
                <a:gd name="T22" fmla="*/ 66500 w 127"/>
                <a:gd name="T23" fmla="*/ 72579 h 128"/>
                <a:gd name="T24" fmla="*/ 58900 w 127"/>
                <a:gd name="T25" fmla="*/ 95498 h 128"/>
                <a:gd name="T26" fmla="*/ 45600 w 127"/>
                <a:gd name="T27" fmla="*/ 101228 h 128"/>
                <a:gd name="T28" fmla="*/ 45600 w 127"/>
                <a:gd name="T29" fmla="*/ 89768 h 128"/>
                <a:gd name="T30" fmla="*/ 24700 w 127"/>
                <a:gd name="T31" fmla="*/ 70669 h 128"/>
                <a:gd name="T32" fmla="*/ 47500 w 127"/>
                <a:gd name="T33" fmla="*/ 66849 h 128"/>
                <a:gd name="T34" fmla="*/ 60800 w 127"/>
                <a:gd name="T35" fmla="*/ 64939 h 128"/>
                <a:gd name="T36" fmla="*/ 70300 w 127"/>
                <a:gd name="T37" fmla="*/ 49659 h 128"/>
                <a:gd name="T38" fmla="*/ 32300 w 127"/>
                <a:gd name="T39" fmla="*/ 53479 h 128"/>
                <a:gd name="T40" fmla="*/ 17100 w 127"/>
                <a:gd name="T41" fmla="*/ 32469 h 128"/>
                <a:gd name="T42" fmla="*/ 7600 w 127"/>
                <a:gd name="T43" fmla="*/ 22920 h 128"/>
                <a:gd name="T44" fmla="*/ 30400 w 127"/>
                <a:gd name="T45" fmla="*/ 5730 h 128"/>
                <a:gd name="T46" fmla="*/ 62700 w 127"/>
                <a:gd name="T47" fmla="*/ 11460 h 128"/>
                <a:gd name="T48" fmla="*/ 81700 w 127"/>
                <a:gd name="T49" fmla="*/ 26739 h 128"/>
                <a:gd name="T50" fmla="*/ 85500 w 127"/>
                <a:gd name="T51" fmla="*/ 70669 h 128"/>
                <a:gd name="T52" fmla="*/ 89300 w 127"/>
                <a:gd name="T53" fmla="*/ 64939 h 128"/>
                <a:gd name="T54" fmla="*/ 104500 w 127"/>
                <a:gd name="T55" fmla="*/ 85948 h 128"/>
                <a:gd name="T56" fmla="*/ 129200 w 127"/>
                <a:gd name="T57" fmla="*/ 53479 h 128"/>
                <a:gd name="T58" fmla="*/ 150100 w 127"/>
                <a:gd name="T59" fmla="*/ 40109 h 128"/>
                <a:gd name="T60" fmla="*/ 178600 w 127"/>
                <a:gd name="T61" fmla="*/ 34379 h 128"/>
                <a:gd name="T62" fmla="*/ 220400 w 127"/>
                <a:gd name="T63" fmla="*/ 57299 h 128"/>
                <a:gd name="T64" fmla="*/ 241300 w 127"/>
                <a:gd name="T65" fmla="*/ 166167 h 128"/>
                <a:gd name="T66" fmla="*/ 239400 w 127"/>
                <a:gd name="T67" fmla="*/ 183356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Freeform 30"/>
            <p:cNvSpPr>
              <a:spLocks noChangeAspect="1"/>
            </p:cNvSpPr>
            <p:nvPr/>
          </p:nvSpPr>
          <p:spPr bwMode="auto">
            <a:xfrm>
              <a:off x="7323741" y="3069261"/>
              <a:ext cx="43247" cy="34822"/>
            </a:xfrm>
            <a:custGeom>
              <a:avLst/>
              <a:gdLst>
                <a:gd name="T0" fmla="*/ 37272 w 23"/>
                <a:gd name="T1" fmla="*/ 0 h 23"/>
                <a:gd name="T2" fmla="*/ 29818 w 23"/>
                <a:gd name="T3" fmla="*/ 7454 h 23"/>
                <a:gd name="T4" fmla="*/ 16772 w 23"/>
                <a:gd name="T5" fmla="*/ 11182 h 23"/>
                <a:gd name="T6" fmla="*/ 7454 w 23"/>
                <a:gd name="T7" fmla="*/ 18636 h 23"/>
                <a:gd name="T8" fmla="*/ 5591 w 23"/>
                <a:gd name="T9" fmla="*/ 31681 h 23"/>
                <a:gd name="T10" fmla="*/ 0 w 23"/>
                <a:gd name="T11" fmla="*/ 39136 h 23"/>
                <a:gd name="T12" fmla="*/ 5591 w 23"/>
                <a:gd name="T13" fmla="*/ 40999 h 23"/>
                <a:gd name="T14" fmla="*/ 20500 w 23"/>
                <a:gd name="T15" fmla="*/ 35409 h 23"/>
                <a:gd name="T16" fmla="*/ 26091 w 23"/>
                <a:gd name="T17" fmla="*/ 33545 h 23"/>
                <a:gd name="T18" fmla="*/ 37272 w 23"/>
                <a:gd name="T19" fmla="*/ 22363 h 23"/>
                <a:gd name="T20" fmla="*/ 42863 w 23"/>
                <a:gd name="T21" fmla="*/ 14909 h 23"/>
                <a:gd name="T22" fmla="*/ 42863 w 23"/>
                <a:gd name="T23" fmla="*/ 5591 h 23"/>
                <a:gd name="T24" fmla="*/ 37272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Freeform 31"/>
            <p:cNvSpPr>
              <a:spLocks noChangeAspect="1"/>
            </p:cNvSpPr>
            <p:nvPr/>
          </p:nvSpPr>
          <p:spPr bwMode="auto">
            <a:xfrm>
              <a:off x="4722561" y="3372335"/>
              <a:ext cx="395623" cy="304364"/>
            </a:xfrm>
            <a:custGeom>
              <a:avLst/>
              <a:gdLst>
                <a:gd name="T0" fmla="*/ 373078 w 206"/>
                <a:gd name="T1" fmla="*/ 135026 h 197"/>
                <a:gd name="T2" fmla="*/ 363561 w 206"/>
                <a:gd name="T3" fmla="*/ 150240 h 197"/>
                <a:gd name="T4" fmla="*/ 340720 w 206"/>
                <a:gd name="T5" fmla="*/ 136928 h 197"/>
                <a:gd name="T6" fmla="*/ 346430 w 206"/>
                <a:gd name="T7" fmla="*/ 112205 h 197"/>
                <a:gd name="T8" fmla="*/ 373078 w 206"/>
                <a:gd name="T9" fmla="*/ 114107 h 197"/>
                <a:gd name="T10" fmla="*/ 369271 w 206"/>
                <a:gd name="T11" fmla="*/ 98892 h 197"/>
                <a:gd name="T12" fmla="*/ 367368 w 206"/>
                <a:gd name="T13" fmla="*/ 57053 h 197"/>
                <a:gd name="T14" fmla="*/ 363561 w 206"/>
                <a:gd name="T15" fmla="*/ 30428 h 197"/>
                <a:gd name="T16" fmla="*/ 357851 w 206"/>
                <a:gd name="T17" fmla="*/ 7607 h 197"/>
                <a:gd name="T18" fmla="*/ 346430 w 206"/>
                <a:gd name="T19" fmla="*/ 3804 h 197"/>
                <a:gd name="T20" fmla="*/ 319781 w 206"/>
                <a:gd name="T21" fmla="*/ 1902 h 197"/>
                <a:gd name="T22" fmla="*/ 298843 w 206"/>
                <a:gd name="T23" fmla="*/ 5705 h 197"/>
                <a:gd name="T24" fmla="*/ 277905 w 206"/>
                <a:gd name="T25" fmla="*/ 19018 h 197"/>
                <a:gd name="T26" fmla="*/ 251257 w 206"/>
                <a:gd name="T27" fmla="*/ 57053 h 197"/>
                <a:gd name="T28" fmla="*/ 226512 w 206"/>
                <a:gd name="T29" fmla="*/ 72268 h 197"/>
                <a:gd name="T30" fmla="*/ 218898 w 206"/>
                <a:gd name="T31" fmla="*/ 100794 h 197"/>
                <a:gd name="T32" fmla="*/ 194153 w 206"/>
                <a:gd name="T33" fmla="*/ 104598 h 197"/>
                <a:gd name="T34" fmla="*/ 173215 w 206"/>
                <a:gd name="T35" fmla="*/ 89384 h 197"/>
                <a:gd name="T36" fmla="*/ 154180 w 206"/>
                <a:gd name="T37" fmla="*/ 93187 h 197"/>
                <a:gd name="T38" fmla="*/ 140856 w 206"/>
                <a:gd name="T39" fmla="*/ 117910 h 197"/>
                <a:gd name="T40" fmla="*/ 125628 w 206"/>
                <a:gd name="T41" fmla="*/ 133124 h 197"/>
                <a:gd name="T42" fmla="*/ 98980 w 206"/>
                <a:gd name="T43" fmla="*/ 135026 h 197"/>
                <a:gd name="T44" fmla="*/ 102787 w 206"/>
                <a:gd name="T45" fmla="*/ 110303 h 197"/>
                <a:gd name="T46" fmla="*/ 93270 w 206"/>
                <a:gd name="T47" fmla="*/ 83678 h 197"/>
                <a:gd name="T48" fmla="*/ 83752 w 206"/>
                <a:gd name="T49" fmla="*/ 182571 h 197"/>
                <a:gd name="T50" fmla="*/ 70428 w 206"/>
                <a:gd name="T51" fmla="*/ 192079 h 197"/>
                <a:gd name="T52" fmla="*/ 53297 w 206"/>
                <a:gd name="T53" fmla="*/ 193981 h 197"/>
                <a:gd name="T54" fmla="*/ 24745 w 206"/>
                <a:gd name="T55" fmla="*/ 192079 h 197"/>
                <a:gd name="T56" fmla="*/ 13324 w 206"/>
                <a:gd name="T57" fmla="*/ 171160 h 197"/>
                <a:gd name="T58" fmla="*/ 7614 w 206"/>
                <a:gd name="T59" fmla="*/ 186374 h 197"/>
                <a:gd name="T60" fmla="*/ 5710 w 206"/>
                <a:gd name="T61" fmla="*/ 205392 h 197"/>
                <a:gd name="T62" fmla="*/ 30455 w 206"/>
                <a:gd name="T63" fmla="*/ 266249 h 197"/>
                <a:gd name="T64" fmla="*/ 39973 w 206"/>
                <a:gd name="T65" fmla="*/ 309990 h 197"/>
                <a:gd name="T66" fmla="*/ 32359 w 206"/>
                <a:gd name="T67" fmla="*/ 315695 h 197"/>
                <a:gd name="T68" fmla="*/ 41876 w 206"/>
                <a:gd name="T69" fmla="*/ 344222 h 197"/>
                <a:gd name="T70" fmla="*/ 53297 w 206"/>
                <a:gd name="T71" fmla="*/ 355632 h 197"/>
                <a:gd name="T72" fmla="*/ 78042 w 206"/>
                <a:gd name="T73" fmla="*/ 372748 h 197"/>
                <a:gd name="T74" fmla="*/ 102787 w 206"/>
                <a:gd name="T75" fmla="*/ 357534 h 197"/>
                <a:gd name="T76" fmla="*/ 127532 w 206"/>
                <a:gd name="T77" fmla="*/ 351829 h 197"/>
                <a:gd name="T78" fmla="*/ 157987 w 206"/>
                <a:gd name="T79" fmla="*/ 351829 h 197"/>
                <a:gd name="T80" fmla="*/ 192250 w 206"/>
                <a:gd name="T81" fmla="*/ 351829 h 197"/>
                <a:gd name="T82" fmla="*/ 213188 w 206"/>
                <a:gd name="T83" fmla="*/ 346123 h 197"/>
                <a:gd name="T84" fmla="*/ 234126 w 206"/>
                <a:gd name="T85" fmla="*/ 338516 h 197"/>
                <a:gd name="T86" fmla="*/ 268388 w 206"/>
                <a:gd name="T87" fmla="*/ 317597 h 197"/>
                <a:gd name="T88" fmla="*/ 302650 w 206"/>
                <a:gd name="T89" fmla="*/ 281463 h 197"/>
                <a:gd name="T90" fmla="*/ 327395 w 206"/>
                <a:gd name="T91" fmla="*/ 254838 h 197"/>
                <a:gd name="T92" fmla="*/ 348333 w 206"/>
                <a:gd name="T93" fmla="*/ 211097 h 197"/>
                <a:gd name="T94" fmla="*/ 373078 w 206"/>
                <a:gd name="T95" fmla="*/ 192079 h 197"/>
                <a:gd name="T96" fmla="*/ 386403 w 206"/>
                <a:gd name="T97" fmla="*/ 154044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 name="Freeform 32"/>
            <p:cNvSpPr>
              <a:spLocks noChangeAspect="1"/>
            </p:cNvSpPr>
            <p:nvPr/>
          </p:nvSpPr>
          <p:spPr bwMode="auto">
            <a:xfrm>
              <a:off x="5063726" y="3457455"/>
              <a:ext cx="35238" cy="37400"/>
            </a:xfrm>
            <a:custGeom>
              <a:avLst/>
              <a:gdLst>
                <a:gd name="T0" fmla="*/ 34925 w 18"/>
                <a:gd name="T1" fmla="*/ 30691 h 24"/>
                <a:gd name="T2" fmla="*/ 34925 w 18"/>
                <a:gd name="T3" fmla="*/ 21100 h 24"/>
                <a:gd name="T4" fmla="*/ 34925 w 18"/>
                <a:gd name="T5" fmla="*/ 9591 h 24"/>
                <a:gd name="T6" fmla="*/ 17463 w 18"/>
                <a:gd name="T7" fmla="*/ 0 h 24"/>
                <a:gd name="T8" fmla="*/ 7761 w 18"/>
                <a:gd name="T9" fmla="*/ 7673 h 24"/>
                <a:gd name="T10" fmla="*/ 1940 w 18"/>
                <a:gd name="T11" fmla="*/ 19182 h 24"/>
                <a:gd name="T12" fmla="*/ 1940 w 18"/>
                <a:gd name="T13" fmla="*/ 32610 h 24"/>
                <a:gd name="T14" fmla="*/ 13582 w 18"/>
                <a:gd name="T15" fmla="*/ 42201 h 24"/>
                <a:gd name="T16" fmla="*/ 25224 w 18"/>
                <a:gd name="T17" fmla="*/ 46037 h 24"/>
                <a:gd name="T18" fmla="*/ 31044 w 18"/>
                <a:gd name="T19" fmla="*/ 42201 h 24"/>
                <a:gd name="T20" fmla="*/ 34925 w 18"/>
                <a:gd name="T21" fmla="*/ 3069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 name="Freeform 33"/>
            <p:cNvSpPr>
              <a:spLocks noChangeAspect="1"/>
            </p:cNvSpPr>
            <p:nvPr/>
          </p:nvSpPr>
          <p:spPr bwMode="auto">
            <a:xfrm>
              <a:off x="4608839" y="3252395"/>
              <a:ext cx="328351" cy="282440"/>
            </a:xfrm>
            <a:custGeom>
              <a:avLst/>
              <a:gdLst>
                <a:gd name="T0" fmla="*/ 325437 w 171"/>
                <a:gd name="T1" fmla="*/ 28654 h 182"/>
                <a:gd name="T2" fmla="*/ 315921 w 171"/>
                <a:gd name="T3" fmla="*/ 26743 h 182"/>
                <a:gd name="T4" fmla="*/ 310212 w 171"/>
                <a:gd name="T5" fmla="*/ 32474 h 182"/>
                <a:gd name="T6" fmla="*/ 302599 w 171"/>
                <a:gd name="T7" fmla="*/ 28654 h 182"/>
                <a:gd name="T8" fmla="*/ 291180 w 171"/>
                <a:gd name="T9" fmla="*/ 43935 h 182"/>
                <a:gd name="T10" fmla="*/ 281665 w 171"/>
                <a:gd name="T11" fmla="*/ 43935 h 182"/>
                <a:gd name="T12" fmla="*/ 272149 w 171"/>
                <a:gd name="T13" fmla="*/ 32474 h 182"/>
                <a:gd name="T14" fmla="*/ 256924 w 171"/>
                <a:gd name="T15" fmla="*/ 34384 h 182"/>
                <a:gd name="T16" fmla="*/ 234086 w 171"/>
                <a:gd name="T17" fmla="*/ 40115 h 182"/>
                <a:gd name="T18" fmla="*/ 224571 w 171"/>
                <a:gd name="T19" fmla="*/ 40115 h 182"/>
                <a:gd name="T20" fmla="*/ 224571 w 171"/>
                <a:gd name="T21" fmla="*/ 143268 h 182"/>
                <a:gd name="T22" fmla="*/ 197927 w 171"/>
                <a:gd name="T23" fmla="*/ 143268 h 182"/>
                <a:gd name="T24" fmla="*/ 197927 w 171"/>
                <a:gd name="T25" fmla="*/ 223498 h 182"/>
                <a:gd name="T26" fmla="*/ 196023 w 171"/>
                <a:gd name="T27" fmla="*/ 330471 h 182"/>
                <a:gd name="T28" fmla="*/ 190314 w 171"/>
                <a:gd name="T29" fmla="*/ 336202 h 182"/>
                <a:gd name="T30" fmla="*/ 182701 w 171"/>
                <a:gd name="T31" fmla="*/ 340022 h 182"/>
                <a:gd name="T32" fmla="*/ 176992 w 171"/>
                <a:gd name="T33" fmla="*/ 345753 h 182"/>
                <a:gd name="T34" fmla="*/ 165573 w 171"/>
                <a:gd name="T35" fmla="*/ 341932 h 182"/>
                <a:gd name="T36" fmla="*/ 150348 w 171"/>
                <a:gd name="T37" fmla="*/ 345753 h 182"/>
                <a:gd name="T38" fmla="*/ 137026 w 171"/>
                <a:gd name="T39" fmla="*/ 340022 h 182"/>
                <a:gd name="T40" fmla="*/ 133220 w 171"/>
                <a:gd name="T41" fmla="*/ 328561 h 182"/>
                <a:gd name="T42" fmla="*/ 125607 w 171"/>
                <a:gd name="T43" fmla="*/ 319009 h 182"/>
                <a:gd name="T44" fmla="*/ 119898 w 171"/>
                <a:gd name="T45" fmla="*/ 322830 h 182"/>
                <a:gd name="T46" fmla="*/ 119898 w 171"/>
                <a:gd name="T47" fmla="*/ 334291 h 182"/>
                <a:gd name="T48" fmla="*/ 112285 w 171"/>
                <a:gd name="T49" fmla="*/ 334291 h 182"/>
                <a:gd name="T50" fmla="*/ 95157 w 171"/>
                <a:gd name="T51" fmla="*/ 320920 h 182"/>
                <a:gd name="T52" fmla="*/ 83738 w 171"/>
                <a:gd name="T53" fmla="*/ 294176 h 182"/>
                <a:gd name="T54" fmla="*/ 83738 w 171"/>
                <a:gd name="T55" fmla="*/ 278895 h 182"/>
                <a:gd name="T56" fmla="*/ 76126 w 171"/>
                <a:gd name="T57" fmla="*/ 267433 h 182"/>
                <a:gd name="T58" fmla="*/ 78029 w 171"/>
                <a:gd name="T59" fmla="*/ 257882 h 182"/>
                <a:gd name="T60" fmla="*/ 74222 w 171"/>
                <a:gd name="T61" fmla="*/ 248331 h 182"/>
                <a:gd name="T62" fmla="*/ 74222 w 171"/>
                <a:gd name="T63" fmla="*/ 234959 h 182"/>
                <a:gd name="T64" fmla="*/ 70416 w 171"/>
                <a:gd name="T65" fmla="*/ 217767 h 182"/>
                <a:gd name="T66" fmla="*/ 66610 w 171"/>
                <a:gd name="T67" fmla="*/ 196754 h 182"/>
                <a:gd name="T68" fmla="*/ 66610 w 171"/>
                <a:gd name="T69" fmla="*/ 175742 h 182"/>
                <a:gd name="T70" fmla="*/ 70416 w 171"/>
                <a:gd name="T71" fmla="*/ 162370 h 182"/>
                <a:gd name="T72" fmla="*/ 49482 w 171"/>
                <a:gd name="T73" fmla="*/ 135627 h 182"/>
                <a:gd name="T74" fmla="*/ 38063 w 171"/>
                <a:gd name="T75" fmla="*/ 112704 h 182"/>
                <a:gd name="T76" fmla="*/ 38063 w 171"/>
                <a:gd name="T77" fmla="*/ 93602 h 182"/>
                <a:gd name="T78" fmla="*/ 24741 w 171"/>
                <a:gd name="T79" fmla="*/ 78320 h 182"/>
                <a:gd name="T80" fmla="*/ 19031 w 171"/>
                <a:gd name="T81" fmla="*/ 59217 h 182"/>
                <a:gd name="T82" fmla="*/ 1903 w 171"/>
                <a:gd name="T83" fmla="*/ 36294 h 182"/>
                <a:gd name="T84" fmla="*/ 0 w 171"/>
                <a:gd name="T85" fmla="*/ 19102 h 182"/>
                <a:gd name="T86" fmla="*/ 3806 w 171"/>
                <a:gd name="T87" fmla="*/ 7641 h 182"/>
                <a:gd name="T88" fmla="*/ 17128 w 171"/>
                <a:gd name="T89" fmla="*/ 7641 h 182"/>
                <a:gd name="T90" fmla="*/ 32353 w 171"/>
                <a:gd name="T91" fmla="*/ 0 h 182"/>
                <a:gd name="T92" fmla="*/ 45675 w 171"/>
                <a:gd name="T93" fmla="*/ 3820 h 182"/>
                <a:gd name="T94" fmla="*/ 57094 w 171"/>
                <a:gd name="T95" fmla="*/ 11461 h 182"/>
                <a:gd name="T96" fmla="*/ 161767 w 171"/>
                <a:gd name="T97" fmla="*/ 11461 h 182"/>
                <a:gd name="T98" fmla="*/ 173186 w 171"/>
                <a:gd name="T99" fmla="*/ 22923 h 182"/>
                <a:gd name="T100" fmla="*/ 188411 w 171"/>
                <a:gd name="T101" fmla="*/ 26743 h 182"/>
                <a:gd name="T102" fmla="*/ 211249 w 171"/>
                <a:gd name="T103" fmla="*/ 30564 h 182"/>
                <a:gd name="T104" fmla="*/ 224571 w 171"/>
                <a:gd name="T105" fmla="*/ 26743 h 182"/>
                <a:gd name="T106" fmla="*/ 239796 w 171"/>
                <a:gd name="T107" fmla="*/ 30564 h 182"/>
                <a:gd name="T108" fmla="*/ 285471 w 171"/>
                <a:gd name="T109" fmla="*/ 21013 h 182"/>
                <a:gd name="T110" fmla="*/ 306406 w 171"/>
                <a:gd name="T111" fmla="*/ 15282 h 182"/>
                <a:gd name="T112" fmla="*/ 315921 w 171"/>
                <a:gd name="T113" fmla="*/ 17192 h 182"/>
                <a:gd name="T114" fmla="*/ 325437 w 171"/>
                <a:gd name="T115" fmla="*/ 28654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 name="Freeform 34"/>
            <p:cNvSpPr>
              <a:spLocks noChangeAspect="1"/>
            </p:cNvSpPr>
            <p:nvPr/>
          </p:nvSpPr>
          <p:spPr bwMode="auto">
            <a:xfrm>
              <a:off x="4809052" y="3274320"/>
              <a:ext cx="222638" cy="208928"/>
            </a:xfrm>
            <a:custGeom>
              <a:avLst/>
              <a:gdLst>
                <a:gd name="T0" fmla="*/ 220663 w 116"/>
                <a:gd name="T1" fmla="*/ 120015 h 135"/>
                <a:gd name="T2" fmla="*/ 216858 w 116"/>
                <a:gd name="T3" fmla="*/ 116205 h 135"/>
                <a:gd name="T4" fmla="*/ 216858 w 116"/>
                <a:gd name="T5" fmla="*/ 110490 h 135"/>
                <a:gd name="T6" fmla="*/ 203543 w 116"/>
                <a:gd name="T7" fmla="*/ 104775 h 135"/>
                <a:gd name="T8" fmla="*/ 192129 w 116"/>
                <a:gd name="T9" fmla="*/ 102870 h 135"/>
                <a:gd name="T10" fmla="*/ 184520 w 116"/>
                <a:gd name="T11" fmla="*/ 91440 h 135"/>
                <a:gd name="T12" fmla="*/ 184520 w 116"/>
                <a:gd name="T13" fmla="*/ 74295 h 135"/>
                <a:gd name="T14" fmla="*/ 176911 w 116"/>
                <a:gd name="T15" fmla="*/ 74295 h 135"/>
                <a:gd name="T16" fmla="*/ 176911 w 116"/>
                <a:gd name="T17" fmla="*/ 62865 h 135"/>
                <a:gd name="T18" fmla="*/ 157888 w 116"/>
                <a:gd name="T19" fmla="*/ 51435 h 135"/>
                <a:gd name="T20" fmla="*/ 148377 w 116"/>
                <a:gd name="T21" fmla="*/ 47625 h 135"/>
                <a:gd name="T22" fmla="*/ 142670 w 116"/>
                <a:gd name="T23" fmla="*/ 28575 h 135"/>
                <a:gd name="T24" fmla="*/ 135061 w 116"/>
                <a:gd name="T25" fmla="*/ 17145 h 135"/>
                <a:gd name="T26" fmla="*/ 127452 w 116"/>
                <a:gd name="T27" fmla="*/ 1905 h 135"/>
                <a:gd name="T28" fmla="*/ 117941 w 116"/>
                <a:gd name="T29" fmla="*/ 0 h 135"/>
                <a:gd name="T30" fmla="*/ 112234 w 116"/>
                <a:gd name="T31" fmla="*/ 5715 h 135"/>
                <a:gd name="T32" fmla="*/ 104625 w 116"/>
                <a:gd name="T33" fmla="*/ 1905 h 135"/>
                <a:gd name="T34" fmla="*/ 93211 w 116"/>
                <a:gd name="T35" fmla="*/ 17145 h 135"/>
                <a:gd name="T36" fmla="*/ 83700 w 116"/>
                <a:gd name="T37" fmla="*/ 17145 h 135"/>
                <a:gd name="T38" fmla="*/ 74188 w 116"/>
                <a:gd name="T39" fmla="*/ 5715 h 135"/>
                <a:gd name="T40" fmla="*/ 58970 w 116"/>
                <a:gd name="T41" fmla="*/ 7620 h 135"/>
                <a:gd name="T42" fmla="*/ 36143 w 116"/>
                <a:gd name="T43" fmla="*/ 13335 h 135"/>
                <a:gd name="T44" fmla="*/ 26632 w 116"/>
                <a:gd name="T45" fmla="*/ 13335 h 135"/>
                <a:gd name="T46" fmla="*/ 26632 w 116"/>
                <a:gd name="T47" fmla="*/ 116205 h 135"/>
                <a:gd name="T48" fmla="*/ 0 w 116"/>
                <a:gd name="T49" fmla="*/ 116205 h 135"/>
                <a:gd name="T50" fmla="*/ 0 w 116"/>
                <a:gd name="T51" fmla="*/ 196215 h 135"/>
                <a:gd name="T52" fmla="*/ 7609 w 116"/>
                <a:gd name="T53" fmla="*/ 203835 h 135"/>
                <a:gd name="T54" fmla="*/ 11414 w 116"/>
                <a:gd name="T55" fmla="*/ 220980 h 135"/>
                <a:gd name="T56" fmla="*/ 17120 w 116"/>
                <a:gd name="T57" fmla="*/ 230505 h 135"/>
                <a:gd name="T58" fmla="*/ 9511 w 116"/>
                <a:gd name="T59" fmla="*/ 245745 h 135"/>
                <a:gd name="T60" fmla="*/ 13316 w 116"/>
                <a:gd name="T61" fmla="*/ 255270 h 135"/>
                <a:gd name="T62" fmla="*/ 22827 w 116"/>
                <a:gd name="T63" fmla="*/ 251460 h 135"/>
                <a:gd name="T64" fmla="*/ 39948 w 116"/>
                <a:gd name="T65" fmla="*/ 253365 h 135"/>
                <a:gd name="T66" fmla="*/ 41850 w 116"/>
                <a:gd name="T67" fmla="*/ 247650 h 135"/>
                <a:gd name="T68" fmla="*/ 55166 w 116"/>
                <a:gd name="T69" fmla="*/ 238125 h 135"/>
                <a:gd name="T70" fmla="*/ 62775 w 116"/>
                <a:gd name="T71" fmla="*/ 228600 h 135"/>
                <a:gd name="T72" fmla="*/ 68482 w 116"/>
                <a:gd name="T73" fmla="*/ 213360 h 135"/>
                <a:gd name="T74" fmla="*/ 77993 w 116"/>
                <a:gd name="T75" fmla="*/ 209550 h 135"/>
                <a:gd name="T76" fmla="*/ 87504 w 116"/>
                <a:gd name="T77" fmla="*/ 209550 h 135"/>
                <a:gd name="T78" fmla="*/ 95113 w 116"/>
                <a:gd name="T79" fmla="*/ 220980 h 135"/>
                <a:gd name="T80" fmla="*/ 108429 w 116"/>
                <a:gd name="T81" fmla="*/ 224790 h 135"/>
                <a:gd name="T82" fmla="*/ 116038 w 116"/>
                <a:gd name="T83" fmla="*/ 222885 h 135"/>
                <a:gd name="T84" fmla="*/ 133159 w 116"/>
                <a:gd name="T85" fmla="*/ 220980 h 135"/>
                <a:gd name="T86" fmla="*/ 136963 w 116"/>
                <a:gd name="T87" fmla="*/ 209550 h 135"/>
                <a:gd name="T88" fmla="*/ 140768 w 116"/>
                <a:gd name="T89" fmla="*/ 192405 h 135"/>
                <a:gd name="T90" fmla="*/ 154084 w 116"/>
                <a:gd name="T91" fmla="*/ 188595 h 135"/>
                <a:gd name="T92" fmla="*/ 165497 w 116"/>
                <a:gd name="T93" fmla="*/ 177165 h 135"/>
                <a:gd name="T94" fmla="*/ 169302 w 116"/>
                <a:gd name="T95" fmla="*/ 160020 h 135"/>
                <a:gd name="T96" fmla="*/ 192129 w 116"/>
                <a:gd name="T97" fmla="*/ 139065 h 135"/>
                <a:gd name="T98" fmla="*/ 205445 w 116"/>
                <a:gd name="T99" fmla="*/ 129540 h 135"/>
                <a:gd name="T100" fmla="*/ 213054 w 116"/>
                <a:gd name="T101" fmla="*/ 125730 h 135"/>
                <a:gd name="T102" fmla="*/ 220663 w 116"/>
                <a:gd name="T103" fmla="*/ 120015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 name="Freeform 35"/>
            <p:cNvSpPr>
              <a:spLocks noChangeAspect="1"/>
            </p:cNvSpPr>
            <p:nvPr/>
          </p:nvSpPr>
          <p:spPr bwMode="auto">
            <a:xfrm>
              <a:off x="4937190" y="3221443"/>
              <a:ext cx="189002" cy="158631"/>
            </a:xfrm>
            <a:custGeom>
              <a:avLst/>
              <a:gdLst>
                <a:gd name="T0" fmla="*/ 145272 w 98"/>
                <a:gd name="T1" fmla="*/ 193349 h 102"/>
                <a:gd name="T2" fmla="*/ 172033 w 98"/>
                <a:gd name="T3" fmla="*/ 162719 h 102"/>
                <a:gd name="T4" fmla="*/ 172033 w 98"/>
                <a:gd name="T5" fmla="*/ 145490 h 102"/>
                <a:gd name="T6" fmla="*/ 175856 w 98"/>
                <a:gd name="T7" fmla="*/ 139747 h 102"/>
                <a:gd name="T8" fmla="*/ 179679 w 98"/>
                <a:gd name="T9" fmla="*/ 130175 h 102"/>
                <a:gd name="T10" fmla="*/ 185414 w 98"/>
                <a:gd name="T11" fmla="*/ 120604 h 102"/>
                <a:gd name="T12" fmla="*/ 177768 w 98"/>
                <a:gd name="T13" fmla="*/ 114861 h 102"/>
                <a:gd name="T14" fmla="*/ 179679 w 98"/>
                <a:gd name="T15" fmla="*/ 107203 h 102"/>
                <a:gd name="T16" fmla="*/ 173945 w 98"/>
                <a:gd name="T17" fmla="*/ 97632 h 102"/>
                <a:gd name="T18" fmla="*/ 177768 w 98"/>
                <a:gd name="T19" fmla="*/ 93803 h 102"/>
                <a:gd name="T20" fmla="*/ 187325 w 98"/>
                <a:gd name="T21" fmla="*/ 82317 h 102"/>
                <a:gd name="T22" fmla="*/ 183502 w 98"/>
                <a:gd name="T23" fmla="*/ 70831 h 102"/>
                <a:gd name="T24" fmla="*/ 183502 w 98"/>
                <a:gd name="T25" fmla="*/ 51687 h 102"/>
                <a:gd name="T26" fmla="*/ 175856 w 98"/>
                <a:gd name="T27" fmla="*/ 34458 h 102"/>
                <a:gd name="T28" fmla="*/ 160564 w 98"/>
                <a:gd name="T29" fmla="*/ 30629 h 102"/>
                <a:gd name="T30" fmla="*/ 154830 w 98"/>
                <a:gd name="T31" fmla="*/ 22972 h 102"/>
                <a:gd name="T32" fmla="*/ 149095 w 98"/>
                <a:gd name="T33" fmla="*/ 15315 h 102"/>
                <a:gd name="T34" fmla="*/ 137627 w 98"/>
                <a:gd name="T35" fmla="*/ 11486 h 102"/>
                <a:gd name="T36" fmla="*/ 124246 w 98"/>
                <a:gd name="T37" fmla="*/ 11486 h 102"/>
                <a:gd name="T38" fmla="*/ 120423 w 98"/>
                <a:gd name="T39" fmla="*/ 7657 h 102"/>
                <a:gd name="T40" fmla="*/ 124246 w 98"/>
                <a:gd name="T41" fmla="*/ 1914 h 102"/>
                <a:gd name="T42" fmla="*/ 110866 w 98"/>
                <a:gd name="T43" fmla="*/ 1914 h 102"/>
                <a:gd name="T44" fmla="*/ 89840 w 98"/>
                <a:gd name="T45" fmla="*/ 13400 h 102"/>
                <a:gd name="T46" fmla="*/ 87928 w 98"/>
                <a:gd name="T47" fmla="*/ 26801 h 102"/>
                <a:gd name="T48" fmla="*/ 68813 w 98"/>
                <a:gd name="T49" fmla="*/ 38287 h 102"/>
                <a:gd name="T50" fmla="*/ 57344 w 98"/>
                <a:gd name="T51" fmla="*/ 47859 h 102"/>
                <a:gd name="T52" fmla="*/ 51610 w 98"/>
                <a:gd name="T53" fmla="*/ 59345 h 102"/>
                <a:gd name="T54" fmla="*/ 42053 w 98"/>
                <a:gd name="T55" fmla="*/ 68916 h 102"/>
                <a:gd name="T56" fmla="*/ 28672 w 98"/>
                <a:gd name="T57" fmla="*/ 70831 h 102"/>
                <a:gd name="T58" fmla="*/ 21026 w 98"/>
                <a:gd name="T59" fmla="*/ 67002 h 102"/>
                <a:gd name="T60" fmla="*/ 7646 w 98"/>
                <a:gd name="T61" fmla="*/ 65088 h 102"/>
                <a:gd name="T62" fmla="*/ 0 w 98"/>
                <a:gd name="T63" fmla="*/ 67002 h 102"/>
                <a:gd name="T64" fmla="*/ 7646 w 98"/>
                <a:gd name="T65" fmla="*/ 82317 h 102"/>
                <a:gd name="T66" fmla="*/ 15292 w 98"/>
                <a:gd name="T67" fmla="*/ 93803 h 102"/>
                <a:gd name="T68" fmla="*/ 21026 w 98"/>
                <a:gd name="T69" fmla="*/ 112946 h 102"/>
                <a:gd name="T70" fmla="*/ 30584 w 98"/>
                <a:gd name="T71" fmla="*/ 116775 h 102"/>
                <a:gd name="T72" fmla="*/ 49698 w 98"/>
                <a:gd name="T73" fmla="*/ 128261 h 102"/>
                <a:gd name="T74" fmla="*/ 49698 w 98"/>
                <a:gd name="T75" fmla="*/ 139747 h 102"/>
                <a:gd name="T76" fmla="*/ 57344 w 98"/>
                <a:gd name="T77" fmla="*/ 139747 h 102"/>
                <a:gd name="T78" fmla="*/ 57344 w 98"/>
                <a:gd name="T79" fmla="*/ 156976 h 102"/>
                <a:gd name="T80" fmla="*/ 64990 w 98"/>
                <a:gd name="T81" fmla="*/ 168462 h 102"/>
                <a:gd name="T82" fmla="*/ 76459 w 98"/>
                <a:gd name="T83" fmla="*/ 170377 h 102"/>
                <a:gd name="T84" fmla="*/ 89840 w 98"/>
                <a:gd name="T85" fmla="*/ 176120 h 102"/>
                <a:gd name="T86" fmla="*/ 89840 w 98"/>
                <a:gd name="T87" fmla="*/ 181863 h 102"/>
                <a:gd name="T88" fmla="*/ 93663 w 98"/>
                <a:gd name="T89" fmla="*/ 185691 h 102"/>
                <a:gd name="T90" fmla="*/ 107043 w 98"/>
                <a:gd name="T91" fmla="*/ 187606 h 102"/>
                <a:gd name="T92" fmla="*/ 124246 w 98"/>
                <a:gd name="T93" fmla="*/ 189520 h 102"/>
                <a:gd name="T94" fmla="*/ 133804 w 98"/>
                <a:gd name="T95" fmla="*/ 189520 h 102"/>
                <a:gd name="T96" fmla="*/ 141450 w 98"/>
                <a:gd name="T97" fmla="*/ 193349 h 102"/>
                <a:gd name="T98" fmla="*/ 145272 w 98"/>
                <a:gd name="T99" fmla="*/ 193349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 name="Freeform 36"/>
            <p:cNvSpPr>
              <a:spLocks noChangeAspect="1"/>
            </p:cNvSpPr>
            <p:nvPr/>
          </p:nvSpPr>
          <p:spPr bwMode="auto">
            <a:xfrm>
              <a:off x="5058920" y="3101503"/>
              <a:ext cx="257876" cy="381745"/>
            </a:xfrm>
            <a:custGeom>
              <a:avLst/>
              <a:gdLst>
                <a:gd name="T0" fmla="*/ 59129 w 134"/>
                <a:gd name="T1" fmla="*/ 460388 h 247"/>
                <a:gd name="T2" fmla="*/ 55314 w 134"/>
                <a:gd name="T3" fmla="*/ 437559 h 247"/>
                <a:gd name="T4" fmla="*/ 62943 w 134"/>
                <a:gd name="T5" fmla="*/ 428047 h 247"/>
                <a:gd name="T6" fmla="*/ 91554 w 134"/>
                <a:gd name="T7" fmla="*/ 412827 h 247"/>
                <a:gd name="T8" fmla="*/ 120164 w 134"/>
                <a:gd name="T9" fmla="*/ 393803 h 247"/>
                <a:gd name="T10" fmla="*/ 122072 w 134"/>
                <a:gd name="T11" fmla="*/ 367169 h 247"/>
                <a:gd name="T12" fmla="*/ 118257 w 134"/>
                <a:gd name="T13" fmla="*/ 329120 h 247"/>
                <a:gd name="T14" fmla="*/ 106813 w 134"/>
                <a:gd name="T15" fmla="*/ 302486 h 247"/>
                <a:gd name="T16" fmla="*/ 104906 w 134"/>
                <a:gd name="T17" fmla="*/ 273950 h 247"/>
                <a:gd name="T18" fmla="*/ 135423 w 134"/>
                <a:gd name="T19" fmla="*/ 243511 h 247"/>
                <a:gd name="T20" fmla="*/ 162127 w 134"/>
                <a:gd name="T21" fmla="*/ 213072 h 247"/>
                <a:gd name="T22" fmla="*/ 217440 w 134"/>
                <a:gd name="T23" fmla="*/ 180731 h 247"/>
                <a:gd name="T24" fmla="*/ 255588 w 134"/>
                <a:gd name="T25" fmla="*/ 127463 h 247"/>
                <a:gd name="T26" fmla="*/ 253681 w 134"/>
                <a:gd name="T27" fmla="*/ 116048 h 247"/>
                <a:gd name="T28" fmla="*/ 249866 w 134"/>
                <a:gd name="T29" fmla="*/ 83707 h 247"/>
                <a:gd name="T30" fmla="*/ 244144 w 134"/>
                <a:gd name="T31" fmla="*/ 34244 h 247"/>
                <a:gd name="T32" fmla="*/ 251773 w 134"/>
                <a:gd name="T33" fmla="*/ 9512 h 247"/>
                <a:gd name="T34" fmla="*/ 242236 w 134"/>
                <a:gd name="T35" fmla="*/ 3805 h 247"/>
                <a:gd name="T36" fmla="*/ 211718 w 134"/>
                <a:gd name="T37" fmla="*/ 24732 h 247"/>
                <a:gd name="T38" fmla="*/ 196459 w 134"/>
                <a:gd name="T39" fmla="*/ 26634 h 247"/>
                <a:gd name="T40" fmla="*/ 179293 w 134"/>
                <a:gd name="T41" fmla="*/ 36146 h 247"/>
                <a:gd name="T42" fmla="*/ 152590 w 134"/>
                <a:gd name="T43" fmla="*/ 38049 h 247"/>
                <a:gd name="T44" fmla="*/ 131609 w 134"/>
                <a:gd name="T45" fmla="*/ 34244 h 247"/>
                <a:gd name="T46" fmla="*/ 110628 w 134"/>
                <a:gd name="T47" fmla="*/ 30439 h 247"/>
                <a:gd name="T48" fmla="*/ 104906 w 134"/>
                <a:gd name="T49" fmla="*/ 55170 h 247"/>
                <a:gd name="T50" fmla="*/ 108720 w 134"/>
                <a:gd name="T51" fmla="*/ 83707 h 247"/>
                <a:gd name="T52" fmla="*/ 122072 w 134"/>
                <a:gd name="T53" fmla="*/ 104634 h 247"/>
                <a:gd name="T54" fmla="*/ 135423 w 134"/>
                <a:gd name="T55" fmla="*/ 129365 h 247"/>
                <a:gd name="T56" fmla="*/ 135423 w 134"/>
                <a:gd name="T57" fmla="*/ 161706 h 247"/>
                <a:gd name="T58" fmla="*/ 122072 w 134"/>
                <a:gd name="T59" fmla="*/ 173121 h 247"/>
                <a:gd name="T60" fmla="*/ 102998 w 134"/>
                <a:gd name="T61" fmla="*/ 169316 h 247"/>
                <a:gd name="T62" fmla="*/ 97276 w 134"/>
                <a:gd name="T63" fmla="*/ 154097 h 247"/>
                <a:gd name="T64" fmla="*/ 104906 w 134"/>
                <a:gd name="T65" fmla="*/ 125560 h 247"/>
                <a:gd name="T66" fmla="*/ 82017 w 134"/>
                <a:gd name="T67" fmla="*/ 119853 h 247"/>
                <a:gd name="T68" fmla="*/ 68665 w 134"/>
                <a:gd name="T69" fmla="*/ 106536 h 247"/>
                <a:gd name="T70" fmla="*/ 5722 w 134"/>
                <a:gd name="T71" fmla="*/ 144585 h 247"/>
                <a:gd name="T72" fmla="*/ 0 w 134"/>
                <a:gd name="T73" fmla="*/ 155999 h 247"/>
                <a:gd name="T74" fmla="*/ 17166 w 134"/>
                <a:gd name="T75" fmla="*/ 159804 h 247"/>
                <a:gd name="T76" fmla="*/ 34333 w 134"/>
                <a:gd name="T77" fmla="*/ 171219 h 247"/>
                <a:gd name="T78" fmla="*/ 55314 w 134"/>
                <a:gd name="T79" fmla="*/ 182633 h 247"/>
                <a:gd name="T80" fmla="*/ 62943 w 134"/>
                <a:gd name="T81" fmla="*/ 218779 h 247"/>
                <a:gd name="T82" fmla="*/ 57221 w 134"/>
                <a:gd name="T83" fmla="*/ 241609 h 247"/>
                <a:gd name="T84" fmla="*/ 59129 w 134"/>
                <a:gd name="T85" fmla="*/ 254926 h 247"/>
                <a:gd name="T86" fmla="*/ 64851 w 134"/>
                <a:gd name="T87" fmla="*/ 268243 h 247"/>
                <a:gd name="T88" fmla="*/ 55314 w 134"/>
                <a:gd name="T89" fmla="*/ 287267 h 247"/>
                <a:gd name="T90" fmla="*/ 51499 w 134"/>
                <a:gd name="T91" fmla="*/ 310096 h 247"/>
                <a:gd name="T92" fmla="*/ 26703 w 134"/>
                <a:gd name="T93" fmla="*/ 355754 h 247"/>
                <a:gd name="T94" fmla="*/ 30518 w 134"/>
                <a:gd name="T95" fmla="*/ 374779 h 247"/>
                <a:gd name="T96" fmla="*/ 38147 w 134"/>
                <a:gd name="T97" fmla="*/ 403315 h 247"/>
                <a:gd name="T98" fmla="*/ 36240 w 134"/>
                <a:gd name="T99" fmla="*/ 439461 h 247"/>
                <a:gd name="T100" fmla="*/ 40055 w 134"/>
                <a:gd name="T101" fmla="*/ 458485 h 247"/>
                <a:gd name="T102" fmla="*/ 59129 w 134"/>
                <a:gd name="T103" fmla="*/ 469900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 name="Freeform 37"/>
            <p:cNvSpPr>
              <a:spLocks noChangeAspect="1"/>
            </p:cNvSpPr>
            <p:nvPr/>
          </p:nvSpPr>
          <p:spPr bwMode="auto">
            <a:xfrm>
              <a:off x="5118184" y="3078289"/>
              <a:ext cx="78484" cy="174106"/>
            </a:xfrm>
            <a:custGeom>
              <a:avLst/>
              <a:gdLst>
                <a:gd name="T0" fmla="*/ 11383 w 41"/>
                <a:gd name="T1" fmla="*/ 0 h 113"/>
                <a:gd name="T2" fmla="*/ 28459 w 41"/>
                <a:gd name="T3" fmla="*/ 9483 h 113"/>
                <a:gd name="T4" fmla="*/ 47431 w 41"/>
                <a:gd name="T5" fmla="*/ 28448 h 113"/>
                <a:gd name="T6" fmla="*/ 45534 w 41"/>
                <a:gd name="T7" fmla="*/ 47414 h 113"/>
                <a:gd name="T8" fmla="*/ 51226 w 41"/>
                <a:gd name="T9" fmla="*/ 58794 h 113"/>
                <a:gd name="T10" fmla="*/ 47431 w 41"/>
                <a:gd name="T11" fmla="*/ 72070 h 113"/>
                <a:gd name="T12" fmla="*/ 45534 w 41"/>
                <a:gd name="T13" fmla="*/ 83449 h 113"/>
                <a:gd name="T14" fmla="*/ 45534 w 41"/>
                <a:gd name="T15" fmla="*/ 96725 h 113"/>
                <a:gd name="T16" fmla="*/ 49328 w 41"/>
                <a:gd name="T17" fmla="*/ 111897 h 113"/>
                <a:gd name="T18" fmla="*/ 51226 w 41"/>
                <a:gd name="T19" fmla="*/ 123277 h 113"/>
                <a:gd name="T20" fmla="*/ 62609 w 41"/>
                <a:gd name="T21" fmla="*/ 132760 h 113"/>
                <a:gd name="T22" fmla="*/ 68301 w 41"/>
                <a:gd name="T23" fmla="*/ 144139 h 113"/>
                <a:gd name="T24" fmla="*/ 75890 w 41"/>
                <a:gd name="T25" fmla="*/ 157415 h 113"/>
                <a:gd name="T26" fmla="*/ 75890 w 41"/>
                <a:gd name="T27" fmla="*/ 178277 h 113"/>
                <a:gd name="T28" fmla="*/ 75890 w 41"/>
                <a:gd name="T29" fmla="*/ 189657 h 113"/>
                <a:gd name="T30" fmla="*/ 64506 w 41"/>
                <a:gd name="T31" fmla="*/ 191553 h 113"/>
                <a:gd name="T32" fmla="*/ 62609 w 41"/>
                <a:gd name="T33" fmla="*/ 201036 h 113"/>
                <a:gd name="T34" fmla="*/ 58815 w 41"/>
                <a:gd name="T35" fmla="*/ 212415 h 113"/>
                <a:gd name="T36" fmla="*/ 43637 w 41"/>
                <a:gd name="T37" fmla="*/ 197243 h 113"/>
                <a:gd name="T38" fmla="*/ 39842 w 41"/>
                <a:gd name="T39" fmla="*/ 187760 h 113"/>
                <a:gd name="T40" fmla="*/ 37945 w 41"/>
                <a:gd name="T41" fmla="*/ 182070 h 113"/>
                <a:gd name="T42" fmla="*/ 45534 w 41"/>
                <a:gd name="T43" fmla="*/ 170691 h 113"/>
                <a:gd name="T44" fmla="*/ 45534 w 41"/>
                <a:gd name="T45" fmla="*/ 153622 h 113"/>
                <a:gd name="T46" fmla="*/ 39842 w 41"/>
                <a:gd name="T47" fmla="*/ 144139 h 113"/>
                <a:gd name="T48" fmla="*/ 22767 w 41"/>
                <a:gd name="T49" fmla="*/ 147932 h 113"/>
                <a:gd name="T50" fmla="*/ 15178 w 41"/>
                <a:gd name="T51" fmla="*/ 132760 h 113"/>
                <a:gd name="T52" fmla="*/ 9486 w 41"/>
                <a:gd name="T53" fmla="*/ 134656 h 113"/>
                <a:gd name="T54" fmla="*/ 0 w 41"/>
                <a:gd name="T55" fmla="*/ 125173 h 113"/>
                <a:gd name="T56" fmla="*/ 9486 w 41"/>
                <a:gd name="T57" fmla="*/ 110001 h 113"/>
                <a:gd name="T58" fmla="*/ 7589 w 41"/>
                <a:gd name="T59" fmla="*/ 92932 h 113"/>
                <a:gd name="T60" fmla="*/ 20870 w 41"/>
                <a:gd name="T61" fmla="*/ 87242 h 113"/>
                <a:gd name="T62" fmla="*/ 17075 w 41"/>
                <a:gd name="T63" fmla="*/ 83449 h 113"/>
                <a:gd name="T64" fmla="*/ 17075 w 41"/>
                <a:gd name="T65" fmla="*/ 64483 h 113"/>
                <a:gd name="T66" fmla="*/ 20870 w 41"/>
                <a:gd name="T67" fmla="*/ 53104 h 113"/>
                <a:gd name="T68" fmla="*/ 15178 w 41"/>
                <a:gd name="T69" fmla="*/ 43621 h 113"/>
                <a:gd name="T70" fmla="*/ 26561 w 41"/>
                <a:gd name="T71" fmla="*/ 37931 h 113"/>
                <a:gd name="T72" fmla="*/ 22767 w 41"/>
                <a:gd name="T73" fmla="*/ 24655 h 113"/>
                <a:gd name="T74" fmla="*/ 11383 w 41"/>
                <a:gd name="T75" fmla="*/ 11379 h 113"/>
                <a:gd name="T76" fmla="*/ 11383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 name="Freeform 38"/>
            <p:cNvSpPr>
              <a:spLocks noChangeAspect="1"/>
            </p:cNvSpPr>
            <p:nvPr/>
          </p:nvSpPr>
          <p:spPr bwMode="auto">
            <a:xfrm>
              <a:off x="4860307" y="3053785"/>
              <a:ext cx="286707" cy="226984"/>
            </a:xfrm>
            <a:custGeom>
              <a:avLst/>
              <a:gdLst>
                <a:gd name="T0" fmla="*/ 255556 w 149"/>
                <a:gd name="T1" fmla="*/ 30411 h 147"/>
                <a:gd name="T2" fmla="*/ 223135 w 149"/>
                <a:gd name="T3" fmla="*/ 15205 h 147"/>
                <a:gd name="T4" fmla="*/ 167828 w 149"/>
                <a:gd name="T5" fmla="*/ 5702 h 147"/>
                <a:gd name="T6" fmla="*/ 164014 w 149"/>
                <a:gd name="T7" fmla="*/ 45616 h 147"/>
                <a:gd name="T8" fmla="*/ 156385 w 149"/>
                <a:gd name="T9" fmla="*/ 83630 h 147"/>
                <a:gd name="T10" fmla="*/ 173549 w 149"/>
                <a:gd name="T11" fmla="*/ 115941 h 147"/>
                <a:gd name="T12" fmla="*/ 188806 w 149"/>
                <a:gd name="T13" fmla="*/ 114041 h 147"/>
                <a:gd name="T14" fmla="*/ 169735 w 149"/>
                <a:gd name="T15" fmla="*/ 148253 h 147"/>
                <a:gd name="T16" fmla="*/ 141128 w 149"/>
                <a:gd name="T17" fmla="*/ 114041 h 147"/>
                <a:gd name="T18" fmla="*/ 120149 w 149"/>
                <a:gd name="T19" fmla="*/ 93133 h 147"/>
                <a:gd name="T20" fmla="*/ 87728 w 149"/>
                <a:gd name="T21" fmla="*/ 98835 h 147"/>
                <a:gd name="T22" fmla="*/ 76285 w 149"/>
                <a:gd name="T23" fmla="*/ 85531 h 147"/>
                <a:gd name="T24" fmla="*/ 45771 w 149"/>
                <a:gd name="T25" fmla="*/ 81729 h 147"/>
                <a:gd name="T26" fmla="*/ 45771 w 149"/>
                <a:gd name="T27" fmla="*/ 106438 h 147"/>
                <a:gd name="T28" fmla="*/ 41957 w 149"/>
                <a:gd name="T29" fmla="*/ 125445 h 147"/>
                <a:gd name="T30" fmla="*/ 0 w 149"/>
                <a:gd name="T31" fmla="*/ 133048 h 147"/>
                <a:gd name="T32" fmla="*/ 17164 w 149"/>
                <a:gd name="T33" fmla="*/ 247088 h 147"/>
                <a:gd name="T34" fmla="*/ 36236 w 149"/>
                <a:gd name="T35" fmla="*/ 266095 h 147"/>
                <a:gd name="T36" fmla="*/ 66750 w 149"/>
                <a:gd name="T37" fmla="*/ 262294 h 147"/>
                <a:gd name="T38" fmla="*/ 83914 w 149"/>
                <a:gd name="T39" fmla="*/ 271797 h 147"/>
                <a:gd name="T40" fmla="*/ 104892 w 149"/>
                <a:gd name="T41" fmla="*/ 277499 h 147"/>
                <a:gd name="T42" fmla="*/ 127778 w 149"/>
                <a:gd name="T43" fmla="*/ 266095 h 147"/>
                <a:gd name="T44" fmla="*/ 144942 w 149"/>
                <a:gd name="T45" fmla="*/ 245188 h 147"/>
                <a:gd name="T46" fmla="*/ 165921 w 149"/>
                <a:gd name="T47" fmla="*/ 220479 h 147"/>
                <a:gd name="T48" fmla="*/ 200249 w 149"/>
                <a:gd name="T49" fmla="*/ 209075 h 147"/>
                <a:gd name="T50" fmla="*/ 198342 w 149"/>
                <a:gd name="T51" fmla="*/ 191969 h 147"/>
                <a:gd name="T52" fmla="*/ 255556 w 149"/>
                <a:gd name="T53" fmla="*/ 155856 h 147"/>
                <a:gd name="T54" fmla="*/ 263185 w 149"/>
                <a:gd name="T55" fmla="*/ 123544 h 147"/>
                <a:gd name="T56" fmla="*/ 272720 w 149"/>
                <a:gd name="T57" fmla="*/ 114041 h 147"/>
                <a:gd name="T58" fmla="*/ 276534 w 149"/>
                <a:gd name="T59" fmla="*/ 83630 h 147"/>
                <a:gd name="T60" fmla="*/ 282256 w 149"/>
                <a:gd name="T61" fmla="*/ 68424 h 147"/>
                <a:gd name="T62" fmla="*/ 266999 w 149"/>
                <a:gd name="T63" fmla="*/ 41815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 name="Freeform 39"/>
            <p:cNvSpPr>
              <a:spLocks noChangeAspect="1"/>
            </p:cNvSpPr>
            <p:nvPr/>
          </p:nvSpPr>
          <p:spPr bwMode="auto">
            <a:xfrm>
              <a:off x="4612043" y="2999618"/>
              <a:ext cx="302723" cy="278571"/>
            </a:xfrm>
            <a:custGeom>
              <a:avLst/>
              <a:gdLst>
                <a:gd name="T0" fmla="*/ 17200 w 157"/>
                <a:gd name="T1" fmla="*/ 9525 h 180"/>
                <a:gd name="T2" fmla="*/ 19111 w 157"/>
                <a:gd name="T3" fmla="*/ 24765 h 180"/>
                <a:gd name="T4" fmla="*/ 40132 w 157"/>
                <a:gd name="T5" fmla="*/ 76200 h 180"/>
                <a:gd name="T6" fmla="*/ 34399 w 157"/>
                <a:gd name="T7" fmla="*/ 100965 h 180"/>
                <a:gd name="T8" fmla="*/ 51599 w 157"/>
                <a:gd name="T9" fmla="*/ 148590 h 180"/>
                <a:gd name="T10" fmla="*/ 36310 w 157"/>
                <a:gd name="T11" fmla="*/ 190500 h 180"/>
                <a:gd name="T12" fmla="*/ 15289 w 157"/>
                <a:gd name="T13" fmla="*/ 228600 h 180"/>
                <a:gd name="T14" fmla="*/ 1911 w 157"/>
                <a:gd name="T15" fmla="*/ 285750 h 180"/>
                <a:gd name="T16" fmla="*/ 13377 w 157"/>
                <a:gd name="T17" fmla="*/ 320040 h 180"/>
                <a:gd name="T18" fmla="*/ 42043 w 157"/>
                <a:gd name="T19" fmla="*/ 316230 h 180"/>
                <a:gd name="T20" fmla="*/ 158618 w 157"/>
                <a:gd name="T21" fmla="*/ 323850 h 180"/>
                <a:gd name="T22" fmla="*/ 185373 w 157"/>
                <a:gd name="T23" fmla="*/ 339090 h 180"/>
                <a:gd name="T24" fmla="*/ 221683 w 157"/>
                <a:gd name="T25" fmla="*/ 339090 h 180"/>
                <a:gd name="T26" fmla="*/ 282837 w 157"/>
                <a:gd name="T27" fmla="*/ 333375 h 180"/>
                <a:gd name="T28" fmla="*/ 263727 w 157"/>
                <a:gd name="T29" fmla="*/ 314325 h 180"/>
                <a:gd name="T30" fmla="*/ 246527 w 157"/>
                <a:gd name="T31" fmla="*/ 200025 h 180"/>
                <a:gd name="T32" fmla="*/ 288571 w 157"/>
                <a:gd name="T33" fmla="*/ 192405 h 180"/>
                <a:gd name="T34" fmla="*/ 292393 w 157"/>
                <a:gd name="T35" fmla="*/ 173355 h 180"/>
                <a:gd name="T36" fmla="*/ 292393 w 157"/>
                <a:gd name="T37" fmla="*/ 148590 h 180"/>
                <a:gd name="T38" fmla="*/ 271371 w 157"/>
                <a:gd name="T39" fmla="*/ 148590 h 180"/>
                <a:gd name="T40" fmla="*/ 252260 w 157"/>
                <a:gd name="T41" fmla="*/ 146685 h 180"/>
                <a:gd name="T42" fmla="*/ 254171 w 157"/>
                <a:gd name="T43" fmla="*/ 116205 h 180"/>
                <a:gd name="T44" fmla="*/ 244616 w 157"/>
                <a:gd name="T45" fmla="*/ 70485 h 180"/>
                <a:gd name="T46" fmla="*/ 242705 w 157"/>
                <a:gd name="T47" fmla="*/ 49530 h 180"/>
                <a:gd name="T48" fmla="*/ 215950 w 157"/>
                <a:gd name="T49" fmla="*/ 40005 h 180"/>
                <a:gd name="T50" fmla="*/ 206395 w 157"/>
                <a:gd name="T51" fmla="*/ 34290 h 180"/>
                <a:gd name="T52" fmla="*/ 189195 w 157"/>
                <a:gd name="T53" fmla="*/ 49530 h 180"/>
                <a:gd name="T54" fmla="*/ 185373 w 157"/>
                <a:gd name="T55" fmla="*/ 62865 h 180"/>
                <a:gd name="T56" fmla="*/ 162440 w 157"/>
                <a:gd name="T57" fmla="*/ 62865 h 180"/>
                <a:gd name="T58" fmla="*/ 126130 w 157"/>
                <a:gd name="T59" fmla="*/ 41910 h 180"/>
                <a:gd name="T60" fmla="*/ 120397 w 157"/>
                <a:gd name="T61" fmla="*/ 11430 h 180"/>
                <a:gd name="T62" fmla="*/ 38221 w 157"/>
                <a:gd name="T63" fmla="*/ 1905 h 180"/>
                <a:gd name="T64" fmla="*/ 19111 w 157"/>
                <a:gd name="T65" fmla="*/ 5715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 name="Freeform 40"/>
            <p:cNvSpPr>
              <a:spLocks noChangeAspect="1"/>
            </p:cNvSpPr>
            <p:nvPr/>
          </p:nvSpPr>
          <p:spPr bwMode="auto">
            <a:xfrm>
              <a:off x="5044505" y="2886126"/>
              <a:ext cx="257876" cy="246329"/>
            </a:xfrm>
            <a:custGeom>
              <a:avLst/>
              <a:gdLst>
                <a:gd name="T0" fmla="*/ 28610 w 134"/>
                <a:gd name="T1" fmla="*/ 209770 h 159"/>
                <a:gd name="T2" fmla="*/ 40055 w 134"/>
                <a:gd name="T3" fmla="*/ 221212 h 159"/>
                <a:gd name="T4" fmla="*/ 57221 w 134"/>
                <a:gd name="T5" fmla="*/ 230747 h 159"/>
                <a:gd name="T6" fmla="*/ 72480 w 134"/>
                <a:gd name="T7" fmla="*/ 236468 h 159"/>
                <a:gd name="T8" fmla="*/ 83924 w 134"/>
                <a:gd name="T9" fmla="*/ 236468 h 159"/>
                <a:gd name="T10" fmla="*/ 101090 w 134"/>
                <a:gd name="T11" fmla="*/ 246003 h 159"/>
                <a:gd name="T12" fmla="*/ 120164 w 134"/>
                <a:gd name="T13" fmla="*/ 265073 h 159"/>
                <a:gd name="T14" fmla="*/ 118257 w 134"/>
                <a:gd name="T15" fmla="*/ 284143 h 159"/>
                <a:gd name="T16" fmla="*/ 123979 w 134"/>
                <a:gd name="T17" fmla="*/ 295585 h 159"/>
                <a:gd name="T18" fmla="*/ 131608 w 134"/>
                <a:gd name="T19" fmla="*/ 299399 h 159"/>
                <a:gd name="T20" fmla="*/ 144960 w 134"/>
                <a:gd name="T21" fmla="*/ 299399 h 159"/>
                <a:gd name="T22" fmla="*/ 154497 w 134"/>
                <a:gd name="T23" fmla="*/ 289864 h 159"/>
                <a:gd name="T24" fmla="*/ 165941 w 134"/>
                <a:gd name="T25" fmla="*/ 303213 h 159"/>
                <a:gd name="T26" fmla="*/ 179292 w 134"/>
                <a:gd name="T27" fmla="*/ 297492 h 159"/>
                <a:gd name="T28" fmla="*/ 192644 w 134"/>
                <a:gd name="T29" fmla="*/ 301306 h 159"/>
                <a:gd name="T30" fmla="*/ 202181 w 134"/>
                <a:gd name="T31" fmla="*/ 291771 h 159"/>
                <a:gd name="T32" fmla="*/ 209810 w 134"/>
                <a:gd name="T33" fmla="*/ 291771 h 159"/>
                <a:gd name="T34" fmla="*/ 215532 w 134"/>
                <a:gd name="T35" fmla="*/ 295585 h 159"/>
                <a:gd name="T36" fmla="*/ 225069 w 134"/>
                <a:gd name="T37" fmla="*/ 289864 h 159"/>
                <a:gd name="T38" fmla="*/ 236513 w 134"/>
                <a:gd name="T39" fmla="*/ 286050 h 159"/>
                <a:gd name="T40" fmla="*/ 255587 w 134"/>
                <a:gd name="T41" fmla="*/ 268887 h 159"/>
                <a:gd name="T42" fmla="*/ 251772 w 134"/>
                <a:gd name="T43" fmla="*/ 259352 h 159"/>
                <a:gd name="T44" fmla="*/ 246050 w 134"/>
                <a:gd name="T45" fmla="*/ 246003 h 159"/>
                <a:gd name="T46" fmla="*/ 242235 w 134"/>
                <a:gd name="T47" fmla="*/ 232654 h 159"/>
                <a:gd name="T48" fmla="*/ 232699 w 134"/>
                <a:gd name="T49" fmla="*/ 209770 h 159"/>
                <a:gd name="T50" fmla="*/ 234606 w 134"/>
                <a:gd name="T51" fmla="*/ 196421 h 159"/>
                <a:gd name="T52" fmla="*/ 234606 w 134"/>
                <a:gd name="T53" fmla="*/ 181165 h 159"/>
                <a:gd name="T54" fmla="*/ 238421 w 134"/>
                <a:gd name="T55" fmla="*/ 171630 h 159"/>
                <a:gd name="T56" fmla="*/ 230791 w 134"/>
                <a:gd name="T57" fmla="*/ 152560 h 159"/>
                <a:gd name="T58" fmla="*/ 221254 w 134"/>
                <a:gd name="T59" fmla="*/ 144932 h 159"/>
                <a:gd name="T60" fmla="*/ 221254 w 134"/>
                <a:gd name="T61" fmla="*/ 133490 h 159"/>
                <a:gd name="T62" fmla="*/ 226976 w 134"/>
                <a:gd name="T63" fmla="*/ 120141 h 159"/>
                <a:gd name="T64" fmla="*/ 234606 w 134"/>
                <a:gd name="T65" fmla="*/ 110606 h 159"/>
                <a:gd name="T66" fmla="*/ 194551 w 134"/>
                <a:gd name="T67" fmla="*/ 74373 h 159"/>
                <a:gd name="T68" fmla="*/ 192644 w 134"/>
                <a:gd name="T69" fmla="*/ 62931 h 159"/>
                <a:gd name="T70" fmla="*/ 97276 w 134"/>
                <a:gd name="T71" fmla="*/ 0 h 159"/>
                <a:gd name="T72" fmla="*/ 87739 w 134"/>
                <a:gd name="T73" fmla="*/ 5721 h 159"/>
                <a:gd name="T74" fmla="*/ 64850 w 134"/>
                <a:gd name="T75" fmla="*/ 5721 h 159"/>
                <a:gd name="T76" fmla="*/ 36240 w 134"/>
                <a:gd name="T77" fmla="*/ 3814 h 159"/>
                <a:gd name="T78" fmla="*/ 20981 w 134"/>
                <a:gd name="T79" fmla="*/ 7628 h 159"/>
                <a:gd name="T80" fmla="*/ 30518 w 134"/>
                <a:gd name="T81" fmla="*/ 19070 h 159"/>
                <a:gd name="T82" fmla="*/ 30518 w 134"/>
                <a:gd name="T83" fmla="*/ 32419 h 159"/>
                <a:gd name="T84" fmla="*/ 34333 w 134"/>
                <a:gd name="T85" fmla="*/ 41954 h 159"/>
                <a:gd name="T86" fmla="*/ 24796 w 134"/>
                <a:gd name="T87" fmla="*/ 51489 h 159"/>
                <a:gd name="T88" fmla="*/ 24796 w 134"/>
                <a:gd name="T89" fmla="*/ 57210 h 159"/>
                <a:gd name="T90" fmla="*/ 32425 w 134"/>
                <a:gd name="T91" fmla="*/ 62931 h 159"/>
                <a:gd name="T92" fmla="*/ 32425 w 134"/>
                <a:gd name="T93" fmla="*/ 70559 h 159"/>
                <a:gd name="T94" fmla="*/ 22888 w 134"/>
                <a:gd name="T95" fmla="*/ 80094 h 159"/>
                <a:gd name="T96" fmla="*/ 17166 w 134"/>
                <a:gd name="T97" fmla="*/ 89629 h 159"/>
                <a:gd name="T98" fmla="*/ 0 w 134"/>
                <a:gd name="T99" fmla="*/ 108699 h 159"/>
                <a:gd name="T100" fmla="*/ 1907 w 134"/>
                <a:gd name="T101" fmla="*/ 123955 h 159"/>
                <a:gd name="T102" fmla="*/ 1907 w 134"/>
                <a:gd name="T103" fmla="*/ 137304 h 159"/>
                <a:gd name="T104" fmla="*/ 3815 w 134"/>
                <a:gd name="T105" fmla="*/ 154467 h 159"/>
                <a:gd name="T106" fmla="*/ 13352 w 134"/>
                <a:gd name="T107" fmla="*/ 167816 h 159"/>
                <a:gd name="T108" fmla="*/ 22888 w 134"/>
                <a:gd name="T109" fmla="*/ 186886 h 159"/>
                <a:gd name="T110" fmla="*/ 28610 w 134"/>
                <a:gd name="T111" fmla="*/ 209770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 name="Freeform 41"/>
            <p:cNvSpPr>
              <a:spLocks noChangeAspect="1"/>
            </p:cNvSpPr>
            <p:nvPr/>
          </p:nvSpPr>
          <p:spPr bwMode="auto">
            <a:xfrm>
              <a:off x="5031691" y="2920948"/>
              <a:ext cx="46449" cy="52877"/>
            </a:xfrm>
            <a:custGeom>
              <a:avLst/>
              <a:gdLst>
                <a:gd name="T0" fmla="*/ 13427 w 24"/>
                <a:gd name="T1" fmla="*/ 65087 h 34"/>
                <a:gd name="T2" fmla="*/ 9591 w 24"/>
                <a:gd name="T3" fmla="*/ 49772 h 34"/>
                <a:gd name="T4" fmla="*/ 5755 w 24"/>
                <a:gd name="T5" fmla="*/ 24886 h 34"/>
                <a:gd name="T6" fmla="*/ 7673 w 24"/>
                <a:gd name="T7" fmla="*/ 17229 h 34"/>
                <a:gd name="T8" fmla="*/ 0 w 24"/>
                <a:gd name="T9" fmla="*/ 9572 h 34"/>
                <a:gd name="T10" fmla="*/ 7673 w 24"/>
                <a:gd name="T11" fmla="*/ 7657 h 34"/>
                <a:gd name="T12" fmla="*/ 11509 w 24"/>
                <a:gd name="T13" fmla="*/ 11486 h 34"/>
                <a:gd name="T14" fmla="*/ 19182 w 24"/>
                <a:gd name="T15" fmla="*/ 11486 h 34"/>
                <a:gd name="T16" fmla="*/ 23019 w 24"/>
                <a:gd name="T17" fmla="*/ 1914 h 34"/>
                <a:gd name="T18" fmla="*/ 32610 w 24"/>
                <a:gd name="T19" fmla="*/ 3829 h 34"/>
                <a:gd name="T20" fmla="*/ 38364 w 24"/>
                <a:gd name="T21" fmla="*/ 7657 h 34"/>
                <a:gd name="T22" fmla="*/ 38364 w 24"/>
                <a:gd name="T23" fmla="*/ 13400 h 34"/>
                <a:gd name="T24" fmla="*/ 46037 w 24"/>
                <a:gd name="T25" fmla="*/ 19143 h 34"/>
                <a:gd name="T26" fmla="*/ 46037 w 24"/>
                <a:gd name="T27" fmla="*/ 26801 h 34"/>
                <a:gd name="T28" fmla="*/ 36446 w 24"/>
                <a:gd name="T29" fmla="*/ 36372 h 34"/>
                <a:gd name="T30" fmla="*/ 30691 w 24"/>
                <a:gd name="T31" fmla="*/ 45944 h 34"/>
                <a:gd name="T32" fmla="*/ 13427 w 24"/>
                <a:gd name="T33" fmla="*/ 65087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 name="Freeform 42"/>
            <p:cNvSpPr>
              <a:spLocks noChangeAspect="1"/>
            </p:cNvSpPr>
            <p:nvPr/>
          </p:nvSpPr>
          <p:spPr bwMode="auto">
            <a:xfrm>
              <a:off x="5030089" y="2892576"/>
              <a:ext cx="49654" cy="38690"/>
            </a:xfrm>
            <a:custGeom>
              <a:avLst/>
              <a:gdLst>
                <a:gd name="T0" fmla="*/ 1893 w 26"/>
                <a:gd name="T1" fmla="*/ 45720 h 25"/>
                <a:gd name="T2" fmla="*/ 0 w 26"/>
                <a:gd name="T3" fmla="*/ 38100 h 25"/>
                <a:gd name="T4" fmla="*/ 7571 w 26"/>
                <a:gd name="T5" fmla="*/ 15240 h 25"/>
                <a:gd name="T6" fmla="*/ 15142 w 26"/>
                <a:gd name="T7" fmla="*/ 5715 h 25"/>
                <a:gd name="T8" fmla="*/ 26499 w 26"/>
                <a:gd name="T9" fmla="*/ 7620 h 25"/>
                <a:gd name="T10" fmla="*/ 35963 w 26"/>
                <a:gd name="T11" fmla="*/ 0 h 25"/>
                <a:gd name="T12" fmla="*/ 45427 w 26"/>
                <a:gd name="T13" fmla="*/ 11430 h 25"/>
                <a:gd name="T14" fmla="*/ 45427 w 26"/>
                <a:gd name="T15" fmla="*/ 24765 h 25"/>
                <a:gd name="T16" fmla="*/ 49213 w 26"/>
                <a:gd name="T17" fmla="*/ 34290 h 25"/>
                <a:gd name="T18" fmla="*/ 39749 w 26"/>
                <a:gd name="T19" fmla="*/ 43815 h 25"/>
                <a:gd name="T20" fmla="*/ 34071 w 26"/>
                <a:gd name="T21" fmla="*/ 40005 h 25"/>
                <a:gd name="T22" fmla="*/ 24607 w 26"/>
                <a:gd name="T23" fmla="*/ 38100 h 25"/>
                <a:gd name="T24" fmla="*/ 20821 w 26"/>
                <a:gd name="T25" fmla="*/ 47625 h 25"/>
                <a:gd name="T26" fmla="*/ 13250 w 26"/>
                <a:gd name="T27" fmla="*/ 47625 h 25"/>
                <a:gd name="T28" fmla="*/ 9464 w 26"/>
                <a:gd name="T29" fmla="*/ 43815 h 25"/>
                <a:gd name="T30" fmla="*/ 1893 w 26"/>
                <a:gd name="T31" fmla="*/ 4572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 name="Freeform 43"/>
            <p:cNvSpPr>
              <a:spLocks noChangeAspect="1"/>
            </p:cNvSpPr>
            <p:nvPr/>
          </p:nvSpPr>
          <p:spPr bwMode="auto">
            <a:xfrm>
              <a:off x="4618450" y="2967376"/>
              <a:ext cx="27229" cy="33532"/>
            </a:xfrm>
            <a:custGeom>
              <a:avLst/>
              <a:gdLst>
                <a:gd name="T0" fmla="*/ 5783 w 14"/>
                <a:gd name="T1" fmla="*/ 39310 h 21"/>
                <a:gd name="T2" fmla="*/ 5783 w 14"/>
                <a:gd name="T3" fmla="*/ 27517 h 21"/>
                <a:gd name="T4" fmla="*/ 0 w 14"/>
                <a:gd name="T5" fmla="*/ 15724 h 21"/>
                <a:gd name="T6" fmla="*/ 19276 w 14"/>
                <a:gd name="T7" fmla="*/ 1965 h 21"/>
                <a:gd name="T8" fmla="*/ 26987 w 14"/>
                <a:gd name="T9" fmla="*/ 7862 h 21"/>
                <a:gd name="T10" fmla="*/ 11566 w 14"/>
                <a:gd name="T11" fmla="*/ 17689 h 21"/>
                <a:gd name="T12" fmla="*/ 13494 w 14"/>
                <a:gd name="T13" fmla="*/ 37344 h 21"/>
                <a:gd name="T14" fmla="*/ 5783 w 14"/>
                <a:gd name="T15" fmla="*/ 39310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 name="Freeform 44"/>
            <p:cNvSpPr>
              <a:spLocks noChangeAspect="1"/>
            </p:cNvSpPr>
            <p:nvPr/>
          </p:nvSpPr>
          <p:spPr bwMode="auto">
            <a:xfrm>
              <a:off x="4624857" y="2750710"/>
              <a:ext cx="462894" cy="426884"/>
            </a:xfrm>
            <a:custGeom>
              <a:avLst/>
              <a:gdLst>
                <a:gd name="T0" fmla="*/ 34266 w 241"/>
                <a:gd name="T1" fmla="*/ 271329 h 275"/>
                <a:gd name="T2" fmla="*/ 62821 w 241"/>
                <a:gd name="T3" fmla="*/ 277062 h 275"/>
                <a:gd name="T4" fmla="*/ 97088 w 241"/>
                <a:gd name="T5" fmla="*/ 231203 h 275"/>
                <a:gd name="T6" fmla="*/ 112317 w 241"/>
                <a:gd name="T7" fmla="*/ 181523 h 275"/>
                <a:gd name="T8" fmla="*/ 137065 w 241"/>
                <a:gd name="T9" fmla="*/ 162416 h 275"/>
                <a:gd name="T10" fmla="*/ 138969 w 241"/>
                <a:gd name="T11" fmla="*/ 103182 h 275"/>
                <a:gd name="T12" fmla="*/ 154198 w 241"/>
                <a:gd name="T13" fmla="*/ 45858 h 275"/>
                <a:gd name="T14" fmla="*/ 169428 w 241"/>
                <a:gd name="T15" fmla="*/ 5732 h 275"/>
                <a:gd name="T16" fmla="*/ 217020 w 241"/>
                <a:gd name="T17" fmla="*/ 24840 h 275"/>
                <a:gd name="T18" fmla="*/ 256997 w 241"/>
                <a:gd name="T19" fmla="*/ 11465 h 275"/>
                <a:gd name="T20" fmla="*/ 295071 w 241"/>
                <a:gd name="T21" fmla="*/ 3822 h 275"/>
                <a:gd name="T22" fmla="*/ 317915 w 241"/>
                <a:gd name="T23" fmla="*/ 0 h 275"/>
                <a:gd name="T24" fmla="*/ 342663 w 241"/>
                <a:gd name="T25" fmla="*/ 11465 h 275"/>
                <a:gd name="T26" fmla="*/ 375025 w 241"/>
                <a:gd name="T27" fmla="*/ 17197 h 275"/>
                <a:gd name="T28" fmla="*/ 407388 w 241"/>
                <a:gd name="T29" fmla="*/ 19108 h 275"/>
                <a:gd name="T30" fmla="*/ 437847 w 241"/>
                <a:gd name="T31" fmla="*/ 43948 h 275"/>
                <a:gd name="T32" fmla="*/ 443558 w 241"/>
                <a:gd name="T33" fmla="*/ 63055 h 275"/>
                <a:gd name="T34" fmla="*/ 458787 w 241"/>
                <a:gd name="T35" fmla="*/ 85985 h 275"/>
                <a:gd name="T36" fmla="*/ 437847 w 241"/>
                <a:gd name="T37" fmla="*/ 110825 h 275"/>
                <a:gd name="T38" fmla="*/ 420713 w 241"/>
                <a:gd name="T39" fmla="*/ 147129 h 275"/>
                <a:gd name="T40" fmla="*/ 409291 w 241"/>
                <a:gd name="T41" fmla="*/ 189166 h 275"/>
                <a:gd name="T42" fmla="*/ 411195 w 241"/>
                <a:gd name="T43" fmla="*/ 227382 h 275"/>
                <a:gd name="T44" fmla="*/ 416906 w 241"/>
                <a:gd name="T45" fmla="*/ 275151 h 275"/>
                <a:gd name="T46" fmla="*/ 420713 w 241"/>
                <a:gd name="T47" fmla="*/ 321009 h 275"/>
                <a:gd name="T48" fmla="*/ 445461 w 241"/>
                <a:gd name="T49" fmla="*/ 376422 h 275"/>
                <a:gd name="T50" fmla="*/ 397869 w 241"/>
                <a:gd name="T51" fmla="*/ 418459 h 275"/>
                <a:gd name="T52" fmla="*/ 392158 w 241"/>
                <a:gd name="T53" fmla="*/ 475782 h 275"/>
                <a:gd name="T54" fmla="*/ 422617 w 241"/>
                <a:gd name="T55" fmla="*/ 487246 h 275"/>
                <a:gd name="T56" fmla="*/ 388351 w 241"/>
                <a:gd name="T57" fmla="*/ 500622 h 275"/>
                <a:gd name="T58" fmla="*/ 354085 w 241"/>
                <a:gd name="T59" fmla="*/ 466228 h 275"/>
                <a:gd name="T60" fmla="*/ 312204 w 241"/>
                <a:gd name="T61" fmla="*/ 464317 h 275"/>
                <a:gd name="T62" fmla="*/ 279841 w 241"/>
                <a:gd name="T63" fmla="*/ 454763 h 275"/>
                <a:gd name="T64" fmla="*/ 239864 w 241"/>
                <a:gd name="T65" fmla="*/ 460496 h 275"/>
                <a:gd name="T66" fmla="*/ 241767 w 241"/>
                <a:gd name="T67" fmla="*/ 422280 h 275"/>
                <a:gd name="T68" fmla="*/ 228442 w 241"/>
                <a:gd name="T69" fmla="*/ 363046 h 275"/>
                <a:gd name="T70" fmla="*/ 203694 w 241"/>
                <a:gd name="T71" fmla="*/ 345849 h 275"/>
                <a:gd name="T72" fmla="*/ 178946 w 241"/>
                <a:gd name="T73" fmla="*/ 343939 h 275"/>
                <a:gd name="T74" fmla="*/ 173235 w 241"/>
                <a:gd name="T75" fmla="*/ 368779 h 275"/>
                <a:gd name="T76" fmla="*/ 125643 w 241"/>
                <a:gd name="T77" fmla="*/ 368779 h 275"/>
                <a:gd name="T78" fmla="*/ 108510 w 241"/>
                <a:gd name="T79" fmla="*/ 317188 h 275"/>
                <a:gd name="T80" fmla="*/ 15229 w 241"/>
                <a:gd name="T81" fmla="*/ 307634 h 275"/>
                <a:gd name="T82" fmla="*/ 7615 w 241"/>
                <a:gd name="T83" fmla="*/ 303813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 name="Freeform 45"/>
            <p:cNvSpPr>
              <a:spLocks noChangeAspect="1"/>
            </p:cNvSpPr>
            <p:nvPr/>
          </p:nvSpPr>
          <p:spPr bwMode="auto">
            <a:xfrm>
              <a:off x="4597627" y="2786822"/>
              <a:ext cx="184198" cy="193452"/>
            </a:xfrm>
            <a:custGeom>
              <a:avLst/>
              <a:gdLst>
                <a:gd name="T0" fmla="*/ 20919 w 96"/>
                <a:gd name="T1" fmla="*/ 238125 h 125"/>
                <a:gd name="T2" fmla="*/ 9508 w 96"/>
                <a:gd name="T3" fmla="*/ 222885 h 125"/>
                <a:gd name="T4" fmla="*/ 0 w 96"/>
                <a:gd name="T5" fmla="*/ 209550 h 125"/>
                <a:gd name="T6" fmla="*/ 3803 w 96"/>
                <a:gd name="T7" fmla="*/ 200025 h 125"/>
                <a:gd name="T8" fmla="*/ 15214 w 96"/>
                <a:gd name="T9" fmla="*/ 201930 h 125"/>
                <a:gd name="T10" fmla="*/ 17115 w 96"/>
                <a:gd name="T11" fmla="*/ 188595 h 125"/>
                <a:gd name="T12" fmla="*/ 7607 w 96"/>
                <a:gd name="T13" fmla="*/ 179070 h 125"/>
                <a:gd name="T14" fmla="*/ 9508 w 96"/>
                <a:gd name="T15" fmla="*/ 165735 h 125"/>
                <a:gd name="T16" fmla="*/ 26624 w 96"/>
                <a:gd name="T17" fmla="*/ 167640 h 125"/>
                <a:gd name="T18" fmla="*/ 30427 w 96"/>
                <a:gd name="T19" fmla="*/ 154305 h 125"/>
                <a:gd name="T20" fmla="*/ 41837 w 96"/>
                <a:gd name="T21" fmla="*/ 163830 h 125"/>
                <a:gd name="T22" fmla="*/ 57051 w 96"/>
                <a:gd name="T23" fmla="*/ 161925 h 125"/>
                <a:gd name="T24" fmla="*/ 60854 w 96"/>
                <a:gd name="T25" fmla="*/ 167640 h 125"/>
                <a:gd name="T26" fmla="*/ 68461 w 96"/>
                <a:gd name="T27" fmla="*/ 167640 h 125"/>
                <a:gd name="T28" fmla="*/ 70363 w 96"/>
                <a:gd name="T29" fmla="*/ 150495 h 125"/>
                <a:gd name="T30" fmla="*/ 70363 w 96"/>
                <a:gd name="T31" fmla="*/ 131445 h 125"/>
                <a:gd name="T32" fmla="*/ 74166 w 96"/>
                <a:gd name="T33" fmla="*/ 118110 h 125"/>
                <a:gd name="T34" fmla="*/ 62756 w 96"/>
                <a:gd name="T35" fmla="*/ 114300 h 125"/>
                <a:gd name="T36" fmla="*/ 66559 w 96"/>
                <a:gd name="T37" fmla="*/ 93345 h 125"/>
                <a:gd name="T38" fmla="*/ 79871 w 96"/>
                <a:gd name="T39" fmla="*/ 85725 h 125"/>
                <a:gd name="T40" fmla="*/ 79871 w 96"/>
                <a:gd name="T41" fmla="*/ 66675 h 125"/>
                <a:gd name="T42" fmla="*/ 53248 w 96"/>
                <a:gd name="T43" fmla="*/ 64770 h 125"/>
                <a:gd name="T44" fmla="*/ 49444 w 96"/>
                <a:gd name="T45" fmla="*/ 55245 h 125"/>
                <a:gd name="T46" fmla="*/ 55149 w 96"/>
                <a:gd name="T47" fmla="*/ 41910 h 125"/>
                <a:gd name="T48" fmla="*/ 81773 w 96"/>
                <a:gd name="T49" fmla="*/ 41910 h 125"/>
                <a:gd name="T50" fmla="*/ 119807 w 96"/>
                <a:gd name="T51" fmla="*/ 55245 h 125"/>
                <a:gd name="T52" fmla="*/ 119807 w 96"/>
                <a:gd name="T53" fmla="*/ 45720 h 125"/>
                <a:gd name="T54" fmla="*/ 121709 w 96"/>
                <a:gd name="T55" fmla="*/ 34290 h 125"/>
                <a:gd name="T56" fmla="*/ 127414 w 96"/>
                <a:gd name="T57" fmla="*/ 28575 h 125"/>
                <a:gd name="T58" fmla="*/ 129315 w 96"/>
                <a:gd name="T59" fmla="*/ 13335 h 125"/>
                <a:gd name="T60" fmla="*/ 131217 w 96"/>
                <a:gd name="T61" fmla="*/ 3810 h 125"/>
                <a:gd name="T62" fmla="*/ 148332 w 96"/>
                <a:gd name="T63" fmla="*/ 3810 h 125"/>
                <a:gd name="T64" fmla="*/ 155939 w 96"/>
                <a:gd name="T65" fmla="*/ 0 h 125"/>
                <a:gd name="T66" fmla="*/ 167349 w 96"/>
                <a:gd name="T67" fmla="*/ 3810 h 125"/>
                <a:gd name="T68" fmla="*/ 180661 w 96"/>
                <a:gd name="T69" fmla="*/ 1905 h 125"/>
                <a:gd name="T70" fmla="*/ 180661 w 96"/>
                <a:gd name="T71" fmla="*/ 13335 h 125"/>
                <a:gd name="T72" fmla="*/ 173055 w 96"/>
                <a:gd name="T73" fmla="*/ 34290 h 125"/>
                <a:gd name="T74" fmla="*/ 165448 w 96"/>
                <a:gd name="T75" fmla="*/ 59055 h 125"/>
                <a:gd name="T76" fmla="*/ 163546 w 96"/>
                <a:gd name="T77" fmla="*/ 76200 h 125"/>
                <a:gd name="T78" fmla="*/ 163546 w 96"/>
                <a:gd name="T79" fmla="*/ 99060 h 125"/>
                <a:gd name="T80" fmla="*/ 163546 w 96"/>
                <a:gd name="T81" fmla="*/ 118110 h 125"/>
                <a:gd name="T82" fmla="*/ 152136 w 96"/>
                <a:gd name="T83" fmla="*/ 123825 h 125"/>
                <a:gd name="T84" fmla="*/ 152136 w 96"/>
                <a:gd name="T85" fmla="*/ 133350 h 125"/>
                <a:gd name="T86" fmla="*/ 138824 w 96"/>
                <a:gd name="T87" fmla="*/ 137160 h 125"/>
                <a:gd name="T88" fmla="*/ 135021 w 96"/>
                <a:gd name="T89" fmla="*/ 148590 h 125"/>
                <a:gd name="T90" fmla="*/ 121709 w 96"/>
                <a:gd name="T91" fmla="*/ 165735 h 125"/>
                <a:gd name="T92" fmla="*/ 123610 w 96"/>
                <a:gd name="T93" fmla="*/ 186690 h 125"/>
                <a:gd name="T94" fmla="*/ 116004 w 96"/>
                <a:gd name="T95" fmla="*/ 211455 h 125"/>
                <a:gd name="T96" fmla="*/ 98888 w 96"/>
                <a:gd name="T97" fmla="*/ 219075 h 125"/>
                <a:gd name="T98" fmla="*/ 89380 w 96"/>
                <a:gd name="T99" fmla="*/ 232410 h 125"/>
                <a:gd name="T100" fmla="*/ 77970 w 96"/>
                <a:gd name="T101" fmla="*/ 230505 h 125"/>
                <a:gd name="T102" fmla="*/ 77970 w 96"/>
                <a:gd name="T103" fmla="*/ 219075 h 125"/>
                <a:gd name="T104" fmla="*/ 60854 w 96"/>
                <a:gd name="T105" fmla="*/ 226695 h 125"/>
                <a:gd name="T106" fmla="*/ 57051 w 96"/>
                <a:gd name="T107" fmla="*/ 236220 h 125"/>
                <a:gd name="T108" fmla="*/ 47542 w 96"/>
                <a:gd name="T109" fmla="*/ 230505 h 125"/>
                <a:gd name="T110" fmla="*/ 39936 w 96"/>
                <a:gd name="T111" fmla="*/ 224790 h 125"/>
                <a:gd name="T112" fmla="*/ 20919 w 96"/>
                <a:gd name="T113" fmla="*/ 238125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 name="Freeform 46"/>
            <p:cNvSpPr>
              <a:spLocks noChangeAspect="1"/>
            </p:cNvSpPr>
            <p:nvPr/>
          </p:nvSpPr>
          <p:spPr bwMode="auto">
            <a:xfrm>
              <a:off x="3915298" y="2239997"/>
              <a:ext cx="198612" cy="154761"/>
            </a:xfrm>
            <a:custGeom>
              <a:avLst/>
              <a:gdLst>
                <a:gd name="T0" fmla="*/ 1893 w 104"/>
                <a:gd name="T1" fmla="*/ 190500 h 100"/>
                <a:gd name="T2" fmla="*/ 1893 w 104"/>
                <a:gd name="T3" fmla="*/ 163830 h 100"/>
                <a:gd name="T4" fmla="*/ 7571 w 104"/>
                <a:gd name="T5" fmla="*/ 150495 h 100"/>
                <a:gd name="T6" fmla="*/ 17035 w 104"/>
                <a:gd name="T7" fmla="*/ 131445 h 100"/>
                <a:gd name="T8" fmla="*/ 28392 w 104"/>
                <a:gd name="T9" fmla="*/ 112395 h 100"/>
                <a:gd name="T10" fmla="*/ 37856 w 104"/>
                <a:gd name="T11" fmla="*/ 95250 h 100"/>
                <a:gd name="T12" fmla="*/ 51105 w 104"/>
                <a:gd name="T13" fmla="*/ 81915 h 100"/>
                <a:gd name="T14" fmla="*/ 56784 w 104"/>
                <a:gd name="T15" fmla="*/ 43815 h 100"/>
                <a:gd name="T16" fmla="*/ 79497 w 104"/>
                <a:gd name="T17" fmla="*/ 30480 h 100"/>
                <a:gd name="T18" fmla="*/ 85175 w 104"/>
                <a:gd name="T19" fmla="*/ 5715 h 100"/>
                <a:gd name="T20" fmla="*/ 90854 w 104"/>
                <a:gd name="T21" fmla="*/ 0 h 100"/>
                <a:gd name="T22" fmla="*/ 196850 w 104"/>
                <a:gd name="T23" fmla="*/ 0 h 100"/>
                <a:gd name="T24" fmla="*/ 196850 w 104"/>
                <a:gd name="T25" fmla="*/ 9525 h 100"/>
                <a:gd name="T26" fmla="*/ 196850 w 104"/>
                <a:gd name="T27" fmla="*/ 49530 h 100"/>
                <a:gd name="T28" fmla="*/ 119246 w 104"/>
                <a:gd name="T29" fmla="*/ 49530 h 100"/>
                <a:gd name="T30" fmla="*/ 119246 w 104"/>
                <a:gd name="T31" fmla="*/ 120015 h 100"/>
                <a:gd name="T32" fmla="*/ 111675 w 104"/>
                <a:gd name="T33" fmla="*/ 123825 h 100"/>
                <a:gd name="T34" fmla="*/ 102211 w 104"/>
                <a:gd name="T35" fmla="*/ 125730 h 100"/>
                <a:gd name="T36" fmla="*/ 88961 w 104"/>
                <a:gd name="T37" fmla="*/ 140970 h 100"/>
                <a:gd name="T38" fmla="*/ 92747 w 104"/>
                <a:gd name="T39" fmla="*/ 175260 h 100"/>
                <a:gd name="T40" fmla="*/ 88961 w 104"/>
                <a:gd name="T41" fmla="*/ 180975 h 100"/>
                <a:gd name="T42" fmla="*/ 9464 w 104"/>
                <a:gd name="T43" fmla="*/ 179070 h 100"/>
                <a:gd name="T44" fmla="*/ 1893 w 104"/>
                <a:gd name="T45" fmla="*/ 19050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 name="Freeform 47"/>
            <p:cNvSpPr>
              <a:spLocks noChangeAspect="1"/>
            </p:cNvSpPr>
            <p:nvPr/>
          </p:nvSpPr>
          <p:spPr bwMode="auto">
            <a:xfrm>
              <a:off x="4006596" y="2038808"/>
              <a:ext cx="288308" cy="201189"/>
            </a:xfrm>
            <a:custGeom>
              <a:avLst/>
              <a:gdLst>
                <a:gd name="T0" fmla="*/ 262890 w 150"/>
                <a:gd name="T1" fmla="*/ 26670 h 130"/>
                <a:gd name="T2" fmla="*/ 249555 w 150"/>
                <a:gd name="T3" fmla="*/ 24765 h 130"/>
                <a:gd name="T4" fmla="*/ 240030 w 150"/>
                <a:gd name="T5" fmla="*/ 19050 h 130"/>
                <a:gd name="T6" fmla="*/ 224790 w 150"/>
                <a:gd name="T7" fmla="*/ 20955 h 130"/>
                <a:gd name="T8" fmla="*/ 203835 w 150"/>
                <a:gd name="T9" fmla="*/ 22860 h 130"/>
                <a:gd name="T10" fmla="*/ 192405 w 150"/>
                <a:gd name="T11" fmla="*/ 9525 h 130"/>
                <a:gd name="T12" fmla="*/ 194310 w 150"/>
                <a:gd name="T13" fmla="*/ 1905 h 130"/>
                <a:gd name="T14" fmla="*/ 177165 w 150"/>
                <a:gd name="T15" fmla="*/ 5715 h 130"/>
                <a:gd name="T16" fmla="*/ 167640 w 150"/>
                <a:gd name="T17" fmla="*/ 22860 h 130"/>
                <a:gd name="T18" fmla="*/ 156210 w 150"/>
                <a:gd name="T19" fmla="*/ 49530 h 130"/>
                <a:gd name="T20" fmla="*/ 144780 w 150"/>
                <a:gd name="T21" fmla="*/ 66675 h 130"/>
                <a:gd name="T22" fmla="*/ 123825 w 150"/>
                <a:gd name="T23" fmla="*/ 76200 h 130"/>
                <a:gd name="T24" fmla="*/ 110490 w 150"/>
                <a:gd name="T25" fmla="*/ 85725 h 130"/>
                <a:gd name="T26" fmla="*/ 93345 w 150"/>
                <a:gd name="T27" fmla="*/ 102870 h 130"/>
                <a:gd name="T28" fmla="*/ 93345 w 150"/>
                <a:gd name="T29" fmla="*/ 110490 h 130"/>
                <a:gd name="T30" fmla="*/ 81915 w 150"/>
                <a:gd name="T31" fmla="*/ 129540 h 130"/>
                <a:gd name="T32" fmla="*/ 80010 w 150"/>
                <a:gd name="T33" fmla="*/ 160020 h 130"/>
                <a:gd name="T34" fmla="*/ 87630 w 150"/>
                <a:gd name="T35" fmla="*/ 171450 h 130"/>
                <a:gd name="T36" fmla="*/ 72390 w 150"/>
                <a:gd name="T37" fmla="*/ 190500 h 130"/>
                <a:gd name="T38" fmla="*/ 66675 w 150"/>
                <a:gd name="T39" fmla="*/ 200025 h 130"/>
                <a:gd name="T40" fmla="*/ 47625 w 150"/>
                <a:gd name="T41" fmla="*/ 215265 h 130"/>
                <a:gd name="T42" fmla="*/ 40005 w 150"/>
                <a:gd name="T43" fmla="*/ 228600 h 130"/>
                <a:gd name="T44" fmla="*/ 28575 w 150"/>
                <a:gd name="T45" fmla="*/ 228600 h 130"/>
                <a:gd name="T46" fmla="*/ 9525 w 150"/>
                <a:gd name="T47" fmla="*/ 238125 h 130"/>
                <a:gd name="T48" fmla="*/ 0 w 150"/>
                <a:gd name="T49" fmla="*/ 247650 h 130"/>
                <a:gd name="T50" fmla="*/ 106680 w 150"/>
                <a:gd name="T51" fmla="*/ 247650 h 130"/>
                <a:gd name="T52" fmla="*/ 106680 w 150"/>
                <a:gd name="T53" fmla="*/ 219075 h 130"/>
                <a:gd name="T54" fmla="*/ 125730 w 150"/>
                <a:gd name="T55" fmla="*/ 203835 h 130"/>
                <a:gd name="T56" fmla="*/ 140970 w 150"/>
                <a:gd name="T57" fmla="*/ 194310 h 130"/>
                <a:gd name="T58" fmla="*/ 154305 w 150"/>
                <a:gd name="T59" fmla="*/ 190500 h 130"/>
                <a:gd name="T60" fmla="*/ 160020 w 150"/>
                <a:gd name="T61" fmla="*/ 184785 h 130"/>
                <a:gd name="T62" fmla="*/ 175260 w 150"/>
                <a:gd name="T63" fmla="*/ 184785 h 130"/>
                <a:gd name="T64" fmla="*/ 190500 w 150"/>
                <a:gd name="T65" fmla="*/ 180975 h 130"/>
                <a:gd name="T66" fmla="*/ 201930 w 150"/>
                <a:gd name="T67" fmla="*/ 163830 h 130"/>
                <a:gd name="T68" fmla="*/ 224790 w 150"/>
                <a:gd name="T69" fmla="*/ 158115 h 130"/>
                <a:gd name="T70" fmla="*/ 230505 w 150"/>
                <a:gd name="T71" fmla="*/ 150495 h 130"/>
                <a:gd name="T72" fmla="*/ 220980 w 150"/>
                <a:gd name="T73" fmla="*/ 142875 h 130"/>
                <a:gd name="T74" fmla="*/ 228600 w 150"/>
                <a:gd name="T75" fmla="*/ 131445 h 130"/>
                <a:gd name="T76" fmla="*/ 245745 w 150"/>
                <a:gd name="T77" fmla="*/ 127635 h 130"/>
                <a:gd name="T78" fmla="*/ 268605 w 150"/>
                <a:gd name="T79" fmla="*/ 121920 h 130"/>
                <a:gd name="T80" fmla="*/ 280035 w 150"/>
                <a:gd name="T81" fmla="*/ 120015 h 130"/>
                <a:gd name="T82" fmla="*/ 285750 w 150"/>
                <a:gd name="T83" fmla="*/ 106680 h 130"/>
                <a:gd name="T84" fmla="*/ 278130 w 150"/>
                <a:gd name="T85" fmla="*/ 99060 h 130"/>
                <a:gd name="T86" fmla="*/ 278130 w 150"/>
                <a:gd name="T87" fmla="*/ 91440 h 130"/>
                <a:gd name="T88" fmla="*/ 272415 w 150"/>
                <a:gd name="T89" fmla="*/ 83820 h 130"/>
                <a:gd name="T90" fmla="*/ 274320 w 150"/>
                <a:gd name="T91" fmla="*/ 62865 h 130"/>
                <a:gd name="T92" fmla="*/ 272415 w 150"/>
                <a:gd name="T93" fmla="*/ 38100 h 130"/>
                <a:gd name="T94" fmla="*/ 262890 w 150"/>
                <a:gd name="T95" fmla="*/ 26670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 name="Freeform 48"/>
            <p:cNvSpPr>
              <a:spLocks noChangeAspect="1"/>
            </p:cNvSpPr>
            <p:nvPr/>
          </p:nvSpPr>
          <p:spPr bwMode="auto">
            <a:xfrm>
              <a:off x="3916900" y="2247736"/>
              <a:ext cx="289909" cy="290177"/>
            </a:xfrm>
            <a:custGeom>
              <a:avLst/>
              <a:gdLst>
                <a:gd name="T0" fmla="*/ 110368 w 151"/>
                <a:gd name="T1" fmla="*/ 355277 h 187"/>
                <a:gd name="T2" fmla="*/ 119882 w 151"/>
                <a:gd name="T3" fmla="*/ 353367 h 187"/>
                <a:gd name="T4" fmla="*/ 125591 w 151"/>
                <a:gd name="T5" fmla="*/ 338086 h 187"/>
                <a:gd name="T6" fmla="*/ 133203 w 151"/>
                <a:gd name="T7" fmla="*/ 338086 h 187"/>
                <a:gd name="T8" fmla="*/ 142717 w 151"/>
                <a:gd name="T9" fmla="*/ 349547 h 187"/>
                <a:gd name="T10" fmla="*/ 150329 w 151"/>
                <a:gd name="T11" fmla="*/ 339996 h 187"/>
                <a:gd name="T12" fmla="*/ 175066 w 151"/>
                <a:gd name="T13" fmla="*/ 339996 h 187"/>
                <a:gd name="T14" fmla="*/ 180775 w 151"/>
                <a:gd name="T15" fmla="*/ 332356 h 187"/>
                <a:gd name="T16" fmla="*/ 184581 w 151"/>
                <a:gd name="T17" fmla="*/ 339996 h 187"/>
                <a:gd name="T18" fmla="*/ 274017 w 151"/>
                <a:gd name="T19" fmla="*/ 339996 h 187"/>
                <a:gd name="T20" fmla="*/ 279725 w 151"/>
                <a:gd name="T21" fmla="*/ 313255 h 187"/>
                <a:gd name="T22" fmla="*/ 272114 w 151"/>
                <a:gd name="T23" fmla="*/ 309435 h 187"/>
                <a:gd name="T24" fmla="*/ 251182 w 151"/>
                <a:gd name="T25" fmla="*/ 66853 h 187"/>
                <a:gd name="T26" fmla="*/ 287337 w 151"/>
                <a:gd name="T27" fmla="*/ 66853 h 187"/>
                <a:gd name="T28" fmla="*/ 195998 w 151"/>
                <a:gd name="T29" fmla="*/ 0 h 187"/>
                <a:gd name="T30" fmla="*/ 195998 w 151"/>
                <a:gd name="T31" fmla="*/ 40112 h 187"/>
                <a:gd name="T32" fmla="*/ 117979 w 151"/>
                <a:gd name="T33" fmla="*/ 40112 h 187"/>
                <a:gd name="T34" fmla="*/ 117979 w 151"/>
                <a:gd name="T35" fmla="*/ 110785 h 187"/>
                <a:gd name="T36" fmla="*/ 110368 w 151"/>
                <a:gd name="T37" fmla="*/ 114605 h 187"/>
                <a:gd name="T38" fmla="*/ 100853 w 151"/>
                <a:gd name="T39" fmla="*/ 116516 h 187"/>
                <a:gd name="T40" fmla="*/ 87533 w 151"/>
                <a:gd name="T41" fmla="*/ 131796 h 187"/>
                <a:gd name="T42" fmla="*/ 91339 w 151"/>
                <a:gd name="T43" fmla="*/ 166178 h 187"/>
                <a:gd name="T44" fmla="*/ 87533 w 151"/>
                <a:gd name="T45" fmla="*/ 171908 h 187"/>
                <a:gd name="T46" fmla="*/ 7612 w 151"/>
                <a:gd name="T47" fmla="*/ 169998 h 187"/>
                <a:gd name="T48" fmla="*/ 0 w 151"/>
                <a:gd name="T49" fmla="*/ 181459 h 187"/>
                <a:gd name="T50" fmla="*/ 7612 w 151"/>
                <a:gd name="T51" fmla="*/ 189099 h 187"/>
                <a:gd name="T52" fmla="*/ 11417 w 151"/>
                <a:gd name="T53" fmla="*/ 189099 h 187"/>
                <a:gd name="T54" fmla="*/ 15223 w 151"/>
                <a:gd name="T55" fmla="*/ 204380 h 187"/>
                <a:gd name="T56" fmla="*/ 9514 w 151"/>
                <a:gd name="T57" fmla="*/ 231121 h 187"/>
                <a:gd name="T58" fmla="*/ 13320 w 151"/>
                <a:gd name="T59" fmla="*/ 236851 h 187"/>
                <a:gd name="T60" fmla="*/ 17126 w 151"/>
                <a:gd name="T61" fmla="*/ 257862 h 187"/>
                <a:gd name="T62" fmla="*/ 13320 w 151"/>
                <a:gd name="T63" fmla="*/ 284604 h 187"/>
                <a:gd name="T64" fmla="*/ 5709 w 151"/>
                <a:gd name="T65" fmla="*/ 313255 h 187"/>
                <a:gd name="T66" fmla="*/ 15223 w 151"/>
                <a:gd name="T67" fmla="*/ 303704 h 187"/>
                <a:gd name="T68" fmla="*/ 39961 w 151"/>
                <a:gd name="T69" fmla="*/ 303704 h 187"/>
                <a:gd name="T70" fmla="*/ 43767 w 151"/>
                <a:gd name="T71" fmla="*/ 299884 h 187"/>
                <a:gd name="T72" fmla="*/ 58990 w 151"/>
                <a:gd name="T73" fmla="*/ 301794 h 187"/>
                <a:gd name="T74" fmla="*/ 70407 w 151"/>
                <a:gd name="T75" fmla="*/ 317075 h 187"/>
                <a:gd name="T76" fmla="*/ 81824 w 151"/>
                <a:gd name="T77" fmla="*/ 317075 h 187"/>
                <a:gd name="T78" fmla="*/ 87533 w 151"/>
                <a:gd name="T79" fmla="*/ 336176 h 187"/>
                <a:gd name="T80" fmla="*/ 97048 w 151"/>
                <a:gd name="T81" fmla="*/ 347637 h 187"/>
                <a:gd name="T82" fmla="*/ 110368 w 151"/>
                <a:gd name="T83" fmla="*/ 355277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 name="Freeform 49"/>
            <p:cNvSpPr>
              <a:spLocks noChangeAspect="1"/>
            </p:cNvSpPr>
            <p:nvPr/>
          </p:nvSpPr>
          <p:spPr bwMode="auto">
            <a:xfrm>
              <a:off x="3897680" y="2490195"/>
              <a:ext cx="148959" cy="98015"/>
            </a:xfrm>
            <a:custGeom>
              <a:avLst/>
              <a:gdLst>
                <a:gd name="T0" fmla="*/ 18928 w 78"/>
                <a:gd name="T1" fmla="*/ 120650 h 64"/>
                <a:gd name="T2" fmla="*/ 17035 w 78"/>
                <a:gd name="T3" fmla="*/ 111224 h 64"/>
                <a:gd name="T4" fmla="*/ 17035 w 78"/>
                <a:gd name="T5" fmla="*/ 101798 h 64"/>
                <a:gd name="T6" fmla="*/ 37856 w 78"/>
                <a:gd name="T7" fmla="*/ 101798 h 64"/>
                <a:gd name="T8" fmla="*/ 56783 w 78"/>
                <a:gd name="T9" fmla="*/ 96143 h 64"/>
                <a:gd name="T10" fmla="*/ 73819 w 78"/>
                <a:gd name="T11" fmla="*/ 98028 h 64"/>
                <a:gd name="T12" fmla="*/ 87068 w 78"/>
                <a:gd name="T13" fmla="*/ 96143 h 64"/>
                <a:gd name="T14" fmla="*/ 88961 w 78"/>
                <a:gd name="T15" fmla="*/ 88602 h 64"/>
                <a:gd name="T16" fmla="*/ 68140 w 78"/>
                <a:gd name="T17" fmla="*/ 84832 h 64"/>
                <a:gd name="T18" fmla="*/ 54891 w 78"/>
                <a:gd name="T19" fmla="*/ 82947 h 64"/>
                <a:gd name="T20" fmla="*/ 49212 w 78"/>
                <a:gd name="T21" fmla="*/ 88602 h 64"/>
                <a:gd name="T22" fmla="*/ 26499 w 78"/>
                <a:gd name="T23" fmla="*/ 90487 h 64"/>
                <a:gd name="T24" fmla="*/ 20821 w 78"/>
                <a:gd name="T25" fmla="*/ 77291 h 64"/>
                <a:gd name="T26" fmla="*/ 15142 w 78"/>
                <a:gd name="T27" fmla="*/ 62210 h 64"/>
                <a:gd name="T28" fmla="*/ 0 w 78"/>
                <a:gd name="T29" fmla="*/ 58440 h 64"/>
                <a:gd name="T30" fmla="*/ 15142 w 78"/>
                <a:gd name="T31" fmla="*/ 43359 h 64"/>
                <a:gd name="T32" fmla="*/ 26499 w 78"/>
                <a:gd name="T33" fmla="*/ 30163 h 64"/>
                <a:gd name="T34" fmla="*/ 24606 w 78"/>
                <a:gd name="T35" fmla="*/ 15081 h 64"/>
                <a:gd name="T36" fmla="*/ 34070 w 78"/>
                <a:gd name="T37" fmla="*/ 5655 h 64"/>
                <a:gd name="T38" fmla="*/ 58676 w 78"/>
                <a:gd name="T39" fmla="*/ 5655 h 64"/>
                <a:gd name="T40" fmla="*/ 62462 w 78"/>
                <a:gd name="T41" fmla="*/ 1885 h 64"/>
                <a:gd name="T42" fmla="*/ 77604 w 78"/>
                <a:gd name="T43" fmla="*/ 3770 h 64"/>
                <a:gd name="T44" fmla="*/ 88961 w 78"/>
                <a:gd name="T45" fmla="*/ 18852 h 64"/>
                <a:gd name="T46" fmla="*/ 100317 w 78"/>
                <a:gd name="T47" fmla="*/ 18852 h 64"/>
                <a:gd name="T48" fmla="*/ 105996 w 78"/>
                <a:gd name="T49" fmla="*/ 37703 h 64"/>
                <a:gd name="T50" fmla="*/ 115460 w 78"/>
                <a:gd name="T51" fmla="*/ 49014 h 64"/>
                <a:gd name="T52" fmla="*/ 128709 w 78"/>
                <a:gd name="T53" fmla="*/ 56555 h 64"/>
                <a:gd name="T54" fmla="*/ 134388 w 78"/>
                <a:gd name="T55" fmla="*/ 71636 h 64"/>
                <a:gd name="T56" fmla="*/ 130602 w 78"/>
                <a:gd name="T57" fmla="*/ 88602 h 64"/>
                <a:gd name="T58" fmla="*/ 136280 w 78"/>
                <a:gd name="T59" fmla="*/ 96143 h 64"/>
                <a:gd name="T60" fmla="*/ 141959 w 78"/>
                <a:gd name="T61" fmla="*/ 96143 h 64"/>
                <a:gd name="T62" fmla="*/ 147637 w 78"/>
                <a:gd name="T63" fmla="*/ 107454 h 64"/>
                <a:gd name="T64" fmla="*/ 143851 w 78"/>
                <a:gd name="T65" fmla="*/ 118765 h 64"/>
                <a:gd name="T66" fmla="*/ 128709 w 78"/>
                <a:gd name="T67" fmla="*/ 120650 h 64"/>
                <a:gd name="T68" fmla="*/ 113567 w 78"/>
                <a:gd name="T69" fmla="*/ 118765 h 64"/>
                <a:gd name="T70" fmla="*/ 107889 w 78"/>
                <a:gd name="T71" fmla="*/ 118765 h 64"/>
                <a:gd name="T72" fmla="*/ 104103 w 78"/>
                <a:gd name="T73" fmla="*/ 114995 h 64"/>
                <a:gd name="T74" fmla="*/ 90854 w 78"/>
                <a:gd name="T75" fmla="*/ 114995 h 64"/>
                <a:gd name="T76" fmla="*/ 62462 w 78"/>
                <a:gd name="T77" fmla="*/ 113109 h 64"/>
                <a:gd name="T78" fmla="*/ 47320 w 78"/>
                <a:gd name="T79" fmla="*/ 120650 h 64"/>
                <a:gd name="T80" fmla="*/ 30285 w 78"/>
                <a:gd name="T81" fmla="*/ 118765 h 64"/>
                <a:gd name="T82" fmla="*/ 18928 w 78"/>
                <a:gd name="T83" fmla="*/ 120650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 name="Freeform 50"/>
            <p:cNvSpPr>
              <a:spLocks noChangeAspect="1"/>
            </p:cNvSpPr>
            <p:nvPr/>
          </p:nvSpPr>
          <p:spPr bwMode="auto">
            <a:xfrm>
              <a:off x="3916900" y="2580473"/>
              <a:ext cx="80086" cy="42559"/>
            </a:xfrm>
            <a:custGeom>
              <a:avLst/>
              <a:gdLst>
                <a:gd name="T0" fmla="*/ 41577 w 42"/>
                <a:gd name="T1" fmla="*/ 52387 h 27"/>
                <a:gd name="T2" fmla="*/ 49137 w 42"/>
                <a:gd name="T3" fmla="*/ 34925 h 27"/>
                <a:gd name="T4" fmla="*/ 62366 w 42"/>
                <a:gd name="T5" fmla="*/ 29104 h 27"/>
                <a:gd name="T6" fmla="*/ 75595 w 42"/>
                <a:gd name="T7" fmla="*/ 27164 h 27"/>
                <a:gd name="T8" fmla="*/ 71815 w 42"/>
                <a:gd name="T9" fmla="*/ 15522 h 27"/>
                <a:gd name="T10" fmla="*/ 73705 w 42"/>
                <a:gd name="T11" fmla="*/ 9701 h 27"/>
                <a:gd name="T12" fmla="*/ 71815 w 42"/>
                <a:gd name="T13" fmla="*/ 3881 h 27"/>
                <a:gd name="T14" fmla="*/ 43467 w 42"/>
                <a:gd name="T15" fmla="*/ 1940 h 27"/>
                <a:gd name="T16" fmla="*/ 28348 w 42"/>
                <a:gd name="T17" fmla="*/ 9701 h 27"/>
                <a:gd name="T18" fmla="*/ 11339 w 42"/>
                <a:gd name="T19" fmla="*/ 7761 h 27"/>
                <a:gd name="T20" fmla="*/ 0 w 42"/>
                <a:gd name="T21" fmla="*/ 9701 h 27"/>
                <a:gd name="T22" fmla="*/ 9449 w 42"/>
                <a:gd name="T23" fmla="*/ 23283 h 27"/>
                <a:gd name="T24" fmla="*/ 41577 w 42"/>
                <a:gd name="T25" fmla="*/ 23283 h 27"/>
                <a:gd name="T26" fmla="*/ 26458 w 42"/>
                <a:gd name="T27" fmla="*/ 29104 h 27"/>
                <a:gd name="T28" fmla="*/ 34018 w 42"/>
                <a:gd name="T29" fmla="*/ 38805 h 27"/>
                <a:gd name="T30" fmla="*/ 41577 w 42"/>
                <a:gd name="T31" fmla="*/ 5238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 name="Freeform 51"/>
            <p:cNvSpPr>
              <a:spLocks noChangeAspect="1"/>
            </p:cNvSpPr>
            <p:nvPr/>
          </p:nvSpPr>
          <p:spPr bwMode="auto">
            <a:xfrm>
              <a:off x="3915298" y="2557259"/>
              <a:ext cx="73679" cy="18056"/>
            </a:xfrm>
            <a:custGeom>
              <a:avLst/>
              <a:gdLst>
                <a:gd name="T0" fmla="*/ 0 w 39"/>
                <a:gd name="T1" fmla="*/ 20205 h 11"/>
                <a:gd name="T2" fmla="*/ 26214 w 39"/>
                <a:gd name="T3" fmla="*/ 14143 h 11"/>
                <a:gd name="T4" fmla="*/ 9362 w 39"/>
                <a:gd name="T5" fmla="*/ 8082 h 11"/>
                <a:gd name="T6" fmla="*/ 31831 w 39"/>
                <a:gd name="T7" fmla="*/ 6061 h 11"/>
                <a:gd name="T8" fmla="*/ 37449 w 39"/>
                <a:gd name="T9" fmla="*/ 0 h 11"/>
                <a:gd name="T10" fmla="*/ 50556 w 39"/>
                <a:gd name="T11" fmla="*/ 2020 h 11"/>
                <a:gd name="T12" fmla="*/ 71153 w 39"/>
                <a:gd name="T13" fmla="*/ 6061 h 11"/>
                <a:gd name="T14" fmla="*/ 69280 w 39"/>
                <a:gd name="T15" fmla="*/ 14143 h 11"/>
                <a:gd name="T16" fmla="*/ 56173 w 39"/>
                <a:gd name="T17" fmla="*/ 16164 h 11"/>
                <a:gd name="T18" fmla="*/ 39321 w 39"/>
                <a:gd name="T19" fmla="*/ 14143 h 11"/>
                <a:gd name="T20" fmla="*/ 20597 w 39"/>
                <a:gd name="T21" fmla="*/ 20205 h 11"/>
                <a:gd name="T22" fmla="*/ 0 w 39"/>
                <a:gd name="T23" fmla="*/ 20205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 name="Freeform 52"/>
            <p:cNvSpPr>
              <a:spLocks noChangeAspect="1"/>
            </p:cNvSpPr>
            <p:nvPr/>
          </p:nvSpPr>
          <p:spPr bwMode="auto">
            <a:xfrm>
              <a:off x="3958545" y="2583052"/>
              <a:ext cx="184196" cy="125099"/>
            </a:xfrm>
            <a:custGeom>
              <a:avLst/>
              <a:gdLst>
                <a:gd name="T0" fmla="*/ 161643 w 96"/>
                <a:gd name="T1" fmla="*/ 60834 h 81"/>
                <a:gd name="T2" fmla="*/ 152135 w 96"/>
                <a:gd name="T3" fmla="*/ 51329 h 81"/>
                <a:gd name="T4" fmla="*/ 152135 w 96"/>
                <a:gd name="T5" fmla="*/ 28516 h 81"/>
                <a:gd name="T6" fmla="*/ 135020 w 96"/>
                <a:gd name="T7" fmla="*/ 9505 h 81"/>
                <a:gd name="T8" fmla="*/ 127413 w 96"/>
                <a:gd name="T9" fmla="*/ 17110 h 81"/>
                <a:gd name="T10" fmla="*/ 106494 w 96"/>
                <a:gd name="T11" fmla="*/ 22813 h 81"/>
                <a:gd name="T12" fmla="*/ 93183 w 96"/>
                <a:gd name="T13" fmla="*/ 17110 h 81"/>
                <a:gd name="T14" fmla="*/ 83674 w 96"/>
                <a:gd name="T15" fmla="*/ 5703 h 81"/>
                <a:gd name="T16" fmla="*/ 53247 w 96"/>
                <a:gd name="T17" fmla="*/ 5703 h 81"/>
                <a:gd name="T18" fmla="*/ 43739 w 96"/>
                <a:gd name="T19" fmla="*/ 1901 h 81"/>
                <a:gd name="T20" fmla="*/ 32329 w 96"/>
                <a:gd name="T21" fmla="*/ 7604 h 81"/>
                <a:gd name="T22" fmla="*/ 34230 w 96"/>
                <a:gd name="T23" fmla="*/ 24714 h 81"/>
                <a:gd name="T24" fmla="*/ 7607 w 96"/>
                <a:gd name="T25" fmla="*/ 32318 h 81"/>
                <a:gd name="T26" fmla="*/ 11410 w 96"/>
                <a:gd name="T27" fmla="*/ 49428 h 81"/>
                <a:gd name="T28" fmla="*/ 22820 w 96"/>
                <a:gd name="T29" fmla="*/ 70340 h 81"/>
                <a:gd name="T30" fmla="*/ 39935 w 96"/>
                <a:gd name="T31" fmla="*/ 89350 h 81"/>
                <a:gd name="T32" fmla="*/ 53247 w 96"/>
                <a:gd name="T33" fmla="*/ 91252 h 81"/>
                <a:gd name="T34" fmla="*/ 74166 w 96"/>
                <a:gd name="T35" fmla="*/ 79845 h 81"/>
                <a:gd name="T36" fmla="*/ 89379 w 96"/>
                <a:gd name="T37" fmla="*/ 76043 h 81"/>
                <a:gd name="T38" fmla="*/ 98888 w 96"/>
                <a:gd name="T39" fmla="*/ 87449 h 81"/>
                <a:gd name="T40" fmla="*/ 104593 w 96"/>
                <a:gd name="T41" fmla="*/ 100757 h 81"/>
                <a:gd name="T42" fmla="*/ 104593 w 96"/>
                <a:gd name="T43" fmla="*/ 119768 h 81"/>
                <a:gd name="T44" fmla="*/ 117905 w 96"/>
                <a:gd name="T45" fmla="*/ 117867 h 81"/>
                <a:gd name="T46" fmla="*/ 127413 w 96"/>
                <a:gd name="T47" fmla="*/ 115966 h 81"/>
                <a:gd name="T48" fmla="*/ 135020 w 96"/>
                <a:gd name="T49" fmla="*/ 127372 h 81"/>
                <a:gd name="T50" fmla="*/ 135020 w 96"/>
                <a:gd name="T51" fmla="*/ 140679 h 81"/>
                <a:gd name="T52" fmla="*/ 140725 w 96"/>
                <a:gd name="T53" fmla="*/ 153987 h 81"/>
                <a:gd name="T54" fmla="*/ 154037 w 96"/>
                <a:gd name="T55" fmla="*/ 140679 h 81"/>
                <a:gd name="T56" fmla="*/ 167349 w 96"/>
                <a:gd name="T57" fmla="*/ 142581 h 81"/>
                <a:gd name="T58" fmla="*/ 173054 w 96"/>
                <a:gd name="T59" fmla="*/ 127372 h 81"/>
                <a:gd name="T60" fmla="*/ 180660 w 96"/>
                <a:gd name="T61" fmla="*/ 117867 h 81"/>
                <a:gd name="T62" fmla="*/ 176857 w 96"/>
                <a:gd name="T63" fmla="*/ 104559 h 81"/>
                <a:gd name="T64" fmla="*/ 167349 w 96"/>
                <a:gd name="T65" fmla="*/ 8174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 name="Freeform 53"/>
            <p:cNvSpPr>
              <a:spLocks noChangeAspect="1"/>
            </p:cNvSpPr>
            <p:nvPr/>
          </p:nvSpPr>
          <p:spPr bwMode="auto">
            <a:xfrm>
              <a:off x="4003392" y="2642378"/>
              <a:ext cx="68873" cy="72222"/>
            </a:xfrm>
            <a:custGeom>
              <a:avLst/>
              <a:gdLst>
                <a:gd name="T0" fmla="*/ 64470 w 36"/>
                <a:gd name="T1" fmla="*/ 50248 h 46"/>
                <a:gd name="T2" fmla="*/ 66366 w 36"/>
                <a:gd name="T3" fmla="*/ 65709 h 46"/>
                <a:gd name="T4" fmla="*/ 53093 w 36"/>
                <a:gd name="T5" fmla="*/ 73439 h 46"/>
                <a:gd name="T6" fmla="*/ 49300 w 36"/>
                <a:gd name="T7" fmla="*/ 81170 h 46"/>
                <a:gd name="T8" fmla="*/ 43612 w 36"/>
                <a:gd name="T9" fmla="*/ 88900 h 46"/>
                <a:gd name="T10" fmla="*/ 20858 w 36"/>
                <a:gd name="T11" fmla="*/ 77304 h 46"/>
                <a:gd name="T12" fmla="*/ 20858 w 36"/>
                <a:gd name="T13" fmla="*/ 69574 h 46"/>
                <a:gd name="T14" fmla="*/ 7585 w 36"/>
                <a:gd name="T15" fmla="*/ 61843 h 46"/>
                <a:gd name="T16" fmla="*/ 7585 w 36"/>
                <a:gd name="T17" fmla="*/ 50248 h 46"/>
                <a:gd name="T18" fmla="*/ 0 w 36"/>
                <a:gd name="T19" fmla="*/ 44450 h 46"/>
                <a:gd name="T20" fmla="*/ 1896 w 36"/>
                <a:gd name="T21" fmla="*/ 32854 h 46"/>
                <a:gd name="T22" fmla="*/ 3792 w 36"/>
                <a:gd name="T23" fmla="*/ 25124 h 46"/>
                <a:gd name="T24" fmla="*/ 9481 w 36"/>
                <a:gd name="T25" fmla="*/ 17393 h 46"/>
                <a:gd name="T26" fmla="*/ 20858 w 36"/>
                <a:gd name="T27" fmla="*/ 5798 h 46"/>
                <a:gd name="T28" fmla="*/ 30339 w 36"/>
                <a:gd name="T29" fmla="*/ 5798 h 46"/>
                <a:gd name="T30" fmla="*/ 34131 w 36"/>
                <a:gd name="T31" fmla="*/ 1933 h 46"/>
                <a:gd name="T32" fmla="*/ 45508 w 36"/>
                <a:gd name="T33" fmla="*/ 1933 h 46"/>
                <a:gd name="T34" fmla="*/ 53093 w 36"/>
                <a:gd name="T35" fmla="*/ 5798 h 46"/>
                <a:gd name="T36" fmla="*/ 54989 w 36"/>
                <a:gd name="T37" fmla="*/ 13528 h 46"/>
                <a:gd name="T38" fmla="*/ 62574 w 36"/>
                <a:gd name="T39" fmla="*/ 19326 h 46"/>
                <a:gd name="T40" fmla="*/ 60677 w 36"/>
                <a:gd name="T41" fmla="*/ 27057 h 46"/>
                <a:gd name="T42" fmla="*/ 66366 w 36"/>
                <a:gd name="T43" fmla="*/ 38652 h 46"/>
                <a:gd name="T44" fmla="*/ 60677 w 36"/>
                <a:gd name="T45" fmla="*/ 46383 h 46"/>
                <a:gd name="T46" fmla="*/ 64470 w 36"/>
                <a:gd name="T47" fmla="*/ 50248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 name="Freeform 54"/>
            <p:cNvSpPr>
              <a:spLocks noChangeAspect="1"/>
            </p:cNvSpPr>
            <p:nvPr/>
          </p:nvSpPr>
          <p:spPr bwMode="auto">
            <a:xfrm>
              <a:off x="4046638" y="2677198"/>
              <a:ext cx="100908" cy="95436"/>
            </a:xfrm>
            <a:custGeom>
              <a:avLst/>
              <a:gdLst>
                <a:gd name="T0" fmla="*/ 94243 w 52"/>
                <a:gd name="T1" fmla="*/ 117475 h 62"/>
                <a:gd name="T2" fmla="*/ 82703 w 52"/>
                <a:gd name="T3" fmla="*/ 109896 h 62"/>
                <a:gd name="T4" fmla="*/ 67316 w 52"/>
                <a:gd name="T5" fmla="*/ 102317 h 62"/>
                <a:gd name="T6" fmla="*/ 48083 w 52"/>
                <a:gd name="T7" fmla="*/ 89054 h 62"/>
                <a:gd name="T8" fmla="*/ 30773 w 52"/>
                <a:gd name="T9" fmla="*/ 72001 h 62"/>
                <a:gd name="T10" fmla="*/ 15387 w 52"/>
                <a:gd name="T11" fmla="*/ 60632 h 62"/>
                <a:gd name="T12" fmla="*/ 1923 w 52"/>
                <a:gd name="T13" fmla="*/ 53053 h 62"/>
                <a:gd name="T14" fmla="*/ 0 w 52"/>
                <a:gd name="T15" fmla="*/ 45474 h 62"/>
                <a:gd name="T16" fmla="*/ 5770 w 52"/>
                <a:gd name="T17" fmla="*/ 37895 h 62"/>
                <a:gd name="T18" fmla="*/ 9617 w 52"/>
                <a:gd name="T19" fmla="*/ 30316 h 62"/>
                <a:gd name="T20" fmla="*/ 23080 w 52"/>
                <a:gd name="T21" fmla="*/ 22737 h 62"/>
                <a:gd name="T22" fmla="*/ 21157 w 52"/>
                <a:gd name="T23" fmla="*/ 7579 h 62"/>
                <a:gd name="T24" fmla="*/ 30773 w 52"/>
                <a:gd name="T25" fmla="*/ 1895 h 62"/>
                <a:gd name="T26" fmla="*/ 38467 w 52"/>
                <a:gd name="T27" fmla="*/ 3790 h 62"/>
                <a:gd name="T28" fmla="*/ 40390 w 52"/>
                <a:gd name="T29" fmla="*/ 0 h 62"/>
                <a:gd name="T30" fmla="*/ 48083 w 52"/>
                <a:gd name="T31" fmla="*/ 1895 h 62"/>
                <a:gd name="T32" fmla="*/ 48083 w 52"/>
                <a:gd name="T33" fmla="*/ 11369 h 62"/>
                <a:gd name="T34" fmla="*/ 55776 w 52"/>
                <a:gd name="T35" fmla="*/ 20842 h 62"/>
                <a:gd name="T36" fmla="*/ 48083 w 52"/>
                <a:gd name="T37" fmla="*/ 24632 h 62"/>
                <a:gd name="T38" fmla="*/ 46160 w 52"/>
                <a:gd name="T39" fmla="*/ 36000 h 62"/>
                <a:gd name="T40" fmla="*/ 53853 w 52"/>
                <a:gd name="T41" fmla="*/ 37895 h 62"/>
                <a:gd name="T42" fmla="*/ 61546 w 52"/>
                <a:gd name="T43" fmla="*/ 34106 h 62"/>
                <a:gd name="T44" fmla="*/ 67316 w 52"/>
                <a:gd name="T45" fmla="*/ 24632 h 62"/>
                <a:gd name="T46" fmla="*/ 76933 w 52"/>
                <a:gd name="T47" fmla="*/ 34106 h 62"/>
                <a:gd name="T48" fmla="*/ 78856 w 52"/>
                <a:gd name="T49" fmla="*/ 43579 h 62"/>
                <a:gd name="T50" fmla="*/ 71163 w 52"/>
                <a:gd name="T51" fmla="*/ 53053 h 62"/>
                <a:gd name="T52" fmla="*/ 78856 w 52"/>
                <a:gd name="T53" fmla="*/ 62527 h 62"/>
                <a:gd name="T54" fmla="*/ 88473 w 52"/>
                <a:gd name="T55" fmla="*/ 64422 h 62"/>
                <a:gd name="T56" fmla="*/ 88473 w 52"/>
                <a:gd name="T57" fmla="*/ 72001 h 62"/>
                <a:gd name="T58" fmla="*/ 98090 w 52"/>
                <a:gd name="T59" fmla="*/ 73896 h 62"/>
                <a:gd name="T60" fmla="*/ 98090 w 52"/>
                <a:gd name="T61" fmla="*/ 87159 h 62"/>
                <a:gd name="T62" fmla="*/ 92320 w 52"/>
                <a:gd name="T63" fmla="*/ 96633 h 62"/>
                <a:gd name="T64" fmla="*/ 94243 w 52"/>
                <a:gd name="T65" fmla="*/ 117475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 name="Freeform 55"/>
            <p:cNvSpPr>
              <a:spLocks noChangeAspect="1"/>
            </p:cNvSpPr>
            <p:nvPr/>
          </p:nvSpPr>
          <p:spPr bwMode="auto">
            <a:xfrm>
              <a:off x="4118715" y="2630770"/>
              <a:ext cx="145755" cy="141864"/>
            </a:xfrm>
            <a:custGeom>
              <a:avLst/>
              <a:gdLst>
                <a:gd name="T0" fmla="*/ 136859 w 76"/>
                <a:gd name="T1" fmla="*/ 153746 h 92"/>
                <a:gd name="T2" fmla="*/ 114049 w 76"/>
                <a:gd name="T3" fmla="*/ 149950 h 92"/>
                <a:gd name="T4" fmla="*/ 108346 w 76"/>
                <a:gd name="T5" fmla="*/ 153746 h 92"/>
                <a:gd name="T6" fmla="*/ 100743 w 76"/>
                <a:gd name="T7" fmla="*/ 149950 h 92"/>
                <a:gd name="T8" fmla="*/ 72231 w 76"/>
                <a:gd name="T9" fmla="*/ 151848 h 92"/>
                <a:gd name="T10" fmla="*/ 43719 w 76"/>
                <a:gd name="T11" fmla="*/ 161338 h 92"/>
                <a:gd name="T12" fmla="*/ 22810 w 76"/>
                <a:gd name="T13" fmla="*/ 174625 h 92"/>
                <a:gd name="T14" fmla="*/ 20909 w 76"/>
                <a:gd name="T15" fmla="*/ 153746 h 92"/>
                <a:gd name="T16" fmla="*/ 26611 w 76"/>
                <a:gd name="T17" fmla="*/ 144255 h 92"/>
                <a:gd name="T18" fmla="*/ 26611 w 76"/>
                <a:gd name="T19" fmla="*/ 130969 h 92"/>
                <a:gd name="T20" fmla="*/ 17107 w 76"/>
                <a:gd name="T21" fmla="*/ 129071 h 92"/>
                <a:gd name="T22" fmla="*/ 17107 w 76"/>
                <a:gd name="T23" fmla="*/ 121478 h 92"/>
                <a:gd name="T24" fmla="*/ 7603 w 76"/>
                <a:gd name="T25" fmla="*/ 119580 h 92"/>
                <a:gd name="T26" fmla="*/ 0 w 76"/>
                <a:gd name="T27" fmla="*/ 110090 h 92"/>
                <a:gd name="T28" fmla="*/ 7603 w 76"/>
                <a:gd name="T29" fmla="*/ 100599 h 92"/>
                <a:gd name="T30" fmla="*/ 5702 w 76"/>
                <a:gd name="T31" fmla="*/ 91109 h 92"/>
                <a:gd name="T32" fmla="*/ 9504 w 76"/>
                <a:gd name="T33" fmla="*/ 83516 h 92"/>
                <a:gd name="T34" fmla="*/ 7603 w 76"/>
                <a:gd name="T35" fmla="*/ 77822 h 92"/>
                <a:gd name="T36" fmla="*/ 15207 w 76"/>
                <a:gd name="T37" fmla="*/ 68332 h 92"/>
                <a:gd name="T38" fmla="*/ 5702 w 76"/>
                <a:gd name="T39" fmla="*/ 64535 h 92"/>
                <a:gd name="T40" fmla="*/ 22810 w 76"/>
                <a:gd name="T41" fmla="*/ 58841 h 92"/>
                <a:gd name="T42" fmla="*/ 13306 w 76"/>
                <a:gd name="T43" fmla="*/ 51249 h 92"/>
                <a:gd name="T44" fmla="*/ 19008 w 76"/>
                <a:gd name="T45" fmla="*/ 45554 h 92"/>
                <a:gd name="T46" fmla="*/ 17107 w 76"/>
                <a:gd name="T47" fmla="*/ 36064 h 92"/>
                <a:gd name="T48" fmla="*/ 9504 w 76"/>
                <a:gd name="T49" fmla="*/ 22777 h 92"/>
                <a:gd name="T50" fmla="*/ 17107 w 76"/>
                <a:gd name="T51" fmla="*/ 13287 h 92"/>
                <a:gd name="T52" fmla="*/ 20909 w 76"/>
                <a:gd name="T53" fmla="*/ 5694 h 92"/>
                <a:gd name="T54" fmla="*/ 30413 w 76"/>
                <a:gd name="T55" fmla="*/ 7592 h 92"/>
                <a:gd name="T56" fmla="*/ 39917 w 76"/>
                <a:gd name="T57" fmla="*/ 9490 h 92"/>
                <a:gd name="T58" fmla="*/ 41818 w 76"/>
                <a:gd name="T59" fmla="*/ 0 h 92"/>
                <a:gd name="T60" fmla="*/ 47520 w 76"/>
                <a:gd name="T61" fmla="*/ 3796 h 92"/>
                <a:gd name="T62" fmla="*/ 55124 w 76"/>
                <a:gd name="T63" fmla="*/ 0 h 92"/>
                <a:gd name="T64" fmla="*/ 55124 w 76"/>
                <a:gd name="T65" fmla="*/ 11389 h 92"/>
                <a:gd name="T66" fmla="*/ 62727 w 76"/>
                <a:gd name="T67" fmla="*/ 9490 h 92"/>
                <a:gd name="T68" fmla="*/ 77933 w 76"/>
                <a:gd name="T69" fmla="*/ 5694 h 92"/>
                <a:gd name="T70" fmla="*/ 77933 w 76"/>
                <a:gd name="T71" fmla="*/ 13287 h 92"/>
                <a:gd name="T72" fmla="*/ 83636 w 76"/>
                <a:gd name="T73" fmla="*/ 15185 h 92"/>
                <a:gd name="T74" fmla="*/ 83636 w 76"/>
                <a:gd name="T75" fmla="*/ 22777 h 92"/>
                <a:gd name="T76" fmla="*/ 89338 w 76"/>
                <a:gd name="T77" fmla="*/ 24675 h 92"/>
                <a:gd name="T78" fmla="*/ 95041 w 76"/>
                <a:gd name="T79" fmla="*/ 26573 h 92"/>
                <a:gd name="T80" fmla="*/ 106446 w 76"/>
                <a:gd name="T81" fmla="*/ 22777 h 92"/>
                <a:gd name="T82" fmla="*/ 121652 w 76"/>
                <a:gd name="T83" fmla="*/ 20879 h 92"/>
                <a:gd name="T84" fmla="*/ 131156 w 76"/>
                <a:gd name="T85" fmla="*/ 22777 h 92"/>
                <a:gd name="T86" fmla="*/ 136859 w 76"/>
                <a:gd name="T87" fmla="*/ 28471 h 92"/>
                <a:gd name="T88" fmla="*/ 138760 w 76"/>
                <a:gd name="T89" fmla="*/ 39860 h 92"/>
                <a:gd name="T90" fmla="*/ 140660 w 76"/>
                <a:gd name="T91" fmla="*/ 47452 h 92"/>
                <a:gd name="T92" fmla="*/ 142561 w 76"/>
                <a:gd name="T93" fmla="*/ 56943 h 92"/>
                <a:gd name="T94" fmla="*/ 142561 w 76"/>
                <a:gd name="T95" fmla="*/ 66433 h 92"/>
                <a:gd name="T96" fmla="*/ 138760 w 76"/>
                <a:gd name="T97" fmla="*/ 75924 h 92"/>
                <a:gd name="T98" fmla="*/ 136859 w 76"/>
                <a:gd name="T99" fmla="*/ 93007 h 92"/>
                <a:gd name="T100" fmla="*/ 129255 w 76"/>
                <a:gd name="T101" fmla="*/ 104395 h 92"/>
                <a:gd name="T102" fmla="*/ 133057 w 76"/>
                <a:gd name="T103" fmla="*/ 119580 h 92"/>
                <a:gd name="T104" fmla="*/ 131156 w 76"/>
                <a:gd name="T105" fmla="*/ 132867 h 92"/>
                <a:gd name="T106" fmla="*/ 138760 w 76"/>
                <a:gd name="T107" fmla="*/ 138561 h 92"/>
                <a:gd name="T108" fmla="*/ 138760 w 76"/>
                <a:gd name="T109" fmla="*/ 149950 h 92"/>
                <a:gd name="T110" fmla="*/ 136859 w 76"/>
                <a:gd name="T111" fmla="*/ 153746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 name="Freeform 56"/>
            <p:cNvSpPr>
              <a:spLocks noChangeAspect="1"/>
            </p:cNvSpPr>
            <p:nvPr/>
          </p:nvSpPr>
          <p:spPr bwMode="auto">
            <a:xfrm>
              <a:off x="4027418" y="2292874"/>
              <a:ext cx="400428" cy="348213"/>
            </a:xfrm>
            <a:custGeom>
              <a:avLst/>
              <a:gdLst>
                <a:gd name="T0" fmla="*/ 152644 w 208"/>
                <a:gd name="T1" fmla="*/ 424815 h 225"/>
                <a:gd name="T2" fmla="*/ 145012 w 208"/>
                <a:gd name="T3" fmla="*/ 415290 h 225"/>
                <a:gd name="T4" fmla="*/ 131656 w 208"/>
                <a:gd name="T5" fmla="*/ 415290 h 225"/>
                <a:gd name="T6" fmla="*/ 120207 w 208"/>
                <a:gd name="T7" fmla="*/ 422910 h 225"/>
                <a:gd name="T8" fmla="*/ 106851 w 208"/>
                <a:gd name="T9" fmla="*/ 428625 h 225"/>
                <a:gd name="T10" fmla="*/ 93495 w 208"/>
                <a:gd name="T11" fmla="*/ 405765 h 225"/>
                <a:gd name="T12" fmla="*/ 91587 w 208"/>
                <a:gd name="T13" fmla="*/ 392430 h 225"/>
                <a:gd name="T14" fmla="*/ 82046 w 208"/>
                <a:gd name="T15" fmla="*/ 369570 h 225"/>
                <a:gd name="T16" fmla="*/ 66782 w 208"/>
                <a:gd name="T17" fmla="*/ 371475 h 225"/>
                <a:gd name="T18" fmla="*/ 51517 w 208"/>
                <a:gd name="T19" fmla="*/ 371475 h 225"/>
                <a:gd name="T20" fmla="*/ 30529 w 208"/>
                <a:gd name="T21" fmla="*/ 367665 h 225"/>
                <a:gd name="T22" fmla="*/ 17172 w 208"/>
                <a:gd name="T23" fmla="*/ 373380 h 225"/>
                <a:gd name="T24" fmla="*/ 19081 w 208"/>
                <a:gd name="T25" fmla="*/ 350520 h 225"/>
                <a:gd name="T26" fmla="*/ 7632 w 208"/>
                <a:gd name="T27" fmla="*/ 339090 h 225"/>
                <a:gd name="T28" fmla="*/ 5724 w 208"/>
                <a:gd name="T29" fmla="*/ 314325 h 225"/>
                <a:gd name="T30" fmla="*/ 9540 w 208"/>
                <a:gd name="T31" fmla="*/ 297180 h 225"/>
                <a:gd name="T32" fmla="*/ 22897 w 208"/>
                <a:gd name="T33" fmla="*/ 281940 h 225"/>
                <a:gd name="T34" fmla="*/ 40069 w 208"/>
                <a:gd name="T35" fmla="*/ 283845 h 225"/>
                <a:gd name="T36" fmla="*/ 70598 w 208"/>
                <a:gd name="T37" fmla="*/ 276225 h 225"/>
                <a:gd name="T38" fmla="*/ 164093 w 208"/>
                <a:gd name="T39" fmla="*/ 283845 h 225"/>
                <a:gd name="T40" fmla="*/ 162185 w 208"/>
                <a:gd name="T41" fmla="*/ 253365 h 225"/>
                <a:gd name="T42" fmla="*/ 177449 w 208"/>
                <a:gd name="T43" fmla="*/ 11430 h 225"/>
                <a:gd name="T44" fmla="*/ 322461 w 208"/>
                <a:gd name="T45" fmla="*/ 137160 h 225"/>
                <a:gd name="T46" fmla="*/ 341541 w 208"/>
                <a:gd name="T47" fmla="*/ 150495 h 225"/>
                <a:gd name="T48" fmla="*/ 370162 w 208"/>
                <a:gd name="T49" fmla="*/ 161925 h 225"/>
                <a:gd name="T50" fmla="*/ 373978 w 208"/>
                <a:gd name="T51" fmla="*/ 184785 h 225"/>
                <a:gd name="T52" fmla="*/ 396875 w 208"/>
                <a:gd name="T53" fmla="*/ 264795 h 225"/>
                <a:gd name="T54" fmla="*/ 385427 w 208"/>
                <a:gd name="T55" fmla="*/ 274320 h 225"/>
                <a:gd name="T56" fmla="*/ 373978 w 208"/>
                <a:gd name="T57" fmla="*/ 283845 h 225"/>
                <a:gd name="T58" fmla="*/ 314829 w 208"/>
                <a:gd name="T59" fmla="*/ 297180 h 225"/>
                <a:gd name="T60" fmla="*/ 280484 w 208"/>
                <a:gd name="T61" fmla="*/ 291465 h 225"/>
                <a:gd name="T62" fmla="*/ 246139 w 208"/>
                <a:gd name="T63" fmla="*/ 318135 h 225"/>
                <a:gd name="T64" fmla="*/ 228966 w 208"/>
                <a:gd name="T65" fmla="*/ 323850 h 225"/>
                <a:gd name="T66" fmla="*/ 219426 w 208"/>
                <a:gd name="T67" fmla="*/ 331470 h 225"/>
                <a:gd name="T68" fmla="*/ 211794 w 208"/>
                <a:gd name="T69" fmla="*/ 344805 h 225"/>
                <a:gd name="T70" fmla="*/ 192713 w 208"/>
                <a:gd name="T71" fmla="*/ 342900 h 225"/>
                <a:gd name="T72" fmla="*/ 188897 w 208"/>
                <a:gd name="T73" fmla="*/ 360045 h 225"/>
                <a:gd name="T74" fmla="*/ 186989 w 208"/>
                <a:gd name="T75" fmla="*/ 367665 h 225"/>
                <a:gd name="T76" fmla="*/ 164093 w 208"/>
                <a:gd name="T77" fmla="*/ 379095 h 225"/>
                <a:gd name="T78" fmla="*/ 166001 w 208"/>
                <a:gd name="T79" fmla="*/ 403860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 name="Freeform 57"/>
            <p:cNvSpPr>
              <a:spLocks noChangeAspect="1"/>
            </p:cNvSpPr>
            <p:nvPr/>
          </p:nvSpPr>
          <p:spPr bwMode="auto">
            <a:xfrm>
              <a:off x="4190792" y="2528885"/>
              <a:ext cx="190605" cy="125099"/>
            </a:xfrm>
            <a:custGeom>
              <a:avLst/>
              <a:gdLst>
                <a:gd name="T0" fmla="*/ 64879 w 99"/>
                <a:gd name="T1" fmla="*/ 153987 h 81"/>
                <a:gd name="T2" fmla="*/ 59155 w 99"/>
                <a:gd name="T3" fmla="*/ 148284 h 81"/>
                <a:gd name="T4" fmla="*/ 49614 w 99"/>
                <a:gd name="T5" fmla="*/ 146383 h 81"/>
                <a:gd name="T6" fmla="*/ 34348 w 99"/>
                <a:gd name="T7" fmla="*/ 148284 h 81"/>
                <a:gd name="T8" fmla="*/ 22899 w 99"/>
                <a:gd name="T9" fmla="*/ 152086 h 81"/>
                <a:gd name="T10" fmla="*/ 17174 w 99"/>
                <a:gd name="T11" fmla="*/ 150185 h 81"/>
                <a:gd name="T12" fmla="*/ 11449 w 99"/>
                <a:gd name="T13" fmla="*/ 148284 h 81"/>
                <a:gd name="T14" fmla="*/ 11449 w 99"/>
                <a:gd name="T15" fmla="*/ 140679 h 81"/>
                <a:gd name="T16" fmla="*/ 5725 w 99"/>
                <a:gd name="T17" fmla="*/ 138778 h 81"/>
                <a:gd name="T18" fmla="*/ 5725 w 99"/>
                <a:gd name="T19" fmla="*/ 131174 h 81"/>
                <a:gd name="T20" fmla="*/ 3816 w 99"/>
                <a:gd name="T21" fmla="*/ 114064 h 81"/>
                <a:gd name="T22" fmla="*/ 7633 w 99"/>
                <a:gd name="T23" fmla="*/ 100757 h 81"/>
                <a:gd name="T24" fmla="*/ 1908 w 99"/>
                <a:gd name="T25" fmla="*/ 89350 h 81"/>
                <a:gd name="T26" fmla="*/ 15266 w 99"/>
                <a:gd name="T27" fmla="*/ 89350 h 81"/>
                <a:gd name="T28" fmla="*/ 24807 w 99"/>
                <a:gd name="T29" fmla="*/ 77944 h 81"/>
                <a:gd name="T30" fmla="*/ 20990 w 99"/>
                <a:gd name="T31" fmla="*/ 70340 h 81"/>
                <a:gd name="T32" fmla="*/ 26715 w 99"/>
                <a:gd name="T33" fmla="*/ 70340 h 81"/>
                <a:gd name="T34" fmla="*/ 22899 w 99"/>
                <a:gd name="T35" fmla="*/ 57032 h 81"/>
                <a:gd name="T36" fmla="*/ 30531 w 99"/>
                <a:gd name="T37" fmla="*/ 53230 h 81"/>
                <a:gd name="T38" fmla="*/ 38164 w 99"/>
                <a:gd name="T39" fmla="*/ 47527 h 81"/>
                <a:gd name="T40" fmla="*/ 49614 w 99"/>
                <a:gd name="T41" fmla="*/ 55131 h 81"/>
                <a:gd name="T42" fmla="*/ 57246 w 99"/>
                <a:gd name="T43" fmla="*/ 51329 h 81"/>
                <a:gd name="T44" fmla="*/ 57246 w 99"/>
                <a:gd name="T45" fmla="*/ 41824 h 81"/>
                <a:gd name="T46" fmla="*/ 66787 w 99"/>
                <a:gd name="T47" fmla="*/ 43725 h 81"/>
                <a:gd name="T48" fmla="*/ 66787 w 99"/>
                <a:gd name="T49" fmla="*/ 34219 h 81"/>
                <a:gd name="T50" fmla="*/ 78237 w 99"/>
                <a:gd name="T51" fmla="*/ 26615 h 81"/>
                <a:gd name="T52" fmla="*/ 83961 w 99"/>
                <a:gd name="T53" fmla="*/ 28516 h 81"/>
                <a:gd name="T54" fmla="*/ 87778 w 99"/>
                <a:gd name="T55" fmla="*/ 19011 h 81"/>
                <a:gd name="T56" fmla="*/ 118309 w 99"/>
                <a:gd name="T57" fmla="*/ 1901 h 81"/>
                <a:gd name="T58" fmla="*/ 135483 w 99"/>
                <a:gd name="T59" fmla="*/ 5703 h 81"/>
                <a:gd name="T60" fmla="*/ 133575 w 99"/>
                <a:gd name="T61" fmla="*/ 22813 h 81"/>
                <a:gd name="T62" fmla="*/ 137391 w 99"/>
                <a:gd name="T63" fmla="*/ 36120 h 81"/>
                <a:gd name="T64" fmla="*/ 148841 w 99"/>
                <a:gd name="T65" fmla="*/ 45626 h 81"/>
                <a:gd name="T66" fmla="*/ 154565 w 99"/>
                <a:gd name="T67" fmla="*/ 47527 h 81"/>
                <a:gd name="T68" fmla="*/ 148841 w 99"/>
                <a:gd name="T69" fmla="*/ 60834 h 81"/>
                <a:gd name="T70" fmla="*/ 171739 w 99"/>
                <a:gd name="T71" fmla="*/ 70340 h 81"/>
                <a:gd name="T72" fmla="*/ 179372 w 99"/>
                <a:gd name="T73" fmla="*/ 68439 h 81"/>
                <a:gd name="T74" fmla="*/ 187005 w 99"/>
                <a:gd name="T75" fmla="*/ 74142 h 81"/>
                <a:gd name="T76" fmla="*/ 183188 w 99"/>
                <a:gd name="T77" fmla="*/ 79845 h 81"/>
                <a:gd name="T78" fmla="*/ 185097 w 99"/>
                <a:gd name="T79" fmla="*/ 91252 h 81"/>
                <a:gd name="T80" fmla="*/ 188913 w 99"/>
                <a:gd name="T81" fmla="*/ 93153 h 81"/>
                <a:gd name="T82" fmla="*/ 187005 w 99"/>
                <a:gd name="T83" fmla="*/ 100757 h 81"/>
                <a:gd name="T84" fmla="*/ 177464 w 99"/>
                <a:gd name="T85" fmla="*/ 104559 h 81"/>
                <a:gd name="T86" fmla="*/ 166014 w 99"/>
                <a:gd name="T87" fmla="*/ 104559 h 81"/>
                <a:gd name="T88" fmla="*/ 158382 w 99"/>
                <a:gd name="T89" fmla="*/ 106460 h 81"/>
                <a:gd name="T90" fmla="*/ 158382 w 99"/>
                <a:gd name="T91" fmla="*/ 115966 h 81"/>
                <a:gd name="T92" fmla="*/ 152657 w 99"/>
                <a:gd name="T93" fmla="*/ 114064 h 81"/>
                <a:gd name="T94" fmla="*/ 150749 w 99"/>
                <a:gd name="T95" fmla="*/ 121669 h 81"/>
                <a:gd name="T96" fmla="*/ 141208 w 99"/>
                <a:gd name="T97" fmla="*/ 119768 h 81"/>
                <a:gd name="T98" fmla="*/ 131667 w 99"/>
                <a:gd name="T99" fmla="*/ 115966 h 81"/>
                <a:gd name="T100" fmla="*/ 124034 w 99"/>
                <a:gd name="T101" fmla="*/ 112163 h 81"/>
                <a:gd name="T102" fmla="*/ 116401 w 99"/>
                <a:gd name="T103" fmla="*/ 115966 h 81"/>
                <a:gd name="T104" fmla="*/ 83961 w 99"/>
                <a:gd name="T105" fmla="*/ 115966 h 81"/>
                <a:gd name="T106" fmla="*/ 64879 w 99"/>
                <a:gd name="T107" fmla="*/ 115966 h 81"/>
                <a:gd name="T108" fmla="*/ 61063 w 99"/>
                <a:gd name="T109" fmla="*/ 123570 h 81"/>
                <a:gd name="T110" fmla="*/ 64879 w 99"/>
                <a:gd name="T111" fmla="*/ 129273 h 81"/>
                <a:gd name="T112" fmla="*/ 62971 w 99"/>
                <a:gd name="T113" fmla="*/ 133075 h 81"/>
                <a:gd name="T114" fmla="*/ 66787 w 99"/>
                <a:gd name="T115" fmla="*/ 136877 h 81"/>
                <a:gd name="T116" fmla="*/ 62971 w 99"/>
                <a:gd name="T117" fmla="*/ 138778 h 81"/>
                <a:gd name="T118" fmla="*/ 64879 w 99"/>
                <a:gd name="T119" fmla="*/ 15398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 name="Freeform 58"/>
            <p:cNvSpPr>
              <a:spLocks noChangeAspect="1"/>
            </p:cNvSpPr>
            <p:nvPr/>
          </p:nvSpPr>
          <p:spPr bwMode="auto">
            <a:xfrm>
              <a:off x="4246853" y="2619163"/>
              <a:ext cx="112120" cy="143154"/>
            </a:xfrm>
            <a:custGeom>
              <a:avLst/>
              <a:gdLst>
                <a:gd name="T0" fmla="*/ 9580 w 58"/>
                <a:gd name="T1" fmla="*/ 168551 h 92"/>
                <a:gd name="T2" fmla="*/ 32571 w 58"/>
                <a:gd name="T3" fmla="*/ 176212 h 92"/>
                <a:gd name="T4" fmla="*/ 40235 w 58"/>
                <a:gd name="T5" fmla="*/ 168551 h 92"/>
                <a:gd name="T6" fmla="*/ 55563 w 58"/>
                <a:gd name="T7" fmla="*/ 168551 h 92"/>
                <a:gd name="T8" fmla="*/ 65142 w 58"/>
                <a:gd name="T9" fmla="*/ 162805 h 92"/>
                <a:gd name="T10" fmla="*/ 72806 w 58"/>
                <a:gd name="T11" fmla="*/ 155143 h 92"/>
                <a:gd name="T12" fmla="*/ 90050 w 58"/>
                <a:gd name="T13" fmla="*/ 151312 h 92"/>
                <a:gd name="T14" fmla="*/ 99629 w 58"/>
                <a:gd name="T15" fmla="*/ 145566 h 92"/>
                <a:gd name="T16" fmla="*/ 111125 w 58"/>
                <a:gd name="T17" fmla="*/ 141736 h 92"/>
                <a:gd name="T18" fmla="*/ 93881 w 58"/>
                <a:gd name="T19" fmla="*/ 132159 h 92"/>
                <a:gd name="T20" fmla="*/ 88134 w 58"/>
                <a:gd name="T21" fmla="*/ 124498 h 92"/>
                <a:gd name="T22" fmla="*/ 91966 w 58"/>
                <a:gd name="T23" fmla="*/ 111090 h 92"/>
                <a:gd name="T24" fmla="*/ 90050 w 58"/>
                <a:gd name="T25" fmla="*/ 103429 h 92"/>
                <a:gd name="T26" fmla="*/ 91966 w 58"/>
                <a:gd name="T27" fmla="*/ 88106 h 92"/>
                <a:gd name="T28" fmla="*/ 93881 w 58"/>
                <a:gd name="T29" fmla="*/ 80445 h 92"/>
                <a:gd name="T30" fmla="*/ 90050 w 58"/>
                <a:gd name="T31" fmla="*/ 70868 h 92"/>
                <a:gd name="T32" fmla="*/ 90050 w 58"/>
                <a:gd name="T33" fmla="*/ 49799 h 92"/>
                <a:gd name="T34" fmla="*/ 84302 w 58"/>
                <a:gd name="T35" fmla="*/ 44053 h 92"/>
                <a:gd name="T36" fmla="*/ 86218 w 58"/>
                <a:gd name="T37" fmla="*/ 26815 h 92"/>
                <a:gd name="T38" fmla="*/ 80470 w 58"/>
                <a:gd name="T39" fmla="*/ 22984 h 92"/>
                <a:gd name="T40" fmla="*/ 80470 w 58"/>
                <a:gd name="T41" fmla="*/ 17238 h 92"/>
                <a:gd name="T42" fmla="*/ 74722 w 58"/>
                <a:gd name="T43" fmla="*/ 11492 h 92"/>
                <a:gd name="T44" fmla="*/ 76638 w 58"/>
                <a:gd name="T45" fmla="*/ 3831 h 92"/>
                <a:gd name="T46" fmla="*/ 68974 w 58"/>
                <a:gd name="T47" fmla="*/ 0 h 92"/>
                <a:gd name="T48" fmla="*/ 61310 w 58"/>
                <a:gd name="T49" fmla="*/ 3831 h 92"/>
                <a:gd name="T50" fmla="*/ 28739 w 58"/>
                <a:gd name="T51" fmla="*/ 3831 h 92"/>
                <a:gd name="T52" fmla="*/ 9580 w 58"/>
                <a:gd name="T53" fmla="*/ 3831 h 92"/>
                <a:gd name="T54" fmla="*/ 5748 w 58"/>
                <a:gd name="T55" fmla="*/ 11492 h 92"/>
                <a:gd name="T56" fmla="*/ 9580 w 58"/>
                <a:gd name="T57" fmla="*/ 17238 h 92"/>
                <a:gd name="T58" fmla="*/ 7664 w 58"/>
                <a:gd name="T59" fmla="*/ 21069 h 92"/>
                <a:gd name="T60" fmla="*/ 11496 w 58"/>
                <a:gd name="T61" fmla="*/ 24900 h 92"/>
                <a:gd name="T62" fmla="*/ 7664 w 58"/>
                <a:gd name="T63" fmla="*/ 26815 h 92"/>
                <a:gd name="T64" fmla="*/ 9580 w 58"/>
                <a:gd name="T65" fmla="*/ 42138 h 92"/>
                <a:gd name="T66" fmla="*/ 11496 w 58"/>
                <a:gd name="T67" fmla="*/ 53630 h 92"/>
                <a:gd name="T68" fmla="*/ 13412 w 58"/>
                <a:gd name="T69" fmla="*/ 61291 h 92"/>
                <a:gd name="T70" fmla="*/ 15328 w 58"/>
                <a:gd name="T71" fmla="*/ 70868 h 92"/>
                <a:gd name="T72" fmla="*/ 15328 w 58"/>
                <a:gd name="T73" fmla="*/ 80445 h 92"/>
                <a:gd name="T74" fmla="*/ 11496 w 58"/>
                <a:gd name="T75" fmla="*/ 90021 h 92"/>
                <a:gd name="T76" fmla="*/ 9580 w 58"/>
                <a:gd name="T77" fmla="*/ 107259 h 92"/>
                <a:gd name="T78" fmla="*/ 1916 w 58"/>
                <a:gd name="T79" fmla="*/ 118752 h 92"/>
                <a:gd name="T80" fmla="*/ 5748 w 58"/>
                <a:gd name="T81" fmla="*/ 134074 h 92"/>
                <a:gd name="T82" fmla="*/ 3832 w 58"/>
                <a:gd name="T83" fmla="*/ 147482 h 92"/>
                <a:gd name="T84" fmla="*/ 11496 w 58"/>
                <a:gd name="T85" fmla="*/ 153228 h 92"/>
                <a:gd name="T86" fmla="*/ 11496 w 58"/>
                <a:gd name="T87" fmla="*/ 164720 h 92"/>
                <a:gd name="T88" fmla="*/ 9580 w 58"/>
                <a:gd name="T89" fmla="*/ 168551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 name="Freeform 59"/>
            <p:cNvSpPr>
              <a:spLocks noChangeAspect="1"/>
            </p:cNvSpPr>
            <p:nvPr/>
          </p:nvSpPr>
          <p:spPr bwMode="auto">
            <a:xfrm>
              <a:off x="4322133" y="2623032"/>
              <a:ext cx="46450" cy="110913"/>
            </a:xfrm>
            <a:custGeom>
              <a:avLst/>
              <a:gdLst>
                <a:gd name="T0" fmla="*/ 36447 w 24"/>
                <a:gd name="T1" fmla="*/ 136525 h 72"/>
                <a:gd name="T2" fmla="*/ 19183 w 24"/>
                <a:gd name="T3" fmla="*/ 127044 h 72"/>
                <a:gd name="T4" fmla="*/ 13428 w 24"/>
                <a:gd name="T5" fmla="*/ 119459 h 72"/>
                <a:gd name="T6" fmla="*/ 17264 w 24"/>
                <a:gd name="T7" fmla="*/ 106186 h 72"/>
                <a:gd name="T8" fmla="*/ 15346 w 24"/>
                <a:gd name="T9" fmla="*/ 98601 h 72"/>
                <a:gd name="T10" fmla="*/ 17264 w 24"/>
                <a:gd name="T11" fmla="*/ 83432 h 72"/>
                <a:gd name="T12" fmla="*/ 19183 w 24"/>
                <a:gd name="T13" fmla="*/ 75847 h 72"/>
                <a:gd name="T14" fmla="*/ 15346 w 24"/>
                <a:gd name="T15" fmla="*/ 66366 h 72"/>
                <a:gd name="T16" fmla="*/ 15346 w 24"/>
                <a:gd name="T17" fmla="*/ 45508 h 72"/>
                <a:gd name="T18" fmla="*/ 9591 w 24"/>
                <a:gd name="T19" fmla="*/ 39820 h 72"/>
                <a:gd name="T20" fmla="*/ 11510 w 24"/>
                <a:gd name="T21" fmla="*/ 22754 h 72"/>
                <a:gd name="T22" fmla="*/ 5755 w 24"/>
                <a:gd name="T23" fmla="*/ 18962 h 72"/>
                <a:gd name="T24" fmla="*/ 5755 w 24"/>
                <a:gd name="T25" fmla="*/ 13273 h 72"/>
                <a:gd name="T26" fmla="*/ 0 w 24"/>
                <a:gd name="T27" fmla="*/ 7585 h 72"/>
                <a:gd name="T28" fmla="*/ 1918 w 24"/>
                <a:gd name="T29" fmla="*/ 0 h 72"/>
                <a:gd name="T30" fmla="*/ 11510 w 24"/>
                <a:gd name="T31" fmla="*/ 3792 h 72"/>
                <a:gd name="T32" fmla="*/ 21101 w 24"/>
                <a:gd name="T33" fmla="*/ 5689 h 72"/>
                <a:gd name="T34" fmla="*/ 23019 w 24"/>
                <a:gd name="T35" fmla="*/ 17066 h 72"/>
                <a:gd name="T36" fmla="*/ 32610 w 24"/>
                <a:gd name="T37" fmla="*/ 28443 h 72"/>
                <a:gd name="T38" fmla="*/ 34529 w 24"/>
                <a:gd name="T39" fmla="*/ 45508 h 72"/>
                <a:gd name="T40" fmla="*/ 40283 w 24"/>
                <a:gd name="T41" fmla="*/ 53093 h 72"/>
                <a:gd name="T42" fmla="*/ 40283 w 24"/>
                <a:gd name="T43" fmla="*/ 117563 h 72"/>
                <a:gd name="T44" fmla="*/ 46038 w 24"/>
                <a:gd name="T45" fmla="*/ 130836 h 72"/>
                <a:gd name="T46" fmla="*/ 36447 w 24"/>
                <a:gd name="T47" fmla="*/ 136525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 name="Freeform 60"/>
            <p:cNvSpPr>
              <a:spLocks noChangeAspect="1"/>
            </p:cNvSpPr>
            <p:nvPr/>
          </p:nvSpPr>
          <p:spPr bwMode="auto">
            <a:xfrm>
              <a:off x="4342956" y="2588211"/>
              <a:ext cx="75280" cy="141864"/>
            </a:xfrm>
            <a:custGeom>
              <a:avLst/>
              <a:gdLst>
                <a:gd name="T0" fmla="*/ 24871 w 39"/>
                <a:gd name="T1" fmla="*/ 174625 h 91"/>
                <a:gd name="T2" fmla="*/ 36349 w 39"/>
                <a:gd name="T3" fmla="*/ 172706 h 91"/>
                <a:gd name="T4" fmla="*/ 49741 w 39"/>
                <a:gd name="T5" fmla="*/ 172706 h 91"/>
                <a:gd name="T6" fmla="*/ 45915 w 39"/>
                <a:gd name="T7" fmla="*/ 140084 h 91"/>
                <a:gd name="T8" fmla="*/ 47828 w 39"/>
                <a:gd name="T9" fmla="*/ 120894 h 91"/>
                <a:gd name="T10" fmla="*/ 49741 w 39"/>
                <a:gd name="T11" fmla="*/ 95948 h 91"/>
                <a:gd name="T12" fmla="*/ 57394 w 39"/>
                <a:gd name="T13" fmla="*/ 94029 h 91"/>
                <a:gd name="T14" fmla="*/ 63133 w 39"/>
                <a:gd name="T15" fmla="*/ 78677 h 91"/>
                <a:gd name="T16" fmla="*/ 70786 w 39"/>
                <a:gd name="T17" fmla="*/ 69082 h 91"/>
                <a:gd name="T18" fmla="*/ 66959 w 39"/>
                <a:gd name="T19" fmla="*/ 59488 h 91"/>
                <a:gd name="T20" fmla="*/ 74612 w 39"/>
                <a:gd name="T21" fmla="*/ 55650 h 91"/>
                <a:gd name="T22" fmla="*/ 68873 w 39"/>
                <a:gd name="T23" fmla="*/ 46055 h 91"/>
                <a:gd name="T24" fmla="*/ 65046 w 39"/>
                <a:gd name="T25" fmla="*/ 32622 h 91"/>
                <a:gd name="T26" fmla="*/ 70786 w 39"/>
                <a:gd name="T27" fmla="*/ 19190 h 91"/>
                <a:gd name="T28" fmla="*/ 63133 w 39"/>
                <a:gd name="T29" fmla="*/ 17271 h 91"/>
                <a:gd name="T30" fmla="*/ 49741 w 39"/>
                <a:gd name="T31" fmla="*/ 1919 h 91"/>
                <a:gd name="T32" fmla="*/ 42089 w 39"/>
                <a:gd name="T33" fmla="*/ 5757 h 91"/>
                <a:gd name="T34" fmla="*/ 40176 w 39"/>
                <a:gd name="T35" fmla="*/ 15352 h 91"/>
                <a:gd name="T36" fmla="*/ 38263 w 39"/>
                <a:gd name="T37" fmla="*/ 19190 h 91"/>
                <a:gd name="T38" fmla="*/ 36349 w 39"/>
                <a:gd name="T39" fmla="*/ 26865 h 91"/>
                <a:gd name="T40" fmla="*/ 26784 w 39"/>
                <a:gd name="T41" fmla="*/ 30703 h 91"/>
                <a:gd name="T42" fmla="*/ 15305 w 39"/>
                <a:gd name="T43" fmla="*/ 30703 h 91"/>
                <a:gd name="T44" fmla="*/ 7653 w 39"/>
                <a:gd name="T45" fmla="*/ 32622 h 91"/>
                <a:gd name="T46" fmla="*/ 7653 w 39"/>
                <a:gd name="T47" fmla="*/ 42217 h 91"/>
                <a:gd name="T48" fmla="*/ 1913 w 39"/>
                <a:gd name="T49" fmla="*/ 40298 h 91"/>
                <a:gd name="T50" fmla="*/ 0 w 39"/>
                <a:gd name="T51" fmla="*/ 47974 h 91"/>
                <a:gd name="T52" fmla="*/ 1913 w 39"/>
                <a:gd name="T53" fmla="*/ 59488 h 91"/>
                <a:gd name="T54" fmla="*/ 11479 w 39"/>
                <a:gd name="T55" fmla="*/ 71001 h 91"/>
                <a:gd name="T56" fmla="*/ 13392 w 39"/>
                <a:gd name="T57" fmla="*/ 88272 h 91"/>
                <a:gd name="T58" fmla="*/ 19131 w 39"/>
                <a:gd name="T59" fmla="*/ 95948 h 91"/>
                <a:gd name="T60" fmla="*/ 19131 w 39"/>
                <a:gd name="T61" fmla="*/ 161192 h 91"/>
                <a:gd name="T62" fmla="*/ 24871 w 39"/>
                <a:gd name="T63" fmla="*/ 174625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 name="Freeform 61"/>
            <p:cNvSpPr>
              <a:spLocks noChangeAspect="1"/>
            </p:cNvSpPr>
            <p:nvPr/>
          </p:nvSpPr>
          <p:spPr bwMode="auto">
            <a:xfrm>
              <a:off x="4389404" y="2561127"/>
              <a:ext cx="294715" cy="211507"/>
            </a:xfrm>
            <a:custGeom>
              <a:avLst/>
              <a:gdLst>
                <a:gd name="T0" fmla="*/ 148914 w 153"/>
                <a:gd name="T1" fmla="*/ 235645 h 137"/>
                <a:gd name="T2" fmla="*/ 154641 w 153"/>
                <a:gd name="T3" fmla="*/ 205239 h 137"/>
                <a:gd name="T4" fmla="*/ 179460 w 153"/>
                <a:gd name="T5" fmla="*/ 184335 h 137"/>
                <a:gd name="T6" fmla="*/ 190915 w 153"/>
                <a:gd name="T7" fmla="*/ 188136 h 137"/>
                <a:gd name="T8" fmla="*/ 204279 w 153"/>
                <a:gd name="T9" fmla="*/ 197638 h 137"/>
                <a:gd name="T10" fmla="*/ 223371 w 153"/>
                <a:gd name="T11" fmla="*/ 180535 h 137"/>
                <a:gd name="T12" fmla="*/ 231007 w 153"/>
                <a:gd name="T13" fmla="*/ 152029 h 137"/>
                <a:gd name="T14" fmla="*/ 248190 w 153"/>
                <a:gd name="T15" fmla="*/ 119723 h 137"/>
                <a:gd name="T16" fmla="*/ 255826 w 153"/>
                <a:gd name="T17" fmla="*/ 102620 h 137"/>
                <a:gd name="T18" fmla="*/ 271099 w 153"/>
                <a:gd name="T19" fmla="*/ 70314 h 137"/>
                <a:gd name="T20" fmla="*/ 286373 w 153"/>
                <a:gd name="T21" fmla="*/ 43708 h 137"/>
                <a:gd name="T22" fmla="*/ 278736 w 153"/>
                <a:gd name="T23" fmla="*/ 26605 h 137"/>
                <a:gd name="T24" fmla="*/ 263463 w 153"/>
                <a:gd name="T25" fmla="*/ 3801 h 137"/>
                <a:gd name="T26" fmla="*/ 240553 w 153"/>
                <a:gd name="T27" fmla="*/ 13303 h 137"/>
                <a:gd name="T28" fmla="*/ 204279 w 153"/>
                <a:gd name="T29" fmla="*/ 13303 h 137"/>
                <a:gd name="T30" fmla="*/ 166096 w 153"/>
                <a:gd name="T31" fmla="*/ 26605 h 137"/>
                <a:gd name="T32" fmla="*/ 139368 w 153"/>
                <a:gd name="T33" fmla="*/ 17103 h 137"/>
                <a:gd name="T34" fmla="*/ 106912 w 153"/>
                <a:gd name="T35" fmla="*/ 17103 h 137"/>
                <a:gd name="T36" fmla="*/ 61093 w 153"/>
                <a:gd name="T37" fmla="*/ 0 h 137"/>
                <a:gd name="T38" fmla="*/ 30546 w 153"/>
                <a:gd name="T39" fmla="*/ 22804 h 137"/>
                <a:gd name="T40" fmla="*/ 24819 w 153"/>
                <a:gd name="T41" fmla="*/ 53210 h 137"/>
                <a:gd name="T42" fmla="*/ 22910 w 153"/>
                <a:gd name="T43" fmla="*/ 79815 h 137"/>
                <a:gd name="T44" fmla="*/ 21001 w 153"/>
                <a:gd name="T45" fmla="*/ 93118 h 137"/>
                <a:gd name="T46" fmla="*/ 17182 w 153"/>
                <a:gd name="T47" fmla="*/ 112122 h 137"/>
                <a:gd name="T48" fmla="*/ 3818 w 153"/>
                <a:gd name="T49" fmla="*/ 129225 h 137"/>
                <a:gd name="T50" fmla="*/ 0 w 153"/>
                <a:gd name="T51" fmla="*/ 172933 h 137"/>
                <a:gd name="T52" fmla="*/ 22910 w 153"/>
                <a:gd name="T53" fmla="*/ 201439 h 137"/>
                <a:gd name="T54" fmla="*/ 57275 w 153"/>
                <a:gd name="T55" fmla="*/ 214741 h 137"/>
                <a:gd name="T56" fmla="*/ 68729 w 153"/>
                <a:gd name="T57" fmla="*/ 231844 h 137"/>
                <a:gd name="T58" fmla="*/ 70639 w 153"/>
                <a:gd name="T59" fmla="*/ 254649 h 137"/>
                <a:gd name="T60" fmla="*/ 106912 w 153"/>
                <a:gd name="T61" fmla="*/ 258450 h 137"/>
                <a:gd name="T62" fmla="*/ 131731 w 153"/>
                <a:gd name="T63" fmla="*/ 243247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 name="Freeform 62"/>
            <p:cNvSpPr>
              <a:spLocks noChangeAspect="1"/>
            </p:cNvSpPr>
            <p:nvPr/>
          </p:nvSpPr>
          <p:spPr bwMode="auto">
            <a:xfrm>
              <a:off x="4325335" y="2338014"/>
              <a:ext cx="386013" cy="265674"/>
            </a:xfrm>
            <a:custGeom>
              <a:avLst/>
              <a:gdLst>
                <a:gd name="T0" fmla="*/ 327113 w 200"/>
                <a:gd name="T1" fmla="*/ 277591 h 172"/>
                <a:gd name="T2" fmla="*/ 327113 w 200"/>
                <a:gd name="T3" fmla="*/ 249071 h 172"/>
                <a:gd name="T4" fmla="*/ 371110 w 200"/>
                <a:gd name="T5" fmla="*/ 193933 h 172"/>
                <a:gd name="T6" fmla="*/ 369197 w 200"/>
                <a:gd name="T7" fmla="*/ 155907 h 172"/>
                <a:gd name="T8" fmla="*/ 369197 w 200"/>
                <a:gd name="T9" fmla="*/ 114078 h 172"/>
                <a:gd name="T10" fmla="*/ 382588 w 200"/>
                <a:gd name="T11" fmla="*/ 87460 h 172"/>
                <a:gd name="T12" fmla="*/ 369197 w 200"/>
                <a:gd name="T13" fmla="*/ 77954 h 172"/>
                <a:gd name="T14" fmla="*/ 371110 w 200"/>
                <a:gd name="T15" fmla="*/ 66546 h 172"/>
                <a:gd name="T16" fmla="*/ 363459 w 200"/>
                <a:gd name="T17" fmla="*/ 57039 h 172"/>
                <a:gd name="T18" fmla="*/ 365372 w 200"/>
                <a:gd name="T19" fmla="*/ 39927 h 172"/>
                <a:gd name="T20" fmla="*/ 357720 w 200"/>
                <a:gd name="T21" fmla="*/ 17112 h 172"/>
                <a:gd name="T22" fmla="*/ 330939 w 200"/>
                <a:gd name="T23" fmla="*/ 28520 h 172"/>
                <a:gd name="T24" fmla="*/ 319461 w 200"/>
                <a:gd name="T25" fmla="*/ 11408 h 172"/>
                <a:gd name="T26" fmla="*/ 296506 w 200"/>
                <a:gd name="T27" fmla="*/ 9507 h 172"/>
                <a:gd name="T28" fmla="*/ 283115 w 200"/>
                <a:gd name="T29" fmla="*/ 0 h 172"/>
                <a:gd name="T30" fmla="*/ 131993 w 200"/>
                <a:gd name="T31" fmla="*/ 112177 h 172"/>
                <a:gd name="T32" fmla="*/ 101386 w 200"/>
                <a:gd name="T33" fmla="*/ 123585 h 172"/>
                <a:gd name="T34" fmla="*/ 101386 w 200"/>
                <a:gd name="T35" fmla="*/ 209144 h 172"/>
                <a:gd name="T36" fmla="*/ 93734 w 200"/>
                <a:gd name="T37" fmla="*/ 211045 h 172"/>
                <a:gd name="T38" fmla="*/ 89908 w 200"/>
                <a:gd name="T39" fmla="*/ 218650 h 172"/>
                <a:gd name="T40" fmla="*/ 82256 w 200"/>
                <a:gd name="T41" fmla="*/ 220552 h 172"/>
                <a:gd name="T42" fmla="*/ 78431 w 200"/>
                <a:gd name="T43" fmla="*/ 228157 h 172"/>
                <a:gd name="T44" fmla="*/ 26781 w 200"/>
                <a:gd name="T45" fmla="*/ 233861 h 172"/>
                <a:gd name="T46" fmla="*/ 19129 w 200"/>
                <a:gd name="T47" fmla="*/ 241466 h 172"/>
                <a:gd name="T48" fmla="*/ 1913 w 200"/>
                <a:gd name="T49" fmla="*/ 239565 h 172"/>
                <a:gd name="T50" fmla="*/ 0 w 200"/>
                <a:gd name="T51" fmla="*/ 256677 h 172"/>
                <a:gd name="T52" fmla="*/ 3826 w 200"/>
                <a:gd name="T53" fmla="*/ 269986 h 172"/>
                <a:gd name="T54" fmla="*/ 15304 w 200"/>
                <a:gd name="T55" fmla="*/ 279492 h 172"/>
                <a:gd name="T56" fmla="*/ 21042 w 200"/>
                <a:gd name="T57" fmla="*/ 281394 h 172"/>
                <a:gd name="T58" fmla="*/ 15304 w 200"/>
                <a:gd name="T59" fmla="*/ 294703 h 172"/>
                <a:gd name="T60" fmla="*/ 38259 w 200"/>
                <a:gd name="T61" fmla="*/ 304209 h 172"/>
                <a:gd name="T62" fmla="*/ 45911 w 200"/>
                <a:gd name="T63" fmla="*/ 302308 h 172"/>
                <a:gd name="T64" fmla="*/ 53562 w 200"/>
                <a:gd name="T65" fmla="*/ 308012 h 172"/>
                <a:gd name="T66" fmla="*/ 49736 w 200"/>
                <a:gd name="T67" fmla="*/ 313716 h 172"/>
                <a:gd name="T68" fmla="*/ 51649 w 200"/>
                <a:gd name="T69" fmla="*/ 325124 h 172"/>
                <a:gd name="T70" fmla="*/ 55475 w 200"/>
                <a:gd name="T71" fmla="*/ 327025 h 172"/>
                <a:gd name="T72" fmla="*/ 57388 w 200"/>
                <a:gd name="T73" fmla="*/ 323222 h 172"/>
                <a:gd name="T74" fmla="*/ 59301 w 200"/>
                <a:gd name="T75" fmla="*/ 313716 h 172"/>
                <a:gd name="T76" fmla="*/ 66953 w 200"/>
                <a:gd name="T77" fmla="*/ 309913 h 172"/>
                <a:gd name="T78" fmla="*/ 80343 w 200"/>
                <a:gd name="T79" fmla="*/ 325124 h 172"/>
                <a:gd name="T80" fmla="*/ 87995 w 200"/>
                <a:gd name="T81" fmla="*/ 327025 h 172"/>
                <a:gd name="T82" fmla="*/ 86082 w 200"/>
                <a:gd name="T83" fmla="*/ 308012 h 172"/>
                <a:gd name="T84" fmla="*/ 93734 w 200"/>
                <a:gd name="T85" fmla="*/ 296604 h 172"/>
                <a:gd name="T86" fmla="*/ 99473 w 200"/>
                <a:gd name="T87" fmla="*/ 277591 h 172"/>
                <a:gd name="T88" fmla="*/ 124341 w 200"/>
                <a:gd name="T89" fmla="*/ 273788 h 172"/>
                <a:gd name="T90" fmla="*/ 154948 w 200"/>
                <a:gd name="T91" fmla="*/ 283295 h 172"/>
                <a:gd name="T92" fmla="*/ 170252 w 200"/>
                <a:gd name="T93" fmla="*/ 290900 h 172"/>
                <a:gd name="T94" fmla="*/ 183642 w 200"/>
                <a:gd name="T95" fmla="*/ 287098 h 172"/>
                <a:gd name="T96" fmla="*/ 202772 w 200"/>
                <a:gd name="T97" fmla="*/ 290900 h 172"/>
                <a:gd name="T98" fmla="*/ 218075 w 200"/>
                <a:gd name="T99" fmla="*/ 302308 h 172"/>
                <a:gd name="T100" fmla="*/ 229553 w 200"/>
                <a:gd name="T101" fmla="*/ 300407 h 172"/>
                <a:gd name="T102" fmla="*/ 244856 w 200"/>
                <a:gd name="T103" fmla="*/ 288999 h 172"/>
                <a:gd name="T104" fmla="*/ 267812 w 200"/>
                <a:gd name="T105" fmla="*/ 287098 h 172"/>
                <a:gd name="T106" fmla="*/ 292680 w 200"/>
                <a:gd name="T107" fmla="*/ 290900 h 172"/>
                <a:gd name="T108" fmla="*/ 304157 w 200"/>
                <a:gd name="T109" fmla="*/ 287098 h 172"/>
                <a:gd name="T110" fmla="*/ 313722 w 200"/>
                <a:gd name="T111" fmla="*/ 279492 h 172"/>
                <a:gd name="T112" fmla="*/ 327113 w 200"/>
                <a:gd name="T113" fmla="*/ 277591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 name="Freeform 63"/>
            <p:cNvSpPr>
              <a:spLocks noChangeAspect="1"/>
            </p:cNvSpPr>
            <p:nvPr/>
          </p:nvSpPr>
          <p:spPr bwMode="auto">
            <a:xfrm>
              <a:off x="4113910" y="2013015"/>
              <a:ext cx="496531" cy="430752"/>
            </a:xfrm>
            <a:custGeom>
              <a:avLst/>
              <a:gdLst>
                <a:gd name="T0" fmla="*/ 341436 w 258"/>
                <a:gd name="T1" fmla="*/ 513059 h 278"/>
                <a:gd name="T2" fmla="*/ 288027 w 258"/>
                <a:gd name="T3" fmla="*/ 530225 h 278"/>
                <a:gd name="T4" fmla="*/ 284212 w 258"/>
                <a:gd name="T5" fmla="*/ 507338 h 278"/>
                <a:gd name="T6" fmla="*/ 255600 w 258"/>
                <a:gd name="T7" fmla="*/ 495894 h 278"/>
                <a:gd name="T8" fmla="*/ 236525 w 258"/>
                <a:gd name="T9" fmla="*/ 482543 h 278"/>
                <a:gd name="T10" fmla="*/ 91558 w 258"/>
                <a:gd name="T11" fmla="*/ 356662 h 278"/>
                <a:gd name="T12" fmla="*/ 0 w 258"/>
                <a:gd name="T13" fmla="*/ 280371 h 278"/>
                <a:gd name="T14" fmla="*/ 19075 w 258"/>
                <a:gd name="T15" fmla="*/ 236503 h 278"/>
                <a:gd name="T16" fmla="*/ 47687 w 258"/>
                <a:gd name="T17" fmla="*/ 223152 h 278"/>
                <a:gd name="T18" fmla="*/ 68669 w 258"/>
                <a:gd name="T19" fmla="*/ 217430 h 278"/>
                <a:gd name="T20" fmla="*/ 95373 w 258"/>
                <a:gd name="T21" fmla="*/ 196450 h 278"/>
                <a:gd name="T22" fmla="*/ 123985 w 258"/>
                <a:gd name="T23" fmla="*/ 183099 h 278"/>
                <a:gd name="T24" fmla="*/ 122078 w 258"/>
                <a:gd name="T25" fmla="*/ 164026 h 278"/>
                <a:gd name="T26" fmla="*/ 162134 w 258"/>
                <a:gd name="T27" fmla="*/ 154490 h 278"/>
                <a:gd name="T28" fmla="*/ 179301 w 258"/>
                <a:gd name="T29" fmla="*/ 139232 h 278"/>
                <a:gd name="T30" fmla="*/ 171671 w 258"/>
                <a:gd name="T31" fmla="*/ 123973 h 278"/>
                <a:gd name="T32" fmla="*/ 167857 w 258"/>
                <a:gd name="T33" fmla="*/ 95364 h 278"/>
                <a:gd name="T34" fmla="*/ 156412 w 258"/>
                <a:gd name="T35" fmla="*/ 59126 h 278"/>
                <a:gd name="T36" fmla="*/ 177394 w 258"/>
                <a:gd name="T37" fmla="*/ 43868 h 278"/>
                <a:gd name="T38" fmla="*/ 204098 w 258"/>
                <a:gd name="T39" fmla="*/ 34331 h 278"/>
                <a:gd name="T40" fmla="*/ 238433 w 258"/>
                <a:gd name="T41" fmla="*/ 13351 h 278"/>
                <a:gd name="T42" fmla="*/ 288027 w 258"/>
                <a:gd name="T43" fmla="*/ 5722 h 278"/>
                <a:gd name="T44" fmla="*/ 326176 w 258"/>
                <a:gd name="T45" fmla="*/ 7629 h 278"/>
                <a:gd name="T46" fmla="*/ 343343 w 258"/>
                <a:gd name="T47" fmla="*/ 5722 h 278"/>
                <a:gd name="T48" fmla="*/ 366233 w 258"/>
                <a:gd name="T49" fmla="*/ 0 h 278"/>
                <a:gd name="T50" fmla="*/ 381492 w 258"/>
                <a:gd name="T51" fmla="*/ 0 h 278"/>
                <a:gd name="T52" fmla="*/ 408197 w 258"/>
                <a:gd name="T53" fmla="*/ 3815 h 278"/>
                <a:gd name="T54" fmla="*/ 402474 w 258"/>
                <a:gd name="T55" fmla="*/ 15258 h 278"/>
                <a:gd name="T56" fmla="*/ 404382 w 258"/>
                <a:gd name="T57" fmla="*/ 26702 h 278"/>
                <a:gd name="T58" fmla="*/ 404382 w 258"/>
                <a:gd name="T59" fmla="*/ 55311 h 278"/>
                <a:gd name="T60" fmla="*/ 392937 w 258"/>
                <a:gd name="T61" fmla="*/ 80106 h 278"/>
                <a:gd name="T62" fmla="*/ 383400 w 258"/>
                <a:gd name="T63" fmla="*/ 101086 h 278"/>
                <a:gd name="T64" fmla="*/ 402474 w 258"/>
                <a:gd name="T65" fmla="*/ 125881 h 278"/>
                <a:gd name="T66" fmla="*/ 412012 w 258"/>
                <a:gd name="T67" fmla="*/ 144954 h 278"/>
                <a:gd name="T68" fmla="*/ 431086 w 258"/>
                <a:gd name="T69" fmla="*/ 204079 h 278"/>
                <a:gd name="T70" fmla="*/ 440623 w 258"/>
                <a:gd name="T71" fmla="*/ 247947 h 278"/>
                <a:gd name="T72" fmla="*/ 444438 w 258"/>
                <a:gd name="T73" fmla="*/ 312795 h 278"/>
                <a:gd name="T74" fmla="*/ 448253 w 258"/>
                <a:gd name="T75" fmla="*/ 356662 h 278"/>
                <a:gd name="T76" fmla="*/ 465420 w 258"/>
                <a:gd name="T77" fmla="*/ 375735 h 278"/>
                <a:gd name="T78" fmla="*/ 478773 w 258"/>
                <a:gd name="T79" fmla="*/ 390993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 name="Freeform 64"/>
            <p:cNvSpPr>
              <a:spLocks noChangeAspect="1"/>
            </p:cNvSpPr>
            <p:nvPr/>
          </p:nvSpPr>
          <p:spPr bwMode="auto">
            <a:xfrm>
              <a:off x="4499923" y="2006565"/>
              <a:ext cx="100908" cy="171528"/>
            </a:xfrm>
            <a:custGeom>
              <a:avLst/>
              <a:gdLst>
                <a:gd name="T0" fmla="*/ 49062 w 53"/>
                <a:gd name="T1" fmla="*/ 211138 h 111"/>
                <a:gd name="T2" fmla="*/ 62272 w 53"/>
                <a:gd name="T3" fmla="*/ 203529 h 111"/>
                <a:gd name="T4" fmla="*/ 66046 w 53"/>
                <a:gd name="T5" fmla="*/ 192117 h 111"/>
                <a:gd name="T6" fmla="*/ 62272 w 53"/>
                <a:gd name="T7" fmla="*/ 171193 h 111"/>
                <a:gd name="T8" fmla="*/ 71707 w 53"/>
                <a:gd name="T9" fmla="*/ 165487 h 111"/>
                <a:gd name="T10" fmla="*/ 83029 w 53"/>
                <a:gd name="T11" fmla="*/ 154074 h 111"/>
                <a:gd name="T12" fmla="*/ 98125 w 53"/>
                <a:gd name="T13" fmla="*/ 144563 h 111"/>
                <a:gd name="T14" fmla="*/ 94351 w 53"/>
                <a:gd name="T15" fmla="*/ 138857 h 111"/>
                <a:gd name="T16" fmla="*/ 96238 w 53"/>
                <a:gd name="T17" fmla="*/ 123639 h 111"/>
                <a:gd name="T18" fmla="*/ 71707 w 53"/>
                <a:gd name="T19" fmla="*/ 110324 h 111"/>
                <a:gd name="T20" fmla="*/ 64159 w 53"/>
                <a:gd name="T21" fmla="*/ 104618 h 111"/>
                <a:gd name="T22" fmla="*/ 60385 w 53"/>
                <a:gd name="T23" fmla="*/ 91303 h 111"/>
                <a:gd name="T24" fmla="*/ 73594 w 53"/>
                <a:gd name="T25" fmla="*/ 85596 h 111"/>
                <a:gd name="T26" fmla="*/ 83029 w 53"/>
                <a:gd name="T27" fmla="*/ 66575 h 111"/>
                <a:gd name="T28" fmla="*/ 83029 w 53"/>
                <a:gd name="T29" fmla="*/ 47554 h 111"/>
                <a:gd name="T30" fmla="*/ 71707 w 53"/>
                <a:gd name="T31" fmla="*/ 39945 h 111"/>
                <a:gd name="T32" fmla="*/ 69820 w 53"/>
                <a:gd name="T33" fmla="*/ 32336 h 111"/>
                <a:gd name="T34" fmla="*/ 79255 w 53"/>
                <a:gd name="T35" fmla="*/ 26630 h 111"/>
                <a:gd name="T36" fmla="*/ 84916 w 53"/>
                <a:gd name="T37" fmla="*/ 15217 h 111"/>
                <a:gd name="T38" fmla="*/ 83029 w 53"/>
                <a:gd name="T39" fmla="*/ 7609 h 111"/>
                <a:gd name="T40" fmla="*/ 73594 w 53"/>
                <a:gd name="T41" fmla="*/ 17119 h 111"/>
                <a:gd name="T42" fmla="*/ 64159 w 53"/>
                <a:gd name="T43" fmla="*/ 15217 h 111"/>
                <a:gd name="T44" fmla="*/ 67933 w 53"/>
                <a:gd name="T45" fmla="*/ 5706 h 111"/>
                <a:gd name="T46" fmla="*/ 56611 w 53"/>
                <a:gd name="T47" fmla="*/ 1902 h 111"/>
                <a:gd name="T48" fmla="*/ 41514 w 53"/>
                <a:gd name="T49" fmla="*/ 1902 h 111"/>
                <a:gd name="T50" fmla="*/ 26418 w 53"/>
                <a:gd name="T51" fmla="*/ 11413 h 111"/>
                <a:gd name="T52" fmla="*/ 26418 w 53"/>
                <a:gd name="T53" fmla="*/ 17119 h 111"/>
                <a:gd name="T54" fmla="*/ 20757 w 53"/>
                <a:gd name="T55" fmla="*/ 22826 h 111"/>
                <a:gd name="T56" fmla="*/ 16983 w 53"/>
                <a:gd name="T57" fmla="*/ 26630 h 111"/>
                <a:gd name="T58" fmla="*/ 22644 w 53"/>
                <a:gd name="T59" fmla="*/ 34239 h 111"/>
                <a:gd name="T60" fmla="*/ 20757 w 53"/>
                <a:gd name="T61" fmla="*/ 41847 h 111"/>
                <a:gd name="T62" fmla="*/ 22644 w 53"/>
                <a:gd name="T63" fmla="*/ 62771 h 111"/>
                <a:gd name="T64" fmla="*/ 18870 w 53"/>
                <a:gd name="T65" fmla="*/ 79890 h 111"/>
                <a:gd name="T66" fmla="*/ 11322 w 53"/>
                <a:gd name="T67" fmla="*/ 87499 h 111"/>
                <a:gd name="T68" fmla="*/ 1887 w 53"/>
                <a:gd name="T69" fmla="*/ 98911 h 111"/>
                <a:gd name="T70" fmla="*/ 1887 w 53"/>
                <a:gd name="T71" fmla="*/ 108422 h 111"/>
                <a:gd name="T72" fmla="*/ 7548 w 53"/>
                <a:gd name="T73" fmla="*/ 123639 h 111"/>
                <a:gd name="T74" fmla="*/ 20757 w 53"/>
                <a:gd name="T75" fmla="*/ 133150 h 111"/>
                <a:gd name="T76" fmla="*/ 20757 w 53"/>
                <a:gd name="T77" fmla="*/ 144563 h 111"/>
                <a:gd name="T78" fmla="*/ 30192 w 53"/>
                <a:gd name="T79" fmla="*/ 152172 h 111"/>
                <a:gd name="T80" fmla="*/ 39627 w 53"/>
                <a:gd name="T81" fmla="*/ 155976 h 111"/>
                <a:gd name="T82" fmla="*/ 49062 w 53"/>
                <a:gd name="T83" fmla="*/ 211138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 name="Freeform 65"/>
            <p:cNvSpPr>
              <a:spLocks noChangeAspect="1"/>
            </p:cNvSpPr>
            <p:nvPr/>
          </p:nvSpPr>
          <p:spPr bwMode="auto">
            <a:xfrm>
              <a:off x="4543169" y="2817774"/>
              <a:ext cx="140951" cy="139285"/>
            </a:xfrm>
            <a:custGeom>
              <a:avLst/>
              <a:gdLst>
                <a:gd name="T0" fmla="*/ 109081 w 73"/>
                <a:gd name="T1" fmla="*/ 3810 h 90"/>
                <a:gd name="T2" fmla="*/ 95685 w 73"/>
                <a:gd name="T3" fmla="*/ 0 h 90"/>
                <a:gd name="T4" fmla="*/ 57411 w 73"/>
                <a:gd name="T5" fmla="*/ 0 h 90"/>
                <a:gd name="T6" fmla="*/ 55497 w 73"/>
                <a:gd name="T7" fmla="*/ 5715 h 90"/>
                <a:gd name="T8" fmla="*/ 57411 w 73"/>
                <a:gd name="T9" fmla="*/ 30480 h 90"/>
                <a:gd name="T10" fmla="*/ 51670 w 73"/>
                <a:gd name="T11" fmla="*/ 34290 h 90"/>
                <a:gd name="T12" fmla="*/ 17223 w 73"/>
                <a:gd name="T13" fmla="*/ 32385 h 90"/>
                <a:gd name="T14" fmla="*/ 15310 w 73"/>
                <a:gd name="T15" fmla="*/ 47625 h 90"/>
                <a:gd name="T16" fmla="*/ 11482 w 73"/>
                <a:gd name="T17" fmla="*/ 64770 h 90"/>
                <a:gd name="T18" fmla="*/ 5741 w 73"/>
                <a:gd name="T19" fmla="*/ 85725 h 90"/>
                <a:gd name="T20" fmla="*/ 0 w 73"/>
                <a:gd name="T21" fmla="*/ 81915 h 90"/>
                <a:gd name="T22" fmla="*/ 5741 w 73"/>
                <a:gd name="T23" fmla="*/ 99060 h 90"/>
                <a:gd name="T24" fmla="*/ 17223 w 73"/>
                <a:gd name="T25" fmla="*/ 108585 h 90"/>
                <a:gd name="T26" fmla="*/ 9568 w 73"/>
                <a:gd name="T27" fmla="*/ 110490 h 90"/>
                <a:gd name="T28" fmla="*/ 17223 w 73"/>
                <a:gd name="T29" fmla="*/ 118110 h 90"/>
                <a:gd name="T30" fmla="*/ 15310 w 73"/>
                <a:gd name="T31" fmla="*/ 125730 h 90"/>
                <a:gd name="T32" fmla="*/ 28705 w 73"/>
                <a:gd name="T33" fmla="*/ 133350 h 90"/>
                <a:gd name="T34" fmla="*/ 22964 w 73"/>
                <a:gd name="T35" fmla="*/ 135255 h 90"/>
                <a:gd name="T36" fmla="*/ 32533 w 73"/>
                <a:gd name="T37" fmla="*/ 146685 h 90"/>
                <a:gd name="T38" fmla="*/ 44015 w 73"/>
                <a:gd name="T39" fmla="*/ 163830 h 90"/>
                <a:gd name="T40" fmla="*/ 53584 w 73"/>
                <a:gd name="T41" fmla="*/ 171450 h 90"/>
                <a:gd name="T42" fmla="*/ 57411 w 73"/>
                <a:gd name="T43" fmla="*/ 161925 h 90"/>
                <a:gd name="T44" fmla="*/ 68893 w 73"/>
                <a:gd name="T45" fmla="*/ 163830 h 90"/>
                <a:gd name="T46" fmla="*/ 70807 w 73"/>
                <a:gd name="T47" fmla="*/ 150495 h 90"/>
                <a:gd name="T48" fmla="*/ 61238 w 73"/>
                <a:gd name="T49" fmla="*/ 140970 h 90"/>
                <a:gd name="T50" fmla="*/ 63152 w 73"/>
                <a:gd name="T51" fmla="*/ 127635 h 90"/>
                <a:gd name="T52" fmla="*/ 80375 w 73"/>
                <a:gd name="T53" fmla="*/ 129540 h 90"/>
                <a:gd name="T54" fmla="*/ 84203 w 73"/>
                <a:gd name="T55" fmla="*/ 116205 h 90"/>
                <a:gd name="T56" fmla="*/ 95685 w 73"/>
                <a:gd name="T57" fmla="*/ 125730 h 90"/>
                <a:gd name="T58" fmla="*/ 110995 w 73"/>
                <a:gd name="T59" fmla="*/ 123825 h 90"/>
                <a:gd name="T60" fmla="*/ 114822 w 73"/>
                <a:gd name="T61" fmla="*/ 129540 h 90"/>
                <a:gd name="T62" fmla="*/ 122477 w 73"/>
                <a:gd name="T63" fmla="*/ 129540 h 90"/>
                <a:gd name="T64" fmla="*/ 124390 w 73"/>
                <a:gd name="T65" fmla="*/ 112395 h 90"/>
                <a:gd name="T66" fmla="*/ 124390 w 73"/>
                <a:gd name="T67" fmla="*/ 93345 h 90"/>
                <a:gd name="T68" fmla="*/ 128218 w 73"/>
                <a:gd name="T69" fmla="*/ 80010 h 90"/>
                <a:gd name="T70" fmla="*/ 116736 w 73"/>
                <a:gd name="T71" fmla="*/ 76200 h 90"/>
                <a:gd name="T72" fmla="*/ 120563 w 73"/>
                <a:gd name="T73" fmla="*/ 55245 h 90"/>
                <a:gd name="T74" fmla="*/ 133959 w 73"/>
                <a:gd name="T75" fmla="*/ 47625 h 90"/>
                <a:gd name="T76" fmla="*/ 133959 w 73"/>
                <a:gd name="T77" fmla="*/ 28575 h 90"/>
                <a:gd name="T78" fmla="*/ 107167 w 73"/>
                <a:gd name="T79" fmla="*/ 26670 h 90"/>
                <a:gd name="T80" fmla="*/ 103340 w 73"/>
                <a:gd name="T81" fmla="*/ 17145 h 90"/>
                <a:gd name="T82" fmla="*/ 109081 w 73"/>
                <a:gd name="T83" fmla="*/ 3810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 name="Freeform 66"/>
            <p:cNvSpPr>
              <a:spLocks noChangeAspect="1"/>
            </p:cNvSpPr>
            <p:nvPr/>
          </p:nvSpPr>
          <p:spPr bwMode="auto">
            <a:xfrm>
              <a:off x="4559186" y="2820353"/>
              <a:ext cx="43247" cy="25793"/>
            </a:xfrm>
            <a:custGeom>
              <a:avLst/>
              <a:gdLst>
                <a:gd name="T0" fmla="*/ 1864 w 23"/>
                <a:gd name="T1" fmla="*/ 29766 h 16"/>
                <a:gd name="T2" fmla="*/ 1864 w 23"/>
                <a:gd name="T3" fmla="*/ 11906 h 16"/>
                <a:gd name="T4" fmla="*/ 3727 w 23"/>
                <a:gd name="T5" fmla="*/ 0 h 16"/>
                <a:gd name="T6" fmla="*/ 39136 w 23"/>
                <a:gd name="T7" fmla="*/ 1984 h 16"/>
                <a:gd name="T8" fmla="*/ 40999 w 23"/>
                <a:gd name="T9" fmla="*/ 27781 h 16"/>
                <a:gd name="T10" fmla="*/ 35409 w 23"/>
                <a:gd name="T11" fmla="*/ 31750 h 16"/>
                <a:gd name="T12" fmla="*/ 1864 w 23"/>
                <a:gd name="T13" fmla="*/ 29766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 name="Freeform 67"/>
            <p:cNvSpPr>
              <a:spLocks noChangeAspect="1"/>
            </p:cNvSpPr>
            <p:nvPr/>
          </p:nvSpPr>
          <p:spPr bwMode="auto">
            <a:xfrm>
              <a:off x="4530355" y="2580473"/>
              <a:ext cx="190605" cy="251487"/>
            </a:xfrm>
            <a:custGeom>
              <a:avLst/>
              <a:gdLst>
                <a:gd name="T0" fmla="*/ 36256 w 99"/>
                <a:gd name="T1" fmla="*/ 277077 h 162"/>
                <a:gd name="T2" fmla="*/ 30531 w 99"/>
                <a:gd name="T3" fmla="*/ 250325 h 162"/>
                <a:gd name="T4" fmla="*/ 24807 w 99"/>
                <a:gd name="T5" fmla="*/ 248414 h 162"/>
                <a:gd name="T6" fmla="*/ 11449 w 99"/>
                <a:gd name="T7" fmla="*/ 229305 h 162"/>
                <a:gd name="T8" fmla="*/ 0 w 99"/>
                <a:gd name="T9" fmla="*/ 223573 h 162"/>
                <a:gd name="T10" fmla="*/ 7633 w 99"/>
                <a:gd name="T11" fmla="*/ 192999 h 162"/>
                <a:gd name="T12" fmla="*/ 28623 w 99"/>
                <a:gd name="T13" fmla="*/ 173890 h 162"/>
                <a:gd name="T14" fmla="*/ 47705 w 99"/>
                <a:gd name="T15" fmla="*/ 166246 h 162"/>
                <a:gd name="T16" fmla="*/ 53430 w 99"/>
                <a:gd name="T17" fmla="*/ 160514 h 162"/>
                <a:gd name="T18" fmla="*/ 74420 w 99"/>
                <a:gd name="T19" fmla="*/ 175801 h 162"/>
                <a:gd name="T20" fmla="*/ 91594 w 99"/>
                <a:gd name="T21" fmla="*/ 139494 h 162"/>
                <a:gd name="T22" fmla="*/ 104952 w 99"/>
                <a:gd name="T23" fmla="*/ 114653 h 162"/>
                <a:gd name="T24" fmla="*/ 116401 w 99"/>
                <a:gd name="T25" fmla="*/ 85989 h 162"/>
                <a:gd name="T26" fmla="*/ 122126 w 99"/>
                <a:gd name="T27" fmla="*/ 66881 h 162"/>
                <a:gd name="T28" fmla="*/ 150749 w 99"/>
                <a:gd name="T29" fmla="*/ 38218 h 162"/>
                <a:gd name="T30" fmla="*/ 135483 w 99"/>
                <a:gd name="T31" fmla="*/ 13376 h 162"/>
                <a:gd name="T32" fmla="*/ 146932 w 99"/>
                <a:gd name="T33" fmla="*/ 0 h 162"/>
                <a:gd name="T34" fmla="*/ 160290 w 99"/>
                <a:gd name="T35" fmla="*/ 47772 h 162"/>
                <a:gd name="T36" fmla="*/ 177464 w 99"/>
                <a:gd name="T37" fmla="*/ 82168 h 162"/>
                <a:gd name="T38" fmla="*/ 154565 w 99"/>
                <a:gd name="T39" fmla="*/ 80257 h 162"/>
                <a:gd name="T40" fmla="*/ 135483 w 99"/>
                <a:gd name="T41" fmla="*/ 89811 h 162"/>
                <a:gd name="T42" fmla="*/ 160290 w 99"/>
                <a:gd name="T43" fmla="*/ 118474 h 162"/>
                <a:gd name="T44" fmla="*/ 173647 w 99"/>
                <a:gd name="T45" fmla="*/ 143316 h 162"/>
                <a:gd name="T46" fmla="*/ 164106 w 99"/>
                <a:gd name="T47" fmla="*/ 162425 h 162"/>
                <a:gd name="T48" fmla="*/ 146932 w 99"/>
                <a:gd name="T49" fmla="*/ 189177 h 162"/>
                <a:gd name="T50" fmla="*/ 152657 w 99"/>
                <a:gd name="T51" fmla="*/ 229305 h 162"/>
                <a:gd name="T52" fmla="*/ 166014 w 99"/>
                <a:gd name="T53" fmla="*/ 242681 h 162"/>
                <a:gd name="T54" fmla="*/ 173647 w 99"/>
                <a:gd name="T55" fmla="*/ 269434 h 162"/>
                <a:gd name="T56" fmla="*/ 188913 w 99"/>
                <a:gd name="T57" fmla="*/ 288542 h 162"/>
                <a:gd name="T58" fmla="*/ 187005 w 99"/>
                <a:gd name="T59" fmla="*/ 309562 h 162"/>
                <a:gd name="T60" fmla="*/ 122126 w 99"/>
                <a:gd name="T61" fmla="*/ 296186 h 162"/>
                <a:gd name="T62" fmla="*/ 70604 w 99"/>
                <a:gd name="T63" fmla="*/ 292364 h 162"/>
                <a:gd name="T64" fmla="*/ 32440 w 99"/>
                <a:gd name="T65" fmla="*/ 296186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 name="Freeform 68"/>
            <p:cNvSpPr>
              <a:spLocks noChangeAspect="1"/>
            </p:cNvSpPr>
            <p:nvPr/>
          </p:nvSpPr>
          <p:spPr bwMode="auto">
            <a:xfrm>
              <a:off x="4655289" y="2340593"/>
              <a:ext cx="249867" cy="359820"/>
            </a:xfrm>
            <a:custGeom>
              <a:avLst/>
              <a:gdLst>
                <a:gd name="T0" fmla="*/ 49530 w 130"/>
                <a:gd name="T1" fmla="*/ 442912 h 232"/>
                <a:gd name="T2" fmla="*/ 62865 w 130"/>
                <a:gd name="T3" fmla="*/ 441003 h 232"/>
                <a:gd name="T4" fmla="*/ 74295 w 130"/>
                <a:gd name="T5" fmla="*/ 435276 h 232"/>
                <a:gd name="T6" fmla="*/ 85725 w 130"/>
                <a:gd name="T7" fmla="*/ 441003 h 232"/>
                <a:gd name="T8" fmla="*/ 91440 w 130"/>
                <a:gd name="T9" fmla="*/ 433366 h 232"/>
                <a:gd name="T10" fmla="*/ 112395 w 130"/>
                <a:gd name="T11" fmla="*/ 429548 h 232"/>
                <a:gd name="T12" fmla="*/ 120015 w 130"/>
                <a:gd name="T13" fmla="*/ 429548 h 232"/>
                <a:gd name="T14" fmla="*/ 127635 w 130"/>
                <a:gd name="T15" fmla="*/ 421912 h 232"/>
                <a:gd name="T16" fmla="*/ 135255 w 130"/>
                <a:gd name="T17" fmla="*/ 412366 h 232"/>
                <a:gd name="T18" fmla="*/ 127635 w 130"/>
                <a:gd name="T19" fmla="*/ 408548 h 232"/>
                <a:gd name="T20" fmla="*/ 135255 w 130"/>
                <a:gd name="T21" fmla="*/ 402821 h 232"/>
                <a:gd name="T22" fmla="*/ 156210 w 130"/>
                <a:gd name="T23" fmla="*/ 402821 h 232"/>
                <a:gd name="T24" fmla="*/ 177165 w 130"/>
                <a:gd name="T25" fmla="*/ 393275 h 232"/>
                <a:gd name="T26" fmla="*/ 180975 w 130"/>
                <a:gd name="T27" fmla="*/ 378002 h 232"/>
                <a:gd name="T28" fmla="*/ 190500 w 130"/>
                <a:gd name="T29" fmla="*/ 378002 h 232"/>
                <a:gd name="T30" fmla="*/ 200025 w 130"/>
                <a:gd name="T31" fmla="*/ 366548 h 232"/>
                <a:gd name="T32" fmla="*/ 200025 w 130"/>
                <a:gd name="T33" fmla="*/ 353184 h 232"/>
                <a:gd name="T34" fmla="*/ 220980 w 130"/>
                <a:gd name="T35" fmla="*/ 349366 h 232"/>
                <a:gd name="T36" fmla="*/ 222885 w 130"/>
                <a:gd name="T37" fmla="*/ 341730 h 232"/>
                <a:gd name="T38" fmla="*/ 213360 w 130"/>
                <a:gd name="T39" fmla="*/ 330275 h 232"/>
                <a:gd name="T40" fmla="*/ 219075 w 130"/>
                <a:gd name="T41" fmla="*/ 322639 h 232"/>
                <a:gd name="T42" fmla="*/ 213360 w 130"/>
                <a:gd name="T43" fmla="*/ 320729 h 232"/>
                <a:gd name="T44" fmla="*/ 211455 w 130"/>
                <a:gd name="T45" fmla="*/ 301638 h 232"/>
                <a:gd name="T46" fmla="*/ 198120 w 130"/>
                <a:gd name="T47" fmla="*/ 305457 h 232"/>
                <a:gd name="T48" fmla="*/ 198120 w 130"/>
                <a:gd name="T49" fmla="*/ 295911 h 232"/>
                <a:gd name="T50" fmla="*/ 207645 w 130"/>
                <a:gd name="T51" fmla="*/ 284456 h 232"/>
                <a:gd name="T52" fmla="*/ 205740 w 130"/>
                <a:gd name="T53" fmla="*/ 267275 h 232"/>
                <a:gd name="T54" fmla="*/ 215265 w 130"/>
                <a:gd name="T55" fmla="*/ 261547 h 232"/>
                <a:gd name="T56" fmla="*/ 209550 w 130"/>
                <a:gd name="T57" fmla="*/ 250093 h 232"/>
                <a:gd name="T58" fmla="*/ 215265 w 130"/>
                <a:gd name="T59" fmla="*/ 244365 h 232"/>
                <a:gd name="T60" fmla="*/ 224790 w 130"/>
                <a:gd name="T61" fmla="*/ 231002 h 232"/>
                <a:gd name="T62" fmla="*/ 222885 w 130"/>
                <a:gd name="T63" fmla="*/ 221456 h 232"/>
                <a:gd name="T64" fmla="*/ 232410 w 130"/>
                <a:gd name="T65" fmla="*/ 215729 h 232"/>
                <a:gd name="T66" fmla="*/ 243840 w 130"/>
                <a:gd name="T67" fmla="*/ 215729 h 232"/>
                <a:gd name="T68" fmla="*/ 243840 w 130"/>
                <a:gd name="T69" fmla="*/ 114546 h 232"/>
                <a:gd name="T70" fmla="*/ 45720 w 130"/>
                <a:gd name="T71" fmla="*/ 0 h 232"/>
                <a:gd name="T72" fmla="*/ 30480 w 130"/>
                <a:gd name="T73" fmla="*/ 13364 h 232"/>
                <a:gd name="T74" fmla="*/ 38100 w 130"/>
                <a:gd name="T75" fmla="*/ 36273 h 232"/>
                <a:gd name="T76" fmla="*/ 36195 w 130"/>
                <a:gd name="T77" fmla="*/ 53455 h 232"/>
                <a:gd name="T78" fmla="*/ 43815 w 130"/>
                <a:gd name="T79" fmla="*/ 63000 h 232"/>
                <a:gd name="T80" fmla="*/ 41910 w 130"/>
                <a:gd name="T81" fmla="*/ 74455 h 232"/>
                <a:gd name="T82" fmla="*/ 55245 w 130"/>
                <a:gd name="T83" fmla="*/ 84001 h 232"/>
                <a:gd name="T84" fmla="*/ 41910 w 130"/>
                <a:gd name="T85" fmla="*/ 110728 h 232"/>
                <a:gd name="T86" fmla="*/ 41910 w 130"/>
                <a:gd name="T87" fmla="*/ 152728 h 232"/>
                <a:gd name="T88" fmla="*/ 43815 w 130"/>
                <a:gd name="T89" fmla="*/ 190910 h 232"/>
                <a:gd name="T90" fmla="*/ 0 w 130"/>
                <a:gd name="T91" fmla="*/ 246274 h 232"/>
                <a:gd name="T92" fmla="*/ 0 w 130"/>
                <a:gd name="T93" fmla="*/ 274911 h 232"/>
                <a:gd name="T94" fmla="*/ 9525 w 130"/>
                <a:gd name="T95" fmla="*/ 290184 h 232"/>
                <a:gd name="T96" fmla="*/ 15240 w 130"/>
                <a:gd name="T97" fmla="*/ 297820 h 232"/>
                <a:gd name="T98" fmla="*/ 22860 w 130"/>
                <a:gd name="T99" fmla="*/ 295911 h 232"/>
                <a:gd name="T100" fmla="*/ 34290 w 130"/>
                <a:gd name="T101" fmla="*/ 318820 h 232"/>
                <a:gd name="T102" fmla="*/ 36195 w 130"/>
                <a:gd name="T103" fmla="*/ 343639 h 232"/>
                <a:gd name="T104" fmla="*/ 40005 w 130"/>
                <a:gd name="T105" fmla="*/ 362730 h 232"/>
                <a:gd name="T106" fmla="*/ 53340 w 130"/>
                <a:gd name="T107" fmla="*/ 378002 h 232"/>
                <a:gd name="T108" fmla="*/ 36195 w 130"/>
                <a:gd name="T109" fmla="*/ 376093 h 232"/>
                <a:gd name="T110" fmla="*/ 30480 w 130"/>
                <a:gd name="T111" fmla="*/ 376093 h 232"/>
                <a:gd name="T112" fmla="*/ 15240 w 130"/>
                <a:gd name="T113" fmla="*/ 374184 h 232"/>
                <a:gd name="T114" fmla="*/ 11430 w 130"/>
                <a:gd name="T115" fmla="*/ 385639 h 232"/>
                <a:gd name="T116" fmla="*/ 20955 w 130"/>
                <a:gd name="T117" fmla="*/ 397094 h 232"/>
                <a:gd name="T118" fmla="*/ 36195 w 130"/>
                <a:gd name="T119" fmla="*/ 414275 h 232"/>
                <a:gd name="T120" fmla="*/ 43815 w 130"/>
                <a:gd name="T121" fmla="*/ 427639 h 232"/>
                <a:gd name="T122" fmla="*/ 49530 w 130"/>
                <a:gd name="T123" fmla="*/ 439094 h 232"/>
                <a:gd name="T124" fmla="*/ 49530 w 130"/>
                <a:gd name="T125" fmla="*/ 442912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 name="Freeform 69"/>
            <p:cNvSpPr>
              <a:spLocks noChangeAspect="1"/>
            </p:cNvSpPr>
            <p:nvPr/>
          </p:nvSpPr>
          <p:spPr bwMode="auto">
            <a:xfrm>
              <a:off x="4676112" y="2623032"/>
              <a:ext cx="317139" cy="192163"/>
            </a:xfrm>
            <a:custGeom>
              <a:avLst/>
              <a:gdLst>
                <a:gd name="T0" fmla="*/ 314325 w 165"/>
                <a:gd name="T1" fmla="*/ 154513 h 124"/>
                <a:gd name="T2" fmla="*/ 300990 w 165"/>
                <a:gd name="T3" fmla="*/ 137345 h 124"/>
                <a:gd name="T4" fmla="*/ 293370 w 165"/>
                <a:gd name="T5" fmla="*/ 123992 h 124"/>
                <a:gd name="T6" fmla="*/ 270510 w 165"/>
                <a:gd name="T7" fmla="*/ 108731 h 124"/>
                <a:gd name="T8" fmla="*/ 262890 w 165"/>
                <a:gd name="T9" fmla="*/ 87748 h 124"/>
                <a:gd name="T10" fmla="*/ 253365 w 165"/>
                <a:gd name="T11" fmla="*/ 78210 h 124"/>
                <a:gd name="T12" fmla="*/ 236220 w 165"/>
                <a:gd name="T13" fmla="*/ 64857 h 124"/>
                <a:gd name="T14" fmla="*/ 215265 w 165"/>
                <a:gd name="T15" fmla="*/ 55319 h 124"/>
                <a:gd name="T16" fmla="*/ 222885 w 165"/>
                <a:gd name="T17" fmla="*/ 34336 h 124"/>
                <a:gd name="T18" fmla="*/ 200025 w 165"/>
                <a:gd name="T19" fmla="*/ 1908 h 124"/>
                <a:gd name="T20" fmla="*/ 179070 w 165"/>
                <a:gd name="T21" fmla="*/ 19076 h 124"/>
                <a:gd name="T22" fmla="*/ 160020 w 165"/>
                <a:gd name="T23" fmla="*/ 30521 h 124"/>
                <a:gd name="T24" fmla="*/ 135255 w 165"/>
                <a:gd name="T25" fmla="*/ 55319 h 124"/>
                <a:gd name="T26" fmla="*/ 106680 w 165"/>
                <a:gd name="T27" fmla="*/ 61042 h 124"/>
                <a:gd name="T28" fmla="*/ 106680 w 165"/>
                <a:gd name="T29" fmla="*/ 74395 h 124"/>
                <a:gd name="T30" fmla="*/ 91440 w 165"/>
                <a:gd name="T31" fmla="*/ 82025 h 124"/>
                <a:gd name="T32" fmla="*/ 64770 w 165"/>
                <a:gd name="T33" fmla="*/ 93471 h 124"/>
                <a:gd name="T34" fmla="*/ 41910 w 165"/>
                <a:gd name="T35" fmla="*/ 93471 h 124"/>
                <a:gd name="T36" fmla="*/ 19050 w 165"/>
                <a:gd name="T37" fmla="*/ 110639 h 124"/>
                <a:gd name="T38" fmla="*/ 1905 w 165"/>
                <a:gd name="T39" fmla="*/ 137345 h 124"/>
                <a:gd name="T40" fmla="*/ 7620 w 165"/>
                <a:gd name="T41" fmla="*/ 177404 h 124"/>
                <a:gd name="T42" fmla="*/ 20955 w 165"/>
                <a:gd name="T43" fmla="*/ 190756 h 124"/>
                <a:gd name="T44" fmla="*/ 28575 w 165"/>
                <a:gd name="T45" fmla="*/ 217462 h 124"/>
                <a:gd name="T46" fmla="*/ 43815 w 165"/>
                <a:gd name="T47" fmla="*/ 236538 h 124"/>
                <a:gd name="T48" fmla="*/ 51435 w 165"/>
                <a:gd name="T49" fmla="*/ 215555 h 124"/>
                <a:gd name="T50" fmla="*/ 70485 w 165"/>
                <a:gd name="T51" fmla="*/ 206017 h 124"/>
                <a:gd name="T52" fmla="*/ 89535 w 165"/>
                <a:gd name="T53" fmla="*/ 206017 h 124"/>
                <a:gd name="T54" fmla="*/ 102870 w 165"/>
                <a:gd name="T55" fmla="*/ 185034 h 124"/>
                <a:gd name="T56" fmla="*/ 118110 w 165"/>
                <a:gd name="T57" fmla="*/ 164051 h 124"/>
                <a:gd name="T58" fmla="*/ 148590 w 165"/>
                <a:gd name="T59" fmla="*/ 179311 h 124"/>
                <a:gd name="T60" fmla="*/ 190500 w 165"/>
                <a:gd name="T61" fmla="*/ 188849 h 124"/>
                <a:gd name="T62" fmla="*/ 205740 w 165"/>
                <a:gd name="T63" fmla="*/ 169773 h 124"/>
                <a:gd name="T64" fmla="*/ 238125 w 165"/>
                <a:gd name="T65" fmla="*/ 169773 h 124"/>
                <a:gd name="T66" fmla="*/ 249555 w 165"/>
                <a:gd name="T67" fmla="*/ 167866 h 124"/>
                <a:gd name="T68" fmla="*/ 266700 w 165"/>
                <a:gd name="T69" fmla="*/ 158328 h 124"/>
                <a:gd name="T70" fmla="*/ 285750 w 165"/>
                <a:gd name="T71" fmla="*/ 162143 h 124"/>
                <a:gd name="T72" fmla="*/ 304800 w 165"/>
                <a:gd name="T73" fmla="*/ 162143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 name="Freeform 70"/>
            <p:cNvSpPr>
              <a:spLocks noChangeAspect="1"/>
            </p:cNvSpPr>
            <p:nvPr/>
          </p:nvSpPr>
          <p:spPr bwMode="auto">
            <a:xfrm>
              <a:off x="5143812" y="2748131"/>
              <a:ext cx="193807" cy="226984"/>
            </a:xfrm>
            <a:custGeom>
              <a:avLst/>
              <a:gdLst>
                <a:gd name="T0" fmla="*/ 192087 w 101"/>
                <a:gd name="T1" fmla="*/ 41815 h 147"/>
                <a:gd name="T2" fmla="*/ 182578 w 101"/>
                <a:gd name="T3" fmla="*/ 41815 h 147"/>
                <a:gd name="T4" fmla="*/ 171167 w 101"/>
                <a:gd name="T5" fmla="*/ 30411 h 147"/>
                <a:gd name="T6" fmla="*/ 148344 w 101"/>
                <a:gd name="T7" fmla="*/ 41815 h 147"/>
                <a:gd name="T8" fmla="*/ 144541 w 101"/>
                <a:gd name="T9" fmla="*/ 53219 h 147"/>
                <a:gd name="T10" fmla="*/ 110307 w 101"/>
                <a:gd name="T11" fmla="*/ 51318 h 147"/>
                <a:gd name="T12" fmla="*/ 83681 w 101"/>
                <a:gd name="T13" fmla="*/ 28510 h 147"/>
                <a:gd name="T14" fmla="*/ 68467 w 101"/>
                <a:gd name="T15" fmla="*/ 26610 h 147"/>
                <a:gd name="T16" fmla="*/ 55154 w 101"/>
                <a:gd name="T17" fmla="*/ 22808 h 147"/>
                <a:gd name="T18" fmla="*/ 53252 w 101"/>
                <a:gd name="T19" fmla="*/ 3801 h 147"/>
                <a:gd name="T20" fmla="*/ 39939 w 101"/>
                <a:gd name="T21" fmla="*/ 0 h 147"/>
                <a:gd name="T22" fmla="*/ 9509 w 101"/>
                <a:gd name="T23" fmla="*/ 32312 h 147"/>
                <a:gd name="T24" fmla="*/ 13313 w 101"/>
                <a:gd name="T25" fmla="*/ 41815 h 147"/>
                <a:gd name="T26" fmla="*/ 20920 w 101"/>
                <a:gd name="T27" fmla="*/ 45616 h 147"/>
                <a:gd name="T28" fmla="*/ 22822 w 101"/>
                <a:gd name="T29" fmla="*/ 62722 h 147"/>
                <a:gd name="T30" fmla="*/ 34233 w 101"/>
                <a:gd name="T31" fmla="*/ 79829 h 147"/>
                <a:gd name="T32" fmla="*/ 36135 w 101"/>
                <a:gd name="T33" fmla="*/ 100736 h 147"/>
                <a:gd name="T34" fmla="*/ 24724 w 101"/>
                <a:gd name="T35" fmla="*/ 117842 h 147"/>
                <a:gd name="T36" fmla="*/ 9509 w 101"/>
                <a:gd name="T37" fmla="*/ 136849 h 147"/>
                <a:gd name="T38" fmla="*/ 0 w 101"/>
                <a:gd name="T39" fmla="*/ 169161 h 147"/>
                <a:gd name="T40" fmla="*/ 95093 w 101"/>
                <a:gd name="T41" fmla="*/ 231883 h 147"/>
                <a:gd name="T42" fmla="*/ 96994 w 101"/>
                <a:gd name="T43" fmla="*/ 243287 h 147"/>
                <a:gd name="T44" fmla="*/ 136933 w 101"/>
                <a:gd name="T45" fmla="*/ 279400 h 147"/>
                <a:gd name="T46" fmla="*/ 138835 w 101"/>
                <a:gd name="T47" fmla="*/ 269897 h 147"/>
                <a:gd name="T48" fmla="*/ 142639 w 101"/>
                <a:gd name="T49" fmla="*/ 258493 h 147"/>
                <a:gd name="T50" fmla="*/ 152148 w 101"/>
                <a:gd name="T51" fmla="*/ 241386 h 147"/>
                <a:gd name="T52" fmla="*/ 157854 w 101"/>
                <a:gd name="T53" fmla="*/ 228082 h 147"/>
                <a:gd name="T54" fmla="*/ 157854 w 101"/>
                <a:gd name="T55" fmla="*/ 218578 h 147"/>
                <a:gd name="T56" fmla="*/ 167363 w 101"/>
                <a:gd name="T57" fmla="*/ 216678 h 147"/>
                <a:gd name="T58" fmla="*/ 173068 w 101"/>
                <a:gd name="T59" fmla="*/ 207174 h 147"/>
                <a:gd name="T60" fmla="*/ 180676 w 101"/>
                <a:gd name="T61" fmla="*/ 199571 h 147"/>
                <a:gd name="T62" fmla="*/ 190185 w 101"/>
                <a:gd name="T63" fmla="*/ 193869 h 147"/>
                <a:gd name="T64" fmla="*/ 174970 w 101"/>
                <a:gd name="T65" fmla="*/ 174863 h 147"/>
                <a:gd name="T66" fmla="*/ 174970 w 101"/>
                <a:gd name="T67" fmla="*/ 72226 h 147"/>
                <a:gd name="T68" fmla="*/ 186381 w 101"/>
                <a:gd name="T69" fmla="*/ 58921 h 147"/>
                <a:gd name="T70" fmla="*/ 192087 w 101"/>
                <a:gd name="T71" fmla="*/ 41815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 name="Freeform 71"/>
            <p:cNvSpPr>
              <a:spLocks noChangeAspect="1"/>
            </p:cNvSpPr>
            <p:nvPr/>
          </p:nvSpPr>
          <p:spPr bwMode="auto">
            <a:xfrm>
              <a:off x="5044505" y="2773924"/>
              <a:ext cx="137748" cy="126389"/>
            </a:xfrm>
            <a:custGeom>
              <a:avLst/>
              <a:gdLst>
                <a:gd name="T0" fmla="*/ 98067 w 71"/>
                <a:gd name="T1" fmla="*/ 138289 h 81"/>
                <a:gd name="T2" fmla="*/ 88453 w 71"/>
                <a:gd name="T3" fmla="*/ 144051 h 81"/>
                <a:gd name="T4" fmla="*/ 65378 w 71"/>
                <a:gd name="T5" fmla="*/ 144051 h 81"/>
                <a:gd name="T6" fmla="*/ 36535 w 71"/>
                <a:gd name="T7" fmla="*/ 142130 h 81"/>
                <a:gd name="T8" fmla="*/ 21152 w 71"/>
                <a:gd name="T9" fmla="*/ 145972 h 81"/>
                <a:gd name="T10" fmla="*/ 11537 w 71"/>
                <a:gd name="T11" fmla="*/ 153654 h 81"/>
                <a:gd name="T12" fmla="*/ 0 w 71"/>
                <a:gd name="T13" fmla="*/ 151734 h 81"/>
                <a:gd name="T14" fmla="*/ 1923 w 71"/>
                <a:gd name="T15" fmla="*/ 130606 h 81"/>
                <a:gd name="T16" fmla="*/ 3846 w 71"/>
                <a:gd name="T17" fmla="*/ 119082 h 81"/>
                <a:gd name="T18" fmla="*/ 9614 w 71"/>
                <a:gd name="T19" fmla="*/ 101796 h 81"/>
                <a:gd name="T20" fmla="*/ 15383 w 71"/>
                <a:gd name="T21" fmla="*/ 88351 h 81"/>
                <a:gd name="T22" fmla="*/ 21152 w 71"/>
                <a:gd name="T23" fmla="*/ 82589 h 81"/>
                <a:gd name="T24" fmla="*/ 23075 w 71"/>
                <a:gd name="T25" fmla="*/ 72986 h 81"/>
                <a:gd name="T26" fmla="*/ 32689 w 71"/>
                <a:gd name="T27" fmla="*/ 65303 h 81"/>
                <a:gd name="T28" fmla="*/ 42304 w 71"/>
                <a:gd name="T29" fmla="*/ 57620 h 81"/>
                <a:gd name="T30" fmla="*/ 30766 w 71"/>
                <a:gd name="T31" fmla="*/ 53779 h 81"/>
                <a:gd name="T32" fmla="*/ 34612 w 71"/>
                <a:gd name="T33" fmla="*/ 40334 h 81"/>
                <a:gd name="T34" fmla="*/ 26920 w 71"/>
                <a:gd name="T35" fmla="*/ 34572 h 81"/>
                <a:gd name="T36" fmla="*/ 30766 w 71"/>
                <a:gd name="T37" fmla="*/ 28810 h 81"/>
                <a:gd name="T38" fmla="*/ 26920 w 71"/>
                <a:gd name="T39" fmla="*/ 21127 h 81"/>
                <a:gd name="T40" fmla="*/ 32689 w 71"/>
                <a:gd name="T41" fmla="*/ 15365 h 81"/>
                <a:gd name="T42" fmla="*/ 46149 w 71"/>
                <a:gd name="T43" fmla="*/ 15365 h 81"/>
                <a:gd name="T44" fmla="*/ 55764 w 71"/>
                <a:gd name="T45" fmla="*/ 9603 h 81"/>
                <a:gd name="T46" fmla="*/ 61532 w 71"/>
                <a:gd name="T47" fmla="*/ 17286 h 81"/>
                <a:gd name="T48" fmla="*/ 69224 w 71"/>
                <a:gd name="T49" fmla="*/ 13445 h 81"/>
                <a:gd name="T50" fmla="*/ 82684 w 71"/>
                <a:gd name="T51" fmla="*/ 7683 h 81"/>
                <a:gd name="T52" fmla="*/ 88453 w 71"/>
                <a:gd name="T53" fmla="*/ 11524 h 81"/>
                <a:gd name="T54" fmla="*/ 98067 w 71"/>
                <a:gd name="T55" fmla="*/ 11524 h 81"/>
                <a:gd name="T56" fmla="*/ 107682 w 71"/>
                <a:gd name="T57" fmla="*/ 0 h 81"/>
                <a:gd name="T58" fmla="*/ 111527 w 71"/>
                <a:gd name="T59" fmla="*/ 9603 h 81"/>
                <a:gd name="T60" fmla="*/ 119219 w 71"/>
                <a:gd name="T61" fmla="*/ 13445 h 81"/>
                <a:gd name="T62" fmla="*/ 121142 w 71"/>
                <a:gd name="T63" fmla="*/ 30731 h 81"/>
                <a:gd name="T64" fmla="*/ 132679 w 71"/>
                <a:gd name="T65" fmla="*/ 48017 h 81"/>
                <a:gd name="T66" fmla="*/ 134602 w 71"/>
                <a:gd name="T67" fmla="*/ 69144 h 81"/>
                <a:gd name="T68" fmla="*/ 123065 w 71"/>
                <a:gd name="T69" fmla="*/ 86431 h 81"/>
                <a:gd name="T70" fmla="*/ 107682 w 71"/>
                <a:gd name="T71" fmla="*/ 105637 h 81"/>
                <a:gd name="T72" fmla="*/ 98067 w 71"/>
                <a:gd name="T73" fmla="*/ 138289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 name="Freeform 72"/>
            <p:cNvSpPr>
              <a:spLocks noChangeAspect="1"/>
            </p:cNvSpPr>
            <p:nvPr/>
          </p:nvSpPr>
          <p:spPr bwMode="auto">
            <a:xfrm>
              <a:off x="5121388" y="2531465"/>
              <a:ext cx="371597" cy="260515"/>
            </a:xfrm>
            <a:custGeom>
              <a:avLst/>
              <a:gdLst>
                <a:gd name="T0" fmla="*/ 221362 w 193"/>
                <a:gd name="T1" fmla="*/ 87804 h 168"/>
                <a:gd name="T2" fmla="*/ 213728 w 193"/>
                <a:gd name="T3" fmla="*/ 114527 h 168"/>
                <a:gd name="T4" fmla="*/ 228995 w 193"/>
                <a:gd name="T5" fmla="*/ 114527 h 168"/>
                <a:gd name="T6" fmla="*/ 230903 w 193"/>
                <a:gd name="T7" fmla="*/ 131706 h 168"/>
                <a:gd name="T8" fmla="*/ 249986 w 193"/>
                <a:gd name="T9" fmla="*/ 156520 h 168"/>
                <a:gd name="T10" fmla="*/ 339676 w 193"/>
                <a:gd name="T11" fmla="*/ 198513 h 168"/>
                <a:gd name="T12" fmla="*/ 291968 w 193"/>
                <a:gd name="T13" fmla="*/ 280591 h 168"/>
                <a:gd name="T14" fmla="*/ 238536 w 193"/>
                <a:gd name="T15" fmla="*/ 293952 h 168"/>
                <a:gd name="T16" fmla="*/ 204187 w 193"/>
                <a:gd name="T17" fmla="*/ 309222 h 168"/>
                <a:gd name="T18" fmla="*/ 169838 w 193"/>
                <a:gd name="T19" fmla="*/ 309222 h 168"/>
                <a:gd name="T20" fmla="*/ 131672 w 193"/>
                <a:gd name="T21" fmla="*/ 318766 h 168"/>
                <a:gd name="T22" fmla="*/ 89690 w 193"/>
                <a:gd name="T23" fmla="*/ 293952 h 168"/>
                <a:gd name="T24" fmla="*/ 74423 w 193"/>
                <a:gd name="T25" fmla="*/ 271047 h 168"/>
                <a:gd name="T26" fmla="*/ 55340 w 193"/>
                <a:gd name="T27" fmla="*/ 257685 h 168"/>
                <a:gd name="T28" fmla="*/ 38166 w 193"/>
                <a:gd name="T29" fmla="*/ 223327 h 168"/>
                <a:gd name="T30" fmla="*/ 3817 w 193"/>
                <a:gd name="T31" fmla="*/ 202331 h 168"/>
                <a:gd name="T32" fmla="*/ 20991 w 193"/>
                <a:gd name="T33" fmla="*/ 185152 h 168"/>
                <a:gd name="T34" fmla="*/ 30533 w 193"/>
                <a:gd name="T35" fmla="*/ 158429 h 168"/>
                <a:gd name="T36" fmla="*/ 30533 w 193"/>
                <a:gd name="T37" fmla="*/ 127888 h 168"/>
                <a:gd name="T38" fmla="*/ 43891 w 193"/>
                <a:gd name="T39" fmla="*/ 122162 h 168"/>
                <a:gd name="T40" fmla="*/ 51524 w 193"/>
                <a:gd name="T41" fmla="*/ 87804 h 168"/>
                <a:gd name="T42" fmla="*/ 64882 w 193"/>
                <a:gd name="T43" fmla="*/ 64899 h 168"/>
                <a:gd name="T44" fmla="*/ 78240 w 193"/>
                <a:gd name="T45" fmla="*/ 55355 h 168"/>
                <a:gd name="T46" fmla="*/ 83965 w 193"/>
                <a:gd name="T47" fmla="*/ 30540 h 168"/>
                <a:gd name="T48" fmla="*/ 99231 w 193"/>
                <a:gd name="T49" fmla="*/ 22905 h 168"/>
                <a:gd name="T50" fmla="*/ 112589 w 193"/>
                <a:gd name="T51" fmla="*/ 24814 h 168"/>
                <a:gd name="T52" fmla="*/ 125947 w 193"/>
                <a:gd name="T53" fmla="*/ 11453 h 168"/>
                <a:gd name="T54" fmla="*/ 143122 w 193"/>
                <a:gd name="T55" fmla="*/ 15270 h 168"/>
                <a:gd name="T56" fmla="*/ 156480 w 193"/>
                <a:gd name="T57" fmla="*/ 17179 h 168"/>
                <a:gd name="T58" fmla="*/ 190829 w 193"/>
                <a:gd name="T59" fmla="*/ 28632 h 168"/>
                <a:gd name="T60" fmla="*/ 215637 w 193"/>
                <a:gd name="T61" fmla="*/ 57263 h 168"/>
                <a:gd name="T62" fmla="*/ 227087 w 193"/>
                <a:gd name="T63" fmla="*/ 74442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 name="Freeform 73"/>
            <p:cNvSpPr>
              <a:spLocks noChangeAspect="1"/>
            </p:cNvSpPr>
            <p:nvPr/>
          </p:nvSpPr>
          <p:spPr bwMode="auto">
            <a:xfrm>
              <a:off x="5337618" y="2586921"/>
              <a:ext cx="41645" cy="39980"/>
            </a:xfrm>
            <a:custGeom>
              <a:avLst/>
              <a:gdLst>
                <a:gd name="T0" fmla="*/ 26266 w 22"/>
                <a:gd name="T1" fmla="*/ 45427 h 26"/>
                <a:gd name="T2" fmla="*/ 15009 w 22"/>
                <a:gd name="T3" fmla="*/ 45427 h 26"/>
                <a:gd name="T4" fmla="*/ 5628 w 22"/>
                <a:gd name="T5" fmla="*/ 49213 h 26"/>
                <a:gd name="T6" fmla="*/ 0 w 22"/>
                <a:gd name="T7" fmla="*/ 45427 h 26"/>
                <a:gd name="T8" fmla="*/ 0 w 22"/>
                <a:gd name="T9" fmla="*/ 30285 h 26"/>
                <a:gd name="T10" fmla="*/ 7505 w 22"/>
                <a:gd name="T11" fmla="*/ 18928 h 26"/>
                <a:gd name="T12" fmla="*/ 13133 w 22"/>
                <a:gd name="T13" fmla="*/ 5678 h 26"/>
                <a:gd name="T14" fmla="*/ 22514 w 22"/>
                <a:gd name="T15" fmla="*/ 7571 h 26"/>
                <a:gd name="T16" fmla="*/ 26266 w 22"/>
                <a:gd name="T17" fmla="*/ 1893 h 26"/>
                <a:gd name="T18" fmla="*/ 31894 w 22"/>
                <a:gd name="T19" fmla="*/ 1893 h 26"/>
                <a:gd name="T20" fmla="*/ 35647 w 22"/>
                <a:gd name="T21" fmla="*/ 9464 h 26"/>
                <a:gd name="T22" fmla="*/ 39399 w 22"/>
                <a:gd name="T23" fmla="*/ 18928 h 26"/>
                <a:gd name="T24" fmla="*/ 28142 w 22"/>
                <a:gd name="T25" fmla="*/ 24607 h 26"/>
                <a:gd name="T26" fmla="*/ 15009 w 22"/>
                <a:gd name="T27" fmla="*/ 35963 h 26"/>
                <a:gd name="T28" fmla="*/ 28142 w 22"/>
                <a:gd name="T29" fmla="*/ 34071 h 26"/>
                <a:gd name="T30" fmla="*/ 37523 w 22"/>
                <a:gd name="T31" fmla="*/ 37856 h 26"/>
                <a:gd name="T32" fmla="*/ 31894 w 22"/>
                <a:gd name="T33" fmla="*/ 41642 h 26"/>
                <a:gd name="T34" fmla="*/ 26266 w 22"/>
                <a:gd name="T35" fmla="*/ 4542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 name="Freeform 74"/>
            <p:cNvSpPr>
              <a:spLocks noChangeAspect="1"/>
            </p:cNvSpPr>
            <p:nvPr/>
          </p:nvSpPr>
          <p:spPr bwMode="auto">
            <a:xfrm>
              <a:off x="5204676" y="2468270"/>
              <a:ext cx="164976" cy="126389"/>
            </a:xfrm>
            <a:custGeom>
              <a:avLst/>
              <a:gdLst>
                <a:gd name="T0" fmla="*/ 163512 w 86"/>
                <a:gd name="T1" fmla="*/ 147986 h 82"/>
                <a:gd name="T2" fmla="*/ 155907 w 86"/>
                <a:gd name="T3" fmla="*/ 140397 h 82"/>
                <a:gd name="T4" fmla="*/ 146400 w 86"/>
                <a:gd name="T5" fmla="*/ 129013 h 82"/>
                <a:gd name="T6" fmla="*/ 142598 w 86"/>
                <a:gd name="T7" fmla="*/ 123322 h 82"/>
                <a:gd name="T8" fmla="*/ 127387 w 86"/>
                <a:gd name="T9" fmla="*/ 110041 h 82"/>
                <a:gd name="T10" fmla="*/ 115979 w 86"/>
                <a:gd name="T11" fmla="*/ 94863 h 82"/>
                <a:gd name="T12" fmla="*/ 106473 w 86"/>
                <a:gd name="T13" fmla="*/ 89171 h 82"/>
                <a:gd name="T14" fmla="*/ 102670 w 86"/>
                <a:gd name="T15" fmla="*/ 83479 h 82"/>
                <a:gd name="T16" fmla="*/ 95065 w 86"/>
                <a:gd name="T17" fmla="*/ 83479 h 82"/>
                <a:gd name="T18" fmla="*/ 87460 w 86"/>
                <a:gd name="T19" fmla="*/ 79685 h 82"/>
                <a:gd name="T20" fmla="*/ 81756 w 86"/>
                <a:gd name="T21" fmla="*/ 70198 h 82"/>
                <a:gd name="T22" fmla="*/ 76052 w 86"/>
                <a:gd name="T23" fmla="*/ 75890 h 82"/>
                <a:gd name="T24" fmla="*/ 70348 w 86"/>
                <a:gd name="T25" fmla="*/ 62609 h 82"/>
                <a:gd name="T26" fmla="*/ 66546 w 86"/>
                <a:gd name="T27" fmla="*/ 47431 h 82"/>
                <a:gd name="T28" fmla="*/ 60842 w 86"/>
                <a:gd name="T29" fmla="*/ 26562 h 82"/>
                <a:gd name="T30" fmla="*/ 53236 w 86"/>
                <a:gd name="T31" fmla="*/ 0 h 82"/>
                <a:gd name="T32" fmla="*/ 41829 w 86"/>
                <a:gd name="T33" fmla="*/ 5692 h 82"/>
                <a:gd name="T34" fmla="*/ 34223 w 86"/>
                <a:gd name="T35" fmla="*/ 11384 h 82"/>
                <a:gd name="T36" fmla="*/ 26618 w 86"/>
                <a:gd name="T37" fmla="*/ 7589 h 82"/>
                <a:gd name="T38" fmla="*/ 22816 w 86"/>
                <a:gd name="T39" fmla="*/ 18973 h 82"/>
                <a:gd name="T40" fmla="*/ 13309 w 86"/>
                <a:gd name="T41" fmla="*/ 18973 h 82"/>
                <a:gd name="T42" fmla="*/ 11408 w 86"/>
                <a:gd name="T43" fmla="*/ 28459 h 82"/>
                <a:gd name="T44" fmla="*/ 7605 w 86"/>
                <a:gd name="T45" fmla="*/ 36048 h 82"/>
                <a:gd name="T46" fmla="*/ 13309 w 86"/>
                <a:gd name="T47" fmla="*/ 43637 h 82"/>
                <a:gd name="T48" fmla="*/ 7605 w 86"/>
                <a:gd name="T49" fmla="*/ 60712 h 82"/>
                <a:gd name="T50" fmla="*/ 1901 w 86"/>
                <a:gd name="T51" fmla="*/ 72096 h 82"/>
                <a:gd name="T52" fmla="*/ 3803 w 86"/>
                <a:gd name="T53" fmla="*/ 91068 h 82"/>
                <a:gd name="T54" fmla="*/ 7605 w 86"/>
                <a:gd name="T55" fmla="*/ 100555 h 82"/>
                <a:gd name="T56" fmla="*/ 17112 w 86"/>
                <a:gd name="T57" fmla="*/ 100555 h 82"/>
                <a:gd name="T58" fmla="*/ 22816 w 86"/>
                <a:gd name="T59" fmla="*/ 94863 h 82"/>
                <a:gd name="T60" fmla="*/ 30421 w 86"/>
                <a:gd name="T61" fmla="*/ 102452 h 82"/>
                <a:gd name="T62" fmla="*/ 36125 w 86"/>
                <a:gd name="T63" fmla="*/ 81582 h 82"/>
                <a:gd name="T64" fmla="*/ 43730 w 86"/>
                <a:gd name="T65" fmla="*/ 89171 h 82"/>
                <a:gd name="T66" fmla="*/ 49434 w 86"/>
                <a:gd name="T67" fmla="*/ 94863 h 82"/>
                <a:gd name="T68" fmla="*/ 60842 w 86"/>
                <a:gd name="T69" fmla="*/ 92966 h 82"/>
                <a:gd name="T70" fmla="*/ 66546 w 86"/>
                <a:gd name="T71" fmla="*/ 89171 h 82"/>
                <a:gd name="T72" fmla="*/ 74151 w 86"/>
                <a:gd name="T73" fmla="*/ 94863 h 82"/>
                <a:gd name="T74" fmla="*/ 95065 w 86"/>
                <a:gd name="T75" fmla="*/ 96760 h 82"/>
                <a:gd name="T76" fmla="*/ 108374 w 86"/>
                <a:gd name="T77" fmla="*/ 106246 h 82"/>
                <a:gd name="T78" fmla="*/ 115979 w 86"/>
                <a:gd name="T79" fmla="*/ 119527 h 82"/>
                <a:gd name="T80" fmla="*/ 133091 w 86"/>
                <a:gd name="T81" fmla="*/ 134705 h 82"/>
                <a:gd name="T82" fmla="*/ 136894 w 86"/>
                <a:gd name="T83" fmla="*/ 144191 h 82"/>
                <a:gd name="T84" fmla="*/ 144499 w 86"/>
                <a:gd name="T85" fmla="*/ 151780 h 82"/>
                <a:gd name="T86" fmla="*/ 154005 w 86"/>
                <a:gd name="T87" fmla="*/ 153678 h 82"/>
                <a:gd name="T88" fmla="*/ 157808 w 86"/>
                <a:gd name="T89" fmla="*/ 147986 h 82"/>
                <a:gd name="T90" fmla="*/ 163512 w 86"/>
                <a:gd name="T91" fmla="*/ 147986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 name="Freeform 75"/>
            <p:cNvSpPr>
              <a:spLocks noChangeAspect="1"/>
            </p:cNvSpPr>
            <p:nvPr/>
          </p:nvSpPr>
          <p:spPr bwMode="auto">
            <a:xfrm>
              <a:off x="4852300" y="2348331"/>
              <a:ext cx="406835" cy="443649"/>
            </a:xfrm>
            <a:custGeom>
              <a:avLst/>
              <a:gdLst>
                <a:gd name="T0" fmla="*/ 353539 w 211"/>
                <a:gd name="T1" fmla="*/ 238680 h 286"/>
                <a:gd name="T2" fmla="*/ 357361 w 211"/>
                <a:gd name="T3" fmla="*/ 208129 h 286"/>
                <a:gd name="T4" fmla="*/ 357361 w 211"/>
                <a:gd name="T5" fmla="*/ 183306 h 286"/>
                <a:gd name="T6" fmla="*/ 363094 w 211"/>
                <a:gd name="T7" fmla="*/ 166121 h 286"/>
                <a:gd name="T8" fmla="*/ 376471 w 211"/>
                <a:gd name="T9" fmla="*/ 154665 h 286"/>
                <a:gd name="T10" fmla="*/ 391759 w 211"/>
                <a:gd name="T11" fmla="*/ 152755 h 286"/>
                <a:gd name="T12" fmla="*/ 387937 w 211"/>
                <a:gd name="T13" fmla="*/ 137480 h 286"/>
                <a:gd name="T14" fmla="*/ 376471 w 211"/>
                <a:gd name="T15" fmla="*/ 122204 h 286"/>
                <a:gd name="T16" fmla="*/ 365005 w 211"/>
                <a:gd name="T17" fmla="*/ 82106 h 286"/>
                <a:gd name="T18" fmla="*/ 357361 w 211"/>
                <a:gd name="T19" fmla="*/ 42008 h 286"/>
                <a:gd name="T20" fmla="*/ 342072 w 211"/>
                <a:gd name="T21" fmla="*/ 9547 h 286"/>
                <a:gd name="T22" fmla="*/ 326784 w 211"/>
                <a:gd name="T23" fmla="*/ 0 h 286"/>
                <a:gd name="T24" fmla="*/ 305763 w 211"/>
                <a:gd name="T25" fmla="*/ 11457 h 286"/>
                <a:gd name="T26" fmla="*/ 292386 w 211"/>
                <a:gd name="T27" fmla="*/ 24823 h 286"/>
                <a:gd name="T28" fmla="*/ 279009 w 211"/>
                <a:gd name="T29" fmla="*/ 42008 h 286"/>
                <a:gd name="T30" fmla="*/ 72619 w 211"/>
                <a:gd name="T31" fmla="*/ 30551 h 286"/>
                <a:gd name="T32" fmla="*/ 49686 w 211"/>
                <a:gd name="T33" fmla="*/ 91653 h 286"/>
                <a:gd name="T34" fmla="*/ 47775 w 211"/>
                <a:gd name="T35" fmla="*/ 206220 h 286"/>
                <a:gd name="T36" fmla="*/ 26754 w 211"/>
                <a:gd name="T37" fmla="*/ 211948 h 286"/>
                <a:gd name="T38" fmla="*/ 19110 w 211"/>
                <a:gd name="T39" fmla="*/ 234861 h 286"/>
                <a:gd name="T40" fmla="*/ 19110 w 211"/>
                <a:gd name="T41" fmla="*/ 252046 h 286"/>
                <a:gd name="T42" fmla="*/ 11466 w 211"/>
                <a:gd name="T43" fmla="*/ 274959 h 286"/>
                <a:gd name="T44" fmla="*/ 1911 w 211"/>
                <a:gd name="T45" fmla="*/ 295963 h 286"/>
                <a:gd name="T46" fmla="*/ 17199 w 211"/>
                <a:gd name="T47" fmla="*/ 311239 h 286"/>
                <a:gd name="T48" fmla="*/ 17199 w 211"/>
                <a:gd name="T49" fmla="*/ 320786 h 286"/>
                <a:gd name="T50" fmla="*/ 24843 w 211"/>
                <a:gd name="T51" fmla="*/ 339880 h 286"/>
                <a:gd name="T52" fmla="*/ 47775 w 211"/>
                <a:gd name="T53" fmla="*/ 372341 h 286"/>
                <a:gd name="T54" fmla="*/ 40131 w 211"/>
                <a:gd name="T55" fmla="*/ 393345 h 286"/>
                <a:gd name="T56" fmla="*/ 61153 w 211"/>
                <a:gd name="T57" fmla="*/ 402892 h 286"/>
                <a:gd name="T58" fmla="*/ 78352 w 211"/>
                <a:gd name="T59" fmla="*/ 416258 h 286"/>
                <a:gd name="T60" fmla="*/ 87907 w 211"/>
                <a:gd name="T61" fmla="*/ 425805 h 286"/>
                <a:gd name="T62" fmla="*/ 95551 w 211"/>
                <a:gd name="T63" fmla="*/ 446809 h 286"/>
                <a:gd name="T64" fmla="*/ 118483 w 211"/>
                <a:gd name="T65" fmla="*/ 462085 h 286"/>
                <a:gd name="T66" fmla="*/ 126127 w 211"/>
                <a:gd name="T67" fmla="*/ 475451 h 286"/>
                <a:gd name="T68" fmla="*/ 139504 w 211"/>
                <a:gd name="T69" fmla="*/ 492636 h 286"/>
                <a:gd name="T70" fmla="*/ 149059 w 211"/>
                <a:gd name="T71" fmla="*/ 513640 h 286"/>
                <a:gd name="T72" fmla="*/ 170081 w 211"/>
                <a:gd name="T73" fmla="*/ 515549 h 286"/>
                <a:gd name="T74" fmla="*/ 189191 w 211"/>
                <a:gd name="T75" fmla="*/ 509821 h 286"/>
                <a:gd name="T76" fmla="*/ 212123 w 211"/>
                <a:gd name="T77" fmla="*/ 540372 h 286"/>
                <a:gd name="T78" fmla="*/ 223589 w 211"/>
                <a:gd name="T79" fmla="*/ 540372 h 286"/>
                <a:gd name="T80" fmla="*/ 246521 w 211"/>
                <a:gd name="T81" fmla="*/ 534643 h 286"/>
                <a:gd name="T82" fmla="*/ 259899 w 211"/>
                <a:gd name="T83" fmla="*/ 538462 h 286"/>
                <a:gd name="T84" fmla="*/ 279009 w 211"/>
                <a:gd name="T85" fmla="*/ 536553 h 286"/>
                <a:gd name="T86" fmla="*/ 298119 w 211"/>
                <a:gd name="T87" fmla="*/ 525096 h 286"/>
                <a:gd name="T88" fmla="*/ 322962 w 211"/>
                <a:gd name="T89" fmla="*/ 483088 h 286"/>
                <a:gd name="T90" fmla="*/ 305763 w 211"/>
                <a:gd name="T91" fmla="*/ 448718 h 286"/>
                <a:gd name="T92" fmla="*/ 271365 w 211"/>
                <a:gd name="T93" fmla="*/ 427715 h 286"/>
                <a:gd name="T94" fmla="*/ 288564 w 211"/>
                <a:gd name="T95" fmla="*/ 410530 h 286"/>
                <a:gd name="T96" fmla="*/ 298119 w 211"/>
                <a:gd name="T97" fmla="*/ 383798 h 286"/>
                <a:gd name="T98" fmla="*/ 298119 w 211"/>
                <a:gd name="T99" fmla="*/ 353246 h 286"/>
                <a:gd name="T100" fmla="*/ 311496 w 211"/>
                <a:gd name="T101" fmla="*/ 347518 h 286"/>
                <a:gd name="T102" fmla="*/ 319140 w 211"/>
                <a:gd name="T103" fmla="*/ 313148 h 286"/>
                <a:gd name="T104" fmla="*/ 332517 w 211"/>
                <a:gd name="T105" fmla="*/ 290235 h 286"/>
                <a:gd name="T106" fmla="*/ 345894 w 211"/>
                <a:gd name="T107" fmla="*/ 280688 h 286"/>
                <a:gd name="T108" fmla="*/ 351628 w 211"/>
                <a:gd name="T109" fmla="*/ 255865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 name="Freeform 76"/>
            <p:cNvSpPr>
              <a:spLocks noChangeAspect="1"/>
            </p:cNvSpPr>
            <p:nvPr/>
          </p:nvSpPr>
          <p:spPr bwMode="auto">
            <a:xfrm>
              <a:off x="4543169" y="2107161"/>
              <a:ext cx="382810" cy="326289"/>
            </a:xfrm>
            <a:custGeom>
              <a:avLst/>
              <a:gdLst>
                <a:gd name="T0" fmla="*/ 379413 w 199"/>
                <a:gd name="T1" fmla="*/ 327402 h 211"/>
                <a:gd name="T2" fmla="*/ 377506 w 199"/>
                <a:gd name="T3" fmla="*/ 388314 h 211"/>
                <a:gd name="T4" fmla="*/ 356534 w 199"/>
                <a:gd name="T5" fmla="*/ 388314 h 211"/>
                <a:gd name="T6" fmla="*/ 354627 w 199"/>
                <a:gd name="T7" fmla="*/ 401638 h 211"/>
                <a:gd name="T8" fmla="*/ 156341 w 199"/>
                <a:gd name="T9" fmla="*/ 287428 h 211"/>
                <a:gd name="T10" fmla="*/ 141088 w 199"/>
                <a:gd name="T11" fmla="*/ 300753 h 211"/>
                <a:gd name="T12" fmla="*/ 114396 w 199"/>
                <a:gd name="T13" fmla="*/ 312174 h 211"/>
                <a:gd name="T14" fmla="*/ 102956 w 199"/>
                <a:gd name="T15" fmla="*/ 295042 h 211"/>
                <a:gd name="T16" fmla="*/ 80077 w 199"/>
                <a:gd name="T17" fmla="*/ 293139 h 211"/>
                <a:gd name="T18" fmla="*/ 66731 w 199"/>
                <a:gd name="T19" fmla="*/ 283621 h 211"/>
                <a:gd name="T20" fmla="*/ 53385 w 199"/>
                <a:gd name="T21" fmla="*/ 274104 h 211"/>
                <a:gd name="T22" fmla="*/ 59105 w 199"/>
                <a:gd name="T23" fmla="*/ 268393 h 211"/>
                <a:gd name="T24" fmla="*/ 40039 w 199"/>
                <a:gd name="T25" fmla="*/ 258876 h 211"/>
                <a:gd name="T26" fmla="*/ 24786 w 199"/>
                <a:gd name="T27" fmla="*/ 260779 h 211"/>
                <a:gd name="T28" fmla="*/ 22879 w 199"/>
                <a:gd name="T29" fmla="*/ 239841 h 211"/>
                <a:gd name="T30" fmla="*/ 5720 w 199"/>
                <a:gd name="T31" fmla="*/ 205578 h 211"/>
                <a:gd name="T32" fmla="*/ 19066 w 199"/>
                <a:gd name="T33" fmla="*/ 196060 h 211"/>
                <a:gd name="T34" fmla="*/ 13346 w 199"/>
                <a:gd name="T35" fmla="*/ 167508 h 211"/>
                <a:gd name="T36" fmla="*/ 15253 w 199"/>
                <a:gd name="T37" fmla="*/ 131341 h 211"/>
                <a:gd name="T38" fmla="*/ 0 w 199"/>
                <a:gd name="T39" fmla="*/ 91368 h 211"/>
                <a:gd name="T40" fmla="*/ 5720 w 199"/>
                <a:gd name="T41" fmla="*/ 87561 h 211"/>
                <a:gd name="T42" fmla="*/ 19066 w 199"/>
                <a:gd name="T43" fmla="*/ 79947 h 211"/>
                <a:gd name="T44" fmla="*/ 22879 w 199"/>
                <a:gd name="T45" fmla="*/ 68526 h 211"/>
                <a:gd name="T46" fmla="*/ 19066 w 199"/>
                <a:gd name="T47" fmla="*/ 47587 h 211"/>
                <a:gd name="T48" fmla="*/ 28599 w 199"/>
                <a:gd name="T49" fmla="*/ 41877 h 211"/>
                <a:gd name="T50" fmla="*/ 40039 w 199"/>
                <a:gd name="T51" fmla="*/ 30456 h 211"/>
                <a:gd name="T52" fmla="*/ 55291 w 199"/>
                <a:gd name="T53" fmla="*/ 20938 h 211"/>
                <a:gd name="T54" fmla="*/ 51478 w 199"/>
                <a:gd name="T55" fmla="*/ 15228 h 211"/>
                <a:gd name="T56" fmla="*/ 53385 w 199"/>
                <a:gd name="T57" fmla="*/ 0 h 211"/>
                <a:gd name="T58" fmla="*/ 64824 w 199"/>
                <a:gd name="T59" fmla="*/ 5710 h 211"/>
                <a:gd name="T60" fmla="*/ 91517 w 199"/>
                <a:gd name="T61" fmla="*/ 9517 h 211"/>
                <a:gd name="T62" fmla="*/ 116302 w 199"/>
                <a:gd name="T63" fmla="*/ 15228 h 211"/>
                <a:gd name="T64" fmla="*/ 137275 w 199"/>
                <a:gd name="T65" fmla="*/ 22842 h 211"/>
                <a:gd name="T66" fmla="*/ 146808 w 199"/>
                <a:gd name="T67" fmla="*/ 43780 h 211"/>
                <a:gd name="T68" fmla="*/ 160154 w 199"/>
                <a:gd name="T69" fmla="*/ 57105 h 211"/>
                <a:gd name="T70" fmla="*/ 179220 w 199"/>
                <a:gd name="T71" fmla="*/ 60912 h 211"/>
                <a:gd name="T72" fmla="*/ 207819 w 199"/>
                <a:gd name="T73" fmla="*/ 68526 h 211"/>
                <a:gd name="T74" fmla="*/ 224979 w 199"/>
                <a:gd name="T75" fmla="*/ 83754 h 211"/>
                <a:gd name="T76" fmla="*/ 242138 w 199"/>
                <a:gd name="T77" fmla="*/ 85657 h 211"/>
                <a:gd name="T78" fmla="*/ 251671 w 199"/>
                <a:gd name="T79" fmla="*/ 74236 h 211"/>
                <a:gd name="T80" fmla="*/ 257391 w 199"/>
                <a:gd name="T81" fmla="*/ 60912 h 211"/>
                <a:gd name="T82" fmla="*/ 253578 w 199"/>
                <a:gd name="T83" fmla="*/ 49491 h 211"/>
                <a:gd name="T84" fmla="*/ 253578 w 199"/>
                <a:gd name="T85" fmla="*/ 32359 h 211"/>
                <a:gd name="T86" fmla="*/ 263111 w 199"/>
                <a:gd name="T87" fmla="*/ 19035 h 211"/>
                <a:gd name="T88" fmla="*/ 284083 w 199"/>
                <a:gd name="T89" fmla="*/ 11421 h 211"/>
                <a:gd name="T90" fmla="*/ 299336 w 199"/>
                <a:gd name="T91" fmla="*/ 7614 h 211"/>
                <a:gd name="T92" fmla="*/ 314589 w 199"/>
                <a:gd name="T93" fmla="*/ 13324 h 211"/>
                <a:gd name="T94" fmla="*/ 324122 w 199"/>
                <a:gd name="T95" fmla="*/ 17131 h 211"/>
                <a:gd name="T96" fmla="*/ 331748 w 199"/>
                <a:gd name="T97" fmla="*/ 28552 h 211"/>
                <a:gd name="T98" fmla="*/ 352721 w 199"/>
                <a:gd name="T99" fmla="*/ 36166 h 211"/>
                <a:gd name="T100" fmla="*/ 366067 w 199"/>
                <a:gd name="T101" fmla="*/ 36166 h 211"/>
                <a:gd name="T102" fmla="*/ 373693 w 199"/>
                <a:gd name="T103" fmla="*/ 36166 h 211"/>
                <a:gd name="T104" fmla="*/ 377506 w 199"/>
                <a:gd name="T105" fmla="*/ 41877 h 211"/>
                <a:gd name="T106" fmla="*/ 371787 w 199"/>
                <a:gd name="T107" fmla="*/ 51394 h 211"/>
                <a:gd name="T108" fmla="*/ 371787 w 199"/>
                <a:gd name="T109" fmla="*/ 72333 h 211"/>
                <a:gd name="T110" fmla="*/ 366067 w 199"/>
                <a:gd name="T111" fmla="*/ 87561 h 211"/>
                <a:gd name="T112" fmla="*/ 373693 w 199"/>
                <a:gd name="T113" fmla="*/ 118017 h 211"/>
                <a:gd name="T114" fmla="*/ 379413 w 199"/>
                <a:gd name="T115" fmla="*/ 327402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 name="Freeform 77"/>
            <p:cNvSpPr>
              <a:spLocks noChangeAspect="1"/>
            </p:cNvSpPr>
            <p:nvPr/>
          </p:nvSpPr>
          <p:spPr bwMode="auto">
            <a:xfrm>
              <a:off x="4101096" y="1881466"/>
              <a:ext cx="76882" cy="132837"/>
            </a:xfrm>
            <a:custGeom>
              <a:avLst/>
              <a:gdLst>
                <a:gd name="T0" fmla="*/ 47625 w 40"/>
                <a:gd name="T1" fmla="*/ 154005 h 86"/>
                <a:gd name="T2" fmla="*/ 36195 w 40"/>
                <a:gd name="T3" fmla="*/ 161611 h 86"/>
                <a:gd name="T4" fmla="*/ 32385 w 40"/>
                <a:gd name="T5" fmla="*/ 157808 h 86"/>
                <a:gd name="T6" fmla="*/ 19050 w 40"/>
                <a:gd name="T7" fmla="*/ 157808 h 86"/>
                <a:gd name="T8" fmla="*/ 11430 w 40"/>
                <a:gd name="T9" fmla="*/ 161611 h 86"/>
                <a:gd name="T10" fmla="*/ 15240 w 40"/>
                <a:gd name="T11" fmla="*/ 148302 h 86"/>
                <a:gd name="T12" fmla="*/ 13335 w 40"/>
                <a:gd name="T13" fmla="*/ 133091 h 86"/>
                <a:gd name="T14" fmla="*/ 19050 w 40"/>
                <a:gd name="T15" fmla="*/ 114078 h 86"/>
                <a:gd name="T16" fmla="*/ 13335 w 40"/>
                <a:gd name="T17" fmla="*/ 114078 h 86"/>
                <a:gd name="T18" fmla="*/ 5715 w 40"/>
                <a:gd name="T19" fmla="*/ 115979 h 86"/>
                <a:gd name="T20" fmla="*/ 11430 w 40"/>
                <a:gd name="T21" fmla="*/ 106473 h 86"/>
                <a:gd name="T22" fmla="*/ 11430 w 40"/>
                <a:gd name="T23" fmla="*/ 100769 h 86"/>
                <a:gd name="T24" fmla="*/ 5715 w 40"/>
                <a:gd name="T25" fmla="*/ 106473 h 86"/>
                <a:gd name="T26" fmla="*/ 0 w 40"/>
                <a:gd name="T27" fmla="*/ 104572 h 86"/>
                <a:gd name="T28" fmla="*/ 3810 w 40"/>
                <a:gd name="T29" fmla="*/ 93164 h 86"/>
                <a:gd name="T30" fmla="*/ 9525 w 40"/>
                <a:gd name="T31" fmla="*/ 79855 h 86"/>
                <a:gd name="T32" fmla="*/ 13335 w 40"/>
                <a:gd name="T33" fmla="*/ 64644 h 86"/>
                <a:gd name="T34" fmla="*/ 15240 w 40"/>
                <a:gd name="T35" fmla="*/ 55138 h 86"/>
                <a:gd name="T36" fmla="*/ 19050 w 40"/>
                <a:gd name="T37" fmla="*/ 45631 h 86"/>
                <a:gd name="T38" fmla="*/ 19050 w 40"/>
                <a:gd name="T39" fmla="*/ 30421 h 86"/>
                <a:gd name="T40" fmla="*/ 15240 w 40"/>
                <a:gd name="T41" fmla="*/ 19013 h 86"/>
                <a:gd name="T42" fmla="*/ 13335 w 40"/>
                <a:gd name="T43" fmla="*/ 7605 h 86"/>
                <a:gd name="T44" fmla="*/ 28575 w 40"/>
                <a:gd name="T45" fmla="*/ 0 h 86"/>
                <a:gd name="T46" fmla="*/ 34290 w 40"/>
                <a:gd name="T47" fmla="*/ 3803 h 86"/>
                <a:gd name="T48" fmla="*/ 30480 w 40"/>
                <a:gd name="T49" fmla="*/ 11408 h 86"/>
                <a:gd name="T50" fmla="*/ 41910 w 40"/>
                <a:gd name="T51" fmla="*/ 9507 h 86"/>
                <a:gd name="T52" fmla="*/ 49530 w 40"/>
                <a:gd name="T53" fmla="*/ 11408 h 86"/>
                <a:gd name="T54" fmla="*/ 55245 w 40"/>
                <a:gd name="T55" fmla="*/ 5704 h 86"/>
                <a:gd name="T56" fmla="*/ 68580 w 40"/>
                <a:gd name="T57" fmla="*/ 5704 h 86"/>
                <a:gd name="T58" fmla="*/ 66675 w 40"/>
                <a:gd name="T59" fmla="*/ 15210 h 86"/>
                <a:gd name="T60" fmla="*/ 76200 w 40"/>
                <a:gd name="T61" fmla="*/ 17112 h 86"/>
                <a:gd name="T62" fmla="*/ 68580 w 40"/>
                <a:gd name="T63" fmla="*/ 28520 h 86"/>
                <a:gd name="T64" fmla="*/ 59055 w 40"/>
                <a:gd name="T65" fmla="*/ 36125 h 86"/>
                <a:gd name="T66" fmla="*/ 60960 w 40"/>
                <a:gd name="T67" fmla="*/ 57039 h 86"/>
                <a:gd name="T68" fmla="*/ 57150 w 40"/>
                <a:gd name="T69" fmla="*/ 62743 h 86"/>
                <a:gd name="T70" fmla="*/ 59055 w 40"/>
                <a:gd name="T71" fmla="*/ 68447 h 86"/>
                <a:gd name="T72" fmla="*/ 57150 w 40"/>
                <a:gd name="T73" fmla="*/ 77953 h 86"/>
                <a:gd name="T74" fmla="*/ 47625 w 40"/>
                <a:gd name="T75" fmla="*/ 81756 h 86"/>
                <a:gd name="T76" fmla="*/ 51435 w 40"/>
                <a:gd name="T77" fmla="*/ 93164 h 86"/>
                <a:gd name="T78" fmla="*/ 57150 w 40"/>
                <a:gd name="T79" fmla="*/ 96966 h 86"/>
                <a:gd name="T80" fmla="*/ 57150 w 40"/>
                <a:gd name="T81" fmla="*/ 102670 h 86"/>
                <a:gd name="T82" fmla="*/ 49530 w 40"/>
                <a:gd name="T83" fmla="*/ 110276 h 86"/>
                <a:gd name="T84" fmla="*/ 49530 w 40"/>
                <a:gd name="T85" fmla="*/ 117881 h 86"/>
                <a:gd name="T86" fmla="*/ 57150 w 40"/>
                <a:gd name="T87" fmla="*/ 127387 h 86"/>
                <a:gd name="T88" fmla="*/ 49530 w 40"/>
                <a:gd name="T89" fmla="*/ 134992 h 86"/>
                <a:gd name="T90" fmla="*/ 43815 w 40"/>
                <a:gd name="T91" fmla="*/ 142598 h 86"/>
                <a:gd name="T92" fmla="*/ 47625 w 40"/>
                <a:gd name="T93" fmla="*/ 154005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 name="Freeform 78"/>
            <p:cNvSpPr>
              <a:spLocks noChangeAspect="1"/>
            </p:cNvSpPr>
            <p:nvPr/>
          </p:nvSpPr>
          <p:spPr bwMode="auto">
            <a:xfrm>
              <a:off x="4210013" y="1641587"/>
              <a:ext cx="301122" cy="232142"/>
            </a:xfrm>
            <a:custGeom>
              <a:avLst/>
              <a:gdLst>
                <a:gd name="T0" fmla="*/ 286971 w 156"/>
                <a:gd name="T1" fmla="*/ 238125 h 150"/>
                <a:gd name="T2" fmla="*/ 271666 w 156"/>
                <a:gd name="T3" fmla="*/ 224790 h 150"/>
                <a:gd name="T4" fmla="*/ 265927 w 156"/>
                <a:gd name="T5" fmla="*/ 203835 h 150"/>
                <a:gd name="T6" fmla="*/ 273579 w 156"/>
                <a:gd name="T7" fmla="*/ 186690 h 150"/>
                <a:gd name="T8" fmla="*/ 273579 w 156"/>
                <a:gd name="T9" fmla="*/ 173355 h 150"/>
                <a:gd name="T10" fmla="*/ 264013 w 156"/>
                <a:gd name="T11" fmla="*/ 158115 h 150"/>
                <a:gd name="T12" fmla="*/ 252535 w 156"/>
                <a:gd name="T13" fmla="*/ 156210 h 150"/>
                <a:gd name="T14" fmla="*/ 264013 w 156"/>
                <a:gd name="T15" fmla="*/ 135255 h 150"/>
                <a:gd name="T16" fmla="*/ 271666 w 156"/>
                <a:gd name="T17" fmla="*/ 121920 h 150"/>
                <a:gd name="T18" fmla="*/ 285058 w 156"/>
                <a:gd name="T19" fmla="*/ 108585 h 150"/>
                <a:gd name="T20" fmla="*/ 292711 w 156"/>
                <a:gd name="T21" fmla="*/ 76200 h 150"/>
                <a:gd name="T22" fmla="*/ 279319 w 156"/>
                <a:gd name="T23" fmla="*/ 62865 h 150"/>
                <a:gd name="T24" fmla="*/ 260187 w 156"/>
                <a:gd name="T25" fmla="*/ 55245 h 150"/>
                <a:gd name="T26" fmla="*/ 244882 w 156"/>
                <a:gd name="T27" fmla="*/ 51435 h 150"/>
                <a:gd name="T28" fmla="*/ 223837 w 156"/>
                <a:gd name="T29" fmla="*/ 41910 h 150"/>
                <a:gd name="T30" fmla="*/ 208532 w 156"/>
                <a:gd name="T31" fmla="*/ 36195 h 150"/>
                <a:gd name="T32" fmla="*/ 195140 w 156"/>
                <a:gd name="T33" fmla="*/ 24765 h 150"/>
                <a:gd name="T34" fmla="*/ 181748 w 156"/>
                <a:gd name="T35" fmla="*/ 13335 h 150"/>
                <a:gd name="T36" fmla="*/ 168356 w 156"/>
                <a:gd name="T37" fmla="*/ 1905 h 150"/>
                <a:gd name="T38" fmla="*/ 149225 w 156"/>
                <a:gd name="T39" fmla="*/ 34290 h 150"/>
                <a:gd name="T40" fmla="*/ 112875 w 156"/>
                <a:gd name="T41" fmla="*/ 47625 h 150"/>
                <a:gd name="T42" fmla="*/ 112875 w 156"/>
                <a:gd name="T43" fmla="*/ 59055 h 150"/>
                <a:gd name="T44" fmla="*/ 84178 w 156"/>
                <a:gd name="T45" fmla="*/ 59055 h 150"/>
                <a:gd name="T46" fmla="*/ 74613 w 156"/>
                <a:gd name="T47" fmla="*/ 47625 h 150"/>
                <a:gd name="T48" fmla="*/ 72699 w 156"/>
                <a:gd name="T49" fmla="*/ 66675 h 150"/>
                <a:gd name="T50" fmla="*/ 68873 w 156"/>
                <a:gd name="T51" fmla="*/ 83820 h 150"/>
                <a:gd name="T52" fmla="*/ 44002 w 156"/>
                <a:gd name="T53" fmla="*/ 80010 h 150"/>
                <a:gd name="T54" fmla="*/ 26784 w 156"/>
                <a:gd name="T55" fmla="*/ 81915 h 150"/>
                <a:gd name="T56" fmla="*/ 3826 w 156"/>
                <a:gd name="T57" fmla="*/ 85725 h 150"/>
                <a:gd name="T58" fmla="*/ 13392 w 156"/>
                <a:gd name="T59" fmla="*/ 100965 h 150"/>
                <a:gd name="T60" fmla="*/ 11479 w 156"/>
                <a:gd name="T61" fmla="*/ 112395 h 150"/>
                <a:gd name="T62" fmla="*/ 40176 w 156"/>
                <a:gd name="T63" fmla="*/ 120015 h 150"/>
                <a:gd name="T64" fmla="*/ 53568 w 156"/>
                <a:gd name="T65" fmla="*/ 121920 h 150"/>
                <a:gd name="T66" fmla="*/ 65047 w 156"/>
                <a:gd name="T67" fmla="*/ 127635 h 150"/>
                <a:gd name="T68" fmla="*/ 61221 w 156"/>
                <a:gd name="T69" fmla="*/ 142875 h 150"/>
                <a:gd name="T70" fmla="*/ 78439 w 156"/>
                <a:gd name="T71" fmla="*/ 160020 h 150"/>
                <a:gd name="T72" fmla="*/ 86091 w 156"/>
                <a:gd name="T73" fmla="*/ 169545 h 150"/>
                <a:gd name="T74" fmla="*/ 91831 w 156"/>
                <a:gd name="T75" fmla="*/ 184785 h 150"/>
                <a:gd name="T76" fmla="*/ 84178 w 156"/>
                <a:gd name="T77" fmla="*/ 186690 h 150"/>
                <a:gd name="T78" fmla="*/ 88004 w 156"/>
                <a:gd name="T79" fmla="*/ 211455 h 150"/>
                <a:gd name="T80" fmla="*/ 80352 w 156"/>
                <a:gd name="T81" fmla="*/ 243840 h 150"/>
                <a:gd name="T82" fmla="*/ 78439 w 156"/>
                <a:gd name="T83" fmla="*/ 259080 h 150"/>
                <a:gd name="T84" fmla="*/ 105223 w 156"/>
                <a:gd name="T85" fmla="*/ 274320 h 150"/>
                <a:gd name="T86" fmla="*/ 128180 w 156"/>
                <a:gd name="T87" fmla="*/ 270510 h 150"/>
                <a:gd name="T88" fmla="*/ 162617 w 156"/>
                <a:gd name="T89" fmla="*/ 283845 h 150"/>
                <a:gd name="T90" fmla="*/ 179835 w 156"/>
                <a:gd name="T91" fmla="*/ 270510 h 150"/>
                <a:gd name="T92" fmla="*/ 208532 w 156"/>
                <a:gd name="T93" fmla="*/ 253365 h 150"/>
                <a:gd name="T94" fmla="*/ 227664 w 156"/>
                <a:gd name="T95" fmla="*/ 249555 h 150"/>
                <a:gd name="T96" fmla="*/ 252535 w 156"/>
                <a:gd name="T97" fmla="*/ 264795 h 150"/>
                <a:gd name="T98" fmla="*/ 271666 w 156"/>
                <a:gd name="T99" fmla="*/ 253365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 name="Freeform 79"/>
            <p:cNvSpPr>
              <a:spLocks noChangeAspect="1"/>
            </p:cNvSpPr>
            <p:nvPr/>
          </p:nvSpPr>
          <p:spPr bwMode="auto">
            <a:xfrm>
              <a:off x="4453474" y="1666090"/>
              <a:ext cx="17619" cy="18056"/>
            </a:xfrm>
            <a:custGeom>
              <a:avLst/>
              <a:gdLst>
                <a:gd name="T0" fmla="*/ 15523 w 9"/>
                <a:gd name="T1" fmla="*/ 22225 h 12"/>
                <a:gd name="T2" fmla="*/ 17463 w 9"/>
                <a:gd name="T3" fmla="*/ 14817 h 12"/>
                <a:gd name="T4" fmla="*/ 15523 w 9"/>
                <a:gd name="T5" fmla="*/ 11113 h 12"/>
                <a:gd name="T6" fmla="*/ 9702 w 9"/>
                <a:gd name="T7" fmla="*/ 5556 h 12"/>
                <a:gd name="T8" fmla="*/ 7761 w 9"/>
                <a:gd name="T9" fmla="*/ 0 h 12"/>
                <a:gd name="T10" fmla="*/ 3881 w 9"/>
                <a:gd name="T11" fmla="*/ 1852 h 12"/>
                <a:gd name="T12" fmla="*/ 0 w 9"/>
                <a:gd name="T13" fmla="*/ 7408 h 12"/>
                <a:gd name="T14" fmla="*/ 1940 w 9"/>
                <a:gd name="T15" fmla="*/ 12965 h 12"/>
                <a:gd name="T16" fmla="*/ 3881 w 9"/>
                <a:gd name="T17" fmla="*/ 20373 h 12"/>
                <a:gd name="T18" fmla="*/ 9702 w 9"/>
                <a:gd name="T19" fmla="*/ 22225 h 12"/>
                <a:gd name="T20" fmla="*/ 15523 w 9"/>
                <a:gd name="T21" fmla="*/ 2222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 name="Freeform 80"/>
            <p:cNvSpPr>
              <a:spLocks noChangeAspect="1"/>
            </p:cNvSpPr>
            <p:nvPr/>
          </p:nvSpPr>
          <p:spPr bwMode="auto">
            <a:xfrm>
              <a:off x="4477500" y="1751209"/>
              <a:ext cx="278698" cy="238591"/>
            </a:xfrm>
            <a:custGeom>
              <a:avLst/>
              <a:gdLst>
                <a:gd name="T0" fmla="*/ 148590 w 145"/>
                <a:gd name="T1" fmla="*/ 45770 h 154"/>
                <a:gd name="T2" fmla="*/ 127635 w 145"/>
                <a:gd name="T3" fmla="*/ 61026 h 154"/>
                <a:gd name="T4" fmla="*/ 129540 w 145"/>
                <a:gd name="T5" fmla="*/ 91539 h 154"/>
                <a:gd name="T6" fmla="*/ 154305 w 145"/>
                <a:gd name="T7" fmla="*/ 112517 h 154"/>
                <a:gd name="T8" fmla="*/ 188595 w 145"/>
                <a:gd name="T9" fmla="*/ 162101 h 154"/>
                <a:gd name="T10" fmla="*/ 219075 w 145"/>
                <a:gd name="T11" fmla="*/ 165915 h 154"/>
                <a:gd name="T12" fmla="*/ 222885 w 145"/>
                <a:gd name="T13" fmla="*/ 186892 h 154"/>
                <a:gd name="T14" fmla="*/ 268605 w 145"/>
                <a:gd name="T15" fmla="*/ 211684 h 154"/>
                <a:gd name="T16" fmla="*/ 264795 w 145"/>
                <a:gd name="T17" fmla="*/ 226941 h 154"/>
                <a:gd name="T18" fmla="*/ 247650 w 145"/>
                <a:gd name="T19" fmla="*/ 215498 h 154"/>
                <a:gd name="T20" fmla="*/ 230505 w 145"/>
                <a:gd name="T21" fmla="*/ 232662 h 154"/>
                <a:gd name="T22" fmla="*/ 243840 w 145"/>
                <a:gd name="T23" fmla="*/ 251733 h 154"/>
                <a:gd name="T24" fmla="*/ 230505 w 145"/>
                <a:gd name="T25" fmla="*/ 265082 h 154"/>
                <a:gd name="T26" fmla="*/ 220980 w 145"/>
                <a:gd name="T27" fmla="*/ 291781 h 154"/>
                <a:gd name="T28" fmla="*/ 215265 w 145"/>
                <a:gd name="T29" fmla="*/ 274617 h 154"/>
                <a:gd name="T30" fmla="*/ 220980 w 145"/>
                <a:gd name="T31" fmla="*/ 259361 h 154"/>
                <a:gd name="T32" fmla="*/ 209550 w 145"/>
                <a:gd name="T33" fmla="*/ 226941 h 154"/>
                <a:gd name="T34" fmla="*/ 192405 w 145"/>
                <a:gd name="T35" fmla="*/ 219312 h 154"/>
                <a:gd name="T36" fmla="*/ 182880 w 145"/>
                <a:gd name="T37" fmla="*/ 209777 h 154"/>
                <a:gd name="T38" fmla="*/ 161925 w 145"/>
                <a:gd name="T39" fmla="*/ 188799 h 154"/>
                <a:gd name="T40" fmla="*/ 133350 w 145"/>
                <a:gd name="T41" fmla="*/ 175450 h 154"/>
                <a:gd name="T42" fmla="*/ 104775 w 145"/>
                <a:gd name="T43" fmla="*/ 150658 h 154"/>
                <a:gd name="T44" fmla="*/ 89535 w 145"/>
                <a:gd name="T45" fmla="*/ 129680 h 154"/>
                <a:gd name="T46" fmla="*/ 74295 w 145"/>
                <a:gd name="T47" fmla="*/ 99167 h 154"/>
                <a:gd name="T48" fmla="*/ 45720 w 145"/>
                <a:gd name="T49" fmla="*/ 87725 h 154"/>
                <a:gd name="T50" fmla="*/ 24765 w 145"/>
                <a:gd name="T51" fmla="*/ 104889 h 154"/>
                <a:gd name="T52" fmla="*/ 13335 w 145"/>
                <a:gd name="T53" fmla="*/ 104889 h 154"/>
                <a:gd name="T54" fmla="*/ 15240 w 145"/>
                <a:gd name="T55" fmla="*/ 97260 h 154"/>
                <a:gd name="T56" fmla="*/ 5715 w 145"/>
                <a:gd name="T57" fmla="*/ 72468 h 154"/>
                <a:gd name="T58" fmla="*/ 9525 w 145"/>
                <a:gd name="T59" fmla="*/ 59119 h 154"/>
                <a:gd name="T60" fmla="*/ 1905 w 145"/>
                <a:gd name="T61" fmla="*/ 40048 h 154"/>
                <a:gd name="T62" fmla="*/ 19050 w 145"/>
                <a:gd name="T63" fmla="*/ 36234 h 154"/>
                <a:gd name="T64" fmla="*/ 32385 w 145"/>
                <a:gd name="T65" fmla="*/ 24792 h 154"/>
                <a:gd name="T66" fmla="*/ 45720 w 145"/>
                <a:gd name="T67" fmla="*/ 32420 h 154"/>
                <a:gd name="T68" fmla="*/ 57150 w 145"/>
                <a:gd name="T69" fmla="*/ 24792 h 154"/>
                <a:gd name="T70" fmla="*/ 72390 w 145"/>
                <a:gd name="T71" fmla="*/ 24792 h 154"/>
                <a:gd name="T72" fmla="*/ 78105 w 145"/>
                <a:gd name="T73" fmla="*/ 15257 h 154"/>
                <a:gd name="T74" fmla="*/ 85725 w 145"/>
                <a:gd name="T75" fmla="*/ 7628 h 154"/>
                <a:gd name="T76" fmla="*/ 99060 w 145"/>
                <a:gd name="T77" fmla="*/ 5721 h 154"/>
                <a:gd name="T78" fmla="*/ 125730 w 145"/>
                <a:gd name="T79" fmla="*/ 0 h 154"/>
                <a:gd name="T80" fmla="*/ 142875 w 145"/>
                <a:gd name="T81" fmla="*/ 15257 h 154"/>
                <a:gd name="T82" fmla="*/ 154305 w 145"/>
                <a:gd name="T83" fmla="*/ 22885 h 154"/>
                <a:gd name="T84" fmla="*/ 160020 w 145"/>
                <a:gd name="T85" fmla="*/ 45770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 name="Freeform 81"/>
            <p:cNvSpPr>
              <a:spLocks noChangeAspect="1"/>
            </p:cNvSpPr>
            <p:nvPr/>
          </p:nvSpPr>
          <p:spPr bwMode="auto">
            <a:xfrm>
              <a:off x="4461482" y="1730574"/>
              <a:ext cx="102509" cy="52877"/>
            </a:xfrm>
            <a:custGeom>
              <a:avLst/>
              <a:gdLst>
                <a:gd name="T0" fmla="*/ 101600 w 54"/>
                <a:gd name="T1" fmla="*/ 32544 h 34"/>
                <a:gd name="T2" fmla="*/ 99719 w 54"/>
                <a:gd name="T3" fmla="*/ 26801 h 34"/>
                <a:gd name="T4" fmla="*/ 92193 w 54"/>
                <a:gd name="T5" fmla="*/ 32544 h 34"/>
                <a:gd name="T6" fmla="*/ 86548 w 54"/>
                <a:gd name="T7" fmla="*/ 26801 h 34"/>
                <a:gd name="T8" fmla="*/ 80904 w 54"/>
                <a:gd name="T9" fmla="*/ 24887 h 34"/>
                <a:gd name="T10" fmla="*/ 80904 w 54"/>
                <a:gd name="T11" fmla="*/ 19144 h 34"/>
                <a:gd name="T12" fmla="*/ 80904 w 54"/>
                <a:gd name="T13" fmla="*/ 15315 h 34"/>
                <a:gd name="T14" fmla="*/ 79022 w 54"/>
                <a:gd name="T15" fmla="*/ 9572 h 34"/>
                <a:gd name="T16" fmla="*/ 73378 w 54"/>
                <a:gd name="T17" fmla="*/ 3829 h 34"/>
                <a:gd name="T18" fmla="*/ 63970 w 54"/>
                <a:gd name="T19" fmla="*/ 3829 h 34"/>
                <a:gd name="T20" fmla="*/ 56444 w 54"/>
                <a:gd name="T21" fmla="*/ 0 h 34"/>
                <a:gd name="T22" fmla="*/ 56444 w 54"/>
                <a:gd name="T23" fmla="*/ 5743 h 34"/>
                <a:gd name="T24" fmla="*/ 50800 w 54"/>
                <a:gd name="T25" fmla="*/ 7657 h 34"/>
                <a:gd name="T26" fmla="*/ 45156 w 54"/>
                <a:gd name="T27" fmla="*/ 11486 h 34"/>
                <a:gd name="T28" fmla="*/ 35748 w 54"/>
                <a:gd name="T29" fmla="*/ 9572 h 34"/>
                <a:gd name="T30" fmla="*/ 30104 w 54"/>
                <a:gd name="T31" fmla="*/ 13400 h 34"/>
                <a:gd name="T32" fmla="*/ 22578 w 54"/>
                <a:gd name="T33" fmla="*/ 11486 h 34"/>
                <a:gd name="T34" fmla="*/ 18815 w 54"/>
                <a:gd name="T35" fmla="*/ 13400 h 34"/>
                <a:gd name="T36" fmla="*/ 22578 w 54"/>
                <a:gd name="T37" fmla="*/ 17229 h 34"/>
                <a:gd name="T38" fmla="*/ 15052 w 54"/>
                <a:gd name="T39" fmla="*/ 24887 h 34"/>
                <a:gd name="T40" fmla="*/ 9407 w 54"/>
                <a:gd name="T41" fmla="*/ 30630 h 34"/>
                <a:gd name="T42" fmla="*/ 5644 w 54"/>
                <a:gd name="T43" fmla="*/ 38287 h 34"/>
                <a:gd name="T44" fmla="*/ 3763 w 54"/>
                <a:gd name="T45" fmla="*/ 45944 h 34"/>
                <a:gd name="T46" fmla="*/ 1881 w 54"/>
                <a:gd name="T47" fmla="*/ 55516 h 34"/>
                <a:gd name="T48" fmla="*/ 9407 w 54"/>
                <a:gd name="T49" fmla="*/ 47859 h 34"/>
                <a:gd name="T50" fmla="*/ 15052 w 54"/>
                <a:gd name="T51" fmla="*/ 47859 h 34"/>
                <a:gd name="T52" fmla="*/ 18815 w 54"/>
                <a:gd name="T53" fmla="*/ 49773 h 34"/>
                <a:gd name="T54" fmla="*/ 18815 w 54"/>
                <a:gd name="T55" fmla="*/ 57431 h 34"/>
                <a:gd name="T56" fmla="*/ 24459 w 54"/>
                <a:gd name="T57" fmla="*/ 63174 h 34"/>
                <a:gd name="T58" fmla="*/ 30104 w 54"/>
                <a:gd name="T59" fmla="*/ 63174 h 34"/>
                <a:gd name="T60" fmla="*/ 35748 w 54"/>
                <a:gd name="T61" fmla="*/ 61259 h 34"/>
                <a:gd name="T62" fmla="*/ 41393 w 54"/>
                <a:gd name="T63" fmla="*/ 63174 h 34"/>
                <a:gd name="T64" fmla="*/ 48919 w 54"/>
                <a:gd name="T65" fmla="*/ 55516 h 34"/>
                <a:gd name="T66" fmla="*/ 48919 w 54"/>
                <a:gd name="T67" fmla="*/ 49773 h 34"/>
                <a:gd name="T68" fmla="*/ 54563 w 54"/>
                <a:gd name="T69" fmla="*/ 44030 h 34"/>
                <a:gd name="T70" fmla="*/ 56444 w 54"/>
                <a:gd name="T71" fmla="*/ 53602 h 34"/>
                <a:gd name="T72" fmla="*/ 62089 w 54"/>
                <a:gd name="T73" fmla="*/ 57431 h 34"/>
                <a:gd name="T74" fmla="*/ 65852 w 54"/>
                <a:gd name="T75" fmla="*/ 61259 h 34"/>
                <a:gd name="T76" fmla="*/ 71496 w 54"/>
                <a:gd name="T77" fmla="*/ 59345 h 34"/>
                <a:gd name="T78" fmla="*/ 73378 w 54"/>
                <a:gd name="T79" fmla="*/ 49773 h 34"/>
                <a:gd name="T80" fmla="*/ 75259 w 54"/>
                <a:gd name="T81" fmla="*/ 45944 h 34"/>
                <a:gd name="T82" fmla="*/ 80904 w 54"/>
                <a:gd name="T83" fmla="*/ 49773 h 34"/>
                <a:gd name="T84" fmla="*/ 88430 w 54"/>
                <a:gd name="T85" fmla="*/ 49773 h 34"/>
                <a:gd name="T86" fmla="*/ 92193 w 54"/>
                <a:gd name="T87" fmla="*/ 51688 h 34"/>
                <a:gd name="T88" fmla="*/ 92193 w 54"/>
                <a:gd name="T89" fmla="*/ 42116 h 34"/>
                <a:gd name="T90" fmla="*/ 94074 w 54"/>
                <a:gd name="T91" fmla="*/ 40201 h 34"/>
                <a:gd name="T92" fmla="*/ 99719 w 54"/>
                <a:gd name="T93" fmla="*/ 44030 h 34"/>
                <a:gd name="T94" fmla="*/ 99719 w 54"/>
                <a:gd name="T95" fmla="*/ 36373 h 34"/>
                <a:gd name="T96" fmla="*/ 101600 w 54"/>
                <a:gd name="T97" fmla="*/ 32544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 name="Freeform 82"/>
            <p:cNvSpPr>
              <a:spLocks noChangeAspect="1"/>
            </p:cNvSpPr>
            <p:nvPr/>
          </p:nvSpPr>
          <p:spPr bwMode="auto">
            <a:xfrm>
              <a:off x="4541567" y="1695753"/>
              <a:ext cx="174586" cy="73511"/>
            </a:xfrm>
            <a:custGeom>
              <a:avLst/>
              <a:gdLst>
                <a:gd name="T0" fmla="*/ 154022 w 91"/>
                <a:gd name="T1" fmla="*/ 73521 h 48"/>
                <a:gd name="T2" fmla="*/ 155923 w 91"/>
                <a:gd name="T3" fmla="*/ 69750 h 48"/>
                <a:gd name="T4" fmla="*/ 159726 w 91"/>
                <a:gd name="T5" fmla="*/ 69750 h 48"/>
                <a:gd name="T6" fmla="*/ 155923 w 91"/>
                <a:gd name="T7" fmla="*/ 58440 h 48"/>
                <a:gd name="T8" fmla="*/ 163529 w 91"/>
                <a:gd name="T9" fmla="*/ 52784 h 48"/>
                <a:gd name="T10" fmla="*/ 167332 w 91"/>
                <a:gd name="T11" fmla="*/ 47129 h 48"/>
                <a:gd name="T12" fmla="*/ 171135 w 91"/>
                <a:gd name="T13" fmla="*/ 45244 h 48"/>
                <a:gd name="T14" fmla="*/ 173037 w 91"/>
                <a:gd name="T15" fmla="*/ 35818 h 48"/>
                <a:gd name="T16" fmla="*/ 167332 w 91"/>
                <a:gd name="T17" fmla="*/ 28277 h 48"/>
                <a:gd name="T18" fmla="*/ 167332 w 91"/>
                <a:gd name="T19" fmla="*/ 20737 h 48"/>
                <a:gd name="T20" fmla="*/ 167332 w 91"/>
                <a:gd name="T21" fmla="*/ 13196 h 48"/>
                <a:gd name="T22" fmla="*/ 157825 w 91"/>
                <a:gd name="T23" fmla="*/ 11311 h 48"/>
                <a:gd name="T24" fmla="*/ 150219 w 91"/>
                <a:gd name="T25" fmla="*/ 11311 h 48"/>
                <a:gd name="T26" fmla="*/ 136908 w 91"/>
                <a:gd name="T27" fmla="*/ 5655 h 48"/>
                <a:gd name="T28" fmla="*/ 125499 w 91"/>
                <a:gd name="T29" fmla="*/ 3770 h 48"/>
                <a:gd name="T30" fmla="*/ 121696 w 91"/>
                <a:gd name="T31" fmla="*/ 1885 h 48"/>
                <a:gd name="T32" fmla="*/ 121696 w 91"/>
                <a:gd name="T33" fmla="*/ 11311 h 48"/>
                <a:gd name="T34" fmla="*/ 108386 w 91"/>
                <a:gd name="T35" fmla="*/ 16966 h 48"/>
                <a:gd name="T36" fmla="*/ 96977 w 91"/>
                <a:gd name="T37" fmla="*/ 11311 h 48"/>
                <a:gd name="T38" fmla="*/ 96977 w 91"/>
                <a:gd name="T39" fmla="*/ 16966 h 48"/>
                <a:gd name="T40" fmla="*/ 87469 w 91"/>
                <a:gd name="T41" fmla="*/ 16966 h 48"/>
                <a:gd name="T42" fmla="*/ 87469 w 91"/>
                <a:gd name="T43" fmla="*/ 24507 h 48"/>
                <a:gd name="T44" fmla="*/ 74159 w 91"/>
                <a:gd name="T45" fmla="*/ 30162 h 48"/>
                <a:gd name="T46" fmla="*/ 77962 w 91"/>
                <a:gd name="T47" fmla="*/ 41473 h 48"/>
                <a:gd name="T48" fmla="*/ 62750 w 91"/>
                <a:gd name="T49" fmla="*/ 47129 h 48"/>
                <a:gd name="T50" fmla="*/ 47538 w 91"/>
                <a:gd name="T51" fmla="*/ 50899 h 48"/>
                <a:gd name="T52" fmla="*/ 39932 w 91"/>
                <a:gd name="T53" fmla="*/ 56554 h 48"/>
                <a:gd name="T54" fmla="*/ 30424 w 91"/>
                <a:gd name="T55" fmla="*/ 52784 h 48"/>
                <a:gd name="T56" fmla="*/ 20917 w 91"/>
                <a:gd name="T57" fmla="*/ 52784 h 48"/>
                <a:gd name="T58" fmla="*/ 17114 w 91"/>
                <a:gd name="T59" fmla="*/ 60325 h 48"/>
                <a:gd name="T60" fmla="*/ 5705 w 91"/>
                <a:gd name="T61" fmla="*/ 50899 h 48"/>
                <a:gd name="T62" fmla="*/ 1902 w 91"/>
                <a:gd name="T63" fmla="*/ 58440 h 48"/>
                <a:gd name="T64" fmla="*/ 1902 w 91"/>
                <a:gd name="T65" fmla="*/ 62210 h 48"/>
                <a:gd name="T66" fmla="*/ 1902 w 91"/>
                <a:gd name="T67" fmla="*/ 67865 h 48"/>
                <a:gd name="T68" fmla="*/ 7606 w 91"/>
                <a:gd name="T69" fmla="*/ 69750 h 48"/>
                <a:gd name="T70" fmla="*/ 13311 w 91"/>
                <a:gd name="T71" fmla="*/ 75406 h 48"/>
                <a:gd name="T72" fmla="*/ 20917 w 91"/>
                <a:gd name="T73" fmla="*/ 69750 h 48"/>
                <a:gd name="T74" fmla="*/ 22818 w 91"/>
                <a:gd name="T75" fmla="*/ 75406 h 48"/>
                <a:gd name="T76" fmla="*/ 28523 w 91"/>
                <a:gd name="T77" fmla="*/ 77291 h 48"/>
                <a:gd name="T78" fmla="*/ 36129 w 91"/>
                <a:gd name="T79" fmla="*/ 79176 h 48"/>
                <a:gd name="T80" fmla="*/ 36129 w 91"/>
                <a:gd name="T81" fmla="*/ 73521 h 48"/>
                <a:gd name="T82" fmla="*/ 45636 w 91"/>
                <a:gd name="T83" fmla="*/ 71636 h 48"/>
                <a:gd name="T84" fmla="*/ 55144 w 91"/>
                <a:gd name="T85" fmla="*/ 69750 h 48"/>
                <a:gd name="T86" fmla="*/ 62750 w 91"/>
                <a:gd name="T87" fmla="*/ 67865 h 48"/>
                <a:gd name="T88" fmla="*/ 62750 w 91"/>
                <a:gd name="T89" fmla="*/ 73521 h 48"/>
                <a:gd name="T90" fmla="*/ 68454 w 91"/>
                <a:gd name="T91" fmla="*/ 81061 h 48"/>
                <a:gd name="T92" fmla="*/ 79863 w 91"/>
                <a:gd name="T93" fmla="*/ 82946 h 48"/>
                <a:gd name="T94" fmla="*/ 95075 w 91"/>
                <a:gd name="T95" fmla="*/ 84832 h 48"/>
                <a:gd name="T96" fmla="*/ 96977 w 91"/>
                <a:gd name="T97" fmla="*/ 86717 h 48"/>
                <a:gd name="T98" fmla="*/ 114090 w 91"/>
                <a:gd name="T99" fmla="*/ 90487 h 48"/>
                <a:gd name="T100" fmla="*/ 123598 w 91"/>
                <a:gd name="T101" fmla="*/ 82946 h 48"/>
                <a:gd name="T102" fmla="*/ 136908 w 91"/>
                <a:gd name="T103" fmla="*/ 82946 h 48"/>
                <a:gd name="T104" fmla="*/ 146416 w 91"/>
                <a:gd name="T105" fmla="*/ 81061 h 48"/>
                <a:gd name="T106" fmla="*/ 154022 w 91"/>
                <a:gd name="T107" fmla="*/ 73521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 name="Freeform 83"/>
            <p:cNvSpPr>
              <a:spLocks noChangeAspect="1"/>
            </p:cNvSpPr>
            <p:nvPr/>
          </p:nvSpPr>
          <p:spPr bwMode="auto">
            <a:xfrm>
              <a:off x="4597627" y="1641587"/>
              <a:ext cx="156967" cy="68353"/>
            </a:xfrm>
            <a:custGeom>
              <a:avLst/>
              <a:gdLst>
                <a:gd name="T0" fmla="*/ 155575 w 82"/>
                <a:gd name="T1" fmla="*/ 53542 h 44"/>
                <a:gd name="T2" fmla="*/ 147986 w 82"/>
                <a:gd name="T3" fmla="*/ 47805 h 44"/>
                <a:gd name="T4" fmla="*/ 144191 w 82"/>
                <a:gd name="T5" fmla="*/ 40156 h 44"/>
                <a:gd name="T6" fmla="*/ 136602 w 82"/>
                <a:gd name="T7" fmla="*/ 36332 h 44"/>
                <a:gd name="T8" fmla="*/ 132808 w 82"/>
                <a:gd name="T9" fmla="*/ 36332 h 44"/>
                <a:gd name="T10" fmla="*/ 125219 w 82"/>
                <a:gd name="T11" fmla="*/ 32507 h 44"/>
                <a:gd name="T12" fmla="*/ 127116 w 82"/>
                <a:gd name="T13" fmla="*/ 28683 h 44"/>
                <a:gd name="T14" fmla="*/ 121424 w 82"/>
                <a:gd name="T15" fmla="*/ 28683 h 44"/>
                <a:gd name="T16" fmla="*/ 113835 w 82"/>
                <a:gd name="T17" fmla="*/ 24859 h 44"/>
                <a:gd name="T18" fmla="*/ 108144 w 82"/>
                <a:gd name="T19" fmla="*/ 22946 h 44"/>
                <a:gd name="T20" fmla="*/ 111938 w 82"/>
                <a:gd name="T21" fmla="*/ 28683 h 44"/>
                <a:gd name="T22" fmla="*/ 104349 w 82"/>
                <a:gd name="T23" fmla="*/ 34420 h 44"/>
                <a:gd name="T24" fmla="*/ 98657 w 82"/>
                <a:gd name="T25" fmla="*/ 28683 h 44"/>
                <a:gd name="T26" fmla="*/ 96760 w 82"/>
                <a:gd name="T27" fmla="*/ 15298 h 44"/>
                <a:gd name="T28" fmla="*/ 89171 w 82"/>
                <a:gd name="T29" fmla="*/ 15298 h 44"/>
                <a:gd name="T30" fmla="*/ 81582 w 82"/>
                <a:gd name="T31" fmla="*/ 9561 h 44"/>
                <a:gd name="T32" fmla="*/ 72096 w 82"/>
                <a:gd name="T33" fmla="*/ 11473 h 44"/>
                <a:gd name="T34" fmla="*/ 72096 w 82"/>
                <a:gd name="T35" fmla="*/ 5737 h 44"/>
                <a:gd name="T36" fmla="*/ 64507 w 82"/>
                <a:gd name="T37" fmla="*/ 1912 h 44"/>
                <a:gd name="T38" fmla="*/ 60712 w 82"/>
                <a:gd name="T39" fmla="*/ 9561 h 44"/>
                <a:gd name="T40" fmla="*/ 53123 w 82"/>
                <a:gd name="T41" fmla="*/ 1912 h 44"/>
                <a:gd name="T42" fmla="*/ 51226 w 82"/>
                <a:gd name="T43" fmla="*/ 7649 h 44"/>
                <a:gd name="T44" fmla="*/ 39842 w 82"/>
                <a:gd name="T45" fmla="*/ 13385 h 44"/>
                <a:gd name="T46" fmla="*/ 26562 w 82"/>
                <a:gd name="T47" fmla="*/ 19122 h 44"/>
                <a:gd name="T48" fmla="*/ 13281 w 82"/>
                <a:gd name="T49" fmla="*/ 22946 h 44"/>
                <a:gd name="T50" fmla="*/ 5692 w 82"/>
                <a:gd name="T51" fmla="*/ 24859 h 44"/>
                <a:gd name="T52" fmla="*/ 0 w 82"/>
                <a:gd name="T53" fmla="*/ 26771 h 44"/>
                <a:gd name="T54" fmla="*/ 9486 w 82"/>
                <a:gd name="T55" fmla="*/ 36332 h 44"/>
                <a:gd name="T56" fmla="*/ 9486 w 82"/>
                <a:gd name="T57" fmla="*/ 43981 h 44"/>
                <a:gd name="T58" fmla="*/ 17075 w 82"/>
                <a:gd name="T59" fmla="*/ 57366 h 44"/>
                <a:gd name="T60" fmla="*/ 28459 w 82"/>
                <a:gd name="T61" fmla="*/ 65015 h 44"/>
                <a:gd name="T62" fmla="*/ 41740 w 82"/>
                <a:gd name="T63" fmla="*/ 78400 h 44"/>
                <a:gd name="T64" fmla="*/ 53123 w 82"/>
                <a:gd name="T65" fmla="*/ 84137 h 44"/>
                <a:gd name="T66" fmla="*/ 66404 w 82"/>
                <a:gd name="T67" fmla="*/ 78400 h 44"/>
                <a:gd name="T68" fmla="*/ 66404 w 82"/>
                <a:gd name="T69" fmla="*/ 68839 h 44"/>
                <a:gd name="T70" fmla="*/ 70198 w 82"/>
                <a:gd name="T71" fmla="*/ 70752 h 44"/>
                <a:gd name="T72" fmla="*/ 81582 w 82"/>
                <a:gd name="T73" fmla="*/ 72664 h 44"/>
                <a:gd name="T74" fmla="*/ 94863 w 82"/>
                <a:gd name="T75" fmla="*/ 78400 h 44"/>
                <a:gd name="T76" fmla="*/ 102452 w 82"/>
                <a:gd name="T77" fmla="*/ 78400 h 44"/>
                <a:gd name="T78" fmla="*/ 111938 w 82"/>
                <a:gd name="T79" fmla="*/ 80313 h 44"/>
                <a:gd name="T80" fmla="*/ 117630 w 82"/>
                <a:gd name="T81" fmla="*/ 74576 h 44"/>
                <a:gd name="T82" fmla="*/ 127116 w 82"/>
                <a:gd name="T83" fmla="*/ 74576 h 44"/>
                <a:gd name="T84" fmla="*/ 138500 w 82"/>
                <a:gd name="T85" fmla="*/ 66927 h 44"/>
                <a:gd name="T86" fmla="*/ 140397 w 82"/>
                <a:gd name="T87" fmla="*/ 59278 h 44"/>
                <a:gd name="T88" fmla="*/ 147986 w 82"/>
                <a:gd name="T89" fmla="*/ 55454 h 44"/>
                <a:gd name="T90" fmla="*/ 155575 w 82"/>
                <a:gd name="T91" fmla="*/ 53542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 name="Freeform 84"/>
            <p:cNvSpPr>
              <a:spLocks noChangeAspect="1"/>
            </p:cNvSpPr>
            <p:nvPr/>
          </p:nvSpPr>
          <p:spPr bwMode="auto">
            <a:xfrm>
              <a:off x="4631263" y="1756368"/>
              <a:ext cx="72077" cy="41270"/>
            </a:xfrm>
            <a:custGeom>
              <a:avLst/>
              <a:gdLst>
                <a:gd name="T0" fmla="*/ 71437 w 37"/>
                <a:gd name="T1" fmla="*/ 13170 h 27"/>
                <a:gd name="T2" fmla="*/ 67576 w 37"/>
                <a:gd name="T3" fmla="*/ 7526 h 27"/>
                <a:gd name="T4" fmla="*/ 65645 w 37"/>
                <a:gd name="T5" fmla="*/ 0 h 27"/>
                <a:gd name="T6" fmla="*/ 57922 w 37"/>
                <a:gd name="T7" fmla="*/ 7526 h 27"/>
                <a:gd name="T8" fmla="*/ 48268 w 37"/>
                <a:gd name="T9" fmla="*/ 9407 h 27"/>
                <a:gd name="T10" fmla="*/ 34753 w 37"/>
                <a:gd name="T11" fmla="*/ 9407 h 27"/>
                <a:gd name="T12" fmla="*/ 25099 w 37"/>
                <a:gd name="T13" fmla="*/ 16933 h 27"/>
                <a:gd name="T14" fmla="*/ 7723 w 37"/>
                <a:gd name="T15" fmla="*/ 13170 h 27"/>
                <a:gd name="T16" fmla="*/ 1931 w 37"/>
                <a:gd name="T17" fmla="*/ 16933 h 27"/>
                <a:gd name="T18" fmla="*/ 3861 w 37"/>
                <a:gd name="T19" fmla="*/ 24459 h 27"/>
                <a:gd name="T20" fmla="*/ 3861 w 37"/>
                <a:gd name="T21" fmla="*/ 31985 h 27"/>
                <a:gd name="T22" fmla="*/ 7723 w 37"/>
                <a:gd name="T23" fmla="*/ 39511 h 27"/>
                <a:gd name="T24" fmla="*/ 11584 w 37"/>
                <a:gd name="T25" fmla="*/ 43274 h 27"/>
                <a:gd name="T26" fmla="*/ 5792 w 37"/>
                <a:gd name="T27" fmla="*/ 48919 h 27"/>
                <a:gd name="T28" fmla="*/ 11584 w 37"/>
                <a:gd name="T29" fmla="*/ 48919 h 27"/>
                <a:gd name="T30" fmla="*/ 15446 w 37"/>
                <a:gd name="T31" fmla="*/ 45156 h 27"/>
                <a:gd name="T32" fmla="*/ 21238 w 37"/>
                <a:gd name="T33" fmla="*/ 47037 h 27"/>
                <a:gd name="T34" fmla="*/ 27030 w 37"/>
                <a:gd name="T35" fmla="*/ 43274 h 27"/>
                <a:gd name="T36" fmla="*/ 30892 w 37"/>
                <a:gd name="T37" fmla="*/ 47037 h 27"/>
                <a:gd name="T38" fmla="*/ 36684 w 37"/>
                <a:gd name="T39" fmla="*/ 47037 h 27"/>
                <a:gd name="T40" fmla="*/ 44407 w 37"/>
                <a:gd name="T41" fmla="*/ 48919 h 27"/>
                <a:gd name="T42" fmla="*/ 44407 w 37"/>
                <a:gd name="T43" fmla="*/ 35748 h 27"/>
                <a:gd name="T44" fmla="*/ 52130 w 37"/>
                <a:gd name="T45" fmla="*/ 35748 h 27"/>
                <a:gd name="T46" fmla="*/ 52130 w 37"/>
                <a:gd name="T47" fmla="*/ 22578 h 27"/>
                <a:gd name="T48" fmla="*/ 65645 w 37"/>
                <a:gd name="T49" fmla="*/ 16933 h 27"/>
                <a:gd name="T50" fmla="*/ 65645 w 37"/>
                <a:gd name="T51" fmla="*/ 11289 h 27"/>
                <a:gd name="T52" fmla="*/ 71437 w 37"/>
                <a:gd name="T53" fmla="*/ 13170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 name="Freeform 85"/>
            <p:cNvSpPr>
              <a:spLocks noChangeAspect="1" noEditPoints="1"/>
            </p:cNvSpPr>
            <p:nvPr/>
          </p:nvSpPr>
          <p:spPr bwMode="auto">
            <a:xfrm>
              <a:off x="4696933" y="1709939"/>
              <a:ext cx="152162" cy="77381"/>
            </a:xfrm>
            <a:custGeom>
              <a:avLst/>
              <a:gdLst>
                <a:gd name="T0" fmla="*/ 0 w 79"/>
                <a:gd name="T1" fmla="*/ 57150 h 50"/>
                <a:gd name="T2" fmla="*/ 1909 w 79"/>
                <a:gd name="T3" fmla="*/ 64770 h 50"/>
                <a:gd name="T4" fmla="*/ 5727 w 79"/>
                <a:gd name="T5" fmla="*/ 70485 h 50"/>
                <a:gd name="T6" fmla="*/ 5727 w 79"/>
                <a:gd name="T7" fmla="*/ 70485 h 50"/>
                <a:gd name="T8" fmla="*/ 9545 w 79"/>
                <a:gd name="T9" fmla="*/ 76200 h 50"/>
                <a:gd name="T10" fmla="*/ 15272 w 79"/>
                <a:gd name="T11" fmla="*/ 76200 h 50"/>
                <a:gd name="T12" fmla="*/ 17181 w 79"/>
                <a:gd name="T13" fmla="*/ 81915 h 50"/>
                <a:gd name="T14" fmla="*/ 19090 w 79"/>
                <a:gd name="T15" fmla="*/ 81915 h 50"/>
                <a:gd name="T16" fmla="*/ 24817 w 79"/>
                <a:gd name="T17" fmla="*/ 89535 h 50"/>
                <a:gd name="T18" fmla="*/ 38181 w 79"/>
                <a:gd name="T19" fmla="*/ 93345 h 50"/>
                <a:gd name="T20" fmla="*/ 51544 w 79"/>
                <a:gd name="T21" fmla="*/ 95250 h 50"/>
                <a:gd name="T22" fmla="*/ 57271 w 79"/>
                <a:gd name="T23" fmla="*/ 91440 h 50"/>
                <a:gd name="T24" fmla="*/ 61089 w 79"/>
                <a:gd name="T25" fmla="*/ 91440 h 50"/>
                <a:gd name="T26" fmla="*/ 66816 w 79"/>
                <a:gd name="T27" fmla="*/ 85725 h 50"/>
                <a:gd name="T28" fmla="*/ 76361 w 79"/>
                <a:gd name="T29" fmla="*/ 83820 h 50"/>
                <a:gd name="T30" fmla="*/ 82088 w 79"/>
                <a:gd name="T31" fmla="*/ 80010 h 50"/>
                <a:gd name="T32" fmla="*/ 93542 w 79"/>
                <a:gd name="T33" fmla="*/ 81915 h 50"/>
                <a:gd name="T34" fmla="*/ 106905 w 79"/>
                <a:gd name="T35" fmla="*/ 78105 h 50"/>
                <a:gd name="T36" fmla="*/ 116451 w 79"/>
                <a:gd name="T37" fmla="*/ 74295 h 50"/>
                <a:gd name="T38" fmla="*/ 116451 w 79"/>
                <a:gd name="T39" fmla="*/ 66675 h 50"/>
                <a:gd name="T40" fmla="*/ 122178 w 79"/>
                <a:gd name="T41" fmla="*/ 64770 h 50"/>
                <a:gd name="T42" fmla="*/ 124087 w 79"/>
                <a:gd name="T43" fmla="*/ 51435 h 50"/>
                <a:gd name="T44" fmla="*/ 131723 w 79"/>
                <a:gd name="T45" fmla="*/ 38100 h 50"/>
                <a:gd name="T46" fmla="*/ 139359 w 79"/>
                <a:gd name="T47" fmla="*/ 28575 h 50"/>
                <a:gd name="T48" fmla="*/ 146995 w 79"/>
                <a:gd name="T49" fmla="*/ 26670 h 50"/>
                <a:gd name="T50" fmla="*/ 150813 w 79"/>
                <a:gd name="T51" fmla="*/ 22860 h 50"/>
                <a:gd name="T52" fmla="*/ 150813 w 79"/>
                <a:gd name="T53" fmla="*/ 17145 h 50"/>
                <a:gd name="T54" fmla="*/ 143177 w 79"/>
                <a:gd name="T55" fmla="*/ 17145 h 50"/>
                <a:gd name="T56" fmla="*/ 143177 w 79"/>
                <a:gd name="T57" fmla="*/ 13335 h 50"/>
                <a:gd name="T58" fmla="*/ 139359 w 79"/>
                <a:gd name="T59" fmla="*/ 9525 h 50"/>
                <a:gd name="T60" fmla="*/ 133632 w 79"/>
                <a:gd name="T61" fmla="*/ 5715 h 50"/>
                <a:gd name="T62" fmla="*/ 124087 w 79"/>
                <a:gd name="T63" fmla="*/ 9525 h 50"/>
                <a:gd name="T64" fmla="*/ 116451 w 79"/>
                <a:gd name="T65" fmla="*/ 0 h 50"/>
                <a:gd name="T66" fmla="*/ 108814 w 79"/>
                <a:gd name="T67" fmla="*/ 1905 h 50"/>
                <a:gd name="T68" fmla="*/ 97360 w 79"/>
                <a:gd name="T69" fmla="*/ 1905 h 50"/>
                <a:gd name="T70" fmla="*/ 91633 w 79"/>
                <a:gd name="T71" fmla="*/ 9525 h 50"/>
                <a:gd name="T72" fmla="*/ 83997 w 79"/>
                <a:gd name="T73" fmla="*/ 15240 h 50"/>
                <a:gd name="T74" fmla="*/ 74452 w 79"/>
                <a:gd name="T75" fmla="*/ 11430 h 50"/>
                <a:gd name="T76" fmla="*/ 72543 w 79"/>
                <a:gd name="T77" fmla="*/ 19050 h 50"/>
                <a:gd name="T78" fmla="*/ 61089 w 79"/>
                <a:gd name="T79" fmla="*/ 19050 h 50"/>
                <a:gd name="T80" fmla="*/ 55362 w 79"/>
                <a:gd name="T81" fmla="*/ 19050 h 50"/>
                <a:gd name="T82" fmla="*/ 57271 w 79"/>
                <a:gd name="T83" fmla="*/ 24765 h 50"/>
                <a:gd name="T84" fmla="*/ 53453 w 79"/>
                <a:gd name="T85" fmla="*/ 28575 h 50"/>
                <a:gd name="T86" fmla="*/ 28635 w 79"/>
                <a:gd name="T87" fmla="*/ 26670 h 50"/>
                <a:gd name="T88" fmla="*/ 19090 w 79"/>
                <a:gd name="T89" fmla="*/ 19050 h 50"/>
                <a:gd name="T90" fmla="*/ 17181 w 79"/>
                <a:gd name="T91" fmla="*/ 28575 h 50"/>
                <a:gd name="T92" fmla="*/ 13363 w 79"/>
                <a:gd name="T93" fmla="*/ 30480 h 50"/>
                <a:gd name="T94" fmla="*/ 9545 w 79"/>
                <a:gd name="T95" fmla="*/ 36195 h 50"/>
                <a:gd name="T96" fmla="*/ 1909 w 79"/>
                <a:gd name="T97" fmla="*/ 41910 h 50"/>
                <a:gd name="T98" fmla="*/ 5727 w 79"/>
                <a:gd name="T99" fmla="*/ 53340 h 50"/>
                <a:gd name="T100" fmla="*/ 1909 w 79"/>
                <a:gd name="T101" fmla="*/ 53340 h 50"/>
                <a:gd name="T102" fmla="*/ 0 w 79"/>
                <a:gd name="T103" fmla="*/ 57150 h 50"/>
                <a:gd name="T104" fmla="*/ 1909 w 79"/>
                <a:gd name="T105" fmla="*/ 64770 h 50"/>
                <a:gd name="T106" fmla="*/ 5727 w 79"/>
                <a:gd name="T107" fmla="*/ 70485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 name="Freeform 86"/>
            <p:cNvSpPr>
              <a:spLocks noChangeAspect="1"/>
            </p:cNvSpPr>
            <p:nvPr/>
          </p:nvSpPr>
          <p:spPr bwMode="auto">
            <a:xfrm>
              <a:off x="4708146" y="1681566"/>
              <a:ext cx="132941" cy="51587"/>
            </a:xfrm>
            <a:custGeom>
              <a:avLst/>
              <a:gdLst>
                <a:gd name="T0" fmla="*/ 122214 w 69"/>
                <a:gd name="T1" fmla="*/ 40409 h 33"/>
                <a:gd name="T2" fmla="*/ 122214 w 69"/>
                <a:gd name="T3" fmla="*/ 34636 h 33"/>
                <a:gd name="T4" fmla="*/ 126033 w 69"/>
                <a:gd name="T5" fmla="*/ 28864 h 33"/>
                <a:gd name="T6" fmla="*/ 127943 w 69"/>
                <a:gd name="T7" fmla="*/ 21167 h 33"/>
                <a:gd name="T8" fmla="*/ 131762 w 69"/>
                <a:gd name="T9" fmla="*/ 17318 h 33"/>
                <a:gd name="T10" fmla="*/ 120304 w 69"/>
                <a:gd name="T11" fmla="*/ 15394 h 33"/>
                <a:gd name="T12" fmla="*/ 112666 w 69"/>
                <a:gd name="T13" fmla="*/ 7697 h 33"/>
                <a:gd name="T14" fmla="*/ 101208 w 69"/>
                <a:gd name="T15" fmla="*/ 5773 h 33"/>
                <a:gd name="T16" fmla="*/ 93570 w 69"/>
                <a:gd name="T17" fmla="*/ 11545 h 33"/>
                <a:gd name="T18" fmla="*/ 89751 w 69"/>
                <a:gd name="T19" fmla="*/ 7697 h 33"/>
                <a:gd name="T20" fmla="*/ 78293 w 69"/>
                <a:gd name="T21" fmla="*/ 7697 h 33"/>
                <a:gd name="T22" fmla="*/ 72565 w 69"/>
                <a:gd name="T23" fmla="*/ 13470 h 33"/>
                <a:gd name="T24" fmla="*/ 66836 w 69"/>
                <a:gd name="T25" fmla="*/ 15394 h 33"/>
                <a:gd name="T26" fmla="*/ 66836 w 69"/>
                <a:gd name="T27" fmla="*/ 9621 h 33"/>
                <a:gd name="T28" fmla="*/ 59197 w 69"/>
                <a:gd name="T29" fmla="*/ 0 h 33"/>
                <a:gd name="T30" fmla="*/ 51559 w 69"/>
                <a:gd name="T31" fmla="*/ 7697 h 33"/>
                <a:gd name="T32" fmla="*/ 45830 w 69"/>
                <a:gd name="T33" fmla="*/ 3848 h 33"/>
                <a:gd name="T34" fmla="*/ 38192 w 69"/>
                <a:gd name="T35" fmla="*/ 5773 h 33"/>
                <a:gd name="T36" fmla="*/ 30554 w 69"/>
                <a:gd name="T37" fmla="*/ 9621 h 33"/>
                <a:gd name="T38" fmla="*/ 28644 w 69"/>
                <a:gd name="T39" fmla="*/ 17318 h 33"/>
                <a:gd name="T40" fmla="*/ 17186 w 69"/>
                <a:gd name="T41" fmla="*/ 25015 h 33"/>
                <a:gd name="T42" fmla="*/ 7638 w 69"/>
                <a:gd name="T43" fmla="*/ 25015 h 33"/>
                <a:gd name="T44" fmla="*/ 1910 w 69"/>
                <a:gd name="T45" fmla="*/ 30788 h 33"/>
                <a:gd name="T46" fmla="*/ 1910 w 69"/>
                <a:gd name="T47" fmla="*/ 38485 h 33"/>
                <a:gd name="T48" fmla="*/ 1910 w 69"/>
                <a:gd name="T49" fmla="*/ 46182 h 33"/>
                <a:gd name="T50" fmla="*/ 7638 w 69"/>
                <a:gd name="T51" fmla="*/ 53879 h 33"/>
                <a:gd name="T52" fmla="*/ 17186 w 69"/>
                <a:gd name="T53" fmla="*/ 61576 h 33"/>
                <a:gd name="T54" fmla="*/ 42011 w 69"/>
                <a:gd name="T55" fmla="*/ 63500 h 33"/>
                <a:gd name="T56" fmla="*/ 45830 w 69"/>
                <a:gd name="T57" fmla="*/ 59652 h 33"/>
                <a:gd name="T58" fmla="*/ 43921 w 69"/>
                <a:gd name="T59" fmla="*/ 53879 h 33"/>
                <a:gd name="T60" fmla="*/ 49649 w 69"/>
                <a:gd name="T61" fmla="*/ 53879 h 33"/>
                <a:gd name="T62" fmla="*/ 61107 w 69"/>
                <a:gd name="T63" fmla="*/ 53879 h 33"/>
                <a:gd name="T64" fmla="*/ 63017 w 69"/>
                <a:gd name="T65" fmla="*/ 46182 h 33"/>
                <a:gd name="T66" fmla="*/ 72565 w 69"/>
                <a:gd name="T67" fmla="*/ 50030 h 33"/>
                <a:gd name="T68" fmla="*/ 80203 w 69"/>
                <a:gd name="T69" fmla="*/ 44258 h 33"/>
                <a:gd name="T70" fmla="*/ 85932 w 69"/>
                <a:gd name="T71" fmla="*/ 36561 h 33"/>
                <a:gd name="T72" fmla="*/ 97389 w 69"/>
                <a:gd name="T73" fmla="*/ 36561 h 33"/>
                <a:gd name="T74" fmla="*/ 105028 w 69"/>
                <a:gd name="T75" fmla="*/ 34636 h 33"/>
                <a:gd name="T76" fmla="*/ 112666 w 69"/>
                <a:gd name="T77" fmla="*/ 44258 h 33"/>
                <a:gd name="T78" fmla="*/ 122214 w 69"/>
                <a:gd name="T79" fmla="*/ 40409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33"/>
                <a:gd name="T122" fmla="*/ 69 w 69"/>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33">
                  <a:moveTo>
                    <a:pt x="64" y="21"/>
                  </a:moveTo>
                  <a:cubicBezTo>
                    <a:pt x="64" y="20"/>
                    <a:pt x="64" y="19"/>
                    <a:pt x="64" y="18"/>
                  </a:cubicBezTo>
                  <a:cubicBezTo>
                    <a:pt x="64" y="17"/>
                    <a:pt x="65" y="16"/>
                    <a:pt x="66" y="15"/>
                  </a:cubicBezTo>
                  <a:cubicBezTo>
                    <a:pt x="66" y="14"/>
                    <a:pt x="66" y="12"/>
                    <a:pt x="67" y="11"/>
                  </a:cubicBezTo>
                  <a:cubicBezTo>
                    <a:pt x="67" y="11"/>
                    <a:pt x="68" y="10"/>
                    <a:pt x="69" y="9"/>
                  </a:cubicBezTo>
                  <a:cubicBezTo>
                    <a:pt x="67" y="9"/>
                    <a:pt x="65" y="9"/>
                    <a:pt x="63" y="8"/>
                  </a:cubicBezTo>
                  <a:cubicBezTo>
                    <a:pt x="62" y="7"/>
                    <a:pt x="61" y="5"/>
                    <a:pt x="59" y="4"/>
                  </a:cubicBezTo>
                  <a:cubicBezTo>
                    <a:pt x="57" y="3"/>
                    <a:pt x="55" y="3"/>
                    <a:pt x="53" y="3"/>
                  </a:cubicBezTo>
                  <a:cubicBezTo>
                    <a:pt x="51" y="3"/>
                    <a:pt x="51" y="5"/>
                    <a:pt x="49" y="6"/>
                  </a:cubicBezTo>
                  <a:cubicBezTo>
                    <a:pt x="49" y="6"/>
                    <a:pt x="48" y="5"/>
                    <a:pt x="47" y="4"/>
                  </a:cubicBezTo>
                  <a:cubicBezTo>
                    <a:pt x="45" y="4"/>
                    <a:pt x="43" y="3"/>
                    <a:pt x="41" y="4"/>
                  </a:cubicBezTo>
                  <a:cubicBezTo>
                    <a:pt x="40" y="4"/>
                    <a:pt x="40" y="6"/>
                    <a:pt x="38" y="7"/>
                  </a:cubicBezTo>
                  <a:cubicBezTo>
                    <a:pt x="37" y="8"/>
                    <a:pt x="36" y="8"/>
                    <a:pt x="35" y="8"/>
                  </a:cubicBezTo>
                  <a:cubicBezTo>
                    <a:pt x="34" y="7"/>
                    <a:pt x="36" y="6"/>
                    <a:pt x="35" y="5"/>
                  </a:cubicBezTo>
                  <a:cubicBezTo>
                    <a:pt x="34" y="3"/>
                    <a:pt x="33" y="1"/>
                    <a:pt x="31" y="0"/>
                  </a:cubicBezTo>
                  <a:cubicBezTo>
                    <a:pt x="29" y="0"/>
                    <a:pt x="29" y="4"/>
                    <a:pt x="27" y="4"/>
                  </a:cubicBezTo>
                  <a:cubicBezTo>
                    <a:pt x="26" y="4"/>
                    <a:pt x="25" y="3"/>
                    <a:pt x="24" y="2"/>
                  </a:cubicBezTo>
                  <a:cubicBezTo>
                    <a:pt x="23" y="2"/>
                    <a:pt x="21" y="3"/>
                    <a:pt x="20" y="3"/>
                  </a:cubicBezTo>
                  <a:cubicBezTo>
                    <a:pt x="19" y="3"/>
                    <a:pt x="17" y="4"/>
                    <a:pt x="16" y="5"/>
                  </a:cubicBezTo>
                  <a:cubicBezTo>
                    <a:pt x="15" y="6"/>
                    <a:pt x="15" y="8"/>
                    <a:pt x="15" y="9"/>
                  </a:cubicBezTo>
                  <a:cubicBezTo>
                    <a:pt x="13" y="10"/>
                    <a:pt x="11" y="12"/>
                    <a:pt x="9" y="13"/>
                  </a:cubicBezTo>
                  <a:cubicBezTo>
                    <a:pt x="7" y="14"/>
                    <a:pt x="6" y="12"/>
                    <a:pt x="4" y="13"/>
                  </a:cubicBezTo>
                  <a:cubicBezTo>
                    <a:pt x="3" y="13"/>
                    <a:pt x="2" y="15"/>
                    <a:pt x="1" y="16"/>
                  </a:cubicBezTo>
                  <a:cubicBezTo>
                    <a:pt x="1" y="17"/>
                    <a:pt x="1" y="19"/>
                    <a:pt x="1" y="20"/>
                  </a:cubicBezTo>
                  <a:cubicBezTo>
                    <a:pt x="1" y="21"/>
                    <a:pt x="0" y="23"/>
                    <a:pt x="1" y="24"/>
                  </a:cubicBezTo>
                  <a:cubicBezTo>
                    <a:pt x="1" y="25"/>
                    <a:pt x="3" y="26"/>
                    <a:pt x="4" y="28"/>
                  </a:cubicBezTo>
                  <a:cubicBezTo>
                    <a:pt x="6" y="29"/>
                    <a:pt x="7" y="31"/>
                    <a:pt x="9" y="32"/>
                  </a:cubicBezTo>
                  <a:cubicBezTo>
                    <a:pt x="13" y="33"/>
                    <a:pt x="18" y="33"/>
                    <a:pt x="22" y="33"/>
                  </a:cubicBezTo>
                  <a:cubicBezTo>
                    <a:pt x="23" y="33"/>
                    <a:pt x="24" y="32"/>
                    <a:pt x="24" y="31"/>
                  </a:cubicBezTo>
                  <a:cubicBezTo>
                    <a:pt x="25" y="30"/>
                    <a:pt x="23" y="29"/>
                    <a:pt x="23" y="28"/>
                  </a:cubicBezTo>
                  <a:cubicBezTo>
                    <a:pt x="23" y="27"/>
                    <a:pt x="25" y="28"/>
                    <a:pt x="26" y="28"/>
                  </a:cubicBezTo>
                  <a:cubicBezTo>
                    <a:pt x="28" y="27"/>
                    <a:pt x="30" y="28"/>
                    <a:pt x="32" y="28"/>
                  </a:cubicBezTo>
                  <a:cubicBezTo>
                    <a:pt x="33" y="27"/>
                    <a:pt x="32" y="24"/>
                    <a:pt x="33" y="24"/>
                  </a:cubicBezTo>
                  <a:cubicBezTo>
                    <a:pt x="35" y="24"/>
                    <a:pt x="36" y="26"/>
                    <a:pt x="38" y="26"/>
                  </a:cubicBezTo>
                  <a:cubicBezTo>
                    <a:pt x="39" y="25"/>
                    <a:pt x="41" y="24"/>
                    <a:pt x="42" y="23"/>
                  </a:cubicBezTo>
                  <a:cubicBezTo>
                    <a:pt x="43" y="22"/>
                    <a:pt x="43" y="19"/>
                    <a:pt x="45" y="19"/>
                  </a:cubicBezTo>
                  <a:cubicBezTo>
                    <a:pt x="47" y="18"/>
                    <a:pt x="49" y="19"/>
                    <a:pt x="51" y="19"/>
                  </a:cubicBezTo>
                  <a:cubicBezTo>
                    <a:pt x="53" y="19"/>
                    <a:pt x="54" y="18"/>
                    <a:pt x="55" y="18"/>
                  </a:cubicBezTo>
                  <a:cubicBezTo>
                    <a:pt x="57" y="19"/>
                    <a:pt x="57" y="22"/>
                    <a:pt x="59" y="23"/>
                  </a:cubicBezTo>
                  <a:cubicBezTo>
                    <a:pt x="61" y="23"/>
                    <a:pt x="63" y="22"/>
                    <a:pt x="64" y="2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 name="Freeform 87"/>
            <p:cNvSpPr>
              <a:spLocks noChangeAspect="1"/>
            </p:cNvSpPr>
            <p:nvPr/>
          </p:nvSpPr>
          <p:spPr bwMode="auto">
            <a:xfrm>
              <a:off x="4634467" y="1765396"/>
              <a:ext cx="136145" cy="94146"/>
            </a:xfrm>
            <a:custGeom>
              <a:avLst/>
              <a:gdLst>
                <a:gd name="T0" fmla="*/ 129235 w 71"/>
                <a:gd name="T1" fmla="*/ 47495 h 61"/>
                <a:gd name="T2" fmla="*/ 129235 w 71"/>
                <a:gd name="T3" fmla="*/ 41795 h 61"/>
                <a:gd name="T4" fmla="*/ 127335 w 71"/>
                <a:gd name="T5" fmla="*/ 30397 h 61"/>
                <a:gd name="T6" fmla="*/ 119733 w 71"/>
                <a:gd name="T7" fmla="*/ 22797 h 61"/>
                <a:gd name="T8" fmla="*/ 100728 w 71"/>
                <a:gd name="T9" fmla="*/ 24697 h 61"/>
                <a:gd name="T10" fmla="*/ 81722 w 71"/>
                <a:gd name="T11" fmla="*/ 13299 h 61"/>
                <a:gd name="T12" fmla="*/ 77921 w 71"/>
                <a:gd name="T13" fmla="*/ 7599 h 61"/>
                <a:gd name="T14" fmla="*/ 68419 w 71"/>
                <a:gd name="T15" fmla="*/ 1900 h 61"/>
                <a:gd name="T16" fmla="*/ 62717 w 71"/>
                <a:gd name="T17" fmla="*/ 5699 h 61"/>
                <a:gd name="T18" fmla="*/ 49414 w 71"/>
                <a:gd name="T19" fmla="*/ 24697 h 61"/>
                <a:gd name="T20" fmla="*/ 41811 w 71"/>
                <a:gd name="T21" fmla="*/ 37996 h 61"/>
                <a:gd name="T22" fmla="*/ 28508 w 71"/>
                <a:gd name="T23" fmla="*/ 36096 h 61"/>
                <a:gd name="T24" fmla="*/ 19005 w 71"/>
                <a:gd name="T25" fmla="*/ 36096 h 61"/>
                <a:gd name="T26" fmla="*/ 9503 w 71"/>
                <a:gd name="T27" fmla="*/ 37996 h 61"/>
                <a:gd name="T28" fmla="*/ 0 w 71"/>
                <a:gd name="T29" fmla="*/ 36096 h 61"/>
                <a:gd name="T30" fmla="*/ 11403 w 71"/>
                <a:gd name="T31" fmla="*/ 58893 h 61"/>
                <a:gd name="T32" fmla="*/ 19005 w 71"/>
                <a:gd name="T33" fmla="*/ 39896 h 61"/>
                <a:gd name="T34" fmla="*/ 32309 w 71"/>
                <a:gd name="T35" fmla="*/ 49394 h 61"/>
                <a:gd name="T36" fmla="*/ 38010 w 71"/>
                <a:gd name="T37" fmla="*/ 66493 h 61"/>
                <a:gd name="T38" fmla="*/ 43712 w 71"/>
                <a:gd name="T39" fmla="*/ 81691 h 61"/>
                <a:gd name="T40" fmla="*/ 57016 w 71"/>
                <a:gd name="T41" fmla="*/ 93090 h 61"/>
                <a:gd name="T42" fmla="*/ 72220 w 71"/>
                <a:gd name="T43" fmla="*/ 100689 h 61"/>
                <a:gd name="T44" fmla="*/ 98827 w 71"/>
                <a:gd name="T45" fmla="*/ 115887 h 61"/>
                <a:gd name="T46" fmla="*/ 83623 w 71"/>
                <a:gd name="T47" fmla="*/ 96889 h 61"/>
                <a:gd name="T48" fmla="*/ 66518 w 71"/>
                <a:gd name="T49" fmla="*/ 77891 h 61"/>
                <a:gd name="T50" fmla="*/ 57016 w 71"/>
                <a:gd name="T51" fmla="*/ 58893 h 61"/>
                <a:gd name="T52" fmla="*/ 53215 w 71"/>
                <a:gd name="T53" fmla="*/ 47495 h 61"/>
                <a:gd name="T54" fmla="*/ 66518 w 71"/>
                <a:gd name="T55" fmla="*/ 51294 h 61"/>
                <a:gd name="T56" fmla="*/ 74120 w 71"/>
                <a:gd name="T57" fmla="*/ 43695 h 61"/>
                <a:gd name="T58" fmla="*/ 87424 w 71"/>
                <a:gd name="T59" fmla="*/ 45595 h 61"/>
                <a:gd name="T60" fmla="*/ 100728 w 71"/>
                <a:gd name="T61" fmla="*/ 51294 h 61"/>
                <a:gd name="T62" fmla="*/ 117832 w 71"/>
                <a:gd name="T63" fmla="*/ 49394 h 61"/>
                <a:gd name="T64" fmla="*/ 125434 w 71"/>
                <a:gd name="T65" fmla="*/ 56994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 name="Freeform 88"/>
            <p:cNvSpPr>
              <a:spLocks noChangeAspect="1"/>
            </p:cNvSpPr>
            <p:nvPr/>
          </p:nvSpPr>
          <p:spPr bwMode="auto">
            <a:xfrm>
              <a:off x="4685722" y="1800217"/>
              <a:ext cx="94501" cy="72222"/>
            </a:xfrm>
            <a:custGeom>
              <a:avLst/>
              <a:gdLst>
                <a:gd name="T0" fmla="*/ 47787 w 49"/>
                <a:gd name="T1" fmla="*/ 73439 h 46"/>
                <a:gd name="T2" fmla="*/ 42052 w 49"/>
                <a:gd name="T3" fmla="*/ 65709 h 46"/>
                <a:gd name="T4" fmla="*/ 32495 w 49"/>
                <a:gd name="T5" fmla="*/ 54113 h 46"/>
                <a:gd name="T6" fmla="*/ 22938 w 49"/>
                <a:gd name="T7" fmla="*/ 42517 h 46"/>
                <a:gd name="T8" fmla="*/ 15292 w 49"/>
                <a:gd name="T9" fmla="*/ 34787 h 46"/>
                <a:gd name="T10" fmla="*/ 11469 w 49"/>
                <a:gd name="T11" fmla="*/ 25124 h 46"/>
                <a:gd name="T12" fmla="*/ 5734 w 49"/>
                <a:gd name="T13" fmla="*/ 15461 h 46"/>
                <a:gd name="T14" fmla="*/ 1911 w 49"/>
                <a:gd name="T15" fmla="*/ 15461 h 46"/>
                <a:gd name="T16" fmla="*/ 1911 w 49"/>
                <a:gd name="T17" fmla="*/ 3865 h 46"/>
                <a:gd name="T18" fmla="*/ 5734 w 49"/>
                <a:gd name="T19" fmla="*/ 1933 h 46"/>
                <a:gd name="T20" fmla="*/ 15292 w 49"/>
                <a:gd name="T21" fmla="*/ 7730 h 46"/>
                <a:gd name="T22" fmla="*/ 19115 w 49"/>
                <a:gd name="T23" fmla="*/ 3865 h 46"/>
                <a:gd name="T24" fmla="*/ 22938 w 49"/>
                <a:gd name="T25" fmla="*/ 0 h 46"/>
                <a:gd name="T26" fmla="*/ 26761 w 49"/>
                <a:gd name="T27" fmla="*/ 3865 h 46"/>
                <a:gd name="T28" fmla="*/ 36318 w 49"/>
                <a:gd name="T29" fmla="*/ 1933 h 46"/>
                <a:gd name="T30" fmla="*/ 49698 w 49"/>
                <a:gd name="T31" fmla="*/ 3865 h 46"/>
                <a:gd name="T32" fmla="*/ 49698 w 49"/>
                <a:gd name="T33" fmla="*/ 7730 h 46"/>
                <a:gd name="T34" fmla="*/ 53521 w 49"/>
                <a:gd name="T35" fmla="*/ 5798 h 46"/>
                <a:gd name="T36" fmla="*/ 66901 w 49"/>
                <a:gd name="T37" fmla="*/ 5798 h 46"/>
                <a:gd name="T38" fmla="*/ 72636 w 49"/>
                <a:gd name="T39" fmla="*/ 7730 h 46"/>
                <a:gd name="T40" fmla="*/ 74547 w 49"/>
                <a:gd name="T41" fmla="*/ 13528 h 46"/>
                <a:gd name="T42" fmla="*/ 80282 w 49"/>
                <a:gd name="T43" fmla="*/ 11596 h 46"/>
                <a:gd name="T44" fmla="*/ 86016 w 49"/>
                <a:gd name="T45" fmla="*/ 11596 h 46"/>
                <a:gd name="T46" fmla="*/ 80282 w 49"/>
                <a:gd name="T47" fmla="*/ 28989 h 46"/>
                <a:gd name="T48" fmla="*/ 91751 w 49"/>
                <a:gd name="T49" fmla="*/ 40585 h 46"/>
                <a:gd name="T50" fmla="*/ 84105 w 49"/>
                <a:gd name="T51" fmla="*/ 40585 h 46"/>
                <a:gd name="T52" fmla="*/ 91751 w 49"/>
                <a:gd name="T53" fmla="*/ 54113 h 46"/>
                <a:gd name="T54" fmla="*/ 84105 w 49"/>
                <a:gd name="T55" fmla="*/ 54113 h 46"/>
                <a:gd name="T56" fmla="*/ 78370 w 49"/>
                <a:gd name="T57" fmla="*/ 56046 h 46"/>
                <a:gd name="T58" fmla="*/ 78370 w 49"/>
                <a:gd name="T59" fmla="*/ 63776 h 46"/>
                <a:gd name="T60" fmla="*/ 70724 w 49"/>
                <a:gd name="T61" fmla="*/ 71507 h 46"/>
                <a:gd name="T62" fmla="*/ 64990 w 49"/>
                <a:gd name="T63" fmla="*/ 77304 h 46"/>
                <a:gd name="T64" fmla="*/ 66901 w 49"/>
                <a:gd name="T65" fmla="*/ 88900 h 46"/>
                <a:gd name="T66" fmla="*/ 53521 w 49"/>
                <a:gd name="T67" fmla="*/ 77304 h 46"/>
                <a:gd name="T68" fmla="*/ 47787 w 49"/>
                <a:gd name="T69" fmla="*/ 73439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 name="Freeform 89"/>
            <p:cNvSpPr>
              <a:spLocks noChangeAspect="1"/>
            </p:cNvSpPr>
            <p:nvPr/>
          </p:nvSpPr>
          <p:spPr bwMode="auto">
            <a:xfrm>
              <a:off x="4751391" y="1774423"/>
              <a:ext cx="105713" cy="114782"/>
            </a:xfrm>
            <a:custGeom>
              <a:avLst/>
              <a:gdLst>
                <a:gd name="T0" fmla="*/ 40005 w 55"/>
                <a:gd name="T1" fmla="*/ 1909 h 74"/>
                <a:gd name="T2" fmla="*/ 45720 w 55"/>
                <a:gd name="T3" fmla="*/ 11456 h 74"/>
                <a:gd name="T4" fmla="*/ 51435 w 55"/>
                <a:gd name="T5" fmla="*/ 19093 h 74"/>
                <a:gd name="T6" fmla="*/ 55245 w 55"/>
                <a:gd name="T7" fmla="*/ 28639 h 74"/>
                <a:gd name="T8" fmla="*/ 68580 w 55"/>
                <a:gd name="T9" fmla="*/ 36277 h 74"/>
                <a:gd name="T10" fmla="*/ 68580 w 55"/>
                <a:gd name="T11" fmla="*/ 47732 h 74"/>
                <a:gd name="T12" fmla="*/ 80010 w 55"/>
                <a:gd name="T13" fmla="*/ 53460 h 74"/>
                <a:gd name="T14" fmla="*/ 87630 w 55"/>
                <a:gd name="T15" fmla="*/ 57279 h 74"/>
                <a:gd name="T16" fmla="*/ 89535 w 55"/>
                <a:gd name="T17" fmla="*/ 51551 h 74"/>
                <a:gd name="T18" fmla="*/ 95250 w 55"/>
                <a:gd name="T19" fmla="*/ 55370 h 74"/>
                <a:gd name="T20" fmla="*/ 91440 w 55"/>
                <a:gd name="T21" fmla="*/ 59188 h 74"/>
                <a:gd name="T22" fmla="*/ 93345 w 55"/>
                <a:gd name="T23" fmla="*/ 63007 h 74"/>
                <a:gd name="T24" fmla="*/ 87630 w 55"/>
                <a:gd name="T25" fmla="*/ 72553 h 74"/>
                <a:gd name="T26" fmla="*/ 87630 w 55"/>
                <a:gd name="T27" fmla="*/ 87828 h 74"/>
                <a:gd name="T28" fmla="*/ 97155 w 55"/>
                <a:gd name="T29" fmla="*/ 97374 h 74"/>
                <a:gd name="T30" fmla="*/ 102870 w 55"/>
                <a:gd name="T31" fmla="*/ 103102 h 74"/>
                <a:gd name="T32" fmla="*/ 91440 w 55"/>
                <a:gd name="T33" fmla="*/ 108830 h 74"/>
                <a:gd name="T34" fmla="*/ 91440 w 55"/>
                <a:gd name="T35" fmla="*/ 124104 h 74"/>
                <a:gd name="T36" fmla="*/ 85725 w 55"/>
                <a:gd name="T37" fmla="*/ 127923 h 74"/>
                <a:gd name="T38" fmla="*/ 72390 w 55"/>
                <a:gd name="T39" fmla="*/ 126014 h 74"/>
                <a:gd name="T40" fmla="*/ 66675 w 55"/>
                <a:gd name="T41" fmla="*/ 131742 h 74"/>
                <a:gd name="T42" fmla="*/ 60960 w 55"/>
                <a:gd name="T43" fmla="*/ 129832 h 74"/>
                <a:gd name="T44" fmla="*/ 55245 w 55"/>
                <a:gd name="T45" fmla="*/ 135560 h 74"/>
                <a:gd name="T46" fmla="*/ 55245 w 55"/>
                <a:gd name="T47" fmla="*/ 141288 h 74"/>
                <a:gd name="T48" fmla="*/ 51435 w 55"/>
                <a:gd name="T49" fmla="*/ 141288 h 74"/>
                <a:gd name="T50" fmla="*/ 51435 w 55"/>
                <a:gd name="T51" fmla="*/ 129832 h 74"/>
                <a:gd name="T52" fmla="*/ 43815 w 55"/>
                <a:gd name="T53" fmla="*/ 122195 h 74"/>
                <a:gd name="T54" fmla="*/ 34290 w 55"/>
                <a:gd name="T55" fmla="*/ 118376 h 74"/>
                <a:gd name="T56" fmla="*/ 28575 w 55"/>
                <a:gd name="T57" fmla="*/ 118376 h 74"/>
                <a:gd name="T58" fmla="*/ 24765 w 55"/>
                <a:gd name="T59" fmla="*/ 126014 h 74"/>
                <a:gd name="T60" fmla="*/ 17145 w 55"/>
                <a:gd name="T61" fmla="*/ 127923 h 74"/>
                <a:gd name="T62" fmla="*/ 24765 w 55"/>
                <a:gd name="T63" fmla="*/ 133651 h 74"/>
                <a:gd name="T64" fmla="*/ 24765 w 55"/>
                <a:gd name="T65" fmla="*/ 141288 h 74"/>
                <a:gd name="T66" fmla="*/ 13335 w 55"/>
                <a:gd name="T67" fmla="*/ 129832 h 74"/>
                <a:gd name="T68" fmla="*/ 5715 w 55"/>
                <a:gd name="T69" fmla="*/ 126014 h 74"/>
                <a:gd name="T70" fmla="*/ 9525 w 55"/>
                <a:gd name="T71" fmla="*/ 122195 h 74"/>
                <a:gd name="T72" fmla="*/ 7620 w 55"/>
                <a:gd name="T73" fmla="*/ 120286 h 74"/>
                <a:gd name="T74" fmla="*/ 1905 w 55"/>
                <a:gd name="T75" fmla="*/ 120286 h 74"/>
                <a:gd name="T76" fmla="*/ 0 w 55"/>
                <a:gd name="T77" fmla="*/ 108830 h 74"/>
                <a:gd name="T78" fmla="*/ 5715 w 55"/>
                <a:gd name="T79" fmla="*/ 103102 h 74"/>
                <a:gd name="T80" fmla="*/ 13335 w 55"/>
                <a:gd name="T81" fmla="*/ 95465 h 74"/>
                <a:gd name="T82" fmla="*/ 13335 w 55"/>
                <a:gd name="T83" fmla="*/ 87828 h 74"/>
                <a:gd name="T84" fmla="*/ 19050 w 55"/>
                <a:gd name="T85" fmla="*/ 85918 h 74"/>
                <a:gd name="T86" fmla="*/ 26670 w 55"/>
                <a:gd name="T87" fmla="*/ 85918 h 74"/>
                <a:gd name="T88" fmla="*/ 19050 w 55"/>
                <a:gd name="T89" fmla="*/ 72553 h 74"/>
                <a:gd name="T90" fmla="*/ 26670 w 55"/>
                <a:gd name="T91" fmla="*/ 72553 h 74"/>
                <a:gd name="T92" fmla="*/ 15240 w 55"/>
                <a:gd name="T93" fmla="*/ 61098 h 74"/>
                <a:gd name="T94" fmla="*/ 20955 w 55"/>
                <a:gd name="T95" fmla="*/ 43914 h 74"/>
                <a:gd name="T96" fmla="*/ 15240 w 55"/>
                <a:gd name="T97" fmla="*/ 43914 h 74"/>
                <a:gd name="T98" fmla="*/ 13335 w 55"/>
                <a:gd name="T99" fmla="*/ 36277 h 74"/>
                <a:gd name="T100" fmla="*/ 19050 w 55"/>
                <a:gd name="T101" fmla="*/ 32458 h 74"/>
                <a:gd name="T102" fmla="*/ 13335 w 55"/>
                <a:gd name="T103" fmla="*/ 30549 h 74"/>
                <a:gd name="T104" fmla="*/ 11430 w 55"/>
                <a:gd name="T105" fmla="*/ 24821 h 74"/>
                <a:gd name="T106" fmla="*/ 11430 w 55"/>
                <a:gd name="T107" fmla="*/ 19093 h 74"/>
                <a:gd name="T108" fmla="*/ 7620 w 55"/>
                <a:gd name="T109" fmla="*/ 11456 h 74"/>
                <a:gd name="T110" fmla="*/ 13335 w 55"/>
                <a:gd name="T111" fmla="*/ 5728 h 74"/>
                <a:gd name="T112" fmla="*/ 22860 w 55"/>
                <a:gd name="T113" fmla="*/ 3819 h 74"/>
                <a:gd name="T114" fmla="*/ 28575 w 55"/>
                <a:gd name="T115" fmla="*/ 0 h 74"/>
                <a:gd name="T116" fmla="*/ 40005 w 55"/>
                <a:gd name="T117" fmla="*/ 1909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 name="Freeform 90"/>
            <p:cNvSpPr>
              <a:spLocks noChangeAspect="1"/>
            </p:cNvSpPr>
            <p:nvPr/>
          </p:nvSpPr>
          <p:spPr bwMode="auto">
            <a:xfrm>
              <a:off x="4801045" y="1875018"/>
              <a:ext cx="57662" cy="39980"/>
            </a:xfrm>
            <a:custGeom>
              <a:avLst/>
              <a:gdLst>
                <a:gd name="T0" fmla="*/ 55245 w 30"/>
                <a:gd name="T1" fmla="*/ 30285 h 26"/>
                <a:gd name="T2" fmla="*/ 49530 w 30"/>
                <a:gd name="T3" fmla="*/ 32178 h 26"/>
                <a:gd name="T4" fmla="*/ 34290 w 30"/>
                <a:gd name="T5" fmla="*/ 37856 h 26"/>
                <a:gd name="T6" fmla="*/ 26670 w 30"/>
                <a:gd name="T7" fmla="*/ 47320 h 26"/>
                <a:gd name="T8" fmla="*/ 13335 w 30"/>
                <a:gd name="T9" fmla="*/ 49213 h 26"/>
                <a:gd name="T10" fmla="*/ 7620 w 30"/>
                <a:gd name="T11" fmla="*/ 45427 h 26"/>
                <a:gd name="T12" fmla="*/ 1905 w 30"/>
                <a:gd name="T13" fmla="*/ 37856 h 26"/>
                <a:gd name="T14" fmla="*/ 1905 w 30"/>
                <a:gd name="T15" fmla="*/ 26499 h 26"/>
                <a:gd name="T16" fmla="*/ 1905 w 30"/>
                <a:gd name="T17" fmla="*/ 17035 h 26"/>
                <a:gd name="T18" fmla="*/ 5715 w 30"/>
                <a:gd name="T19" fmla="*/ 17035 h 26"/>
                <a:gd name="T20" fmla="*/ 5715 w 30"/>
                <a:gd name="T21" fmla="*/ 11357 h 26"/>
                <a:gd name="T22" fmla="*/ 11430 w 30"/>
                <a:gd name="T23" fmla="*/ 5678 h 26"/>
                <a:gd name="T24" fmla="*/ 17145 w 30"/>
                <a:gd name="T25" fmla="*/ 7571 h 26"/>
                <a:gd name="T26" fmla="*/ 22860 w 30"/>
                <a:gd name="T27" fmla="*/ 1893 h 26"/>
                <a:gd name="T28" fmla="*/ 36195 w 30"/>
                <a:gd name="T29" fmla="*/ 3786 h 26"/>
                <a:gd name="T30" fmla="*/ 41910 w 30"/>
                <a:gd name="T31" fmla="*/ 0 h 26"/>
                <a:gd name="T32" fmla="*/ 43815 w 30"/>
                <a:gd name="T33" fmla="*/ 7571 h 26"/>
                <a:gd name="T34" fmla="*/ 53340 w 30"/>
                <a:gd name="T35" fmla="*/ 11357 h 26"/>
                <a:gd name="T36" fmla="*/ 55245 w 30"/>
                <a:gd name="T37" fmla="*/ 20821 h 26"/>
                <a:gd name="T38" fmla="*/ 55245 w 30"/>
                <a:gd name="T39" fmla="*/ 30285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 name="Freeform 91"/>
            <p:cNvSpPr>
              <a:spLocks noChangeAspect="1"/>
            </p:cNvSpPr>
            <p:nvPr/>
          </p:nvSpPr>
          <p:spPr bwMode="auto">
            <a:xfrm>
              <a:off x="4773816" y="1868570"/>
              <a:ext cx="43247" cy="77381"/>
            </a:xfrm>
            <a:custGeom>
              <a:avLst/>
              <a:gdLst>
                <a:gd name="T0" fmla="*/ 21432 w 22"/>
                <a:gd name="T1" fmla="*/ 95250 h 50"/>
                <a:gd name="T2" fmla="*/ 13638 w 22"/>
                <a:gd name="T3" fmla="*/ 81915 h 50"/>
                <a:gd name="T4" fmla="*/ 1948 w 22"/>
                <a:gd name="T5" fmla="*/ 72390 h 50"/>
                <a:gd name="T6" fmla="*/ 3897 w 22"/>
                <a:gd name="T7" fmla="*/ 68580 h 50"/>
                <a:gd name="T8" fmla="*/ 0 w 22"/>
                <a:gd name="T9" fmla="*/ 62865 h 50"/>
                <a:gd name="T10" fmla="*/ 1948 w 22"/>
                <a:gd name="T11" fmla="*/ 60960 h 50"/>
                <a:gd name="T12" fmla="*/ 1948 w 22"/>
                <a:gd name="T13" fmla="*/ 51435 h 50"/>
                <a:gd name="T14" fmla="*/ 3897 w 22"/>
                <a:gd name="T15" fmla="*/ 38100 h 50"/>
                <a:gd name="T16" fmla="*/ 1948 w 22"/>
                <a:gd name="T17" fmla="*/ 26670 h 50"/>
                <a:gd name="T18" fmla="*/ 1948 w 22"/>
                <a:gd name="T19" fmla="*/ 19050 h 50"/>
                <a:gd name="T20" fmla="*/ 1948 w 22"/>
                <a:gd name="T21" fmla="*/ 9525 h 50"/>
                <a:gd name="T22" fmla="*/ 5845 w 22"/>
                <a:gd name="T23" fmla="*/ 1905 h 50"/>
                <a:gd name="T24" fmla="*/ 11690 w 22"/>
                <a:gd name="T25" fmla="*/ 1905 h 50"/>
                <a:gd name="T26" fmla="*/ 21432 w 22"/>
                <a:gd name="T27" fmla="*/ 5715 h 50"/>
                <a:gd name="T28" fmla="*/ 29225 w 22"/>
                <a:gd name="T29" fmla="*/ 13335 h 50"/>
                <a:gd name="T30" fmla="*/ 29225 w 22"/>
                <a:gd name="T31" fmla="*/ 24765 h 50"/>
                <a:gd name="T32" fmla="*/ 29225 w 22"/>
                <a:gd name="T33" fmla="*/ 34290 h 50"/>
                <a:gd name="T34" fmla="*/ 29225 w 22"/>
                <a:gd name="T35" fmla="*/ 45720 h 50"/>
                <a:gd name="T36" fmla="*/ 35070 w 22"/>
                <a:gd name="T37" fmla="*/ 53340 h 50"/>
                <a:gd name="T38" fmla="*/ 40915 w 22"/>
                <a:gd name="T39" fmla="*/ 57150 h 50"/>
                <a:gd name="T40" fmla="*/ 42863 w 22"/>
                <a:gd name="T41" fmla="*/ 64770 h 50"/>
                <a:gd name="T42" fmla="*/ 37018 w 22"/>
                <a:gd name="T43" fmla="*/ 68580 h 50"/>
                <a:gd name="T44" fmla="*/ 35070 w 22"/>
                <a:gd name="T45" fmla="*/ 80010 h 50"/>
                <a:gd name="T46" fmla="*/ 27276 w 22"/>
                <a:gd name="T47" fmla="*/ 81915 h 50"/>
                <a:gd name="T48" fmla="*/ 27276 w 22"/>
                <a:gd name="T49" fmla="*/ 89535 h 50"/>
                <a:gd name="T50" fmla="*/ 21432 w 22"/>
                <a:gd name="T51" fmla="*/ 9525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 name="Freeform 92"/>
            <p:cNvSpPr>
              <a:spLocks noChangeAspect="1"/>
            </p:cNvSpPr>
            <p:nvPr/>
          </p:nvSpPr>
          <p:spPr bwMode="auto">
            <a:xfrm>
              <a:off x="4794638" y="1893073"/>
              <a:ext cx="147358" cy="134127"/>
            </a:xfrm>
            <a:custGeom>
              <a:avLst/>
              <a:gdLst>
                <a:gd name="T0" fmla="*/ 138363 w 76"/>
                <a:gd name="T1" fmla="*/ 23037 h 86"/>
                <a:gd name="T2" fmla="*/ 146050 w 76"/>
                <a:gd name="T3" fmla="*/ 9599 h 86"/>
                <a:gd name="T4" fmla="*/ 138363 w 76"/>
                <a:gd name="T5" fmla="*/ 0 h 86"/>
                <a:gd name="T6" fmla="*/ 121068 w 76"/>
                <a:gd name="T7" fmla="*/ 11519 h 86"/>
                <a:gd name="T8" fmla="*/ 101851 w 76"/>
                <a:gd name="T9" fmla="*/ 7679 h 86"/>
                <a:gd name="T10" fmla="*/ 88399 w 76"/>
                <a:gd name="T11" fmla="*/ 3840 h 86"/>
                <a:gd name="T12" fmla="*/ 69182 w 76"/>
                <a:gd name="T13" fmla="*/ 7679 h 86"/>
                <a:gd name="T14" fmla="*/ 55730 w 76"/>
                <a:gd name="T15" fmla="*/ 9599 h 86"/>
                <a:gd name="T16" fmla="*/ 32669 w 76"/>
                <a:gd name="T17" fmla="*/ 24957 h 86"/>
                <a:gd name="T18" fmla="*/ 21139 w 76"/>
                <a:gd name="T19" fmla="*/ 34556 h 86"/>
                <a:gd name="T20" fmla="*/ 13452 w 76"/>
                <a:gd name="T21" fmla="*/ 49914 h 86"/>
                <a:gd name="T22" fmla="*/ 5765 w 76"/>
                <a:gd name="T23" fmla="*/ 59513 h 86"/>
                <a:gd name="T24" fmla="*/ 5765 w 76"/>
                <a:gd name="T25" fmla="*/ 74871 h 86"/>
                <a:gd name="T26" fmla="*/ 23061 w 76"/>
                <a:gd name="T27" fmla="*/ 84470 h 86"/>
                <a:gd name="T28" fmla="*/ 19217 w 76"/>
                <a:gd name="T29" fmla="*/ 94069 h 86"/>
                <a:gd name="T30" fmla="*/ 24982 w 76"/>
                <a:gd name="T31" fmla="*/ 105587 h 86"/>
                <a:gd name="T32" fmla="*/ 34591 w 76"/>
                <a:gd name="T33" fmla="*/ 105587 h 86"/>
                <a:gd name="T34" fmla="*/ 53808 w 76"/>
                <a:gd name="T35" fmla="*/ 103667 h 86"/>
                <a:gd name="T36" fmla="*/ 74947 w 76"/>
                <a:gd name="T37" fmla="*/ 111347 h 86"/>
                <a:gd name="T38" fmla="*/ 63416 w 76"/>
                <a:gd name="T39" fmla="*/ 115186 h 86"/>
                <a:gd name="T40" fmla="*/ 38434 w 76"/>
                <a:gd name="T41" fmla="*/ 111347 h 86"/>
                <a:gd name="T42" fmla="*/ 24982 w 76"/>
                <a:gd name="T43" fmla="*/ 119026 h 86"/>
                <a:gd name="T44" fmla="*/ 38434 w 76"/>
                <a:gd name="T45" fmla="*/ 138223 h 86"/>
                <a:gd name="T46" fmla="*/ 44199 w 76"/>
                <a:gd name="T47" fmla="*/ 155501 h 86"/>
                <a:gd name="T48" fmla="*/ 55730 w 76"/>
                <a:gd name="T49" fmla="*/ 155501 h 86"/>
                <a:gd name="T50" fmla="*/ 59573 w 76"/>
                <a:gd name="T51" fmla="*/ 165100 h 86"/>
                <a:gd name="T52" fmla="*/ 65338 w 76"/>
                <a:gd name="T53" fmla="*/ 153581 h 86"/>
                <a:gd name="T54" fmla="*/ 74947 w 76"/>
                <a:gd name="T55" fmla="*/ 163180 h 86"/>
                <a:gd name="T56" fmla="*/ 71103 w 76"/>
                <a:gd name="T57" fmla="*/ 149742 h 86"/>
                <a:gd name="T58" fmla="*/ 71103 w 76"/>
                <a:gd name="T59" fmla="*/ 132464 h 86"/>
                <a:gd name="T60" fmla="*/ 80712 w 76"/>
                <a:gd name="T61" fmla="*/ 132464 h 86"/>
                <a:gd name="T62" fmla="*/ 73025 w 76"/>
                <a:gd name="T63" fmla="*/ 119026 h 86"/>
                <a:gd name="T64" fmla="*/ 88399 w 76"/>
                <a:gd name="T65" fmla="*/ 119026 h 86"/>
                <a:gd name="T66" fmla="*/ 94164 w 76"/>
                <a:gd name="T67" fmla="*/ 120945 h 86"/>
                <a:gd name="T68" fmla="*/ 80712 w 76"/>
                <a:gd name="T69" fmla="*/ 103667 h 86"/>
                <a:gd name="T70" fmla="*/ 57651 w 76"/>
                <a:gd name="T71" fmla="*/ 88309 h 86"/>
                <a:gd name="T72" fmla="*/ 63416 w 76"/>
                <a:gd name="T73" fmla="*/ 74871 h 86"/>
                <a:gd name="T74" fmla="*/ 73025 w 76"/>
                <a:gd name="T75" fmla="*/ 78710 h 86"/>
                <a:gd name="T76" fmla="*/ 65338 w 76"/>
                <a:gd name="T77" fmla="*/ 63352 h 86"/>
                <a:gd name="T78" fmla="*/ 55730 w 76"/>
                <a:gd name="T79" fmla="*/ 40315 h 86"/>
                <a:gd name="T80" fmla="*/ 71103 w 76"/>
                <a:gd name="T81" fmla="*/ 44155 h 86"/>
                <a:gd name="T82" fmla="*/ 82634 w 76"/>
                <a:gd name="T83" fmla="*/ 53753 h 86"/>
                <a:gd name="T84" fmla="*/ 80712 w 76"/>
                <a:gd name="T85" fmla="*/ 46074 h 86"/>
                <a:gd name="T86" fmla="*/ 90320 w 76"/>
                <a:gd name="T87" fmla="*/ 51834 h 86"/>
                <a:gd name="T88" fmla="*/ 88399 w 76"/>
                <a:gd name="T89" fmla="*/ 42235 h 86"/>
                <a:gd name="T90" fmla="*/ 98007 w 76"/>
                <a:gd name="T91" fmla="*/ 44155 h 86"/>
                <a:gd name="T92" fmla="*/ 82634 w 76"/>
                <a:gd name="T93" fmla="*/ 28797 h 86"/>
                <a:gd name="T94" fmla="*/ 90320 w 76"/>
                <a:gd name="T95" fmla="*/ 30716 h 86"/>
                <a:gd name="T96" fmla="*/ 107616 w 76"/>
                <a:gd name="T97" fmla="*/ 26877 h 86"/>
                <a:gd name="T98" fmla="*/ 126833 w 76"/>
                <a:gd name="T99" fmla="*/ 24957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 name="Freeform 93"/>
            <p:cNvSpPr>
              <a:spLocks noChangeAspect="1"/>
            </p:cNvSpPr>
            <p:nvPr/>
          </p:nvSpPr>
          <p:spPr bwMode="auto">
            <a:xfrm>
              <a:off x="4929182" y="1881466"/>
              <a:ext cx="67272" cy="41270"/>
            </a:xfrm>
            <a:custGeom>
              <a:avLst/>
              <a:gdLst>
                <a:gd name="T0" fmla="*/ 41910 w 35"/>
                <a:gd name="T1" fmla="*/ 3763 h 27"/>
                <a:gd name="T2" fmla="*/ 47625 w 35"/>
                <a:gd name="T3" fmla="*/ 3763 h 27"/>
                <a:gd name="T4" fmla="*/ 47625 w 35"/>
                <a:gd name="T5" fmla="*/ 9407 h 27"/>
                <a:gd name="T6" fmla="*/ 51435 w 35"/>
                <a:gd name="T7" fmla="*/ 22578 h 27"/>
                <a:gd name="T8" fmla="*/ 64770 w 35"/>
                <a:gd name="T9" fmla="*/ 26341 h 27"/>
                <a:gd name="T10" fmla="*/ 60960 w 35"/>
                <a:gd name="T11" fmla="*/ 33867 h 27"/>
                <a:gd name="T12" fmla="*/ 53340 w 35"/>
                <a:gd name="T13" fmla="*/ 31985 h 27"/>
                <a:gd name="T14" fmla="*/ 45720 w 35"/>
                <a:gd name="T15" fmla="*/ 33867 h 27"/>
                <a:gd name="T16" fmla="*/ 36195 w 35"/>
                <a:gd name="T17" fmla="*/ 33867 h 27"/>
                <a:gd name="T18" fmla="*/ 28575 w 35"/>
                <a:gd name="T19" fmla="*/ 43274 h 27"/>
                <a:gd name="T20" fmla="*/ 19050 w 35"/>
                <a:gd name="T21" fmla="*/ 50800 h 27"/>
                <a:gd name="T22" fmla="*/ 19050 w 35"/>
                <a:gd name="T23" fmla="*/ 45156 h 27"/>
                <a:gd name="T24" fmla="*/ 1905 w 35"/>
                <a:gd name="T25" fmla="*/ 47037 h 27"/>
                <a:gd name="T26" fmla="*/ 1905 w 35"/>
                <a:gd name="T27" fmla="*/ 43274 h 27"/>
                <a:gd name="T28" fmla="*/ 3810 w 35"/>
                <a:gd name="T29" fmla="*/ 37630 h 27"/>
                <a:gd name="T30" fmla="*/ 3810 w 35"/>
                <a:gd name="T31" fmla="*/ 28222 h 27"/>
                <a:gd name="T32" fmla="*/ 11430 w 35"/>
                <a:gd name="T33" fmla="*/ 24459 h 27"/>
                <a:gd name="T34" fmla="*/ 11430 w 35"/>
                <a:gd name="T35" fmla="*/ 18815 h 27"/>
                <a:gd name="T36" fmla="*/ 3810 w 35"/>
                <a:gd name="T37" fmla="*/ 15052 h 27"/>
                <a:gd name="T38" fmla="*/ 3810 w 35"/>
                <a:gd name="T39" fmla="*/ 7526 h 27"/>
                <a:gd name="T40" fmla="*/ 11430 w 35"/>
                <a:gd name="T41" fmla="*/ 5644 h 27"/>
                <a:gd name="T42" fmla="*/ 20955 w 35"/>
                <a:gd name="T43" fmla="*/ 7526 h 27"/>
                <a:gd name="T44" fmla="*/ 26670 w 35"/>
                <a:gd name="T45" fmla="*/ 1881 h 27"/>
                <a:gd name="T46" fmla="*/ 34290 w 35"/>
                <a:gd name="T47" fmla="*/ 1881 h 27"/>
                <a:gd name="T48" fmla="*/ 40005 w 35"/>
                <a:gd name="T49" fmla="*/ 5644 h 27"/>
                <a:gd name="T50" fmla="*/ 41910 w 35"/>
                <a:gd name="T51" fmla="*/ 3763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6" name="Freeform 94"/>
            <p:cNvSpPr>
              <a:spLocks noChangeAspect="1"/>
            </p:cNvSpPr>
            <p:nvPr/>
          </p:nvSpPr>
          <p:spPr bwMode="auto">
            <a:xfrm>
              <a:off x="4837884" y="1826011"/>
              <a:ext cx="148960" cy="78671"/>
            </a:xfrm>
            <a:custGeom>
              <a:avLst/>
              <a:gdLst>
                <a:gd name="T0" fmla="*/ 132496 w 78"/>
                <a:gd name="T1" fmla="*/ 72154 h 51"/>
                <a:gd name="T2" fmla="*/ 128710 w 78"/>
                <a:gd name="T3" fmla="*/ 62660 h 51"/>
                <a:gd name="T4" fmla="*/ 121139 w 78"/>
                <a:gd name="T5" fmla="*/ 56964 h 51"/>
                <a:gd name="T6" fmla="*/ 130603 w 78"/>
                <a:gd name="T7" fmla="*/ 49368 h 51"/>
                <a:gd name="T8" fmla="*/ 130603 w 78"/>
                <a:gd name="T9" fmla="*/ 37976 h 51"/>
                <a:gd name="T10" fmla="*/ 136281 w 78"/>
                <a:gd name="T11" fmla="*/ 26583 h 51"/>
                <a:gd name="T12" fmla="*/ 141960 w 78"/>
                <a:gd name="T13" fmla="*/ 26583 h 51"/>
                <a:gd name="T14" fmla="*/ 145745 w 78"/>
                <a:gd name="T15" fmla="*/ 26583 h 51"/>
                <a:gd name="T16" fmla="*/ 147638 w 78"/>
                <a:gd name="T17" fmla="*/ 15190 h 51"/>
                <a:gd name="T18" fmla="*/ 141960 w 78"/>
                <a:gd name="T19" fmla="*/ 15190 h 51"/>
                <a:gd name="T20" fmla="*/ 136281 w 78"/>
                <a:gd name="T21" fmla="*/ 11393 h 51"/>
                <a:gd name="T22" fmla="*/ 124924 w 78"/>
                <a:gd name="T23" fmla="*/ 9494 h 51"/>
                <a:gd name="T24" fmla="*/ 115460 w 78"/>
                <a:gd name="T25" fmla="*/ 5696 h 51"/>
                <a:gd name="T26" fmla="*/ 105997 w 78"/>
                <a:gd name="T27" fmla="*/ 5696 h 51"/>
                <a:gd name="T28" fmla="*/ 94640 w 78"/>
                <a:gd name="T29" fmla="*/ 7595 h 51"/>
                <a:gd name="T30" fmla="*/ 87069 w 78"/>
                <a:gd name="T31" fmla="*/ 13291 h 51"/>
                <a:gd name="T32" fmla="*/ 64355 w 78"/>
                <a:gd name="T33" fmla="*/ 17089 h 51"/>
                <a:gd name="T34" fmla="*/ 49213 w 78"/>
                <a:gd name="T35" fmla="*/ 15190 h 51"/>
                <a:gd name="T36" fmla="*/ 24606 w 78"/>
                <a:gd name="T37" fmla="*/ 13291 h 51"/>
                <a:gd name="T38" fmla="*/ 11357 w 78"/>
                <a:gd name="T39" fmla="*/ 15190 h 51"/>
                <a:gd name="T40" fmla="*/ 15142 w 78"/>
                <a:gd name="T41" fmla="*/ 7595 h 51"/>
                <a:gd name="T42" fmla="*/ 7571 w 78"/>
                <a:gd name="T43" fmla="*/ 0 h 51"/>
                <a:gd name="T44" fmla="*/ 1893 w 78"/>
                <a:gd name="T45" fmla="*/ 9494 h 51"/>
                <a:gd name="T46" fmla="*/ 1893 w 78"/>
                <a:gd name="T47" fmla="*/ 24684 h 51"/>
                <a:gd name="T48" fmla="*/ 11357 w 78"/>
                <a:gd name="T49" fmla="*/ 34178 h 51"/>
                <a:gd name="T50" fmla="*/ 17035 w 78"/>
                <a:gd name="T51" fmla="*/ 39874 h 51"/>
                <a:gd name="T52" fmla="*/ 5678 w 78"/>
                <a:gd name="T53" fmla="*/ 45571 h 51"/>
                <a:gd name="T54" fmla="*/ 5678 w 78"/>
                <a:gd name="T55" fmla="*/ 60761 h 51"/>
                <a:gd name="T56" fmla="*/ 7571 w 78"/>
                <a:gd name="T57" fmla="*/ 68356 h 51"/>
                <a:gd name="T58" fmla="*/ 17035 w 78"/>
                <a:gd name="T59" fmla="*/ 72154 h 51"/>
                <a:gd name="T60" fmla="*/ 18928 w 78"/>
                <a:gd name="T61" fmla="*/ 81648 h 51"/>
                <a:gd name="T62" fmla="*/ 18928 w 78"/>
                <a:gd name="T63" fmla="*/ 91142 h 51"/>
                <a:gd name="T64" fmla="*/ 26499 w 78"/>
                <a:gd name="T65" fmla="*/ 91142 h 51"/>
                <a:gd name="T66" fmla="*/ 39749 w 78"/>
                <a:gd name="T67" fmla="*/ 91142 h 51"/>
                <a:gd name="T68" fmla="*/ 45427 w 78"/>
                <a:gd name="T69" fmla="*/ 87344 h 51"/>
                <a:gd name="T70" fmla="*/ 54891 w 78"/>
                <a:gd name="T71" fmla="*/ 87344 h 51"/>
                <a:gd name="T72" fmla="*/ 58677 w 78"/>
                <a:gd name="T73" fmla="*/ 91142 h 51"/>
                <a:gd name="T74" fmla="*/ 68141 w 78"/>
                <a:gd name="T75" fmla="*/ 93040 h 51"/>
                <a:gd name="T76" fmla="*/ 77605 w 78"/>
                <a:gd name="T77" fmla="*/ 94939 h 51"/>
                <a:gd name="T78" fmla="*/ 92747 w 78"/>
                <a:gd name="T79" fmla="*/ 89243 h 51"/>
                <a:gd name="T80" fmla="*/ 94640 w 78"/>
                <a:gd name="T81" fmla="*/ 83547 h 51"/>
                <a:gd name="T82" fmla="*/ 94640 w 78"/>
                <a:gd name="T83" fmla="*/ 75951 h 51"/>
                <a:gd name="T84" fmla="*/ 102211 w 78"/>
                <a:gd name="T85" fmla="*/ 74053 h 51"/>
                <a:gd name="T86" fmla="*/ 111675 w 78"/>
                <a:gd name="T87" fmla="*/ 75951 h 51"/>
                <a:gd name="T88" fmla="*/ 117353 w 78"/>
                <a:gd name="T89" fmla="*/ 70255 h 51"/>
                <a:gd name="T90" fmla="*/ 124924 w 78"/>
                <a:gd name="T91" fmla="*/ 70255 h 51"/>
                <a:gd name="T92" fmla="*/ 130603 w 78"/>
                <a:gd name="T93" fmla="*/ 74053 h 51"/>
                <a:gd name="T94" fmla="*/ 132496 w 78"/>
                <a:gd name="T95" fmla="*/ 72154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7" name="Freeform 95"/>
            <p:cNvSpPr>
              <a:spLocks noChangeAspect="1"/>
            </p:cNvSpPr>
            <p:nvPr/>
          </p:nvSpPr>
          <p:spPr bwMode="auto">
            <a:xfrm>
              <a:off x="4791434" y="1721547"/>
              <a:ext cx="222638" cy="117361"/>
            </a:xfrm>
            <a:custGeom>
              <a:avLst/>
              <a:gdLst>
                <a:gd name="T0" fmla="*/ 216857 w 116"/>
                <a:gd name="T1" fmla="*/ 100743 h 76"/>
                <a:gd name="T2" fmla="*/ 205444 w 116"/>
                <a:gd name="T3" fmla="*/ 93140 h 76"/>
                <a:gd name="T4" fmla="*/ 197835 w 116"/>
                <a:gd name="T5" fmla="*/ 98842 h 76"/>
                <a:gd name="T6" fmla="*/ 188324 w 116"/>
                <a:gd name="T7" fmla="*/ 100743 h 76"/>
                <a:gd name="T8" fmla="*/ 180715 w 116"/>
                <a:gd name="T9" fmla="*/ 96942 h 76"/>
                <a:gd name="T10" fmla="*/ 176910 w 116"/>
                <a:gd name="T11" fmla="*/ 74132 h 76"/>
                <a:gd name="T12" fmla="*/ 184519 w 116"/>
                <a:gd name="T13" fmla="*/ 57024 h 76"/>
                <a:gd name="T14" fmla="*/ 173106 w 116"/>
                <a:gd name="T15" fmla="*/ 39917 h 76"/>
                <a:gd name="T16" fmla="*/ 157887 w 116"/>
                <a:gd name="T17" fmla="*/ 22810 h 76"/>
                <a:gd name="T18" fmla="*/ 150278 w 116"/>
                <a:gd name="T19" fmla="*/ 3802 h 76"/>
                <a:gd name="T20" fmla="*/ 140767 w 116"/>
                <a:gd name="T21" fmla="*/ 0 h 76"/>
                <a:gd name="T22" fmla="*/ 133158 w 116"/>
                <a:gd name="T23" fmla="*/ 1901 h 76"/>
                <a:gd name="T24" fmla="*/ 125549 w 116"/>
                <a:gd name="T25" fmla="*/ 3802 h 76"/>
                <a:gd name="T26" fmla="*/ 110331 w 116"/>
                <a:gd name="T27" fmla="*/ 5702 h 76"/>
                <a:gd name="T28" fmla="*/ 102722 w 116"/>
                <a:gd name="T29" fmla="*/ 15207 h 76"/>
                <a:gd name="T30" fmla="*/ 95113 w 116"/>
                <a:gd name="T31" fmla="*/ 7603 h 76"/>
                <a:gd name="T32" fmla="*/ 87504 w 116"/>
                <a:gd name="T33" fmla="*/ 7603 h 76"/>
                <a:gd name="T34" fmla="*/ 72286 w 116"/>
                <a:gd name="T35" fmla="*/ 5702 h 76"/>
                <a:gd name="T36" fmla="*/ 62775 w 116"/>
                <a:gd name="T37" fmla="*/ 0 h 76"/>
                <a:gd name="T38" fmla="*/ 57068 w 116"/>
                <a:gd name="T39" fmla="*/ 7603 h 76"/>
                <a:gd name="T40" fmla="*/ 53263 w 116"/>
                <a:gd name="T41" fmla="*/ 11405 h 76"/>
                <a:gd name="T42" fmla="*/ 45654 w 116"/>
                <a:gd name="T43" fmla="*/ 13306 h 76"/>
                <a:gd name="T44" fmla="*/ 38045 w 116"/>
                <a:gd name="T45" fmla="*/ 22810 h 76"/>
                <a:gd name="T46" fmla="*/ 30436 w 116"/>
                <a:gd name="T47" fmla="*/ 36116 h 76"/>
                <a:gd name="T48" fmla="*/ 28534 w 116"/>
                <a:gd name="T49" fmla="*/ 49421 h 76"/>
                <a:gd name="T50" fmla="*/ 22827 w 116"/>
                <a:gd name="T51" fmla="*/ 51322 h 76"/>
                <a:gd name="T52" fmla="*/ 22827 w 116"/>
                <a:gd name="T53" fmla="*/ 58925 h 76"/>
                <a:gd name="T54" fmla="*/ 13316 w 116"/>
                <a:gd name="T55" fmla="*/ 62727 h 76"/>
                <a:gd name="T56" fmla="*/ 0 w 116"/>
                <a:gd name="T57" fmla="*/ 66529 h 76"/>
                <a:gd name="T58" fmla="*/ 5707 w 116"/>
                <a:gd name="T59" fmla="*/ 76033 h 76"/>
                <a:gd name="T60" fmla="*/ 11414 w 116"/>
                <a:gd name="T61" fmla="*/ 83636 h 76"/>
                <a:gd name="T62" fmla="*/ 15218 w 116"/>
                <a:gd name="T63" fmla="*/ 93140 h 76"/>
                <a:gd name="T64" fmla="*/ 28534 w 116"/>
                <a:gd name="T65" fmla="*/ 100743 h 76"/>
                <a:gd name="T66" fmla="*/ 28534 w 116"/>
                <a:gd name="T67" fmla="*/ 112148 h 76"/>
                <a:gd name="T68" fmla="*/ 39947 w 116"/>
                <a:gd name="T69" fmla="*/ 117851 h 76"/>
                <a:gd name="T70" fmla="*/ 47556 w 116"/>
                <a:gd name="T71" fmla="*/ 121652 h 76"/>
                <a:gd name="T72" fmla="*/ 49459 w 116"/>
                <a:gd name="T73" fmla="*/ 115950 h 76"/>
                <a:gd name="T74" fmla="*/ 55166 w 116"/>
                <a:gd name="T75" fmla="*/ 119751 h 76"/>
                <a:gd name="T76" fmla="*/ 51361 w 116"/>
                <a:gd name="T77" fmla="*/ 123553 h 76"/>
                <a:gd name="T78" fmla="*/ 53263 w 116"/>
                <a:gd name="T79" fmla="*/ 127355 h 76"/>
                <a:gd name="T80" fmla="*/ 60872 w 116"/>
                <a:gd name="T81" fmla="*/ 134958 h 76"/>
                <a:gd name="T82" fmla="*/ 57068 w 116"/>
                <a:gd name="T83" fmla="*/ 142561 h 76"/>
                <a:gd name="T84" fmla="*/ 70384 w 116"/>
                <a:gd name="T85" fmla="*/ 140660 h 76"/>
                <a:gd name="T86" fmla="*/ 95113 w 116"/>
                <a:gd name="T87" fmla="*/ 142561 h 76"/>
                <a:gd name="T88" fmla="*/ 110331 w 116"/>
                <a:gd name="T89" fmla="*/ 144462 h 76"/>
                <a:gd name="T90" fmla="*/ 133158 w 116"/>
                <a:gd name="T91" fmla="*/ 140660 h 76"/>
                <a:gd name="T92" fmla="*/ 140767 w 116"/>
                <a:gd name="T93" fmla="*/ 134958 h 76"/>
                <a:gd name="T94" fmla="*/ 152181 w 116"/>
                <a:gd name="T95" fmla="*/ 133057 h 76"/>
                <a:gd name="T96" fmla="*/ 161692 w 116"/>
                <a:gd name="T97" fmla="*/ 133057 h 76"/>
                <a:gd name="T98" fmla="*/ 171203 w 116"/>
                <a:gd name="T99" fmla="*/ 136859 h 76"/>
                <a:gd name="T100" fmla="*/ 182617 w 116"/>
                <a:gd name="T101" fmla="*/ 138760 h 76"/>
                <a:gd name="T102" fmla="*/ 188324 w 116"/>
                <a:gd name="T103" fmla="*/ 142561 h 76"/>
                <a:gd name="T104" fmla="*/ 194030 w 116"/>
                <a:gd name="T105" fmla="*/ 142561 h 76"/>
                <a:gd name="T106" fmla="*/ 194030 w 116"/>
                <a:gd name="T107" fmla="*/ 129255 h 76"/>
                <a:gd name="T108" fmla="*/ 197835 w 116"/>
                <a:gd name="T109" fmla="*/ 121652 h 76"/>
                <a:gd name="T110" fmla="*/ 192128 w 116"/>
                <a:gd name="T111" fmla="*/ 114049 h 76"/>
                <a:gd name="T112" fmla="*/ 199737 w 116"/>
                <a:gd name="T113" fmla="*/ 104545 h 76"/>
                <a:gd name="T114" fmla="*/ 205444 w 116"/>
                <a:gd name="T115" fmla="*/ 106446 h 76"/>
                <a:gd name="T116" fmla="*/ 203542 w 116"/>
                <a:gd name="T117" fmla="*/ 117851 h 76"/>
                <a:gd name="T118" fmla="*/ 216857 w 116"/>
                <a:gd name="T119" fmla="*/ 114049 h 76"/>
                <a:gd name="T120" fmla="*/ 216857 w 116"/>
                <a:gd name="T121" fmla="*/ 10074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8" name="Freeform 96"/>
            <p:cNvSpPr>
              <a:spLocks noChangeAspect="1"/>
            </p:cNvSpPr>
            <p:nvPr/>
          </p:nvSpPr>
          <p:spPr bwMode="auto">
            <a:xfrm>
              <a:off x="4933987" y="1711230"/>
              <a:ext cx="81688" cy="88988"/>
            </a:xfrm>
            <a:custGeom>
              <a:avLst/>
              <a:gdLst>
                <a:gd name="T0" fmla="*/ 39540 w 43"/>
                <a:gd name="T1" fmla="*/ 109537 h 58"/>
                <a:gd name="T2" fmla="*/ 48954 w 43"/>
                <a:gd name="T3" fmla="*/ 98206 h 58"/>
                <a:gd name="T4" fmla="*/ 56486 w 43"/>
                <a:gd name="T5" fmla="*/ 83097 h 58"/>
                <a:gd name="T6" fmla="*/ 58369 w 43"/>
                <a:gd name="T7" fmla="*/ 69877 h 58"/>
                <a:gd name="T8" fmla="*/ 67783 w 43"/>
                <a:gd name="T9" fmla="*/ 71766 h 58"/>
                <a:gd name="T10" fmla="*/ 79080 w 43"/>
                <a:gd name="T11" fmla="*/ 71766 h 58"/>
                <a:gd name="T12" fmla="*/ 79080 w 43"/>
                <a:gd name="T13" fmla="*/ 58546 h 58"/>
                <a:gd name="T14" fmla="*/ 69666 w 43"/>
                <a:gd name="T15" fmla="*/ 54769 h 58"/>
                <a:gd name="T16" fmla="*/ 67783 w 43"/>
                <a:gd name="T17" fmla="*/ 41549 h 58"/>
                <a:gd name="T18" fmla="*/ 60252 w 43"/>
                <a:gd name="T19" fmla="*/ 32106 h 58"/>
                <a:gd name="T20" fmla="*/ 58369 w 43"/>
                <a:gd name="T21" fmla="*/ 18886 h 58"/>
                <a:gd name="T22" fmla="*/ 45189 w 43"/>
                <a:gd name="T23" fmla="*/ 15109 h 58"/>
                <a:gd name="T24" fmla="*/ 39540 w 43"/>
                <a:gd name="T25" fmla="*/ 15109 h 58"/>
                <a:gd name="T26" fmla="*/ 20711 w 43"/>
                <a:gd name="T27" fmla="*/ 1889 h 58"/>
                <a:gd name="T28" fmla="*/ 9414 w 43"/>
                <a:gd name="T29" fmla="*/ 3777 h 58"/>
                <a:gd name="T30" fmla="*/ 1883 w 43"/>
                <a:gd name="T31" fmla="*/ 3777 h 58"/>
                <a:gd name="T32" fmla="*/ 0 w 43"/>
                <a:gd name="T33" fmla="*/ 13220 h 58"/>
                <a:gd name="T34" fmla="*/ 9414 w 43"/>
                <a:gd name="T35" fmla="*/ 16997 h 58"/>
                <a:gd name="T36" fmla="*/ 16946 w 43"/>
                <a:gd name="T37" fmla="*/ 35883 h 58"/>
                <a:gd name="T38" fmla="*/ 32009 w 43"/>
                <a:gd name="T39" fmla="*/ 52880 h 58"/>
                <a:gd name="T40" fmla="*/ 43306 w 43"/>
                <a:gd name="T41" fmla="*/ 69877 h 58"/>
                <a:gd name="T42" fmla="*/ 35774 w 43"/>
                <a:gd name="T43" fmla="*/ 86874 h 58"/>
                <a:gd name="T44" fmla="*/ 39540 w 43"/>
                <a:gd name="T45" fmla="*/ 109537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9" name="Freeform 97"/>
            <p:cNvSpPr>
              <a:spLocks noChangeAspect="1"/>
            </p:cNvSpPr>
            <p:nvPr/>
          </p:nvSpPr>
          <p:spPr bwMode="auto">
            <a:xfrm>
              <a:off x="4831476" y="1605475"/>
              <a:ext cx="411640" cy="216666"/>
            </a:xfrm>
            <a:custGeom>
              <a:avLst/>
              <a:gdLst>
                <a:gd name="T0" fmla="*/ 354606 w 214"/>
                <a:gd name="T1" fmla="*/ 179070 h 140"/>
                <a:gd name="T2" fmla="*/ 312664 w 214"/>
                <a:gd name="T3" fmla="*/ 194310 h 140"/>
                <a:gd name="T4" fmla="*/ 293599 w 214"/>
                <a:gd name="T5" fmla="*/ 205740 h 140"/>
                <a:gd name="T6" fmla="*/ 268815 w 214"/>
                <a:gd name="T7" fmla="*/ 203835 h 140"/>
                <a:gd name="T8" fmla="*/ 299318 w 214"/>
                <a:gd name="T9" fmla="*/ 230505 h 140"/>
                <a:gd name="T10" fmla="*/ 327916 w 214"/>
                <a:gd name="T11" fmla="*/ 234315 h 140"/>
                <a:gd name="T12" fmla="*/ 318383 w 214"/>
                <a:gd name="T13" fmla="*/ 249555 h 140"/>
                <a:gd name="T14" fmla="*/ 291692 w 214"/>
                <a:gd name="T15" fmla="*/ 255270 h 140"/>
                <a:gd name="T16" fmla="*/ 263095 w 214"/>
                <a:gd name="T17" fmla="*/ 241935 h 140"/>
                <a:gd name="T18" fmla="*/ 266908 w 214"/>
                <a:gd name="T19" fmla="*/ 213360 h 140"/>
                <a:gd name="T20" fmla="*/ 232591 w 214"/>
                <a:gd name="T21" fmla="*/ 207645 h 140"/>
                <a:gd name="T22" fmla="*/ 219246 w 214"/>
                <a:gd name="T23" fmla="*/ 198120 h 140"/>
                <a:gd name="T24" fmla="*/ 230685 w 214"/>
                <a:gd name="T25" fmla="*/ 198120 h 140"/>
                <a:gd name="T26" fmla="*/ 205900 w 214"/>
                <a:gd name="T27" fmla="*/ 188595 h 140"/>
                <a:gd name="T28" fmla="*/ 184929 w 214"/>
                <a:gd name="T29" fmla="*/ 201930 h 140"/>
                <a:gd name="T30" fmla="*/ 186836 w 214"/>
                <a:gd name="T31" fmla="*/ 213360 h 140"/>
                <a:gd name="T32" fmla="*/ 173490 w 214"/>
                <a:gd name="T33" fmla="*/ 222885 h 140"/>
                <a:gd name="T34" fmla="*/ 165864 w 214"/>
                <a:gd name="T35" fmla="*/ 236220 h 140"/>
                <a:gd name="T36" fmla="*/ 141080 w 214"/>
                <a:gd name="T37" fmla="*/ 240030 h 140"/>
                <a:gd name="T38" fmla="*/ 160145 w 214"/>
                <a:gd name="T39" fmla="*/ 200025 h 140"/>
                <a:gd name="T40" fmla="*/ 181116 w 214"/>
                <a:gd name="T41" fmla="*/ 188595 h 140"/>
                <a:gd name="T42" fmla="*/ 162051 w 214"/>
                <a:gd name="T43" fmla="*/ 161925 h 140"/>
                <a:gd name="T44" fmla="*/ 141080 w 214"/>
                <a:gd name="T45" fmla="*/ 144780 h 140"/>
                <a:gd name="T46" fmla="*/ 102950 w 214"/>
                <a:gd name="T47" fmla="*/ 133350 h 140"/>
                <a:gd name="T48" fmla="*/ 85792 w 214"/>
                <a:gd name="T49" fmla="*/ 146685 h 140"/>
                <a:gd name="T50" fmla="*/ 55288 w 214"/>
                <a:gd name="T51" fmla="*/ 150495 h 140"/>
                <a:gd name="T52" fmla="*/ 22878 w 214"/>
                <a:gd name="T53" fmla="*/ 142875 h 140"/>
                <a:gd name="T54" fmla="*/ 9532 w 214"/>
                <a:gd name="T55" fmla="*/ 144780 h 140"/>
                <a:gd name="T56" fmla="*/ 0 w 214"/>
                <a:gd name="T57" fmla="*/ 133350 h 140"/>
                <a:gd name="T58" fmla="*/ 5719 w 214"/>
                <a:gd name="T59" fmla="*/ 114300 h 140"/>
                <a:gd name="T60" fmla="*/ 15252 w 214"/>
                <a:gd name="T61" fmla="*/ 108585 h 140"/>
                <a:gd name="T62" fmla="*/ 9532 w 214"/>
                <a:gd name="T63" fmla="*/ 93345 h 140"/>
                <a:gd name="T64" fmla="*/ 38130 w 214"/>
                <a:gd name="T65" fmla="*/ 70485 h 140"/>
                <a:gd name="T66" fmla="*/ 40036 w 214"/>
                <a:gd name="T67" fmla="*/ 55245 h 140"/>
                <a:gd name="T68" fmla="*/ 41943 w 214"/>
                <a:gd name="T69" fmla="*/ 32385 h 140"/>
                <a:gd name="T70" fmla="*/ 78166 w 214"/>
                <a:gd name="T71" fmla="*/ 20955 h 140"/>
                <a:gd name="T72" fmla="*/ 116296 w 214"/>
                <a:gd name="T73" fmla="*/ 32385 h 140"/>
                <a:gd name="T74" fmla="*/ 142986 w 214"/>
                <a:gd name="T75" fmla="*/ 34290 h 140"/>
                <a:gd name="T76" fmla="*/ 171584 w 214"/>
                <a:gd name="T77" fmla="*/ 34290 h 140"/>
                <a:gd name="T78" fmla="*/ 192555 w 214"/>
                <a:gd name="T79" fmla="*/ 15240 h 140"/>
                <a:gd name="T80" fmla="*/ 224965 w 214"/>
                <a:gd name="T81" fmla="*/ 5715 h 140"/>
                <a:gd name="T82" fmla="*/ 265002 w 214"/>
                <a:gd name="T83" fmla="*/ 15240 h 140"/>
                <a:gd name="T84" fmla="*/ 266908 w 214"/>
                <a:gd name="T85" fmla="*/ 40005 h 140"/>
                <a:gd name="T86" fmla="*/ 318383 w 214"/>
                <a:gd name="T87" fmla="*/ 70485 h 140"/>
                <a:gd name="T88" fmla="*/ 350793 w 214"/>
                <a:gd name="T89" fmla="*/ 76200 h 140"/>
                <a:gd name="T90" fmla="*/ 387017 w 214"/>
                <a:gd name="T91" fmla="*/ 89535 h 140"/>
                <a:gd name="T92" fmla="*/ 406082 w 214"/>
                <a:gd name="T93" fmla="*/ 110490 h 140"/>
                <a:gd name="T94" fmla="*/ 396549 w 214"/>
                <a:gd name="T95" fmla="*/ 123825 h 140"/>
                <a:gd name="T96" fmla="*/ 404175 w 214"/>
                <a:gd name="T97" fmla="*/ 146685 h 140"/>
                <a:gd name="T98" fmla="*/ 367952 w 214"/>
                <a:gd name="T99" fmla="*/ 167640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0" name="Freeform 98"/>
            <p:cNvSpPr>
              <a:spLocks noChangeAspect="1"/>
            </p:cNvSpPr>
            <p:nvPr/>
          </p:nvSpPr>
          <p:spPr bwMode="auto">
            <a:xfrm>
              <a:off x="5385669" y="1521646"/>
              <a:ext cx="938603" cy="397221"/>
            </a:xfrm>
            <a:custGeom>
              <a:avLst/>
              <a:gdLst>
                <a:gd name="T0" fmla="*/ 918837 w 488"/>
                <a:gd name="T1" fmla="*/ 242565 h 256"/>
                <a:gd name="T2" fmla="*/ 895962 w 488"/>
                <a:gd name="T3" fmla="*/ 290314 h 256"/>
                <a:gd name="T4" fmla="*/ 838773 w 488"/>
                <a:gd name="T5" fmla="*/ 338063 h 256"/>
                <a:gd name="T6" fmla="*/ 808272 w 488"/>
                <a:gd name="T7" fmla="*/ 351433 h 256"/>
                <a:gd name="T8" fmla="*/ 793021 w 488"/>
                <a:gd name="T9" fmla="*/ 368622 h 256"/>
                <a:gd name="T10" fmla="*/ 800647 w 488"/>
                <a:gd name="T11" fmla="*/ 439291 h 256"/>
                <a:gd name="T12" fmla="*/ 773958 w 488"/>
                <a:gd name="T13" fmla="*/ 425921 h 256"/>
                <a:gd name="T14" fmla="*/ 705332 w 488"/>
                <a:gd name="T15" fmla="*/ 420191 h 256"/>
                <a:gd name="T16" fmla="*/ 650049 w 488"/>
                <a:gd name="T17" fmla="*/ 412551 h 256"/>
                <a:gd name="T18" fmla="*/ 606204 w 488"/>
                <a:gd name="T19" fmla="*/ 427831 h 256"/>
                <a:gd name="T20" fmla="*/ 568078 w 488"/>
                <a:gd name="T21" fmla="*/ 448841 h 256"/>
                <a:gd name="T22" fmla="*/ 524233 w 488"/>
                <a:gd name="T23" fmla="*/ 473670 h 256"/>
                <a:gd name="T24" fmla="*/ 480388 w 488"/>
                <a:gd name="T25" fmla="*/ 462210 h 256"/>
                <a:gd name="T26" fmla="*/ 468950 w 488"/>
                <a:gd name="T27" fmla="*/ 425921 h 256"/>
                <a:gd name="T28" fmla="*/ 430824 w 488"/>
                <a:gd name="T29" fmla="*/ 403002 h 256"/>
                <a:gd name="T30" fmla="*/ 291664 w 488"/>
                <a:gd name="T31" fmla="*/ 330423 h 256"/>
                <a:gd name="T32" fmla="*/ 234475 w 488"/>
                <a:gd name="T33" fmla="*/ 471760 h 256"/>
                <a:gd name="T34" fmla="*/ 192536 w 488"/>
                <a:gd name="T35" fmla="*/ 437381 h 256"/>
                <a:gd name="T36" fmla="*/ 156317 w 488"/>
                <a:gd name="T37" fmla="*/ 441201 h 256"/>
                <a:gd name="T38" fmla="*/ 137254 w 488"/>
                <a:gd name="T39" fmla="*/ 412551 h 256"/>
                <a:gd name="T40" fmla="*/ 101034 w 488"/>
                <a:gd name="T41" fmla="*/ 370532 h 256"/>
                <a:gd name="T42" fmla="*/ 116284 w 488"/>
                <a:gd name="T43" fmla="*/ 355253 h 256"/>
                <a:gd name="T44" fmla="*/ 156317 w 488"/>
                <a:gd name="T45" fmla="*/ 330423 h 256"/>
                <a:gd name="T46" fmla="*/ 141066 w 488"/>
                <a:gd name="T47" fmla="*/ 294134 h 256"/>
                <a:gd name="T48" fmla="*/ 66721 w 488"/>
                <a:gd name="T49" fmla="*/ 309414 h 256"/>
                <a:gd name="T50" fmla="*/ 61002 w 488"/>
                <a:gd name="T51" fmla="*/ 292224 h 256"/>
                <a:gd name="T52" fmla="*/ 17157 w 488"/>
                <a:gd name="T53" fmla="*/ 259755 h 256"/>
                <a:gd name="T54" fmla="*/ 13344 w 488"/>
                <a:gd name="T55" fmla="*/ 215826 h 256"/>
                <a:gd name="T56" fmla="*/ 17157 w 488"/>
                <a:gd name="T57" fmla="*/ 168077 h 256"/>
                <a:gd name="T58" fmla="*/ 49564 w 488"/>
                <a:gd name="T59" fmla="*/ 181446 h 256"/>
                <a:gd name="T60" fmla="*/ 61002 w 488"/>
                <a:gd name="T61" fmla="*/ 147067 h 256"/>
                <a:gd name="T62" fmla="*/ 101034 w 488"/>
                <a:gd name="T63" fmla="*/ 135607 h 256"/>
                <a:gd name="T64" fmla="*/ 146785 w 488"/>
                <a:gd name="T65" fmla="*/ 133697 h 256"/>
                <a:gd name="T66" fmla="*/ 183005 w 488"/>
                <a:gd name="T67" fmla="*/ 166167 h 256"/>
                <a:gd name="T68" fmla="*/ 234475 w 488"/>
                <a:gd name="T69" fmla="*/ 148977 h 256"/>
                <a:gd name="T70" fmla="*/ 268789 w 488"/>
                <a:gd name="T71" fmla="*/ 160437 h 256"/>
                <a:gd name="T72" fmla="*/ 331696 w 488"/>
                <a:gd name="T73" fmla="*/ 150887 h 256"/>
                <a:gd name="T74" fmla="*/ 316446 w 488"/>
                <a:gd name="T75" fmla="*/ 108868 h 256"/>
                <a:gd name="T76" fmla="*/ 329790 w 488"/>
                <a:gd name="T77" fmla="*/ 80218 h 256"/>
                <a:gd name="T78" fmla="*/ 312633 w 488"/>
                <a:gd name="T79" fmla="*/ 55389 h 256"/>
                <a:gd name="T80" fmla="*/ 407948 w 488"/>
                <a:gd name="T81" fmla="*/ 42019 h 256"/>
                <a:gd name="T82" fmla="*/ 472763 w 488"/>
                <a:gd name="T83" fmla="*/ 5730 h 256"/>
                <a:gd name="T84" fmla="*/ 535671 w 488"/>
                <a:gd name="T85" fmla="*/ 26739 h 256"/>
                <a:gd name="T86" fmla="*/ 556640 w 488"/>
                <a:gd name="T87" fmla="*/ 42019 h 256"/>
                <a:gd name="T88" fmla="*/ 577609 w 488"/>
                <a:gd name="T89" fmla="*/ 53479 h 256"/>
                <a:gd name="T90" fmla="*/ 598579 w 488"/>
                <a:gd name="T91" fmla="*/ 66849 h 256"/>
                <a:gd name="T92" fmla="*/ 667205 w 488"/>
                <a:gd name="T93" fmla="*/ 40109 h 256"/>
                <a:gd name="T94" fmla="*/ 758708 w 488"/>
                <a:gd name="T95" fmla="*/ 160437 h 256"/>
                <a:gd name="T96" fmla="*/ 783490 w 488"/>
                <a:gd name="T97" fmla="*/ 154707 h 256"/>
                <a:gd name="T98" fmla="*/ 817803 w 488"/>
                <a:gd name="T99" fmla="*/ 164257 h 256"/>
                <a:gd name="T100" fmla="*/ 874992 w 488"/>
                <a:gd name="T101" fmla="*/ 183356 h 256"/>
                <a:gd name="T102" fmla="*/ 913118 w 488"/>
                <a:gd name="T103" fmla="*/ 192906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1" name="Freeform 99"/>
            <p:cNvSpPr>
              <a:spLocks noChangeAspect="1"/>
            </p:cNvSpPr>
            <p:nvPr/>
          </p:nvSpPr>
          <p:spPr bwMode="auto">
            <a:xfrm>
              <a:off x="4932386" y="1880176"/>
              <a:ext cx="445276" cy="161210"/>
            </a:xfrm>
            <a:custGeom>
              <a:avLst/>
              <a:gdLst>
                <a:gd name="T0" fmla="*/ 245392 w 232"/>
                <a:gd name="T1" fmla="*/ 196530 h 104"/>
                <a:gd name="T2" fmla="*/ 254903 w 232"/>
                <a:gd name="T3" fmla="*/ 173633 h 104"/>
                <a:gd name="T4" fmla="*/ 292949 w 232"/>
                <a:gd name="T5" fmla="*/ 171725 h 104"/>
                <a:gd name="T6" fmla="*/ 336701 w 232"/>
                <a:gd name="T7" fmla="*/ 167909 h 104"/>
                <a:gd name="T8" fmla="*/ 380453 w 232"/>
                <a:gd name="T9" fmla="*/ 154553 h 104"/>
                <a:gd name="T10" fmla="*/ 395671 w 232"/>
                <a:gd name="T11" fmla="*/ 150737 h 104"/>
                <a:gd name="T12" fmla="*/ 418498 w 232"/>
                <a:gd name="T13" fmla="*/ 160277 h 104"/>
                <a:gd name="T14" fmla="*/ 429911 w 232"/>
                <a:gd name="T15" fmla="*/ 164093 h 104"/>
                <a:gd name="T16" fmla="*/ 439423 w 232"/>
                <a:gd name="T17" fmla="*/ 148829 h 104"/>
                <a:gd name="T18" fmla="*/ 428009 w 232"/>
                <a:gd name="T19" fmla="*/ 127840 h 104"/>
                <a:gd name="T20" fmla="*/ 420400 w 232"/>
                <a:gd name="T21" fmla="*/ 91587 h 104"/>
                <a:gd name="T22" fmla="*/ 428009 w 232"/>
                <a:gd name="T23" fmla="*/ 70598 h 104"/>
                <a:gd name="T24" fmla="*/ 407084 w 232"/>
                <a:gd name="T25" fmla="*/ 61058 h 104"/>
                <a:gd name="T26" fmla="*/ 403280 w 232"/>
                <a:gd name="T27" fmla="*/ 34345 h 104"/>
                <a:gd name="T28" fmla="*/ 380453 w 232"/>
                <a:gd name="T29" fmla="*/ 22897 h 104"/>
                <a:gd name="T30" fmla="*/ 357625 w 232"/>
                <a:gd name="T31" fmla="*/ 26713 h 104"/>
                <a:gd name="T32" fmla="*/ 342407 w 232"/>
                <a:gd name="T33" fmla="*/ 34345 h 104"/>
                <a:gd name="T34" fmla="*/ 310069 w 232"/>
                <a:gd name="T35" fmla="*/ 38161 h 104"/>
                <a:gd name="T36" fmla="*/ 291046 w 232"/>
                <a:gd name="T37" fmla="*/ 41977 h 104"/>
                <a:gd name="T38" fmla="*/ 264415 w 232"/>
                <a:gd name="T39" fmla="*/ 34345 h 104"/>
                <a:gd name="T40" fmla="*/ 245392 w 232"/>
                <a:gd name="T41" fmla="*/ 28621 h 104"/>
                <a:gd name="T42" fmla="*/ 232076 w 232"/>
                <a:gd name="T43" fmla="*/ 30529 h 104"/>
                <a:gd name="T44" fmla="*/ 218760 w 232"/>
                <a:gd name="T45" fmla="*/ 19081 h 104"/>
                <a:gd name="T46" fmla="*/ 209249 w 232"/>
                <a:gd name="T47" fmla="*/ 3816 h 104"/>
                <a:gd name="T48" fmla="*/ 195933 w 232"/>
                <a:gd name="T49" fmla="*/ 7632 h 104"/>
                <a:gd name="T50" fmla="*/ 165497 w 232"/>
                <a:gd name="T51" fmla="*/ 5724 h 104"/>
                <a:gd name="T52" fmla="*/ 125549 w 232"/>
                <a:gd name="T53" fmla="*/ 28621 h 104"/>
                <a:gd name="T54" fmla="*/ 100820 w 232"/>
                <a:gd name="T55" fmla="*/ 34345 h 104"/>
                <a:gd name="T56" fmla="*/ 81797 w 232"/>
                <a:gd name="T57" fmla="*/ 28621 h 104"/>
                <a:gd name="T58" fmla="*/ 64677 w 232"/>
                <a:gd name="T59" fmla="*/ 36253 h 104"/>
                <a:gd name="T60" fmla="*/ 91309 w 232"/>
                <a:gd name="T61" fmla="*/ 43885 h 104"/>
                <a:gd name="T62" fmla="*/ 74188 w 232"/>
                <a:gd name="T63" fmla="*/ 47701 h 104"/>
                <a:gd name="T64" fmla="*/ 72286 w 232"/>
                <a:gd name="T65" fmla="*/ 53426 h 104"/>
                <a:gd name="T66" fmla="*/ 83700 w 232"/>
                <a:gd name="T67" fmla="*/ 57242 h 104"/>
                <a:gd name="T68" fmla="*/ 68481 w 232"/>
                <a:gd name="T69" fmla="*/ 62966 h 104"/>
                <a:gd name="T70" fmla="*/ 60872 w 232"/>
                <a:gd name="T71" fmla="*/ 57242 h 104"/>
                <a:gd name="T72" fmla="*/ 51361 w 232"/>
                <a:gd name="T73" fmla="*/ 64874 h 104"/>
                <a:gd name="T74" fmla="*/ 45654 w 232"/>
                <a:gd name="T75" fmla="*/ 61058 h 104"/>
                <a:gd name="T76" fmla="*/ 39948 w 232"/>
                <a:gd name="T77" fmla="*/ 59150 h 104"/>
                <a:gd name="T78" fmla="*/ 17120 w 232"/>
                <a:gd name="T79" fmla="*/ 61058 h 104"/>
                <a:gd name="T80" fmla="*/ 3805 w 232"/>
                <a:gd name="T81" fmla="*/ 83955 h 104"/>
                <a:gd name="T82" fmla="*/ 17120 w 232"/>
                <a:gd name="T83" fmla="*/ 91587 h 104"/>
                <a:gd name="T84" fmla="*/ 19023 w 232"/>
                <a:gd name="T85" fmla="*/ 103035 h 104"/>
                <a:gd name="T86" fmla="*/ 19023 w 232"/>
                <a:gd name="T87" fmla="*/ 110667 h 104"/>
                <a:gd name="T88" fmla="*/ 17120 w 232"/>
                <a:gd name="T89" fmla="*/ 120208 h 104"/>
                <a:gd name="T90" fmla="*/ 11414 w 232"/>
                <a:gd name="T91" fmla="*/ 125932 h 104"/>
                <a:gd name="T92" fmla="*/ 32338 w 232"/>
                <a:gd name="T93" fmla="*/ 133564 h 104"/>
                <a:gd name="T94" fmla="*/ 39948 w 232"/>
                <a:gd name="T95" fmla="*/ 156461 h 104"/>
                <a:gd name="T96" fmla="*/ 53263 w 232"/>
                <a:gd name="T97" fmla="*/ 166001 h 104"/>
                <a:gd name="T98" fmla="*/ 51361 w 232"/>
                <a:gd name="T99" fmla="*/ 173633 h 104"/>
                <a:gd name="T100" fmla="*/ 58970 w 232"/>
                <a:gd name="T101" fmla="*/ 173633 h 104"/>
                <a:gd name="T102" fmla="*/ 76091 w 232"/>
                <a:gd name="T103" fmla="*/ 175541 h 104"/>
                <a:gd name="T104" fmla="*/ 108429 w 232"/>
                <a:gd name="T105" fmla="*/ 185082 h 104"/>
                <a:gd name="T106" fmla="*/ 116038 w 232"/>
                <a:gd name="T107" fmla="*/ 167909 h 104"/>
                <a:gd name="T108" fmla="*/ 154083 w 232"/>
                <a:gd name="T109" fmla="*/ 188898 h 104"/>
                <a:gd name="T110" fmla="*/ 192129 w 232"/>
                <a:gd name="T111" fmla="*/ 185082 h 104"/>
                <a:gd name="T112" fmla="*/ 222565 w 232"/>
                <a:gd name="T113" fmla="*/ 179357 h 104"/>
                <a:gd name="T114" fmla="*/ 239685 w 232"/>
                <a:gd name="T115" fmla="*/ 167909 h 104"/>
                <a:gd name="T116" fmla="*/ 235881 w 232"/>
                <a:gd name="T117" fmla="*/ 186990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2" name="Freeform 100"/>
            <p:cNvSpPr>
              <a:spLocks noChangeAspect="1"/>
            </p:cNvSpPr>
            <p:nvPr/>
          </p:nvSpPr>
          <p:spPr bwMode="auto">
            <a:xfrm>
              <a:off x="4913164" y="2141982"/>
              <a:ext cx="275494" cy="242460"/>
            </a:xfrm>
            <a:custGeom>
              <a:avLst/>
              <a:gdLst>
                <a:gd name="T0" fmla="*/ 265465 w 144"/>
                <a:gd name="T1" fmla="*/ 254728 h 157"/>
                <a:gd name="T2" fmla="*/ 261673 w 144"/>
                <a:gd name="T3" fmla="*/ 233817 h 157"/>
                <a:gd name="T4" fmla="*/ 271154 w 144"/>
                <a:gd name="T5" fmla="*/ 233817 h 157"/>
                <a:gd name="T6" fmla="*/ 255984 w 144"/>
                <a:gd name="T7" fmla="*/ 214808 h 157"/>
                <a:gd name="T8" fmla="*/ 238919 w 144"/>
                <a:gd name="T9" fmla="*/ 188195 h 157"/>
                <a:gd name="T10" fmla="*/ 223749 w 144"/>
                <a:gd name="T11" fmla="*/ 157779 h 157"/>
                <a:gd name="T12" fmla="*/ 216165 w 144"/>
                <a:gd name="T13" fmla="*/ 133067 h 157"/>
                <a:gd name="T14" fmla="*/ 208580 w 144"/>
                <a:gd name="T15" fmla="*/ 114057 h 157"/>
                <a:gd name="T16" fmla="*/ 189618 w 144"/>
                <a:gd name="T17" fmla="*/ 93147 h 157"/>
                <a:gd name="T18" fmla="*/ 180137 w 144"/>
                <a:gd name="T19" fmla="*/ 68434 h 157"/>
                <a:gd name="T20" fmla="*/ 182033 w 144"/>
                <a:gd name="T21" fmla="*/ 49425 h 157"/>
                <a:gd name="T22" fmla="*/ 174449 w 144"/>
                <a:gd name="T23" fmla="*/ 36118 h 157"/>
                <a:gd name="T24" fmla="*/ 176345 w 144"/>
                <a:gd name="T25" fmla="*/ 19010 h 157"/>
                <a:gd name="T26" fmla="*/ 164968 w 144"/>
                <a:gd name="T27" fmla="*/ 15208 h 157"/>
                <a:gd name="T28" fmla="*/ 151694 w 144"/>
                <a:gd name="T29" fmla="*/ 9505 h 157"/>
                <a:gd name="T30" fmla="*/ 144110 w 144"/>
                <a:gd name="T31" fmla="*/ 11406 h 157"/>
                <a:gd name="T32" fmla="*/ 132733 w 144"/>
                <a:gd name="T33" fmla="*/ 11406 h 157"/>
                <a:gd name="T34" fmla="*/ 123252 w 144"/>
                <a:gd name="T35" fmla="*/ 19010 h 157"/>
                <a:gd name="T36" fmla="*/ 106186 w 144"/>
                <a:gd name="T37" fmla="*/ 28514 h 157"/>
                <a:gd name="T38" fmla="*/ 89120 w 144"/>
                <a:gd name="T39" fmla="*/ 19010 h 157"/>
                <a:gd name="T40" fmla="*/ 73951 w 144"/>
                <a:gd name="T41" fmla="*/ 15208 h 157"/>
                <a:gd name="T42" fmla="*/ 58782 w 144"/>
                <a:gd name="T43" fmla="*/ 9505 h 157"/>
                <a:gd name="T44" fmla="*/ 37924 w 144"/>
                <a:gd name="T45" fmla="*/ 3802 h 157"/>
                <a:gd name="T46" fmla="*/ 20858 w 144"/>
                <a:gd name="T47" fmla="*/ 3802 h 157"/>
                <a:gd name="T48" fmla="*/ 11377 w 144"/>
                <a:gd name="T49" fmla="*/ 0 h 157"/>
                <a:gd name="T50" fmla="*/ 5689 w 144"/>
                <a:gd name="T51" fmla="*/ 9505 h 157"/>
                <a:gd name="T52" fmla="*/ 5689 w 144"/>
                <a:gd name="T53" fmla="*/ 30415 h 157"/>
                <a:gd name="T54" fmla="*/ 0 w 144"/>
                <a:gd name="T55" fmla="*/ 45623 h 157"/>
                <a:gd name="T56" fmla="*/ 7585 w 144"/>
                <a:gd name="T57" fmla="*/ 76038 h 157"/>
                <a:gd name="T58" fmla="*/ 13273 w 144"/>
                <a:gd name="T59" fmla="*/ 285143 h 157"/>
                <a:gd name="T60" fmla="*/ 210476 w 144"/>
                <a:gd name="T61" fmla="*/ 285143 h 157"/>
                <a:gd name="T62" fmla="*/ 218061 w 144"/>
                <a:gd name="T63" fmla="*/ 296549 h 157"/>
                <a:gd name="T64" fmla="*/ 229438 w 144"/>
                <a:gd name="T65" fmla="*/ 290846 h 157"/>
                <a:gd name="T66" fmla="*/ 231334 w 144"/>
                <a:gd name="T67" fmla="*/ 279440 h 157"/>
                <a:gd name="T68" fmla="*/ 240815 w 144"/>
                <a:gd name="T69" fmla="*/ 275639 h 157"/>
                <a:gd name="T70" fmla="*/ 244607 w 144"/>
                <a:gd name="T71" fmla="*/ 266134 h 157"/>
                <a:gd name="T72" fmla="*/ 255984 w 144"/>
                <a:gd name="T73" fmla="*/ 266134 h 157"/>
                <a:gd name="T74" fmla="*/ 265465 w 144"/>
                <a:gd name="T75" fmla="*/ 254728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3" name="Freeform 101"/>
            <p:cNvSpPr>
              <a:spLocks noChangeAspect="1"/>
            </p:cNvSpPr>
            <p:nvPr/>
          </p:nvSpPr>
          <p:spPr bwMode="auto">
            <a:xfrm>
              <a:off x="5137404" y="2105871"/>
              <a:ext cx="35238" cy="90278"/>
            </a:xfrm>
            <a:custGeom>
              <a:avLst/>
              <a:gdLst>
                <a:gd name="T0" fmla="*/ 0 w 18"/>
                <a:gd name="T1" fmla="*/ 63226 h 58"/>
                <a:gd name="T2" fmla="*/ 21343 w 18"/>
                <a:gd name="T3" fmla="*/ 111125 h 58"/>
                <a:gd name="T4" fmla="*/ 21343 w 18"/>
                <a:gd name="T5" fmla="*/ 95797 h 58"/>
                <a:gd name="T6" fmla="*/ 25224 w 18"/>
                <a:gd name="T7" fmla="*/ 72806 h 58"/>
                <a:gd name="T8" fmla="*/ 27164 w 18"/>
                <a:gd name="T9" fmla="*/ 61310 h 58"/>
                <a:gd name="T10" fmla="*/ 21343 w 18"/>
                <a:gd name="T11" fmla="*/ 61310 h 58"/>
                <a:gd name="T12" fmla="*/ 19403 w 18"/>
                <a:gd name="T13" fmla="*/ 55563 h 58"/>
                <a:gd name="T14" fmla="*/ 21343 w 18"/>
                <a:gd name="T15" fmla="*/ 44067 h 58"/>
                <a:gd name="T16" fmla="*/ 19403 w 18"/>
                <a:gd name="T17" fmla="*/ 34487 h 58"/>
                <a:gd name="T18" fmla="*/ 23283 w 18"/>
                <a:gd name="T19" fmla="*/ 26823 h 58"/>
                <a:gd name="T20" fmla="*/ 31044 w 18"/>
                <a:gd name="T21" fmla="*/ 22991 h 58"/>
                <a:gd name="T22" fmla="*/ 32985 w 18"/>
                <a:gd name="T23" fmla="*/ 13412 h 58"/>
                <a:gd name="T24" fmla="*/ 34925 w 18"/>
                <a:gd name="T25" fmla="*/ 0 h 58"/>
                <a:gd name="T26" fmla="*/ 29104 w 18"/>
                <a:gd name="T27" fmla="*/ 1916 h 58"/>
                <a:gd name="T28" fmla="*/ 23283 w 18"/>
                <a:gd name="T29" fmla="*/ 3832 h 58"/>
                <a:gd name="T30" fmla="*/ 19403 w 18"/>
                <a:gd name="T31" fmla="*/ 15328 h 58"/>
                <a:gd name="T32" fmla="*/ 15522 w 18"/>
                <a:gd name="T33" fmla="*/ 28739 h 58"/>
                <a:gd name="T34" fmla="*/ 11642 w 18"/>
                <a:gd name="T35" fmla="*/ 45983 h 58"/>
                <a:gd name="T36" fmla="*/ 7761 w 18"/>
                <a:gd name="T37" fmla="*/ 55563 h 58"/>
                <a:gd name="T38" fmla="*/ 0 w 18"/>
                <a:gd name="T39" fmla="*/ 63226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4" name="Freeform 102"/>
            <p:cNvSpPr>
              <a:spLocks noChangeAspect="1"/>
            </p:cNvSpPr>
            <p:nvPr/>
          </p:nvSpPr>
          <p:spPr bwMode="auto">
            <a:xfrm>
              <a:off x="5156625" y="2123926"/>
              <a:ext cx="11212" cy="33532"/>
            </a:xfrm>
            <a:custGeom>
              <a:avLst/>
              <a:gdLst>
                <a:gd name="T0" fmla="*/ 7408 w 6"/>
                <a:gd name="T1" fmla="*/ 39310 h 21"/>
                <a:gd name="T2" fmla="*/ 9260 w 6"/>
                <a:gd name="T3" fmla="*/ 15724 h 21"/>
                <a:gd name="T4" fmla="*/ 11112 w 6"/>
                <a:gd name="T5" fmla="*/ 0 h 21"/>
                <a:gd name="T6" fmla="*/ 3704 w 6"/>
                <a:gd name="T7" fmla="*/ 3931 h 21"/>
                <a:gd name="T8" fmla="*/ 0 w 6"/>
                <a:gd name="T9" fmla="*/ 11793 h 21"/>
                <a:gd name="T10" fmla="*/ 1852 w 6"/>
                <a:gd name="T11" fmla="*/ 21620 h 21"/>
                <a:gd name="T12" fmla="*/ 0 w 6"/>
                <a:gd name="T13" fmla="*/ 33413 h 21"/>
                <a:gd name="T14" fmla="*/ 1852 w 6"/>
                <a:gd name="T15" fmla="*/ 39310 h 21"/>
                <a:gd name="T16" fmla="*/ 7408 w 6"/>
                <a:gd name="T17" fmla="*/ 3931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5" name="Freeform 103"/>
            <p:cNvSpPr>
              <a:spLocks noChangeAspect="1"/>
            </p:cNvSpPr>
            <p:nvPr/>
          </p:nvSpPr>
          <p:spPr bwMode="auto">
            <a:xfrm>
              <a:off x="5167836" y="2005276"/>
              <a:ext cx="153765" cy="128968"/>
            </a:xfrm>
            <a:custGeom>
              <a:avLst/>
              <a:gdLst>
                <a:gd name="T0" fmla="*/ 3810 w 80"/>
                <a:gd name="T1" fmla="*/ 124322 h 83"/>
                <a:gd name="T2" fmla="*/ 7620 w 80"/>
                <a:gd name="T3" fmla="*/ 124322 h 83"/>
                <a:gd name="T4" fmla="*/ 11430 w 80"/>
                <a:gd name="T5" fmla="*/ 110934 h 83"/>
                <a:gd name="T6" fmla="*/ 20955 w 80"/>
                <a:gd name="T7" fmla="*/ 110934 h 83"/>
                <a:gd name="T8" fmla="*/ 26670 w 80"/>
                <a:gd name="T9" fmla="*/ 99458 h 83"/>
                <a:gd name="T10" fmla="*/ 19050 w 80"/>
                <a:gd name="T11" fmla="*/ 86069 h 83"/>
                <a:gd name="T12" fmla="*/ 9525 w 80"/>
                <a:gd name="T13" fmla="*/ 84157 h 83"/>
                <a:gd name="T14" fmla="*/ 7620 w 80"/>
                <a:gd name="T15" fmla="*/ 66943 h 83"/>
                <a:gd name="T16" fmla="*/ 9525 w 80"/>
                <a:gd name="T17" fmla="*/ 57380 h 83"/>
                <a:gd name="T18" fmla="*/ 3810 w 80"/>
                <a:gd name="T19" fmla="*/ 53554 h 83"/>
                <a:gd name="T20" fmla="*/ 3810 w 80"/>
                <a:gd name="T21" fmla="*/ 43991 h 83"/>
                <a:gd name="T22" fmla="*/ 11430 w 80"/>
                <a:gd name="T23" fmla="*/ 42078 h 83"/>
                <a:gd name="T24" fmla="*/ 20955 w 80"/>
                <a:gd name="T25" fmla="*/ 30602 h 83"/>
                <a:gd name="T26" fmla="*/ 20955 w 80"/>
                <a:gd name="T27" fmla="*/ 19127 h 83"/>
                <a:gd name="T28" fmla="*/ 40005 w 80"/>
                <a:gd name="T29" fmla="*/ 24864 h 83"/>
                <a:gd name="T30" fmla="*/ 59055 w 80"/>
                <a:gd name="T31" fmla="*/ 17214 h 83"/>
                <a:gd name="T32" fmla="*/ 78105 w 80"/>
                <a:gd name="T33" fmla="*/ 24864 h 83"/>
                <a:gd name="T34" fmla="*/ 102870 w 80"/>
                <a:gd name="T35" fmla="*/ 13389 h 83"/>
                <a:gd name="T36" fmla="*/ 131445 w 80"/>
                <a:gd name="T37" fmla="*/ 3825 h 83"/>
                <a:gd name="T38" fmla="*/ 146685 w 80"/>
                <a:gd name="T39" fmla="*/ 0 h 83"/>
                <a:gd name="T40" fmla="*/ 152400 w 80"/>
                <a:gd name="T41" fmla="*/ 3825 h 83"/>
                <a:gd name="T42" fmla="*/ 144780 w 80"/>
                <a:gd name="T43" fmla="*/ 17214 h 83"/>
                <a:gd name="T44" fmla="*/ 131445 w 80"/>
                <a:gd name="T45" fmla="*/ 24864 h 83"/>
                <a:gd name="T46" fmla="*/ 125730 w 80"/>
                <a:gd name="T47" fmla="*/ 34428 h 83"/>
                <a:gd name="T48" fmla="*/ 129540 w 80"/>
                <a:gd name="T49" fmla="*/ 51642 h 83"/>
                <a:gd name="T50" fmla="*/ 127635 w 80"/>
                <a:gd name="T51" fmla="*/ 63117 h 83"/>
                <a:gd name="T52" fmla="*/ 123825 w 80"/>
                <a:gd name="T53" fmla="*/ 82244 h 83"/>
                <a:gd name="T54" fmla="*/ 108585 w 80"/>
                <a:gd name="T55" fmla="*/ 91807 h 83"/>
                <a:gd name="T56" fmla="*/ 104775 w 80"/>
                <a:gd name="T57" fmla="*/ 99458 h 83"/>
                <a:gd name="T58" fmla="*/ 80010 w 80"/>
                <a:gd name="T59" fmla="*/ 118584 h 83"/>
                <a:gd name="T60" fmla="*/ 30480 w 80"/>
                <a:gd name="T61" fmla="*/ 153012 h 83"/>
                <a:gd name="T62" fmla="*/ 24765 w 80"/>
                <a:gd name="T63" fmla="*/ 158750 h 83"/>
                <a:gd name="T64" fmla="*/ 24765 w 80"/>
                <a:gd name="T65" fmla="*/ 153012 h 83"/>
                <a:gd name="T66" fmla="*/ 0 w 80"/>
                <a:gd name="T67" fmla="*/ 147274 h 83"/>
                <a:gd name="T68" fmla="*/ 1905 w 80"/>
                <a:gd name="T69" fmla="*/ 137711 h 83"/>
                <a:gd name="T70" fmla="*/ 3810 w 80"/>
                <a:gd name="T71" fmla="*/ 124322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6" name="Freeform 104"/>
            <p:cNvSpPr>
              <a:spLocks noChangeAspect="1"/>
            </p:cNvSpPr>
            <p:nvPr/>
          </p:nvSpPr>
          <p:spPr bwMode="auto">
            <a:xfrm>
              <a:off x="5159829" y="2073629"/>
              <a:ext cx="35238" cy="34822"/>
            </a:xfrm>
            <a:custGeom>
              <a:avLst/>
              <a:gdLst>
                <a:gd name="T0" fmla="*/ 0 w 18"/>
                <a:gd name="T1" fmla="*/ 42863 h 23"/>
                <a:gd name="T2" fmla="*/ 1940 w 18"/>
                <a:gd name="T3" fmla="*/ 27954 h 23"/>
                <a:gd name="T4" fmla="*/ 11642 w 18"/>
                <a:gd name="T5" fmla="*/ 13045 h 23"/>
                <a:gd name="T6" fmla="*/ 17463 w 18"/>
                <a:gd name="T7" fmla="*/ 0 h 23"/>
                <a:gd name="T8" fmla="*/ 27164 w 18"/>
                <a:gd name="T9" fmla="*/ 1864 h 23"/>
                <a:gd name="T10" fmla="*/ 34925 w 18"/>
                <a:gd name="T11" fmla="*/ 14909 h 23"/>
                <a:gd name="T12" fmla="*/ 29104 w 18"/>
                <a:gd name="T13" fmla="*/ 26091 h 23"/>
                <a:gd name="T14" fmla="*/ 19403 w 18"/>
                <a:gd name="T15" fmla="*/ 26091 h 23"/>
                <a:gd name="T16" fmla="*/ 15522 w 18"/>
                <a:gd name="T17" fmla="*/ 39136 h 23"/>
                <a:gd name="T18" fmla="*/ 11642 w 18"/>
                <a:gd name="T19" fmla="*/ 39136 h 23"/>
                <a:gd name="T20" fmla="*/ 5821 w 18"/>
                <a:gd name="T21" fmla="*/ 40999 h 23"/>
                <a:gd name="T22" fmla="*/ 0 w 18"/>
                <a:gd name="T23" fmla="*/ 4286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7" name="Freeform 105"/>
            <p:cNvSpPr>
              <a:spLocks noChangeAspect="1"/>
            </p:cNvSpPr>
            <p:nvPr/>
          </p:nvSpPr>
          <p:spPr bwMode="auto">
            <a:xfrm>
              <a:off x="5150217" y="2129085"/>
              <a:ext cx="514149" cy="374007"/>
            </a:xfrm>
            <a:custGeom>
              <a:avLst/>
              <a:gdLst>
                <a:gd name="T0" fmla="*/ 395073 w 267"/>
                <a:gd name="T1" fmla="*/ 230188 h 242"/>
                <a:gd name="T2" fmla="*/ 385530 w 267"/>
                <a:gd name="T3" fmla="*/ 209261 h 242"/>
                <a:gd name="T4" fmla="*/ 368353 w 267"/>
                <a:gd name="T5" fmla="*/ 186433 h 242"/>
                <a:gd name="T6" fmla="*/ 370262 w 267"/>
                <a:gd name="T7" fmla="*/ 163604 h 242"/>
                <a:gd name="T8" fmla="*/ 349267 w 267"/>
                <a:gd name="T9" fmla="*/ 144581 h 242"/>
                <a:gd name="T10" fmla="*/ 339725 w 267"/>
                <a:gd name="T11" fmla="*/ 133166 h 242"/>
                <a:gd name="T12" fmla="*/ 309188 w 267"/>
                <a:gd name="T13" fmla="*/ 114143 h 242"/>
                <a:gd name="T14" fmla="*/ 278651 w 267"/>
                <a:gd name="T15" fmla="*/ 93216 h 242"/>
                <a:gd name="T16" fmla="*/ 179405 w 267"/>
                <a:gd name="T17" fmla="*/ 38048 h 242"/>
                <a:gd name="T18" fmla="*/ 141234 w 267"/>
                <a:gd name="T19" fmla="*/ 11414 h 242"/>
                <a:gd name="T20" fmla="*/ 99245 w 267"/>
                <a:gd name="T21" fmla="*/ 9512 h 242"/>
                <a:gd name="T22" fmla="*/ 55348 w 267"/>
                <a:gd name="T23" fmla="*/ 24731 h 242"/>
                <a:gd name="T24" fmla="*/ 68708 w 267"/>
                <a:gd name="T25" fmla="*/ 58974 h 242"/>
                <a:gd name="T26" fmla="*/ 43897 w 267"/>
                <a:gd name="T27" fmla="*/ 74193 h 242"/>
                <a:gd name="T28" fmla="*/ 7634 w 267"/>
                <a:gd name="T29" fmla="*/ 89412 h 242"/>
                <a:gd name="T30" fmla="*/ 1909 w 267"/>
                <a:gd name="T31" fmla="*/ 125557 h 242"/>
                <a:gd name="T32" fmla="*/ 20994 w 267"/>
                <a:gd name="T33" fmla="*/ 125557 h 242"/>
                <a:gd name="T34" fmla="*/ 49623 w 267"/>
                <a:gd name="T35" fmla="*/ 180726 h 242"/>
                <a:gd name="T36" fmla="*/ 70617 w 267"/>
                <a:gd name="T37" fmla="*/ 209261 h 242"/>
                <a:gd name="T38" fmla="*/ 82068 w 267"/>
                <a:gd name="T39" fmla="*/ 235895 h 242"/>
                <a:gd name="T40" fmla="*/ 104971 w 267"/>
                <a:gd name="T41" fmla="*/ 262528 h 242"/>
                <a:gd name="T42" fmla="*/ 112605 w 267"/>
                <a:gd name="T43" fmla="*/ 302478 h 242"/>
                <a:gd name="T44" fmla="*/ 127874 w 267"/>
                <a:gd name="T45" fmla="*/ 344330 h 242"/>
                <a:gd name="T46" fmla="*/ 152685 w 267"/>
                <a:gd name="T47" fmla="*/ 367159 h 242"/>
                <a:gd name="T48" fmla="*/ 169862 w 267"/>
                <a:gd name="T49" fmla="*/ 395694 h 242"/>
                <a:gd name="T50" fmla="*/ 190857 w 267"/>
                <a:gd name="T51" fmla="*/ 437546 h 242"/>
                <a:gd name="T52" fmla="*/ 200399 w 267"/>
                <a:gd name="T53" fmla="*/ 445156 h 242"/>
                <a:gd name="T54" fmla="*/ 215668 w 267"/>
                <a:gd name="T55" fmla="*/ 450863 h 242"/>
                <a:gd name="T56" fmla="*/ 221394 w 267"/>
                <a:gd name="T57" fmla="*/ 429937 h 242"/>
                <a:gd name="T58" fmla="*/ 295828 w 267"/>
                <a:gd name="T59" fmla="*/ 429937 h 242"/>
                <a:gd name="T60" fmla="*/ 322548 w 267"/>
                <a:gd name="T61" fmla="*/ 437546 h 242"/>
                <a:gd name="T62" fmla="*/ 423701 w 267"/>
                <a:gd name="T63" fmla="*/ 384280 h 242"/>
                <a:gd name="T64" fmla="*/ 509587 w 267"/>
                <a:gd name="T65" fmla="*/ 300575 h 242"/>
                <a:gd name="T66" fmla="*/ 490501 w 267"/>
                <a:gd name="T67" fmla="*/ 285356 h 242"/>
                <a:gd name="T68" fmla="*/ 408433 w 267"/>
                <a:gd name="T69" fmla="*/ 247309 h 242"/>
                <a:gd name="T70" fmla="*/ 410342 w 267"/>
                <a:gd name="T71" fmla="*/ 235895 h 242"/>
                <a:gd name="T72" fmla="*/ 408433 w 267"/>
                <a:gd name="T73" fmla="*/ 230188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8" name="Freeform 106"/>
            <p:cNvSpPr>
              <a:spLocks noChangeAspect="1"/>
            </p:cNvSpPr>
            <p:nvPr/>
          </p:nvSpPr>
          <p:spPr bwMode="auto">
            <a:xfrm>
              <a:off x="5158226" y="2100712"/>
              <a:ext cx="104112" cy="104464"/>
            </a:xfrm>
            <a:custGeom>
              <a:avLst/>
              <a:gdLst>
                <a:gd name="T0" fmla="*/ 0 w 54"/>
                <a:gd name="T1" fmla="*/ 124749 h 67"/>
                <a:gd name="T2" fmla="*/ 0 w 54"/>
                <a:gd name="T3" fmla="*/ 120910 h 67"/>
                <a:gd name="T4" fmla="*/ 0 w 54"/>
                <a:gd name="T5" fmla="*/ 117072 h 67"/>
                <a:gd name="T6" fmla="*/ 0 w 54"/>
                <a:gd name="T7" fmla="*/ 101718 h 67"/>
                <a:gd name="T8" fmla="*/ 3822 w 54"/>
                <a:gd name="T9" fmla="*/ 78688 h 67"/>
                <a:gd name="T10" fmla="*/ 5733 w 54"/>
                <a:gd name="T11" fmla="*/ 67172 h 67"/>
                <a:gd name="T12" fmla="*/ 7644 w 54"/>
                <a:gd name="T13" fmla="*/ 44142 h 67"/>
                <a:gd name="T14" fmla="*/ 9554 w 54"/>
                <a:gd name="T15" fmla="*/ 28788 h 67"/>
                <a:gd name="T16" fmla="*/ 34396 w 54"/>
                <a:gd name="T17" fmla="*/ 34546 h 67"/>
                <a:gd name="T18" fmla="*/ 34396 w 54"/>
                <a:gd name="T19" fmla="*/ 40303 h 67"/>
                <a:gd name="T20" fmla="*/ 40129 w 54"/>
                <a:gd name="T21" fmla="*/ 34546 h 67"/>
                <a:gd name="T22" fmla="*/ 89812 w 54"/>
                <a:gd name="T23" fmla="*/ 0 h 67"/>
                <a:gd name="T24" fmla="*/ 91723 w 54"/>
                <a:gd name="T25" fmla="*/ 7677 h 67"/>
                <a:gd name="T26" fmla="*/ 95544 w 54"/>
                <a:gd name="T27" fmla="*/ 21111 h 67"/>
                <a:gd name="T28" fmla="*/ 91723 w 54"/>
                <a:gd name="T29" fmla="*/ 26869 h 67"/>
                <a:gd name="T30" fmla="*/ 103188 w 54"/>
                <a:gd name="T31" fmla="*/ 34546 h 67"/>
                <a:gd name="T32" fmla="*/ 91723 w 54"/>
                <a:gd name="T33" fmla="*/ 44142 h 67"/>
                <a:gd name="T34" fmla="*/ 47772 w 54"/>
                <a:gd name="T35" fmla="*/ 55657 h 67"/>
                <a:gd name="T36" fmla="*/ 47772 w 54"/>
                <a:gd name="T37" fmla="*/ 59495 h 67"/>
                <a:gd name="T38" fmla="*/ 68792 w 54"/>
                <a:gd name="T39" fmla="*/ 90203 h 67"/>
                <a:gd name="T40" fmla="*/ 61148 w 54"/>
                <a:gd name="T41" fmla="*/ 94041 h 67"/>
                <a:gd name="T42" fmla="*/ 57327 w 54"/>
                <a:gd name="T43" fmla="*/ 103637 h 67"/>
                <a:gd name="T44" fmla="*/ 36307 w 54"/>
                <a:gd name="T45" fmla="*/ 109395 h 67"/>
                <a:gd name="T46" fmla="*/ 26752 w 54"/>
                <a:gd name="T47" fmla="*/ 128587 h 67"/>
                <a:gd name="T48" fmla="*/ 0 w 54"/>
                <a:gd name="T49" fmla="*/ 12474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9" name="Freeform 107"/>
            <p:cNvSpPr>
              <a:spLocks noChangeAspect="1"/>
            </p:cNvSpPr>
            <p:nvPr/>
          </p:nvSpPr>
          <p:spPr bwMode="auto">
            <a:xfrm>
              <a:off x="5090954" y="2154879"/>
              <a:ext cx="67272" cy="82540"/>
            </a:xfrm>
            <a:custGeom>
              <a:avLst/>
              <a:gdLst>
                <a:gd name="T0" fmla="*/ 66675 w 35"/>
                <a:gd name="T1" fmla="*/ 49842 h 53"/>
                <a:gd name="T2" fmla="*/ 59055 w 35"/>
                <a:gd name="T3" fmla="*/ 59426 h 53"/>
                <a:gd name="T4" fmla="*/ 59055 w 35"/>
                <a:gd name="T5" fmla="*/ 74762 h 53"/>
                <a:gd name="T6" fmla="*/ 53340 w 35"/>
                <a:gd name="T7" fmla="*/ 82430 h 53"/>
                <a:gd name="T8" fmla="*/ 55245 w 35"/>
                <a:gd name="T9" fmla="*/ 97766 h 53"/>
                <a:gd name="T10" fmla="*/ 53340 w 35"/>
                <a:gd name="T11" fmla="*/ 101600 h 53"/>
                <a:gd name="T12" fmla="*/ 36195 w 35"/>
                <a:gd name="T13" fmla="*/ 90098 h 53"/>
                <a:gd name="T14" fmla="*/ 32385 w 35"/>
                <a:gd name="T15" fmla="*/ 78596 h 53"/>
                <a:gd name="T16" fmla="*/ 13335 w 35"/>
                <a:gd name="T17" fmla="*/ 55592 h 53"/>
                <a:gd name="T18" fmla="*/ 13335 w 35"/>
                <a:gd name="T19" fmla="*/ 47925 h 53"/>
                <a:gd name="T20" fmla="*/ 7620 w 35"/>
                <a:gd name="T21" fmla="*/ 34506 h 53"/>
                <a:gd name="T22" fmla="*/ 1905 w 35"/>
                <a:gd name="T23" fmla="*/ 19170 h 53"/>
                <a:gd name="T24" fmla="*/ 3810 w 35"/>
                <a:gd name="T25" fmla="*/ 3834 h 53"/>
                <a:gd name="T26" fmla="*/ 17145 w 35"/>
                <a:gd name="T27" fmla="*/ 0 h 53"/>
                <a:gd name="T28" fmla="*/ 32385 w 35"/>
                <a:gd name="T29" fmla="*/ 3834 h 53"/>
                <a:gd name="T30" fmla="*/ 45720 w 35"/>
                <a:gd name="T31" fmla="*/ 1917 h 53"/>
                <a:gd name="T32" fmla="*/ 66675 w 35"/>
                <a:gd name="T33" fmla="*/ 49842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0" name="Freeform 108"/>
            <p:cNvSpPr>
              <a:spLocks noChangeAspect="1"/>
            </p:cNvSpPr>
            <p:nvPr/>
          </p:nvSpPr>
          <p:spPr bwMode="auto">
            <a:xfrm>
              <a:off x="5577875" y="2305771"/>
              <a:ext cx="189002" cy="189583"/>
            </a:xfrm>
            <a:custGeom>
              <a:avLst/>
              <a:gdLst>
                <a:gd name="T0" fmla="*/ 32495 w 98"/>
                <a:gd name="T1" fmla="*/ 233363 h 123"/>
                <a:gd name="T2" fmla="*/ 49698 w 98"/>
                <a:gd name="T3" fmla="*/ 225774 h 123"/>
                <a:gd name="T4" fmla="*/ 63079 w 98"/>
                <a:gd name="T5" fmla="*/ 221979 h 123"/>
                <a:gd name="T6" fmla="*/ 74548 w 98"/>
                <a:gd name="T7" fmla="*/ 225774 h 123"/>
                <a:gd name="T8" fmla="*/ 86017 w 98"/>
                <a:gd name="T9" fmla="*/ 214390 h 123"/>
                <a:gd name="T10" fmla="*/ 80282 w 98"/>
                <a:gd name="T11" fmla="*/ 206801 h 123"/>
                <a:gd name="T12" fmla="*/ 103220 w 98"/>
                <a:gd name="T13" fmla="*/ 197315 h 123"/>
                <a:gd name="T14" fmla="*/ 112777 w 98"/>
                <a:gd name="T15" fmla="*/ 195418 h 123"/>
                <a:gd name="T16" fmla="*/ 118512 w 98"/>
                <a:gd name="T17" fmla="*/ 178342 h 123"/>
                <a:gd name="T18" fmla="*/ 139538 w 98"/>
                <a:gd name="T19" fmla="*/ 168856 h 123"/>
                <a:gd name="T20" fmla="*/ 139538 w 98"/>
                <a:gd name="T21" fmla="*/ 163164 h 123"/>
                <a:gd name="T22" fmla="*/ 133804 w 98"/>
                <a:gd name="T23" fmla="*/ 149884 h 123"/>
                <a:gd name="T24" fmla="*/ 147184 w 98"/>
                <a:gd name="T25" fmla="*/ 130911 h 123"/>
                <a:gd name="T26" fmla="*/ 149095 w 98"/>
                <a:gd name="T27" fmla="*/ 121425 h 123"/>
                <a:gd name="T28" fmla="*/ 151007 w 98"/>
                <a:gd name="T29" fmla="*/ 129014 h 123"/>
                <a:gd name="T30" fmla="*/ 156741 w 98"/>
                <a:gd name="T31" fmla="*/ 129014 h 123"/>
                <a:gd name="T32" fmla="*/ 162476 w 98"/>
                <a:gd name="T33" fmla="*/ 111938 h 123"/>
                <a:gd name="T34" fmla="*/ 185414 w 98"/>
                <a:gd name="T35" fmla="*/ 73993 h 123"/>
                <a:gd name="T36" fmla="*/ 183502 w 98"/>
                <a:gd name="T37" fmla="*/ 64507 h 123"/>
                <a:gd name="T38" fmla="*/ 166299 w 98"/>
                <a:gd name="T39" fmla="*/ 55021 h 123"/>
                <a:gd name="T40" fmla="*/ 154830 w 98"/>
                <a:gd name="T41" fmla="*/ 32253 h 123"/>
                <a:gd name="T42" fmla="*/ 143361 w 98"/>
                <a:gd name="T43" fmla="*/ 36048 h 123"/>
                <a:gd name="T44" fmla="*/ 118512 w 98"/>
                <a:gd name="T45" fmla="*/ 28459 h 123"/>
                <a:gd name="T46" fmla="*/ 101308 w 98"/>
                <a:gd name="T47" fmla="*/ 3795 h 123"/>
                <a:gd name="T48" fmla="*/ 93663 w 98"/>
                <a:gd name="T49" fmla="*/ 5692 h 123"/>
                <a:gd name="T50" fmla="*/ 89840 w 98"/>
                <a:gd name="T51" fmla="*/ 1897 h 123"/>
                <a:gd name="T52" fmla="*/ 82194 w 98"/>
                <a:gd name="T53" fmla="*/ 11384 h 123"/>
                <a:gd name="T54" fmla="*/ 86017 w 98"/>
                <a:gd name="T55" fmla="*/ 22767 h 123"/>
                <a:gd name="T56" fmla="*/ 76459 w 98"/>
                <a:gd name="T57" fmla="*/ 28459 h 123"/>
                <a:gd name="T58" fmla="*/ 76459 w 98"/>
                <a:gd name="T59" fmla="*/ 37945 h 123"/>
                <a:gd name="T60" fmla="*/ 70725 w 98"/>
                <a:gd name="T61" fmla="*/ 45534 h 123"/>
                <a:gd name="T62" fmla="*/ 74548 w 98"/>
                <a:gd name="T63" fmla="*/ 60712 h 123"/>
                <a:gd name="T64" fmla="*/ 86017 w 98"/>
                <a:gd name="T65" fmla="*/ 83479 h 123"/>
                <a:gd name="T66" fmla="*/ 74548 w 98"/>
                <a:gd name="T67" fmla="*/ 140397 h 123"/>
                <a:gd name="T68" fmla="*/ 0 w 98"/>
                <a:gd name="T69" fmla="*/ 166959 h 123"/>
                <a:gd name="T70" fmla="*/ 32495 w 98"/>
                <a:gd name="T71" fmla="*/ 233363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1" name="Freeform 109"/>
            <p:cNvSpPr>
              <a:spLocks noChangeAspect="1"/>
            </p:cNvSpPr>
            <p:nvPr/>
          </p:nvSpPr>
          <p:spPr bwMode="auto">
            <a:xfrm>
              <a:off x="5561858" y="2276108"/>
              <a:ext cx="120129" cy="85119"/>
            </a:xfrm>
            <a:custGeom>
              <a:avLst/>
              <a:gdLst>
                <a:gd name="T0" fmla="*/ 107541 w 62"/>
                <a:gd name="T1" fmla="*/ 0 h 55"/>
                <a:gd name="T2" fmla="*/ 99859 w 62"/>
                <a:gd name="T3" fmla="*/ 13335 h 55"/>
                <a:gd name="T4" fmla="*/ 82576 w 62"/>
                <a:gd name="T5" fmla="*/ 34290 h 55"/>
                <a:gd name="T6" fmla="*/ 69133 w 62"/>
                <a:gd name="T7" fmla="*/ 51435 h 55"/>
                <a:gd name="T8" fmla="*/ 48009 w 62"/>
                <a:gd name="T9" fmla="*/ 59055 h 55"/>
                <a:gd name="T10" fmla="*/ 24965 w 62"/>
                <a:gd name="T11" fmla="*/ 57150 h 55"/>
                <a:gd name="T12" fmla="*/ 19204 w 62"/>
                <a:gd name="T13" fmla="*/ 64770 h 55"/>
                <a:gd name="T14" fmla="*/ 9602 w 62"/>
                <a:gd name="T15" fmla="*/ 64770 h 55"/>
                <a:gd name="T16" fmla="*/ 5761 w 62"/>
                <a:gd name="T17" fmla="*/ 59055 h 55"/>
                <a:gd name="T18" fmla="*/ 0 w 62"/>
                <a:gd name="T19" fmla="*/ 66675 h 55"/>
                <a:gd name="T20" fmla="*/ 7681 w 62"/>
                <a:gd name="T21" fmla="*/ 89535 h 55"/>
                <a:gd name="T22" fmla="*/ 82576 w 62"/>
                <a:gd name="T23" fmla="*/ 104775 h 55"/>
                <a:gd name="T24" fmla="*/ 90257 w 62"/>
                <a:gd name="T25" fmla="*/ 97155 h 55"/>
                <a:gd name="T26" fmla="*/ 86417 w 62"/>
                <a:gd name="T27" fmla="*/ 81915 h 55"/>
                <a:gd name="T28" fmla="*/ 92178 w 62"/>
                <a:gd name="T29" fmla="*/ 74295 h 55"/>
                <a:gd name="T30" fmla="*/ 92178 w 62"/>
                <a:gd name="T31" fmla="*/ 64770 h 55"/>
                <a:gd name="T32" fmla="*/ 101780 w 62"/>
                <a:gd name="T33" fmla="*/ 59055 h 55"/>
                <a:gd name="T34" fmla="*/ 97939 w 62"/>
                <a:gd name="T35" fmla="*/ 47625 h 55"/>
                <a:gd name="T36" fmla="*/ 105620 w 62"/>
                <a:gd name="T37" fmla="*/ 38100 h 55"/>
                <a:gd name="T38" fmla="*/ 109461 w 62"/>
                <a:gd name="T39" fmla="*/ 41910 h 55"/>
                <a:gd name="T40" fmla="*/ 117143 w 62"/>
                <a:gd name="T41" fmla="*/ 40005 h 55"/>
                <a:gd name="T42" fmla="*/ 117143 w 62"/>
                <a:gd name="T43" fmla="*/ 28575 h 55"/>
                <a:gd name="T44" fmla="*/ 117143 w 62"/>
                <a:gd name="T45" fmla="*/ 19050 h 55"/>
                <a:gd name="T46" fmla="*/ 113302 w 62"/>
                <a:gd name="T47" fmla="*/ 19050 h 55"/>
                <a:gd name="T48" fmla="*/ 109461 w 62"/>
                <a:gd name="T49" fmla="*/ 20955 h 55"/>
                <a:gd name="T50" fmla="*/ 109461 w 62"/>
                <a:gd name="T51" fmla="*/ 9525 h 55"/>
                <a:gd name="T52" fmla="*/ 107541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2" name="Freeform 110"/>
            <p:cNvSpPr>
              <a:spLocks noChangeAspect="1"/>
            </p:cNvSpPr>
            <p:nvPr/>
          </p:nvSpPr>
          <p:spPr bwMode="auto">
            <a:xfrm>
              <a:off x="5432119" y="2181961"/>
              <a:ext cx="51255" cy="39980"/>
            </a:xfrm>
            <a:custGeom>
              <a:avLst/>
              <a:gdLst>
                <a:gd name="T0" fmla="*/ 50800 w 27"/>
                <a:gd name="T1" fmla="*/ 49213 h 26"/>
                <a:gd name="T2" fmla="*/ 43274 w 27"/>
                <a:gd name="T3" fmla="*/ 35963 h 26"/>
                <a:gd name="T4" fmla="*/ 37630 w 27"/>
                <a:gd name="T5" fmla="*/ 30285 h 26"/>
                <a:gd name="T6" fmla="*/ 26341 w 27"/>
                <a:gd name="T7" fmla="*/ 26499 h 26"/>
                <a:gd name="T8" fmla="*/ 35748 w 27"/>
                <a:gd name="T9" fmla="*/ 18928 h 26"/>
                <a:gd name="T10" fmla="*/ 39511 w 27"/>
                <a:gd name="T11" fmla="*/ 15142 h 26"/>
                <a:gd name="T12" fmla="*/ 35748 w 27"/>
                <a:gd name="T13" fmla="*/ 5678 h 26"/>
                <a:gd name="T14" fmla="*/ 33867 w 27"/>
                <a:gd name="T15" fmla="*/ 1893 h 26"/>
                <a:gd name="T16" fmla="*/ 16933 w 27"/>
                <a:gd name="T17" fmla="*/ 3786 h 26"/>
                <a:gd name="T18" fmla="*/ 9407 w 27"/>
                <a:gd name="T19" fmla="*/ 15142 h 26"/>
                <a:gd name="T20" fmla="*/ 0 w 27"/>
                <a:gd name="T21" fmla="*/ 28392 h 26"/>
                <a:gd name="T22" fmla="*/ 22578 w 27"/>
                <a:gd name="T23" fmla="*/ 34071 h 26"/>
                <a:gd name="T24" fmla="*/ 30104 w 27"/>
                <a:gd name="T25" fmla="*/ 49213 h 26"/>
                <a:gd name="T26" fmla="*/ 50800 w 27"/>
                <a:gd name="T27" fmla="*/ 492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3" name="Freeform 111"/>
            <p:cNvSpPr>
              <a:spLocks noChangeAspect="1"/>
            </p:cNvSpPr>
            <p:nvPr/>
          </p:nvSpPr>
          <p:spPr bwMode="auto">
            <a:xfrm>
              <a:off x="5249525" y="2002697"/>
              <a:ext cx="235452" cy="202479"/>
            </a:xfrm>
            <a:custGeom>
              <a:avLst/>
              <a:gdLst>
                <a:gd name="T0" fmla="*/ 233362 w 123"/>
                <a:gd name="T1" fmla="*/ 226406 h 131"/>
                <a:gd name="T2" fmla="*/ 220081 w 123"/>
                <a:gd name="T3" fmla="*/ 222601 h 131"/>
                <a:gd name="T4" fmla="*/ 214389 w 123"/>
                <a:gd name="T5" fmla="*/ 222601 h 131"/>
                <a:gd name="T6" fmla="*/ 197314 w 123"/>
                <a:gd name="T7" fmla="*/ 224504 h 131"/>
                <a:gd name="T8" fmla="*/ 189725 w 123"/>
                <a:gd name="T9" fmla="*/ 235919 h 131"/>
                <a:gd name="T10" fmla="*/ 180239 w 123"/>
                <a:gd name="T11" fmla="*/ 249237 h 131"/>
                <a:gd name="T12" fmla="*/ 138499 w 123"/>
                <a:gd name="T13" fmla="*/ 247334 h 131"/>
                <a:gd name="T14" fmla="*/ 81582 w 123"/>
                <a:gd name="T15" fmla="*/ 194062 h 131"/>
                <a:gd name="T16" fmla="*/ 62609 w 123"/>
                <a:gd name="T17" fmla="*/ 182647 h 131"/>
                <a:gd name="T18" fmla="*/ 43637 w 123"/>
                <a:gd name="T19" fmla="*/ 167426 h 131"/>
                <a:gd name="T20" fmla="*/ 13281 w 123"/>
                <a:gd name="T21" fmla="*/ 156011 h 131"/>
                <a:gd name="T22" fmla="*/ 1897 w 123"/>
                <a:gd name="T23" fmla="*/ 148401 h 131"/>
                <a:gd name="T24" fmla="*/ 5692 w 123"/>
                <a:gd name="T25" fmla="*/ 142693 h 131"/>
                <a:gd name="T26" fmla="*/ 1897 w 123"/>
                <a:gd name="T27" fmla="*/ 129375 h 131"/>
                <a:gd name="T28" fmla="*/ 0 w 123"/>
                <a:gd name="T29" fmla="*/ 121765 h 131"/>
                <a:gd name="T30" fmla="*/ 24664 w 123"/>
                <a:gd name="T31" fmla="*/ 102739 h 131"/>
                <a:gd name="T32" fmla="*/ 28459 w 123"/>
                <a:gd name="T33" fmla="*/ 95129 h 131"/>
                <a:gd name="T34" fmla="*/ 43637 w 123"/>
                <a:gd name="T35" fmla="*/ 85616 h 131"/>
                <a:gd name="T36" fmla="*/ 47431 w 123"/>
                <a:gd name="T37" fmla="*/ 66590 h 131"/>
                <a:gd name="T38" fmla="*/ 49329 w 123"/>
                <a:gd name="T39" fmla="*/ 55175 h 131"/>
                <a:gd name="T40" fmla="*/ 45534 w 123"/>
                <a:gd name="T41" fmla="*/ 38051 h 131"/>
                <a:gd name="T42" fmla="*/ 51226 w 123"/>
                <a:gd name="T43" fmla="*/ 28539 h 131"/>
                <a:gd name="T44" fmla="*/ 64507 w 123"/>
                <a:gd name="T45" fmla="*/ 20928 h 131"/>
                <a:gd name="T46" fmla="*/ 72096 w 123"/>
                <a:gd name="T47" fmla="*/ 7610 h 131"/>
                <a:gd name="T48" fmla="*/ 81582 w 123"/>
                <a:gd name="T49" fmla="*/ 0 h 131"/>
                <a:gd name="T50" fmla="*/ 94863 w 123"/>
                <a:gd name="T51" fmla="*/ 5708 h 131"/>
                <a:gd name="T52" fmla="*/ 104349 w 123"/>
                <a:gd name="T53" fmla="*/ 9513 h 131"/>
                <a:gd name="T54" fmla="*/ 111938 w 123"/>
                <a:gd name="T55" fmla="*/ 3805 h 131"/>
                <a:gd name="T56" fmla="*/ 115732 w 123"/>
                <a:gd name="T57" fmla="*/ 13318 h 131"/>
                <a:gd name="T58" fmla="*/ 125219 w 123"/>
                <a:gd name="T59" fmla="*/ 9513 h 131"/>
                <a:gd name="T60" fmla="*/ 130910 w 123"/>
                <a:gd name="T61" fmla="*/ 20928 h 131"/>
                <a:gd name="T62" fmla="*/ 136602 w 123"/>
                <a:gd name="T63" fmla="*/ 28539 h 131"/>
                <a:gd name="T64" fmla="*/ 147986 w 123"/>
                <a:gd name="T65" fmla="*/ 43759 h 131"/>
                <a:gd name="T66" fmla="*/ 151780 w 123"/>
                <a:gd name="T67" fmla="*/ 43759 h 131"/>
                <a:gd name="T68" fmla="*/ 157472 w 123"/>
                <a:gd name="T69" fmla="*/ 47564 h 131"/>
                <a:gd name="T70" fmla="*/ 163164 w 123"/>
                <a:gd name="T71" fmla="*/ 47564 h 131"/>
                <a:gd name="T72" fmla="*/ 161266 w 123"/>
                <a:gd name="T73" fmla="*/ 57077 h 131"/>
                <a:gd name="T74" fmla="*/ 163164 w 123"/>
                <a:gd name="T75" fmla="*/ 72298 h 131"/>
                <a:gd name="T76" fmla="*/ 155575 w 123"/>
                <a:gd name="T77" fmla="*/ 74200 h 131"/>
                <a:gd name="T78" fmla="*/ 151780 w 123"/>
                <a:gd name="T79" fmla="*/ 91323 h 131"/>
                <a:gd name="T80" fmla="*/ 151780 w 123"/>
                <a:gd name="T81" fmla="*/ 106544 h 131"/>
                <a:gd name="T82" fmla="*/ 168855 w 123"/>
                <a:gd name="T83" fmla="*/ 129375 h 131"/>
                <a:gd name="T84" fmla="*/ 168855 w 123"/>
                <a:gd name="T85" fmla="*/ 135083 h 131"/>
                <a:gd name="T86" fmla="*/ 199211 w 123"/>
                <a:gd name="T87" fmla="*/ 157914 h 131"/>
                <a:gd name="T88" fmla="*/ 210595 w 123"/>
                <a:gd name="T89" fmla="*/ 178842 h 131"/>
                <a:gd name="T90" fmla="*/ 210595 w 123"/>
                <a:gd name="T91" fmla="*/ 194062 h 131"/>
                <a:gd name="T92" fmla="*/ 216287 w 123"/>
                <a:gd name="T93" fmla="*/ 199770 h 131"/>
                <a:gd name="T94" fmla="*/ 216287 w 123"/>
                <a:gd name="T95" fmla="*/ 211186 h 131"/>
                <a:gd name="T96" fmla="*/ 233362 w 123"/>
                <a:gd name="T97" fmla="*/ 226406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4" name="Freeform 112"/>
            <p:cNvSpPr>
              <a:spLocks noChangeAspect="1"/>
            </p:cNvSpPr>
            <p:nvPr/>
          </p:nvSpPr>
          <p:spPr bwMode="auto">
            <a:xfrm>
              <a:off x="5355237" y="1942082"/>
              <a:ext cx="482115" cy="359821"/>
            </a:xfrm>
            <a:custGeom>
              <a:avLst/>
              <a:gdLst>
                <a:gd name="T0" fmla="*/ 20941 w 251"/>
                <a:gd name="T1" fmla="*/ 72235 h 233"/>
                <a:gd name="T2" fmla="*/ 9519 w 251"/>
                <a:gd name="T3" fmla="*/ 51325 h 233"/>
                <a:gd name="T4" fmla="*/ 1904 w 251"/>
                <a:gd name="T5" fmla="*/ 15207 h 233"/>
                <a:gd name="T6" fmla="*/ 22845 w 251"/>
                <a:gd name="T7" fmla="*/ 9505 h 233"/>
                <a:gd name="T8" fmla="*/ 38075 w 251"/>
                <a:gd name="T9" fmla="*/ 19009 h 233"/>
                <a:gd name="T10" fmla="*/ 53305 w 251"/>
                <a:gd name="T11" fmla="*/ 32316 h 233"/>
                <a:gd name="T12" fmla="*/ 60919 w 251"/>
                <a:gd name="T13" fmla="*/ 28514 h 233"/>
                <a:gd name="T14" fmla="*/ 70438 w 251"/>
                <a:gd name="T15" fmla="*/ 20910 h 233"/>
                <a:gd name="T16" fmla="*/ 100898 w 251"/>
                <a:gd name="T17" fmla="*/ 11405 h 233"/>
                <a:gd name="T18" fmla="*/ 102802 w 251"/>
                <a:gd name="T19" fmla="*/ 28514 h 233"/>
                <a:gd name="T20" fmla="*/ 108513 w 251"/>
                <a:gd name="T21" fmla="*/ 41820 h 233"/>
                <a:gd name="T22" fmla="*/ 118031 w 251"/>
                <a:gd name="T23" fmla="*/ 64631 h 233"/>
                <a:gd name="T24" fmla="*/ 152299 w 251"/>
                <a:gd name="T25" fmla="*/ 81739 h 233"/>
                <a:gd name="T26" fmla="*/ 201796 w 251"/>
                <a:gd name="T27" fmla="*/ 98848 h 233"/>
                <a:gd name="T28" fmla="*/ 241774 w 251"/>
                <a:gd name="T29" fmla="*/ 93145 h 233"/>
                <a:gd name="T30" fmla="*/ 237967 w 251"/>
                <a:gd name="T31" fmla="*/ 77937 h 233"/>
                <a:gd name="T32" fmla="*/ 262715 w 251"/>
                <a:gd name="T33" fmla="*/ 60829 h 233"/>
                <a:gd name="T34" fmla="*/ 295079 w 251"/>
                <a:gd name="T35" fmla="*/ 49424 h 233"/>
                <a:gd name="T36" fmla="*/ 312212 w 251"/>
                <a:gd name="T37" fmla="*/ 58928 h 233"/>
                <a:gd name="T38" fmla="*/ 348383 w 251"/>
                <a:gd name="T39" fmla="*/ 70334 h 233"/>
                <a:gd name="T40" fmla="*/ 359806 w 251"/>
                <a:gd name="T41" fmla="*/ 83640 h 233"/>
                <a:gd name="T42" fmla="*/ 382650 w 251"/>
                <a:gd name="T43" fmla="*/ 95046 h 233"/>
                <a:gd name="T44" fmla="*/ 409303 w 251"/>
                <a:gd name="T45" fmla="*/ 110253 h 233"/>
                <a:gd name="T46" fmla="*/ 415014 w 251"/>
                <a:gd name="T47" fmla="*/ 133064 h 233"/>
                <a:gd name="T48" fmla="*/ 401688 w 251"/>
                <a:gd name="T49" fmla="*/ 159677 h 233"/>
                <a:gd name="T50" fmla="*/ 399784 w 251"/>
                <a:gd name="T51" fmla="*/ 165380 h 233"/>
                <a:gd name="T52" fmla="*/ 403591 w 251"/>
                <a:gd name="T53" fmla="*/ 193893 h 233"/>
                <a:gd name="T54" fmla="*/ 403591 w 251"/>
                <a:gd name="T55" fmla="*/ 212902 h 233"/>
                <a:gd name="T56" fmla="*/ 413110 w 251"/>
                <a:gd name="T57" fmla="*/ 252822 h 233"/>
                <a:gd name="T58" fmla="*/ 432147 w 251"/>
                <a:gd name="T59" fmla="*/ 268029 h 233"/>
                <a:gd name="T60" fmla="*/ 415014 w 251"/>
                <a:gd name="T61" fmla="*/ 298444 h 233"/>
                <a:gd name="T62" fmla="*/ 434051 w 251"/>
                <a:gd name="T63" fmla="*/ 330759 h 233"/>
                <a:gd name="T64" fmla="*/ 453088 w 251"/>
                <a:gd name="T65" fmla="*/ 342165 h 233"/>
                <a:gd name="T66" fmla="*/ 464511 w 251"/>
                <a:gd name="T67" fmla="*/ 376381 h 233"/>
                <a:gd name="T68" fmla="*/ 474030 w 251"/>
                <a:gd name="T69" fmla="*/ 391588 h 233"/>
                <a:gd name="T70" fmla="*/ 460703 w 251"/>
                <a:gd name="T71" fmla="*/ 399192 h 233"/>
                <a:gd name="T72" fmla="*/ 443570 w 251"/>
                <a:gd name="T73" fmla="*/ 422003 h 233"/>
                <a:gd name="T74" fmla="*/ 439762 w 251"/>
                <a:gd name="T75" fmla="*/ 442913 h 233"/>
                <a:gd name="T76" fmla="*/ 409303 w 251"/>
                <a:gd name="T77" fmla="*/ 435309 h 233"/>
                <a:gd name="T78" fmla="*/ 371228 w 251"/>
                <a:gd name="T79" fmla="*/ 429607 h 233"/>
                <a:gd name="T80" fmla="*/ 336961 w 251"/>
                <a:gd name="T81" fmla="*/ 412498 h 233"/>
                <a:gd name="T82" fmla="*/ 314116 w 251"/>
                <a:gd name="T83" fmla="*/ 380183 h 233"/>
                <a:gd name="T84" fmla="*/ 281753 w 251"/>
                <a:gd name="T85" fmla="*/ 397291 h 233"/>
                <a:gd name="T86" fmla="*/ 251293 w 251"/>
                <a:gd name="T87" fmla="*/ 391588 h 233"/>
                <a:gd name="T88" fmla="*/ 236063 w 251"/>
                <a:gd name="T89" fmla="*/ 380183 h 233"/>
                <a:gd name="T90" fmla="*/ 226544 w 251"/>
                <a:gd name="T91" fmla="*/ 368777 h 233"/>
                <a:gd name="T92" fmla="*/ 203699 w 251"/>
                <a:gd name="T93" fmla="*/ 363075 h 233"/>
                <a:gd name="T94" fmla="*/ 184662 w 251"/>
                <a:gd name="T95" fmla="*/ 325056 h 233"/>
                <a:gd name="T96" fmla="*/ 177047 w 251"/>
                <a:gd name="T97" fmla="*/ 315552 h 233"/>
                <a:gd name="T98" fmla="*/ 148491 w 251"/>
                <a:gd name="T99" fmla="*/ 296543 h 233"/>
                <a:gd name="T100" fmla="*/ 138973 w 251"/>
                <a:gd name="T101" fmla="*/ 294642 h 233"/>
                <a:gd name="T102" fmla="*/ 135165 w 251"/>
                <a:gd name="T103" fmla="*/ 298444 h 233"/>
                <a:gd name="T104" fmla="*/ 112320 w 251"/>
                <a:gd name="T105" fmla="*/ 285137 h 233"/>
                <a:gd name="T106" fmla="*/ 106609 w 251"/>
                <a:gd name="T107" fmla="*/ 268029 h 233"/>
                <a:gd name="T108" fmla="*/ 95187 w 251"/>
                <a:gd name="T109" fmla="*/ 231912 h 233"/>
                <a:gd name="T110" fmla="*/ 64727 w 251"/>
                <a:gd name="T111" fmla="*/ 203398 h 233"/>
                <a:gd name="T112" fmla="*/ 47593 w 251"/>
                <a:gd name="T113" fmla="*/ 165380 h 233"/>
                <a:gd name="T114" fmla="*/ 59016 w 251"/>
                <a:gd name="T115" fmla="*/ 146370 h 233"/>
                <a:gd name="T116" fmla="*/ 59016 w 251"/>
                <a:gd name="T117" fmla="*/ 121659 h 233"/>
                <a:gd name="T118" fmla="*/ 47593 w 251"/>
                <a:gd name="T119" fmla="*/ 117857 h 233"/>
                <a:gd name="T120" fmla="*/ 32363 w 251"/>
                <a:gd name="T121" fmla="*/ 102649 h 233"/>
                <a:gd name="T122" fmla="*/ 20941 w 251"/>
                <a:gd name="T123" fmla="*/ 83640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5" name="Freeform 113"/>
            <p:cNvSpPr>
              <a:spLocks noChangeAspect="1"/>
            </p:cNvSpPr>
            <p:nvPr/>
          </p:nvSpPr>
          <p:spPr bwMode="auto">
            <a:xfrm>
              <a:off x="5254329" y="1845355"/>
              <a:ext cx="160172" cy="65774"/>
            </a:xfrm>
            <a:custGeom>
              <a:avLst/>
              <a:gdLst>
                <a:gd name="T0" fmla="*/ 0 w 83"/>
                <a:gd name="T1" fmla="*/ 1928 h 42"/>
                <a:gd name="T2" fmla="*/ 15301 w 83"/>
                <a:gd name="T3" fmla="*/ 11566 h 42"/>
                <a:gd name="T4" fmla="*/ 22952 w 83"/>
                <a:gd name="T5" fmla="*/ 21204 h 42"/>
                <a:gd name="T6" fmla="*/ 36340 w 83"/>
                <a:gd name="T7" fmla="*/ 26987 h 42"/>
                <a:gd name="T8" fmla="*/ 36340 w 83"/>
                <a:gd name="T9" fmla="*/ 38553 h 42"/>
                <a:gd name="T10" fmla="*/ 43991 w 83"/>
                <a:gd name="T11" fmla="*/ 53975 h 42"/>
                <a:gd name="T12" fmla="*/ 38253 w 83"/>
                <a:gd name="T13" fmla="*/ 69396 h 42"/>
                <a:gd name="T14" fmla="*/ 47816 w 83"/>
                <a:gd name="T15" fmla="*/ 69396 h 42"/>
                <a:gd name="T16" fmla="*/ 61205 w 83"/>
                <a:gd name="T17" fmla="*/ 65541 h 42"/>
                <a:gd name="T18" fmla="*/ 74593 w 83"/>
                <a:gd name="T19" fmla="*/ 71324 h 42"/>
                <a:gd name="T20" fmla="*/ 84157 w 83"/>
                <a:gd name="T21" fmla="*/ 77107 h 42"/>
                <a:gd name="T22" fmla="*/ 93720 w 83"/>
                <a:gd name="T23" fmla="*/ 73251 h 42"/>
                <a:gd name="T24" fmla="*/ 101370 w 83"/>
                <a:gd name="T25" fmla="*/ 73251 h 42"/>
                <a:gd name="T26" fmla="*/ 110934 w 83"/>
                <a:gd name="T27" fmla="*/ 73251 h 42"/>
                <a:gd name="T28" fmla="*/ 118584 w 83"/>
                <a:gd name="T29" fmla="*/ 73251 h 42"/>
                <a:gd name="T30" fmla="*/ 124322 w 83"/>
                <a:gd name="T31" fmla="*/ 65541 h 42"/>
                <a:gd name="T32" fmla="*/ 133886 w 83"/>
                <a:gd name="T33" fmla="*/ 71324 h 42"/>
                <a:gd name="T34" fmla="*/ 143449 w 83"/>
                <a:gd name="T35" fmla="*/ 75179 h 42"/>
                <a:gd name="T36" fmla="*/ 156837 w 83"/>
                <a:gd name="T37" fmla="*/ 79034 h 42"/>
                <a:gd name="T38" fmla="*/ 156837 w 83"/>
                <a:gd name="T39" fmla="*/ 71324 h 42"/>
                <a:gd name="T40" fmla="*/ 149187 w 83"/>
                <a:gd name="T41" fmla="*/ 67468 h 42"/>
                <a:gd name="T42" fmla="*/ 143449 w 83"/>
                <a:gd name="T43" fmla="*/ 57830 h 42"/>
                <a:gd name="T44" fmla="*/ 151099 w 83"/>
                <a:gd name="T45" fmla="*/ 52047 h 42"/>
                <a:gd name="T46" fmla="*/ 130060 w 83"/>
                <a:gd name="T47" fmla="*/ 40481 h 42"/>
                <a:gd name="T48" fmla="*/ 130060 w 83"/>
                <a:gd name="T49" fmla="*/ 32770 h 42"/>
                <a:gd name="T50" fmla="*/ 116672 w 83"/>
                <a:gd name="T51" fmla="*/ 25060 h 42"/>
                <a:gd name="T52" fmla="*/ 110934 w 83"/>
                <a:gd name="T53" fmla="*/ 25060 h 42"/>
                <a:gd name="T54" fmla="*/ 103283 w 83"/>
                <a:gd name="T55" fmla="*/ 26987 h 42"/>
                <a:gd name="T56" fmla="*/ 91807 w 83"/>
                <a:gd name="T57" fmla="*/ 30843 h 42"/>
                <a:gd name="T58" fmla="*/ 86069 w 83"/>
                <a:gd name="T59" fmla="*/ 25060 h 42"/>
                <a:gd name="T60" fmla="*/ 70768 w 83"/>
                <a:gd name="T61" fmla="*/ 17349 h 42"/>
                <a:gd name="T62" fmla="*/ 55467 w 83"/>
                <a:gd name="T63" fmla="*/ 7711 h 42"/>
                <a:gd name="T64" fmla="*/ 36340 w 83"/>
                <a:gd name="T65" fmla="*/ 9638 h 42"/>
                <a:gd name="T66" fmla="*/ 21039 w 83"/>
                <a:gd name="T67" fmla="*/ 1928 h 42"/>
                <a:gd name="T68" fmla="*/ 0 w 83"/>
                <a:gd name="T69" fmla="*/ 1928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6" name="Freeform 114"/>
            <p:cNvSpPr>
              <a:spLocks noChangeAspect="1"/>
            </p:cNvSpPr>
            <p:nvPr/>
          </p:nvSpPr>
          <p:spPr bwMode="auto">
            <a:xfrm>
              <a:off x="5374458" y="1944661"/>
              <a:ext cx="33636" cy="23214"/>
            </a:xfrm>
            <a:custGeom>
              <a:avLst/>
              <a:gdLst>
                <a:gd name="T0" fmla="*/ 33337 w 18"/>
                <a:gd name="T1" fmla="*/ 28575 h 15"/>
                <a:gd name="T2" fmla="*/ 25929 w 18"/>
                <a:gd name="T3" fmla="*/ 11430 h 15"/>
                <a:gd name="T4" fmla="*/ 22225 w 18"/>
                <a:gd name="T5" fmla="*/ 1905 h 15"/>
                <a:gd name="T6" fmla="*/ 12964 w 18"/>
                <a:gd name="T7" fmla="*/ 5715 h 15"/>
                <a:gd name="T8" fmla="*/ 11112 w 18"/>
                <a:gd name="T9" fmla="*/ 0 h 15"/>
                <a:gd name="T10" fmla="*/ 0 w 18"/>
                <a:gd name="T11" fmla="*/ 0 h 15"/>
                <a:gd name="T12" fmla="*/ 3704 w 18"/>
                <a:gd name="T13" fmla="*/ 5715 h 15"/>
                <a:gd name="T14" fmla="*/ 12964 w 18"/>
                <a:gd name="T15" fmla="*/ 15240 h 15"/>
                <a:gd name="T16" fmla="*/ 18521 w 18"/>
                <a:gd name="T17" fmla="*/ 15240 h 15"/>
                <a:gd name="T18" fmla="*/ 18521 w 18"/>
                <a:gd name="T19" fmla="*/ 24765 h 15"/>
                <a:gd name="T20" fmla="*/ 33337 w 18"/>
                <a:gd name="T21" fmla="*/ 28575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7" name="Freeform 115"/>
            <p:cNvSpPr>
              <a:spLocks noChangeAspect="1"/>
            </p:cNvSpPr>
            <p:nvPr/>
          </p:nvSpPr>
          <p:spPr bwMode="auto">
            <a:xfrm>
              <a:off x="5339220" y="1904681"/>
              <a:ext cx="78484" cy="63194"/>
            </a:xfrm>
            <a:custGeom>
              <a:avLst/>
              <a:gdLst>
                <a:gd name="T0" fmla="*/ 75890 w 41"/>
                <a:gd name="T1" fmla="*/ 73993 h 41"/>
                <a:gd name="T2" fmla="*/ 75890 w 41"/>
                <a:gd name="T3" fmla="*/ 62609 h 41"/>
                <a:gd name="T4" fmla="*/ 70198 w 41"/>
                <a:gd name="T5" fmla="*/ 56917 h 41"/>
                <a:gd name="T6" fmla="*/ 62609 w 41"/>
                <a:gd name="T7" fmla="*/ 49328 h 41"/>
                <a:gd name="T8" fmla="*/ 51226 w 41"/>
                <a:gd name="T9" fmla="*/ 41739 h 41"/>
                <a:gd name="T10" fmla="*/ 56917 w 41"/>
                <a:gd name="T11" fmla="*/ 37945 h 41"/>
                <a:gd name="T12" fmla="*/ 56917 w 41"/>
                <a:gd name="T13" fmla="*/ 32253 h 41"/>
                <a:gd name="T14" fmla="*/ 45534 w 41"/>
                <a:gd name="T15" fmla="*/ 26561 h 41"/>
                <a:gd name="T16" fmla="*/ 47431 w 41"/>
                <a:gd name="T17" fmla="*/ 17075 h 41"/>
                <a:gd name="T18" fmla="*/ 45534 w 41"/>
                <a:gd name="T19" fmla="*/ 9486 h 41"/>
                <a:gd name="T20" fmla="*/ 36048 w 41"/>
                <a:gd name="T21" fmla="*/ 7589 h 41"/>
                <a:gd name="T22" fmla="*/ 34150 w 41"/>
                <a:gd name="T23" fmla="*/ 0 h 41"/>
                <a:gd name="T24" fmla="*/ 26561 w 41"/>
                <a:gd name="T25" fmla="*/ 0 h 41"/>
                <a:gd name="T26" fmla="*/ 17075 w 41"/>
                <a:gd name="T27" fmla="*/ 0 h 41"/>
                <a:gd name="T28" fmla="*/ 9486 w 41"/>
                <a:gd name="T29" fmla="*/ 0 h 41"/>
                <a:gd name="T30" fmla="*/ 0 w 41"/>
                <a:gd name="T31" fmla="*/ 3794 h 41"/>
                <a:gd name="T32" fmla="*/ 3794 w 41"/>
                <a:gd name="T33" fmla="*/ 17075 h 41"/>
                <a:gd name="T34" fmla="*/ 3794 w 41"/>
                <a:gd name="T35" fmla="*/ 30356 h 41"/>
                <a:gd name="T36" fmla="*/ 9486 w 41"/>
                <a:gd name="T37" fmla="*/ 37945 h 41"/>
                <a:gd name="T38" fmla="*/ 24664 w 41"/>
                <a:gd name="T39" fmla="*/ 39842 h 41"/>
                <a:gd name="T40" fmla="*/ 34150 w 41"/>
                <a:gd name="T41" fmla="*/ 49328 h 41"/>
                <a:gd name="T42" fmla="*/ 45534 w 41"/>
                <a:gd name="T43" fmla="*/ 49328 h 41"/>
                <a:gd name="T44" fmla="*/ 47431 w 41"/>
                <a:gd name="T45" fmla="*/ 55020 h 41"/>
                <a:gd name="T46" fmla="*/ 56917 w 41"/>
                <a:gd name="T47" fmla="*/ 51226 h 41"/>
                <a:gd name="T48" fmla="*/ 60712 w 41"/>
                <a:gd name="T49" fmla="*/ 60712 h 41"/>
                <a:gd name="T50" fmla="*/ 68301 w 41"/>
                <a:gd name="T51" fmla="*/ 77787 h 41"/>
                <a:gd name="T52" fmla="*/ 72095 w 41"/>
                <a:gd name="T53" fmla="*/ 75890 h 41"/>
                <a:gd name="T54" fmla="*/ 75890 w 41"/>
                <a:gd name="T55" fmla="*/ 73993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16"/>
            <p:cNvSpPr>
              <a:spLocks noChangeAspect="1"/>
            </p:cNvSpPr>
            <p:nvPr/>
          </p:nvSpPr>
          <p:spPr bwMode="auto">
            <a:xfrm>
              <a:off x="5374458" y="1887915"/>
              <a:ext cx="128136" cy="88989"/>
            </a:xfrm>
            <a:custGeom>
              <a:avLst/>
              <a:gdLst>
                <a:gd name="T0" fmla="*/ 92881 w 67"/>
                <a:gd name="T1" fmla="*/ 107649 h 58"/>
                <a:gd name="T2" fmla="*/ 89090 w 67"/>
                <a:gd name="T3" fmla="*/ 107649 h 58"/>
                <a:gd name="T4" fmla="*/ 75821 w 67"/>
                <a:gd name="T5" fmla="*/ 100095 h 58"/>
                <a:gd name="T6" fmla="*/ 83403 w 67"/>
                <a:gd name="T7" fmla="*/ 94429 h 58"/>
                <a:gd name="T8" fmla="*/ 75821 w 67"/>
                <a:gd name="T9" fmla="*/ 83098 h 58"/>
                <a:gd name="T10" fmla="*/ 81507 w 67"/>
                <a:gd name="T11" fmla="*/ 77432 h 58"/>
                <a:gd name="T12" fmla="*/ 73925 w 67"/>
                <a:gd name="T13" fmla="*/ 67989 h 58"/>
                <a:gd name="T14" fmla="*/ 51179 w 67"/>
                <a:gd name="T15" fmla="*/ 86875 h 58"/>
                <a:gd name="T16" fmla="*/ 51179 w 67"/>
                <a:gd name="T17" fmla="*/ 96318 h 58"/>
                <a:gd name="T18" fmla="*/ 41701 w 67"/>
                <a:gd name="T19" fmla="*/ 94429 h 58"/>
                <a:gd name="T20" fmla="*/ 41701 w 67"/>
                <a:gd name="T21" fmla="*/ 83098 h 58"/>
                <a:gd name="T22" fmla="*/ 36015 w 67"/>
                <a:gd name="T23" fmla="*/ 77432 h 58"/>
                <a:gd name="T24" fmla="*/ 28433 w 67"/>
                <a:gd name="T25" fmla="*/ 69878 h 58"/>
                <a:gd name="T26" fmla="*/ 17060 w 67"/>
                <a:gd name="T27" fmla="*/ 62323 h 58"/>
                <a:gd name="T28" fmla="*/ 22746 w 67"/>
                <a:gd name="T29" fmla="*/ 58546 h 58"/>
                <a:gd name="T30" fmla="*/ 22746 w 67"/>
                <a:gd name="T31" fmla="*/ 52880 h 58"/>
                <a:gd name="T32" fmla="*/ 11373 w 67"/>
                <a:gd name="T33" fmla="*/ 47215 h 58"/>
                <a:gd name="T34" fmla="*/ 13269 w 67"/>
                <a:gd name="T35" fmla="*/ 37772 h 58"/>
                <a:gd name="T36" fmla="*/ 11373 w 67"/>
                <a:gd name="T37" fmla="*/ 30217 h 58"/>
                <a:gd name="T38" fmla="*/ 1896 w 67"/>
                <a:gd name="T39" fmla="*/ 28329 h 58"/>
                <a:gd name="T40" fmla="*/ 0 w 67"/>
                <a:gd name="T41" fmla="*/ 20774 h 58"/>
                <a:gd name="T42" fmla="*/ 5687 w 67"/>
                <a:gd name="T43" fmla="*/ 13220 h 58"/>
                <a:gd name="T44" fmla="*/ 15164 w 67"/>
                <a:gd name="T45" fmla="*/ 18886 h 58"/>
                <a:gd name="T46" fmla="*/ 24642 w 67"/>
                <a:gd name="T47" fmla="*/ 22663 h 58"/>
                <a:gd name="T48" fmla="*/ 37910 w 67"/>
                <a:gd name="T49" fmla="*/ 26440 h 58"/>
                <a:gd name="T50" fmla="*/ 37910 w 67"/>
                <a:gd name="T51" fmla="*/ 18886 h 58"/>
                <a:gd name="T52" fmla="*/ 30328 w 67"/>
                <a:gd name="T53" fmla="*/ 15109 h 58"/>
                <a:gd name="T54" fmla="*/ 24642 w 67"/>
                <a:gd name="T55" fmla="*/ 5666 h 58"/>
                <a:gd name="T56" fmla="*/ 32224 w 67"/>
                <a:gd name="T57" fmla="*/ 0 h 58"/>
                <a:gd name="T58" fmla="*/ 45493 w 67"/>
                <a:gd name="T59" fmla="*/ 7554 h 58"/>
                <a:gd name="T60" fmla="*/ 51179 w 67"/>
                <a:gd name="T61" fmla="*/ 18886 h 58"/>
                <a:gd name="T62" fmla="*/ 66343 w 67"/>
                <a:gd name="T63" fmla="*/ 22663 h 58"/>
                <a:gd name="T64" fmla="*/ 68239 w 67"/>
                <a:gd name="T65" fmla="*/ 13220 h 58"/>
                <a:gd name="T66" fmla="*/ 75821 w 67"/>
                <a:gd name="T67" fmla="*/ 11332 h 58"/>
                <a:gd name="T68" fmla="*/ 79612 w 67"/>
                <a:gd name="T69" fmla="*/ 3777 h 58"/>
                <a:gd name="T70" fmla="*/ 92881 w 67"/>
                <a:gd name="T71" fmla="*/ 18886 h 58"/>
                <a:gd name="T72" fmla="*/ 98567 w 67"/>
                <a:gd name="T73" fmla="*/ 33995 h 58"/>
                <a:gd name="T74" fmla="*/ 109940 w 67"/>
                <a:gd name="T75" fmla="*/ 41549 h 58"/>
                <a:gd name="T76" fmla="*/ 119418 w 67"/>
                <a:gd name="T77" fmla="*/ 41549 h 58"/>
                <a:gd name="T78" fmla="*/ 127000 w 67"/>
                <a:gd name="T79" fmla="*/ 45326 h 58"/>
                <a:gd name="T80" fmla="*/ 125104 w 67"/>
                <a:gd name="T81" fmla="*/ 47215 h 58"/>
                <a:gd name="T82" fmla="*/ 111836 w 67"/>
                <a:gd name="T83" fmla="*/ 47215 h 58"/>
                <a:gd name="T84" fmla="*/ 104254 w 67"/>
                <a:gd name="T85" fmla="*/ 60435 h 58"/>
                <a:gd name="T86" fmla="*/ 104254 w 67"/>
                <a:gd name="T87" fmla="*/ 73655 h 58"/>
                <a:gd name="T88" fmla="*/ 108045 w 67"/>
                <a:gd name="T89" fmla="*/ 81209 h 58"/>
                <a:gd name="T90" fmla="*/ 104254 w 67"/>
                <a:gd name="T91" fmla="*/ 88764 h 58"/>
                <a:gd name="T92" fmla="*/ 94776 w 67"/>
                <a:gd name="T93" fmla="*/ 86875 h 58"/>
                <a:gd name="T94" fmla="*/ 92881 w 67"/>
                <a:gd name="T95" fmla="*/ 94429 h 58"/>
                <a:gd name="T96" fmla="*/ 92881 w 67"/>
                <a:gd name="T97" fmla="*/ 107649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9" name="Freeform 117"/>
            <p:cNvSpPr>
              <a:spLocks noChangeAspect="1"/>
            </p:cNvSpPr>
            <p:nvPr/>
          </p:nvSpPr>
          <p:spPr bwMode="auto">
            <a:xfrm>
              <a:off x="5549044" y="1867279"/>
              <a:ext cx="344368" cy="189583"/>
            </a:xfrm>
            <a:custGeom>
              <a:avLst/>
              <a:gdLst>
                <a:gd name="T0" fmla="*/ 333686 w 179"/>
                <a:gd name="T1" fmla="*/ 170240 h 122"/>
                <a:gd name="T2" fmla="*/ 314618 w 179"/>
                <a:gd name="T3" fmla="*/ 170240 h 122"/>
                <a:gd name="T4" fmla="*/ 301271 w 179"/>
                <a:gd name="T5" fmla="*/ 172153 h 122"/>
                <a:gd name="T6" fmla="*/ 291737 w 179"/>
                <a:gd name="T7" fmla="*/ 197020 h 122"/>
                <a:gd name="T8" fmla="*/ 265042 w 179"/>
                <a:gd name="T9" fmla="*/ 216148 h 122"/>
                <a:gd name="T10" fmla="*/ 255508 w 179"/>
                <a:gd name="T11" fmla="*/ 233363 h 122"/>
                <a:gd name="T12" fmla="*/ 242161 w 179"/>
                <a:gd name="T13" fmla="*/ 231450 h 122"/>
                <a:gd name="T14" fmla="*/ 223093 w 179"/>
                <a:gd name="T15" fmla="*/ 225712 h 122"/>
                <a:gd name="T16" fmla="*/ 217373 w 179"/>
                <a:gd name="T17" fmla="*/ 202758 h 122"/>
                <a:gd name="T18" fmla="*/ 190678 w 179"/>
                <a:gd name="T19" fmla="*/ 187456 h 122"/>
                <a:gd name="T20" fmla="*/ 167796 w 179"/>
                <a:gd name="T21" fmla="*/ 175979 h 122"/>
                <a:gd name="T22" fmla="*/ 156356 w 179"/>
                <a:gd name="T23" fmla="*/ 162589 h 122"/>
                <a:gd name="T24" fmla="*/ 120127 w 179"/>
                <a:gd name="T25" fmla="*/ 151112 h 122"/>
                <a:gd name="T26" fmla="*/ 102966 w 179"/>
                <a:gd name="T27" fmla="*/ 141548 h 122"/>
                <a:gd name="T28" fmla="*/ 70551 w 179"/>
                <a:gd name="T29" fmla="*/ 153025 h 122"/>
                <a:gd name="T30" fmla="*/ 45763 w 179"/>
                <a:gd name="T31" fmla="*/ 170240 h 122"/>
                <a:gd name="T32" fmla="*/ 38136 w 179"/>
                <a:gd name="T33" fmla="*/ 135810 h 122"/>
                <a:gd name="T34" fmla="*/ 30508 w 179"/>
                <a:gd name="T35" fmla="*/ 105205 h 122"/>
                <a:gd name="T36" fmla="*/ 20975 w 179"/>
                <a:gd name="T37" fmla="*/ 112856 h 122"/>
                <a:gd name="T38" fmla="*/ 20975 w 179"/>
                <a:gd name="T39" fmla="*/ 95641 h 122"/>
                <a:gd name="T40" fmla="*/ 32415 w 179"/>
                <a:gd name="T41" fmla="*/ 99466 h 122"/>
                <a:gd name="T42" fmla="*/ 26695 w 179"/>
                <a:gd name="T43" fmla="*/ 87989 h 122"/>
                <a:gd name="T44" fmla="*/ 9534 w 179"/>
                <a:gd name="T45" fmla="*/ 87989 h 122"/>
                <a:gd name="T46" fmla="*/ 7627 w 179"/>
                <a:gd name="T47" fmla="*/ 61210 h 122"/>
                <a:gd name="T48" fmla="*/ 15254 w 179"/>
                <a:gd name="T49" fmla="*/ 63123 h 122"/>
                <a:gd name="T50" fmla="*/ 32415 w 179"/>
                <a:gd name="T51" fmla="*/ 59297 h 122"/>
                <a:gd name="T52" fmla="*/ 45763 w 179"/>
                <a:gd name="T53" fmla="*/ 65036 h 122"/>
                <a:gd name="T54" fmla="*/ 51483 w 179"/>
                <a:gd name="T55" fmla="*/ 59297 h 122"/>
                <a:gd name="T56" fmla="*/ 53390 w 179"/>
                <a:gd name="T57" fmla="*/ 47820 h 122"/>
                <a:gd name="T58" fmla="*/ 30508 w 179"/>
                <a:gd name="T59" fmla="*/ 17215 h 122"/>
                <a:gd name="T60" fmla="*/ 7627 w 179"/>
                <a:gd name="T61" fmla="*/ 28692 h 122"/>
                <a:gd name="T62" fmla="*/ 5720 w 179"/>
                <a:gd name="T63" fmla="*/ 49733 h 122"/>
                <a:gd name="T64" fmla="*/ 0 w 179"/>
                <a:gd name="T65" fmla="*/ 30605 h 122"/>
                <a:gd name="T66" fmla="*/ 17161 w 179"/>
                <a:gd name="T67" fmla="*/ 11477 h 122"/>
                <a:gd name="T68" fmla="*/ 47669 w 179"/>
                <a:gd name="T69" fmla="*/ 17215 h 122"/>
                <a:gd name="T70" fmla="*/ 64830 w 179"/>
                <a:gd name="T71" fmla="*/ 45907 h 122"/>
                <a:gd name="T72" fmla="*/ 80085 w 179"/>
                <a:gd name="T73" fmla="*/ 43995 h 122"/>
                <a:gd name="T74" fmla="*/ 104873 w 179"/>
                <a:gd name="T75" fmla="*/ 49733 h 122"/>
                <a:gd name="T76" fmla="*/ 104873 w 179"/>
                <a:gd name="T77" fmla="*/ 32518 h 122"/>
                <a:gd name="T78" fmla="*/ 116313 w 179"/>
                <a:gd name="T79" fmla="*/ 17215 h 122"/>
                <a:gd name="T80" fmla="*/ 133474 w 179"/>
                <a:gd name="T81" fmla="*/ 15302 h 122"/>
                <a:gd name="T82" fmla="*/ 141101 w 179"/>
                <a:gd name="T83" fmla="*/ 1913 h 122"/>
                <a:gd name="T84" fmla="*/ 152542 w 179"/>
                <a:gd name="T85" fmla="*/ 15302 h 122"/>
                <a:gd name="T86" fmla="*/ 167796 w 179"/>
                <a:gd name="T87" fmla="*/ 30605 h 122"/>
                <a:gd name="T88" fmla="*/ 175423 w 179"/>
                <a:gd name="T89" fmla="*/ 47820 h 122"/>
                <a:gd name="T90" fmla="*/ 205932 w 179"/>
                <a:gd name="T91" fmla="*/ 47820 h 122"/>
                <a:gd name="T92" fmla="*/ 225000 w 179"/>
                <a:gd name="T93" fmla="*/ 55472 h 122"/>
                <a:gd name="T94" fmla="*/ 232627 w 179"/>
                <a:gd name="T95" fmla="*/ 72687 h 122"/>
                <a:gd name="T96" fmla="*/ 238347 w 179"/>
                <a:gd name="T97" fmla="*/ 84164 h 122"/>
                <a:gd name="T98" fmla="*/ 263135 w 179"/>
                <a:gd name="T99" fmla="*/ 109030 h 122"/>
                <a:gd name="T100" fmla="*/ 314618 w 179"/>
                <a:gd name="T101" fmla="*/ 143461 h 122"/>
                <a:gd name="T102" fmla="*/ 337499 w 179"/>
                <a:gd name="T103" fmla="*/ 153025 h 122"/>
                <a:gd name="T104" fmla="*/ 339406 w 179"/>
                <a:gd name="T105" fmla="*/ 164502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0" name="Freeform 118"/>
            <p:cNvSpPr>
              <a:spLocks noChangeAspect="1"/>
            </p:cNvSpPr>
            <p:nvPr/>
          </p:nvSpPr>
          <p:spPr bwMode="auto">
            <a:xfrm>
              <a:off x="5621121" y="1789899"/>
              <a:ext cx="416445" cy="216666"/>
            </a:xfrm>
            <a:custGeom>
              <a:avLst/>
              <a:gdLst>
                <a:gd name="T0" fmla="*/ 278988 w 216"/>
                <a:gd name="T1" fmla="*/ 262890 h 140"/>
                <a:gd name="T2" fmla="*/ 294275 w 216"/>
                <a:gd name="T3" fmla="*/ 262890 h 140"/>
                <a:gd name="T4" fmla="*/ 307652 w 216"/>
                <a:gd name="T5" fmla="*/ 238125 h 140"/>
                <a:gd name="T6" fmla="*/ 298097 w 216"/>
                <a:gd name="T7" fmla="*/ 222885 h 140"/>
                <a:gd name="T8" fmla="*/ 286632 w 216"/>
                <a:gd name="T9" fmla="*/ 211455 h 140"/>
                <a:gd name="T10" fmla="*/ 286632 w 216"/>
                <a:gd name="T11" fmla="*/ 198120 h 140"/>
                <a:gd name="T12" fmla="*/ 309563 w 216"/>
                <a:gd name="T13" fmla="*/ 186690 h 140"/>
                <a:gd name="T14" fmla="*/ 305741 w 216"/>
                <a:gd name="T15" fmla="*/ 179070 h 140"/>
                <a:gd name="T16" fmla="*/ 324850 w 216"/>
                <a:gd name="T17" fmla="*/ 163830 h 140"/>
                <a:gd name="T18" fmla="*/ 343958 w 216"/>
                <a:gd name="T19" fmla="*/ 156210 h 140"/>
                <a:gd name="T20" fmla="*/ 353513 w 216"/>
                <a:gd name="T21" fmla="*/ 171450 h 140"/>
                <a:gd name="T22" fmla="*/ 363067 w 216"/>
                <a:gd name="T23" fmla="*/ 179070 h 140"/>
                <a:gd name="T24" fmla="*/ 374532 w 216"/>
                <a:gd name="T25" fmla="*/ 179070 h 140"/>
                <a:gd name="T26" fmla="*/ 393641 w 216"/>
                <a:gd name="T27" fmla="*/ 167640 h 140"/>
                <a:gd name="T28" fmla="*/ 410839 w 216"/>
                <a:gd name="T29" fmla="*/ 154305 h 140"/>
                <a:gd name="T30" fmla="*/ 384087 w 216"/>
                <a:gd name="T31" fmla="*/ 148590 h 140"/>
                <a:gd name="T32" fmla="*/ 368800 w 216"/>
                <a:gd name="T33" fmla="*/ 150495 h 140"/>
                <a:gd name="T34" fmla="*/ 353513 w 216"/>
                <a:gd name="T35" fmla="*/ 139065 h 140"/>
                <a:gd name="T36" fmla="*/ 342047 w 216"/>
                <a:gd name="T37" fmla="*/ 131445 h 140"/>
                <a:gd name="T38" fmla="*/ 351602 w 216"/>
                <a:gd name="T39" fmla="*/ 108585 h 140"/>
                <a:gd name="T40" fmla="*/ 334404 w 216"/>
                <a:gd name="T41" fmla="*/ 118110 h 140"/>
                <a:gd name="T42" fmla="*/ 303830 w 216"/>
                <a:gd name="T43" fmla="*/ 156210 h 140"/>
                <a:gd name="T44" fmla="*/ 290454 w 216"/>
                <a:gd name="T45" fmla="*/ 142875 h 140"/>
                <a:gd name="T46" fmla="*/ 257969 w 216"/>
                <a:gd name="T47" fmla="*/ 146685 h 140"/>
                <a:gd name="T48" fmla="*/ 246504 w 216"/>
                <a:gd name="T49" fmla="*/ 131445 h 140"/>
                <a:gd name="T50" fmla="*/ 233127 w 216"/>
                <a:gd name="T51" fmla="*/ 114300 h 140"/>
                <a:gd name="T52" fmla="*/ 235038 w 216"/>
                <a:gd name="T53" fmla="*/ 95250 h 140"/>
                <a:gd name="T54" fmla="*/ 215929 w 216"/>
                <a:gd name="T55" fmla="*/ 76200 h 140"/>
                <a:gd name="T56" fmla="*/ 196821 w 216"/>
                <a:gd name="T57" fmla="*/ 72390 h 140"/>
                <a:gd name="T58" fmla="*/ 133762 w 216"/>
                <a:gd name="T59" fmla="*/ 74295 h 140"/>
                <a:gd name="T60" fmla="*/ 57326 w 216"/>
                <a:gd name="T61" fmla="*/ 0 h 140"/>
                <a:gd name="T62" fmla="*/ 0 w 216"/>
                <a:gd name="T63" fmla="*/ 17145 h 140"/>
                <a:gd name="T64" fmla="*/ 15287 w 216"/>
                <a:gd name="T65" fmla="*/ 140970 h 140"/>
                <a:gd name="T66" fmla="*/ 36307 w 216"/>
                <a:gd name="T67" fmla="*/ 142875 h 140"/>
                <a:gd name="T68" fmla="*/ 34396 w 216"/>
                <a:gd name="T69" fmla="*/ 114300 h 140"/>
                <a:gd name="T70" fmla="*/ 49683 w 216"/>
                <a:gd name="T71" fmla="*/ 102870 h 140"/>
                <a:gd name="T72" fmla="*/ 57326 w 216"/>
                <a:gd name="T73" fmla="*/ 99060 h 140"/>
                <a:gd name="T74" fmla="*/ 70703 w 216"/>
                <a:gd name="T75" fmla="*/ 102870 h 140"/>
                <a:gd name="T76" fmla="*/ 99366 w 216"/>
                <a:gd name="T77" fmla="*/ 118110 h 140"/>
                <a:gd name="T78" fmla="*/ 108920 w 216"/>
                <a:gd name="T79" fmla="*/ 135255 h 140"/>
                <a:gd name="T80" fmla="*/ 110831 w 216"/>
                <a:gd name="T81" fmla="*/ 144780 h 140"/>
                <a:gd name="T82" fmla="*/ 139494 w 216"/>
                <a:gd name="T83" fmla="*/ 137160 h 140"/>
                <a:gd name="T84" fmla="*/ 154781 w 216"/>
                <a:gd name="T85" fmla="*/ 154305 h 140"/>
                <a:gd name="T86" fmla="*/ 166247 w 216"/>
                <a:gd name="T87" fmla="*/ 167640 h 140"/>
                <a:gd name="T88" fmla="*/ 171979 w 216"/>
                <a:gd name="T89" fmla="*/ 186690 h 140"/>
                <a:gd name="T90" fmla="*/ 212108 w 216"/>
                <a:gd name="T91" fmla="*/ 217170 h 140"/>
                <a:gd name="T92" fmla="*/ 250325 w 216"/>
                <a:gd name="T93" fmla="*/ 238125 h 140"/>
                <a:gd name="T94" fmla="*/ 267523 w 216"/>
                <a:gd name="T95" fmla="*/ 249555 h 140"/>
                <a:gd name="T96" fmla="*/ 269434 w 216"/>
                <a:gd name="T97" fmla="*/ 264795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1" name="Freeform 119"/>
            <p:cNvSpPr>
              <a:spLocks noChangeAspect="1"/>
            </p:cNvSpPr>
            <p:nvPr/>
          </p:nvSpPr>
          <p:spPr bwMode="auto">
            <a:xfrm>
              <a:off x="5754063" y="1975613"/>
              <a:ext cx="333156" cy="217956"/>
            </a:xfrm>
            <a:custGeom>
              <a:avLst/>
              <a:gdLst>
                <a:gd name="T0" fmla="*/ 36265 w 173"/>
                <a:gd name="T1" fmla="*/ 260677 h 141"/>
                <a:gd name="T2" fmla="*/ 93525 w 173"/>
                <a:gd name="T3" fmla="*/ 264482 h 141"/>
                <a:gd name="T4" fmla="*/ 104977 w 173"/>
                <a:gd name="T5" fmla="*/ 264482 h 141"/>
                <a:gd name="T6" fmla="*/ 146968 w 173"/>
                <a:gd name="T7" fmla="*/ 256871 h 141"/>
                <a:gd name="T8" fmla="*/ 145059 w 173"/>
                <a:gd name="T9" fmla="*/ 237844 h 141"/>
                <a:gd name="T10" fmla="*/ 166054 w 173"/>
                <a:gd name="T11" fmla="*/ 216914 h 141"/>
                <a:gd name="T12" fmla="*/ 175598 w 173"/>
                <a:gd name="T13" fmla="*/ 216914 h 141"/>
                <a:gd name="T14" fmla="*/ 183232 w 173"/>
                <a:gd name="T15" fmla="*/ 211205 h 141"/>
                <a:gd name="T16" fmla="*/ 198502 w 173"/>
                <a:gd name="T17" fmla="*/ 203594 h 141"/>
                <a:gd name="T18" fmla="*/ 213771 w 173"/>
                <a:gd name="T19" fmla="*/ 199789 h 141"/>
                <a:gd name="T20" fmla="*/ 211862 w 173"/>
                <a:gd name="T21" fmla="*/ 182664 h 141"/>
                <a:gd name="T22" fmla="*/ 230949 w 173"/>
                <a:gd name="T23" fmla="*/ 165539 h 141"/>
                <a:gd name="T24" fmla="*/ 223314 w 173"/>
                <a:gd name="T25" fmla="*/ 140804 h 141"/>
                <a:gd name="T26" fmla="*/ 236675 w 173"/>
                <a:gd name="T27" fmla="*/ 140804 h 141"/>
                <a:gd name="T28" fmla="*/ 253853 w 173"/>
                <a:gd name="T29" fmla="*/ 125582 h 141"/>
                <a:gd name="T30" fmla="*/ 261488 w 173"/>
                <a:gd name="T31" fmla="*/ 108457 h 141"/>
                <a:gd name="T32" fmla="*/ 248127 w 173"/>
                <a:gd name="T33" fmla="*/ 79916 h 141"/>
                <a:gd name="T34" fmla="*/ 263397 w 173"/>
                <a:gd name="T35" fmla="*/ 68499 h 141"/>
                <a:gd name="T36" fmla="*/ 307296 w 173"/>
                <a:gd name="T37" fmla="*/ 49472 h 141"/>
                <a:gd name="T38" fmla="*/ 328291 w 173"/>
                <a:gd name="T39" fmla="*/ 45666 h 141"/>
                <a:gd name="T40" fmla="*/ 330200 w 173"/>
                <a:gd name="T41" fmla="*/ 34250 h 141"/>
                <a:gd name="T42" fmla="*/ 307296 w 173"/>
                <a:gd name="T43" fmla="*/ 41861 h 141"/>
                <a:gd name="T44" fmla="*/ 286301 w 173"/>
                <a:gd name="T45" fmla="*/ 41861 h 141"/>
                <a:gd name="T46" fmla="*/ 267214 w 173"/>
                <a:gd name="T47" fmla="*/ 47569 h 141"/>
                <a:gd name="T48" fmla="*/ 255762 w 173"/>
                <a:gd name="T49" fmla="*/ 49472 h 141"/>
                <a:gd name="T50" fmla="*/ 251945 w 173"/>
                <a:gd name="T51" fmla="*/ 19028 h 141"/>
                <a:gd name="T52" fmla="*/ 242401 w 173"/>
                <a:gd name="T53" fmla="*/ 7611 h 141"/>
                <a:gd name="T54" fmla="*/ 213771 w 173"/>
                <a:gd name="T55" fmla="*/ 19028 h 141"/>
                <a:gd name="T56" fmla="*/ 208045 w 173"/>
                <a:gd name="T57" fmla="*/ 26639 h 141"/>
                <a:gd name="T58" fmla="*/ 202319 w 173"/>
                <a:gd name="T59" fmla="*/ 43763 h 141"/>
                <a:gd name="T60" fmla="*/ 179415 w 173"/>
                <a:gd name="T61" fmla="*/ 47569 h 141"/>
                <a:gd name="T62" fmla="*/ 162237 w 173"/>
                <a:gd name="T63" fmla="*/ 34250 h 141"/>
                <a:gd name="T64" fmla="*/ 146968 w 173"/>
                <a:gd name="T65" fmla="*/ 34250 h 141"/>
                <a:gd name="T66" fmla="*/ 129790 w 173"/>
                <a:gd name="T67" fmla="*/ 36152 h 141"/>
                <a:gd name="T68" fmla="*/ 110703 w 173"/>
                <a:gd name="T69" fmla="*/ 36152 h 141"/>
                <a:gd name="T70" fmla="*/ 97342 w 173"/>
                <a:gd name="T71" fmla="*/ 38055 h 141"/>
                <a:gd name="T72" fmla="*/ 87799 w 173"/>
                <a:gd name="T73" fmla="*/ 62791 h 141"/>
                <a:gd name="T74" fmla="*/ 61077 w 173"/>
                <a:gd name="T75" fmla="*/ 81818 h 141"/>
                <a:gd name="T76" fmla="*/ 51534 w 173"/>
                <a:gd name="T77" fmla="*/ 98943 h 141"/>
                <a:gd name="T78" fmla="*/ 38173 w 173"/>
                <a:gd name="T79" fmla="*/ 97040 h 141"/>
                <a:gd name="T80" fmla="*/ 19087 w 173"/>
                <a:gd name="T81" fmla="*/ 91332 h 141"/>
                <a:gd name="T82" fmla="*/ 5726 w 173"/>
                <a:gd name="T83" fmla="*/ 117971 h 141"/>
                <a:gd name="T84" fmla="*/ 3817 w 173"/>
                <a:gd name="T85" fmla="*/ 123679 h 141"/>
                <a:gd name="T86" fmla="*/ 7635 w 173"/>
                <a:gd name="T87" fmla="*/ 152220 h 141"/>
                <a:gd name="T88" fmla="*/ 7635 w 173"/>
                <a:gd name="T89" fmla="*/ 171248 h 141"/>
                <a:gd name="T90" fmla="*/ 17178 w 173"/>
                <a:gd name="T91" fmla="*/ 211205 h 141"/>
                <a:gd name="T92" fmla="*/ 36265 w 173"/>
                <a:gd name="T93" fmla="*/ 226427 h 141"/>
                <a:gd name="T94" fmla="*/ 19087 w 173"/>
                <a:gd name="T95" fmla="*/ 256871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2" name="Freeform 120"/>
            <p:cNvSpPr>
              <a:spLocks noChangeAspect="1"/>
            </p:cNvSpPr>
            <p:nvPr/>
          </p:nvSpPr>
          <p:spPr bwMode="auto">
            <a:xfrm>
              <a:off x="5773283" y="2013015"/>
              <a:ext cx="387614" cy="319841"/>
            </a:xfrm>
            <a:custGeom>
              <a:avLst/>
              <a:gdLst>
                <a:gd name="T0" fmla="*/ 376530 w 201"/>
                <a:gd name="T1" fmla="*/ 62764 h 207"/>
                <a:gd name="T2" fmla="*/ 355505 w 201"/>
                <a:gd name="T3" fmla="*/ 79881 h 207"/>
                <a:gd name="T4" fmla="*/ 317279 w 201"/>
                <a:gd name="T5" fmla="*/ 72273 h 207"/>
                <a:gd name="T6" fmla="*/ 309634 w 201"/>
                <a:gd name="T7" fmla="*/ 93195 h 207"/>
                <a:gd name="T8" fmla="*/ 321102 w 201"/>
                <a:gd name="T9" fmla="*/ 127429 h 207"/>
                <a:gd name="T10" fmla="*/ 336392 w 201"/>
                <a:gd name="T11" fmla="*/ 131233 h 207"/>
                <a:gd name="T12" fmla="*/ 330658 w 201"/>
                <a:gd name="T13" fmla="*/ 150253 h 207"/>
                <a:gd name="T14" fmla="*/ 326835 w 201"/>
                <a:gd name="T15" fmla="*/ 167370 h 207"/>
                <a:gd name="T16" fmla="*/ 326835 w 201"/>
                <a:gd name="T17" fmla="*/ 180684 h 207"/>
                <a:gd name="T18" fmla="*/ 313456 w 201"/>
                <a:gd name="T19" fmla="*/ 197801 h 207"/>
                <a:gd name="T20" fmla="*/ 298166 w 201"/>
                <a:gd name="T21" fmla="*/ 213016 h 207"/>
                <a:gd name="T22" fmla="*/ 282875 w 201"/>
                <a:gd name="T23" fmla="*/ 245349 h 207"/>
                <a:gd name="T24" fmla="*/ 267585 w 201"/>
                <a:gd name="T25" fmla="*/ 258663 h 207"/>
                <a:gd name="T26" fmla="*/ 256117 w 201"/>
                <a:gd name="T27" fmla="*/ 271976 h 207"/>
                <a:gd name="T28" fmla="*/ 237003 w 201"/>
                <a:gd name="T29" fmla="*/ 271976 h 207"/>
                <a:gd name="T30" fmla="*/ 210245 w 201"/>
                <a:gd name="T31" fmla="*/ 300505 h 207"/>
                <a:gd name="T32" fmla="*/ 223624 w 201"/>
                <a:gd name="T33" fmla="*/ 310015 h 207"/>
                <a:gd name="T34" fmla="*/ 229358 w 201"/>
                <a:gd name="T35" fmla="*/ 327132 h 207"/>
                <a:gd name="T36" fmla="*/ 246560 w 201"/>
                <a:gd name="T37" fmla="*/ 340446 h 207"/>
                <a:gd name="T38" fmla="*/ 258028 w 201"/>
                <a:gd name="T39" fmla="*/ 368975 h 207"/>
                <a:gd name="T40" fmla="*/ 256117 w 201"/>
                <a:gd name="T41" fmla="*/ 378485 h 207"/>
                <a:gd name="T42" fmla="*/ 248471 w 201"/>
                <a:gd name="T43" fmla="*/ 374681 h 207"/>
                <a:gd name="T44" fmla="*/ 221713 w 201"/>
                <a:gd name="T45" fmla="*/ 380386 h 207"/>
                <a:gd name="T46" fmla="*/ 200688 w 201"/>
                <a:gd name="T47" fmla="*/ 384190 h 207"/>
                <a:gd name="T48" fmla="*/ 185398 w 201"/>
                <a:gd name="T49" fmla="*/ 393700 h 207"/>
                <a:gd name="T50" fmla="*/ 162462 w 201"/>
                <a:gd name="T51" fmla="*/ 365171 h 207"/>
                <a:gd name="T52" fmla="*/ 145260 w 201"/>
                <a:gd name="T53" fmla="*/ 348054 h 207"/>
                <a:gd name="T54" fmla="*/ 107034 w 201"/>
                <a:gd name="T55" fmla="*/ 346152 h 207"/>
                <a:gd name="T56" fmla="*/ 74541 w 201"/>
                <a:gd name="T57" fmla="*/ 349956 h 207"/>
                <a:gd name="T58" fmla="*/ 49694 w 201"/>
                <a:gd name="T59" fmla="*/ 349956 h 207"/>
                <a:gd name="T60" fmla="*/ 30581 w 201"/>
                <a:gd name="T61" fmla="*/ 348054 h 207"/>
                <a:gd name="T62" fmla="*/ 32492 w 201"/>
                <a:gd name="T63" fmla="*/ 319525 h 207"/>
                <a:gd name="T64" fmla="*/ 59251 w 201"/>
                <a:gd name="T65" fmla="*/ 310015 h 207"/>
                <a:gd name="T66" fmla="*/ 61162 w 201"/>
                <a:gd name="T67" fmla="*/ 292898 h 207"/>
                <a:gd name="T68" fmla="*/ 45872 w 201"/>
                <a:gd name="T69" fmla="*/ 260565 h 207"/>
                <a:gd name="T70" fmla="*/ 24847 w 201"/>
                <a:gd name="T71" fmla="*/ 251055 h 207"/>
                <a:gd name="T72" fmla="*/ 15291 w 201"/>
                <a:gd name="T73" fmla="*/ 228232 h 207"/>
                <a:gd name="T74" fmla="*/ 17202 w 201"/>
                <a:gd name="T75" fmla="*/ 214918 h 207"/>
                <a:gd name="T76" fmla="*/ 74541 w 201"/>
                <a:gd name="T77" fmla="*/ 218722 h 207"/>
                <a:gd name="T78" fmla="*/ 86009 w 201"/>
                <a:gd name="T79" fmla="*/ 218722 h 207"/>
                <a:gd name="T80" fmla="*/ 128058 w 201"/>
                <a:gd name="T81" fmla="*/ 211114 h 207"/>
                <a:gd name="T82" fmla="*/ 126147 w 201"/>
                <a:gd name="T83" fmla="*/ 192095 h 207"/>
                <a:gd name="T84" fmla="*/ 147172 w 201"/>
                <a:gd name="T85" fmla="*/ 171174 h 207"/>
                <a:gd name="T86" fmla="*/ 156728 w 201"/>
                <a:gd name="T87" fmla="*/ 171174 h 207"/>
                <a:gd name="T88" fmla="*/ 164373 w 201"/>
                <a:gd name="T89" fmla="*/ 165468 h 207"/>
                <a:gd name="T90" fmla="*/ 179664 w 201"/>
                <a:gd name="T91" fmla="*/ 157860 h 207"/>
                <a:gd name="T92" fmla="*/ 194954 w 201"/>
                <a:gd name="T93" fmla="*/ 154057 h 207"/>
                <a:gd name="T94" fmla="*/ 193043 w 201"/>
                <a:gd name="T95" fmla="*/ 136939 h 207"/>
                <a:gd name="T96" fmla="*/ 212156 w 201"/>
                <a:gd name="T97" fmla="*/ 119822 h 207"/>
                <a:gd name="T98" fmla="*/ 204511 w 201"/>
                <a:gd name="T99" fmla="*/ 95097 h 207"/>
                <a:gd name="T100" fmla="*/ 217890 w 201"/>
                <a:gd name="T101" fmla="*/ 95097 h 207"/>
                <a:gd name="T102" fmla="*/ 235092 w 201"/>
                <a:gd name="T103" fmla="*/ 79881 h 207"/>
                <a:gd name="T104" fmla="*/ 242737 w 201"/>
                <a:gd name="T105" fmla="*/ 62764 h 207"/>
                <a:gd name="T106" fmla="*/ 229358 w 201"/>
                <a:gd name="T107" fmla="*/ 34235 h 207"/>
                <a:gd name="T108" fmla="*/ 244649 w 201"/>
                <a:gd name="T109" fmla="*/ 22823 h 207"/>
                <a:gd name="T110" fmla="*/ 288609 w 201"/>
                <a:gd name="T111" fmla="*/ 3804 h 207"/>
                <a:gd name="T112" fmla="*/ 309634 w 201"/>
                <a:gd name="T113" fmla="*/ 0 h 207"/>
                <a:gd name="T114" fmla="*/ 326835 w 201"/>
                <a:gd name="T115" fmla="*/ 1902 h 207"/>
                <a:gd name="T116" fmla="*/ 344037 w 201"/>
                <a:gd name="T117" fmla="*/ 32333 h 207"/>
                <a:gd name="T118" fmla="*/ 365062 w 201"/>
                <a:gd name="T119" fmla="*/ 39941 h 207"/>
                <a:gd name="T120" fmla="*/ 384175 w 201"/>
                <a:gd name="T121" fmla="*/ 5135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3" name="Freeform 121"/>
            <p:cNvSpPr>
              <a:spLocks noChangeAspect="1"/>
            </p:cNvSpPr>
            <p:nvPr/>
          </p:nvSpPr>
          <p:spPr bwMode="auto">
            <a:xfrm>
              <a:off x="6055185" y="1582261"/>
              <a:ext cx="1369463" cy="835712"/>
            </a:xfrm>
            <a:custGeom>
              <a:avLst/>
              <a:gdLst>
                <a:gd name="T0" fmla="*/ 78050 w 713"/>
                <a:gd name="T1" fmla="*/ 403860 h 540"/>
                <a:gd name="T2" fmla="*/ 1904 w 713"/>
                <a:gd name="T3" fmla="*/ 438150 h 540"/>
                <a:gd name="T4" fmla="*/ 32362 w 713"/>
                <a:gd name="T5" fmla="*/ 518160 h 540"/>
                <a:gd name="T6" fmla="*/ 85665 w 713"/>
                <a:gd name="T7" fmla="*/ 569595 h 540"/>
                <a:gd name="T8" fmla="*/ 138968 w 713"/>
                <a:gd name="T9" fmla="*/ 636270 h 540"/>
                <a:gd name="T10" fmla="*/ 140871 w 713"/>
                <a:gd name="T11" fmla="*/ 693420 h 540"/>
                <a:gd name="T12" fmla="*/ 209403 w 713"/>
                <a:gd name="T13" fmla="*/ 735330 h 540"/>
                <a:gd name="T14" fmla="*/ 279839 w 713"/>
                <a:gd name="T15" fmla="*/ 779145 h 540"/>
                <a:gd name="T16" fmla="*/ 348371 w 713"/>
                <a:gd name="T17" fmla="*/ 807720 h 540"/>
                <a:gd name="T18" fmla="*/ 399770 w 713"/>
                <a:gd name="T19" fmla="*/ 809625 h 540"/>
                <a:gd name="T20" fmla="*/ 454976 w 713"/>
                <a:gd name="T21" fmla="*/ 807720 h 540"/>
                <a:gd name="T22" fmla="*/ 523508 w 713"/>
                <a:gd name="T23" fmla="*/ 763905 h 540"/>
                <a:gd name="T24" fmla="*/ 576810 w 713"/>
                <a:gd name="T25" fmla="*/ 792480 h 540"/>
                <a:gd name="T26" fmla="*/ 628209 w 713"/>
                <a:gd name="T27" fmla="*/ 853440 h 540"/>
                <a:gd name="T28" fmla="*/ 622498 w 713"/>
                <a:gd name="T29" fmla="*/ 914400 h 540"/>
                <a:gd name="T30" fmla="*/ 668186 w 713"/>
                <a:gd name="T31" fmla="*/ 973455 h 540"/>
                <a:gd name="T32" fmla="*/ 715778 w 713"/>
                <a:gd name="T33" fmla="*/ 992505 h 540"/>
                <a:gd name="T34" fmla="*/ 732911 w 713"/>
                <a:gd name="T35" fmla="*/ 956310 h 540"/>
                <a:gd name="T36" fmla="*/ 774792 w 713"/>
                <a:gd name="T37" fmla="*/ 956310 h 540"/>
                <a:gd name="T38" fmla="*/ 829998 w 713"/>
                <a:gd name="T39" fmla="*/ 954405 h 540"/>
                <a:gd name="T40" fmla="*/ 904241 w 713"/>
                <a:gd name="T41" fmla="*/ 986790 h 540"/>
                <a:gd name="T42" fmla="*/ 925181 w 713"/>
                <a:gd name="T43" fmla="*/ 996315 h 540"/>
                <a:gd name="T44" fmla="*/ 986098 w 713"/>
                <a:gd name="T45" fmla="*/ 973455 h 540"/>
                <a:gd name="T46" fmla="*/ 1033690 w 713"/>
                <a:gd name="T47" fmla="*/ 960120 h 540"/>
                <a:gd name="T48" fmla="*/ 1126970 w 713"/>
                <a:gd name="T49" fmla="*/ 859155 h 540"/>
                <a:gd name="T50" fmla="*/ 1163139 w 713"/>
                <a:gd name="T51" fmla="*/ 779145 h 540"/>
                <a:gd name="T52" fmla="*/ 1125066 w 713"/>
                <a:gd name="T53" fmla="*/ 729615 h 540"/>
                <a:gd name="T54" fmla="*/ 1121259 w 713"/>
                <a:gd name="T55" fmla="*/ 676275 h 540"/>
                <a:gd name="T56" fmla="*/ 1126970 w 713"/>
                <a:gd name="T57" fmla="*/ 653415 h 540"/>
                <a:gd name="T58" fmla="*/ 1100318 w 713"/>
                <a:gd name="T59" fmla="*/ 563880 h 540"/>
                <a:gd name="T60" fmla="*/ 1136488 w 713"/>
                <a:gd name="T61" fmla="*/ 529590 h 540"/>
                <a:gd name="T62" fmla="*/ 1104126 w 713"/>
                <a:gd name="T63" fmla="*/ 502920 h 540"/>
                <a:gd name="T64" fmla="*/ 1022268 w 713"/>
                <a:gd name="T65" fmla="*/ 483870 h 540"/>
                <a:gd name="T66" fmla="*/ 1119355 w 713"/>
                <a:gd name="T67" fmla="*/ 422910 h 540"/>
                <a:gd name="T68" fmla="*/ 1138392 w 713"/>
                <a:gd name="T69" fmla="*/ 447675 h 540"/>
                <a:gd name="T70" fmla="*/ 1224057 w 713"/>
                <a:gd name="T71" fmla="*/ 386715 h 540"/>
                <a:gd name="T72" fmla="*/ 1281166 w 713"/>
                <a:gd name="T73" fmla="*/ 340995 h 540"/>
                <a:gd name="T74" fmla="*/ 1294492 w 713"/>
                <a:gd name="T75" fmla="*/ 285750 h 540"/>
                <a:gd name="T76" fmla="*/ 1349698 w 713"/>
                <a:gd name="T77" fmla="*/ 230505 h 540"/>
                <a:gd name="T78" fmla="*/ 1256419 w 713"/>
                <a:gd name="T79" fmla="*/ 175260 h 540"/>
                <a:gd name="T80" fmla="*/ 1172658 w 713"/>
                <a:gd name="T81" fmla="*/ 112395 h 540"/>
                <a:gd name="T82" fmla="*/ 1126970 w 713"/>
                <a:gd name="T83" fmla="*/ 36195 h 540"/>
                <a:gd name="T84" fmla="*/ 999424 w 713"/>
                <a:gd name="T85" fmla="*/ 11430 h 540"/>
                <a:gd name="T86" fmla="*/ 988002 w 713"/>
                <a:gd name="T87" fmla="*/ 112395 h 540"/>
                <a:gd name="T88" fmla="*/ 930892 w 713"/>
                <a:gd name="T89" fmla="*/ 190500 h 540"/>
                <a:gd name="T90" fmla="*/ 1020364 w 713"/>
                <a:gd name="T91" fmla="*/ 230505 h 540"/>
                <a:gd name="T92" fmla="*/ 949929 w 713"/>
                <a:gd name="T93" fmla="*/ 257175 h 540"/>
                <a:gd name="T94" fmla="*/ 856649 w 713"/>
                <a:gd name="T95" fmla="*/ 308610 h 540"/>
                <a:gd name="T96" fmla="*/ 702452 w 713"/>
                <a:gd name="T97" fmla="*/ 382905 h 540"/>
                <a:gd name="T98" fmla="*/ 513990 w 713"/>
                <a:gd name="T99" fmla="*/ 354330 h 540"/>
                <a:gd name="T100" fmla="*/ 420710 w 713"/>
                <a:gd name="T101" fmla="*/ 280035 h 540"/>
                <a:gd name="T102" fmla="*/ 355985 w 713"/>
                <a:gd name="T103" fmla="*/ 213360 h 540"/>
                <a:gd name="T104" fmla="*/ 283646 w 713"/>
                <a:gd name="T105" fmla="*/ 156210 h 540"/>
                <a:gd name="T106" fmla="*/ 236054 w 713"/>
                <a:gd name="T107" fmla="*/ 188595 h 540"/>
                <a:gd name="T108" fmla="*/ 173233 w 713"/>
                <a:gd name="T109" fmla="*/ 276225 h 540"/>
                <a:gd name="T110" fmla="*/ 144679 w 713"/>
                <a:gd name="T111" fmla="*/ 337185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4" name="Freeform 122"/>
            <p:cNvSpPr>
              <a:spLocks noChangeAspect="1"/>
            </p:cNvSpPr>
            <p:nvPr/>
          </p:nvSpPr>
          <p:spPr bwMode="auto">
            <a:xfrm>
              <a:off x="6337086" y="1613213"/>
              <a:ext cx="756008" cy="286309"/>
            </a:xfrm>
            <a:custGeom>
              <a:avLst/>
              <a:gdLst>
                <a:gd name="T0" fmla="*/ 646343 w 393"/>
                <a:gd name="T1" fmla="*/ 78105 h 185"/>
                <a:gd name="T2" fmla="*/ 619650 w 393"/>
                <a:gd name="T3" fmla="*/ 76200 h 185"/>
                <a:gd name="T4" fmla="*/ 591051 w 393"/>
                <a:gd name="T5" fmla="*/ 72390 h 185"/>
                <a:gd name="T6" fmla="*/ 566265 w 393"/>
                <a:gd name="T7" fmla="*/ 87630 h 185"/>
                <a:gd name="T8" fmla="*/ 531946 w 393"/>
                <a:gd name="T9" fmla="*/ 95250 h 185"/>
                <a:gd name="T10" fmla="*/ 510973 w 393"/>
                <a:gd name="T11" fmla="*/ 100965 h 185"/>
                <a:gd name="T12" fmla="*/ 457588 w 393"/>
                <a:gd name="T13" fmla="*/ 87630 h 185"/>
                <a:gd name="T14" fmla="*/ 438522 w 393"/>
                <a:gd name="T15" fmla="*/ 72390 h 185"/>
                <a:gd name="T16" fmla="*/ 388950 w 393"/>
                <a:gd name="T17" fmla="*/ 66675 h 185"/>
                <a:gd name="T18" fmla="*/ 358444 w 393"/>
                <a:gd name="T19" fmla="*/ 70485 h 185"/>
                <a:gd name="T20" fmla="*/ 347004 w 393"/>
                <a:gd name="T21" fmla="*/ 64770 h 185"/>
                <a:gd name="T22" fmla="*/ 320311 w 393"/>
                <a:gd name="T23" fmla="*/ 55245 h 185"/>
                <a:gd name="T24" fmla="*/ 305059 w 393"/>
                <a:gd name="T25" fmla="*/ 22860 h 185"/>
                <a:gd name="T26" fmla="*/ 274553 w 393"/>
                <a:gd name="T27" fmla="*/ 11430 h 185"/>
                <a:gd name="T28" fmla="*/ 230700 w 393"/>
                <a:gd name="T29" fmla="*/ 1905 h 185"/>
                <a:gd name="T30" fmla="*/ 221167 w 393"/>
                <a:gd name="T31" fmla="*/ 22860 h 185"/>
                <a:gd name="T32" fmla="*/ 223074 w 393"/>
                <a:gd name="T33" fmla="*/ 53340 h 185"/>
                <a:gd name="T34" fmla="*/ 224981 w 393"/>
                <a:gd name="T35" fmla="*/ 76200 h 185"/>
                <a:gd name="T36" fmla="*/ 204008 w 393"/>
                <a:gd name="T37" fmla="*/ 78105 h 185"/>
                <a:gd name="T38" fmla="*/ 167782 w 393"/>
                <a:gd name="T39" fmla="*/ 80010 h 185"/>
                <a:gd name="T40" fmla="*/ 141090 w 393"/>
                <a:gd name="T41" fmla="*/ 62865 h 185"/>
                <a:gd name="T42" fmla="*/ 114397 w 393"/>
                <a:gd name="T43" fmla="*/ 53340 h 185"/>
                <a:gd name="T44" fmla="*/ 101051 w 393"/>
                <a:gd name="T45" fmla="*/ 51435 h 185"/>
                <a:gd name="T46" fmla="*/ 89611 w 393"/>
                <a:gd name="T47" fmla="*/ 53340 h 185"/>
                <a:gd name="T48" fmla="*/ 74358 w 393"/>
                <a:gd name="T49" fmla="*/ 60960 h 185"/>
                <a:gd name="T50" fmla="*/ 45759 w 393"/>
                <a:gd name="T51" fmla="*/ 76200 h 185"/>
                <a:gd name="T52" fmla="*/ 15253 w 393"/>
                <a:gd name="T53" fmla="*/ 93345 h 185"/>
                <a:gd name="T54" fmla="*/ 0 w 393"/>
                <a:gd name="T55" fmla="*/ 114300 h 185"/>
                <a:gd name="T56" fmla="*/ 11440 w 393"/>
                <a:gd name="T57" fmla="*/ 129540 h 185"/>
                <a:gd name="T58" fmla="*/ 34319 w 393"/>
                <a:gd name="T59" fmla="*/ 146685 h 185"/>
                <a:gd name="T60" fmla="*/ 47665 w 393"/>
                <a:gd name="T61" fmla="*/ 148590 h 185"/>
                <a:gd name="T62" fmla="*/ 72451 w 393"/>
                <a:gd name="T63" fmla="*/ 158115 h 185"/>
                <a:gd name="T64" fmla="*/ 87704 w 393"/>
                <a:gd name="T65" fmla="*/ 179070 h 185"/>
                <a:gd name="T66" fmla="*/ 85798 w 393"/>
                <a:gd name="T67" fmla="*/ 200025 h 185"/>
                <a:gd name="T68" fmla="*/ 87704 w 393"/>
                <a:gd name="T69" fmla="*/ 236220 h 185"/>
                <a:gd name="T70" fmla="*/ 116304 w 393"/>
                <a:gd name="T71" fmla="*/ 245745 h 185"/>
                <a:gd name="T72" fmla="*/ 163969 w 393"/>
                <a:gd name="T73" fmla="*/ 253365 h 185"/>
                <a:gd name="T74" fmla="*/ 200195 w 393"/>
                <a:gd name="T75" fmla="*/ 266700 h 185"/>
                <a:gd name="T76" fmla="*/ 211634 w 393"/>
                <a:gd name="T77" fmla="*/ 278130 h 185"/>
                <a:gd name="T78" fmla="*/ 228794 w 393"/>
                <a:gd name="T79" fmla="*/ 308610 h 185"/>
                <a:gd name="T80" fmla="*/ 253580 w 393"/>
                <a:gd name="T81" fmla="*/ 318135 h 185"/>
                <a:gd name="T82" fmla="*/ 299339 w 393"/>
                <a:gd name="T83" fmla="*/ 320040 h 185"/>
                <a:gd name="T84" fmla="*/ 358444 w 393"/>
                <a:gd name="T85" fmla="*/ 320040 h 185"/>
                <a:gd name="T86" fmla="*/ 406109 w 393"/>
                <a:gd name="T87" fmla="*/ 342900 h 185"/>
                <a:gd name="T88" fmla="*/ 440428 w 393"/>
                <a:gd name="T89" fmla="*/ 350520 h 185"/>
                <a:gd name="T90" fmla="*/ 512880 w 393"/>
                <a:gd name="T91" fmla="*/ 323850 h 185"/>
                <a:gd name="T92" fmla="*/ 556732 w 393"/>
                <a:gd name="T93" fmla="*/ 314325 h 185"/>
                <a:gd name="T94" fmla="*/ 585331 w 393"/>
                <a:gd name="T95" fmla="*/ 274320 h 185"/>
                <a:gd name="T96" fmla="*/ 571985 w 393"/>
                <a:gd name="T97" fmla="*/ 257175 h 185"/>
                <a:gd name="T98" fmla="*/ 592958 w 393"/>
                <a:gd name="T99" fmla="*/ 241935 h 185"/>
                <a:gd name="T100" fmla="*/ 629183 w 393"/>
                <a:gd name="T101" fmla="*/ 245745 h 185"/>
                <a:gd name="T102" fmla="*/ 657782 w 393"/>
                <a:gd name="T103" fmla="*/ 230505 h 185"/>
                <a:gd name="T104" fmla="*/ 671129 w 393"/>
                <a:gd name="T105" fmla="*/ 211455 h 185"/>
                <a:gd name="T106" fmla="*/ 694008 w 393"/>
                <a:gd name="T107" fmla="*/ 203835 h 185"/>
                <a:gd name="T108" fmla="*/ 703541 w 393"/>
                <a:gd name="T109" fmla="*/ 196215 h 185"/>
                <a:gd name="T110" fmla="*/ 726421 w 393"/>
                <a:gd name="T111" fmla="*/ 186690 h 185"/>
                <a:gd name="T112" fmla="*/ 749300 w 393"/>
                <a:gd name="T113" fmla="*/ 182880 h 185"/>
                <a:gd name="T114" fmla="*/ 714981 w 393"/>
                <a:gd name="T115" fmla="*/ 144780 h 185"/>
                <a:gd name="T116" fmla="*/ 692102 w 393"/>
                <a:gd name="T117" fmla="*/ 144780 h 185"/>
                <a:gd name="T118" fmla="*/ 671129 w 393"/>
                <a:gd name="T119" fmla="*/ 144780 h 185"/>
                <a:gd name="T120" fmla="*/ 642530 w 393"/>
                <a:gd name="T121" fmla="*/ 148590 h 185"/>
                <a:gd name="T122" fmla="*/ 644436 w 393"/>
                <a:gd name="T123" fmla="*/ 137160 h 185"/>
                <a:gd name="T124" fmla="*/ 644436 w 393"/>
                <a:gd name="T125" fmla="*/ 106680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5" name="Freeform 123"/>
            <p:cNvSpPr>
              <a:spLocks noChangeAspect="1"/>
            </p:cNvSpPr>
            <p:nvPr/>
          </p:nvSpPr>
          <p:spPr bwMode="auto">
            <a:xfrm>
              <a:off x="5944667" y="1853094"/>
              <a:ext cx="251468" cy="104464"/>
            </a:xfrm>
            <a:custGeom>
              <a:avLst/>
              <a:gdLst>
                <a:gd name="T0" fmla="*/ 110349 w 131"/>
                <a:gd name="T1" fmla="*/ 122829 h 67"/>
                <a:gd name="T2" fmla="*/ 110349 w 131"/>
                <a:gd name="T3" fmla="*/ 105556 h 67"/>
                <a:gd name="T4" fmla="*/ 121765 w 131"/>
                <a:gd name="T5" fmla="*/ 99799 h 67"/>
                <a:gd name="T6" fmla="*/ 133180 w 131"/>
                <a:gd name="T7" fmla="*/ 92122 h 67"/>
                <a:gd name="T8" fmla="*/ 142693 w 131"/>
                <a:gd name="T9" fmla="*/ 94041 h 67"/>
                <a:gd name="T10" fmla="*/ 150303 w 131"/>
                <a:gd name="T11" fmla="*/ 86364 h 67"/>
                <a:gd name="T12" fmla="*/ 152206 w 131"/>
                <a:gd name="T13" fmla="*/ 95960 h 67"/>
                <a:gd name="T14" fmla="*/ 169329 w 131"/>
                <a:gd name="T15" fmla="*/ 92122 h 67"/>
                <a:gd name="T16" fmla="*/ 176939 w 131"/>
                <a:gd name="T17" fmla="*/ 72930 h 67"/>
                <a:gd name="T18" fmla="*/ 186452 w 131"/>
                <a:gd name="T19" fmla="*/ 71011 h 67"/>
                <a:gd name="T20" fmla="*/ 207380 w 131"/>
                <a:gd name="T21" fmla="*/ 71011 h 67"/>
                <a:gd name="T22" fmla="*/ 213088 w 131"/>
                <a:gd name="T23" fmla="*/ 59495 h 67"/>
                <a:gd name="T24" fmla="*/ 228309 w 131"/>
                <a:gd name="T25" fmla="*/ 46061 h 67"/>
                <a:gd name="T26" fmla="*/ 235919 w 131"/>
                <a:gd name="T27" fmla="*/ 49899 h 67"/>
                <a:gd name="T28" fmla="*/ 241627 w 131"/>
                <a:gd name="T29" fmla="*/ 40303 h 67"/>
                <a:gd name="T30" fmla="*/ 249237 w 131"/>
                <a:gd name="T31" fmla="*/ 34546 h 67"/>
                <a:gd name="T32" fmla="*/ 245432 w 131"/>
                <a:gd name="T33" fmla="*/ 30707 h 67"/>
                <a:gd name="T34" fmla="*/ 239724 w 131"/>
                <a:gd name="T35" fmla="*/ 28788 h 67"/>
                <a:gd name="T36" fmla="*/ 226406 w 131"/>
                <a:gd name="T37" fmla="*/ 24950 h 67"/>
                <a:gd name="T38" fmla="*/ 224504 w 131"/>
                <a:gd name="T39" fmla="*/ 17273 h 67"/>
                <a:gd name="T40" fmla="*/ 218796 w 131"/>
                <a:gd name="T41" fmla="*/ 17273 h 67"/>
                <a:gd name="T42" fmla="*/ 207380 w 131"/>
                <a:gd name="T43" fmla="*/ 13434 h 67"/>
                <a:gd name="T44" fmla="*/ 188355 w 131"/>
                <a:gd name="T45" fmla="*/ 13434 h 67"/>
                <a:gd name="T46" fmla="*/ 167426 w 131"/>
                <a:gd name="T47" fmla="*/ 11515 h 67"/>
                <a:gd name="T48" fmla="*/ 150303 w 131"/>
                <a:gd name="T49" fmla="*/ 11515 h 67"/>
                <a:gd name="T50" fmla="*/ 148401 w 131"/>
                <a:gd name="T51" fmla="*/ 15354 h 67"/>
                <a:gd name="T52" fmla="*/ 127472 w 131"/>
                <a:gd name="T53" fmla="*/ 11515 h 67"/>
                <a:gd name="T54" fmla="*/ 108447 w 131"/>
                <a:gd name="T55" fmla="*/ 1919 h 67"/>
                <a:gd name="T56" fmla="*/ 95129 w 131"/>
                <a:gd name="T57" fmla="*/ 3838 h 67"/>
                <a:gd name="T58" fmla="*/ 87518 w 131"/>
                <a:gd name="T59" fmla="*/ 9596 h 67"/>
                <a:gd name="T60" fmla="*/ 87518 w 131"/>
                <a:gd name="T61" fmla="*/ 24950 h 67"/>
                <a:gd name="T62" fmla="*/ 78005 w 131"/>
                <a:gd name="T63" fmla="*/ 26869 h 67"/>
                <a:gd name="T64" fmla="*/ 51369 w 131"/>
                <a:gd name="T65" fmla="*/ 19192 h 67"/>
                <a:gd name="T66" fmla="*/ 41857 w 131"/>
                <a:gd name="T67" fmla="*/ 21111 h 67"/>
                <a:gd name="T68" fmla="*/ 30441 w 131"/>
                <a:gd name="T69" fmla="*/ 30707 h 67"/>
                <a:gd name="T70" fmla="*/ 41857 w 131"/>
                <a:gd name="T71" fmla="*/ 34546 h 67"/>
                <a:gd name="T72" fmla="*/ 20928 w 131"/>
                <a:gd name="T73" fmla="*/ 53738 h 67"/>
                <a:gd name="T74" fmla="*/ 20928 w 131"/>
                <a:gd name="T75" fmla="*/ 61415 h 67"/>
                <a:gd name="T76" fmla="*/ 32344 w 131"/>
                <a:gd name="T77" fmla="*/ 61415 h 67"/>
                <a:gd name="T78" fmla="*/ 32344 w 131"/>
                <a:gd name="T79" fmla="*/ 72930 h 67"/>
                <a:gd name="T80" fmla="*/ 47564 w 131"/>
                <a:gd name="T81" fmla="*/ 72930 h 67"/>
                <a:gd name="T82" fmla="*/ 51369 w 131"/>
                <a:gd name="T83" fmla="*/ 57576 h 67"/>
                <a:gd name="T84" fmla="*/ 62785 w 131"/>
                <a:gd name="T85" fmla="*/ 71011 h 67"/>
                <a:gd name="T86" fmla="*/ 76103 w 131"/>
                <a:gd name="T87" fmla="*/ 72930 h 67"/>
                <a:gd name="T88" fmla="*/ 89421 w 131"/>
                <a:gd name="T89" fmla="*/ 76768 h 67"/>
                <a:gd name="T90" fmla="*/ 83713 w 131"/>
                <a:gd name="T91" fmla="*/ 90203 h 67"/>
                <a:gd name="T92" fmla="*/ 72298 w 131"/>
                <a:gd name="T93" fmla="*/ 90203 h 67"/>
                <a:gd name="T94" fmla="*/ 60882 w 131"/>
                <a:gd name="T95" fmla="*/ 101718 h 67"/>
                <a:gd name="T96" fmla="*/ 53272 w 131"/>
                <a:gd name="T97" fmla="*/ 101718 h 67"/>
                <a:gd name="T98" fmla="*/ 47564 w 131"/>
                <a:gd name="T99" fmla="*/ 97880 h 67"/>
                <a:gd name="T100" fmla="*/ 41857 w 131"/>
                <a:gd name="T101" fmla="*/ 101718 h 67"/>
                <a:gd name="T102" fmla="*/ 36149 w 131"/>
                <a:gd name="T103" fmla="*/ 101718 h 67"/>
                <a:gd name="T104" fmla="*/ 15221 w 131"/>
                <a:gd name="T105" fmla="*/ 105556 h 67"/>
                <a:gd name="T106" fmla="*/ 1903 w 131"/>
                <a:gd name="T107" fmla="*/ 109395 h 67"/>
                <a:gd name="T108" fmla="*/ 7610 w 131"/>
                <a:gd name="T109" fmla="*/ 120910 h 67"/>
                <a:gd name="T110" fmla="*/ 30441 w 131"/>
                <a:gd name="T111" fmla="*/ 118991 h 67"/>
                <a:gd name="T112" fmla="*/ 41857 w 131"/>
                <a:gd name="T113" fmla="*/ 124749 h 67"/>
                <a:gd name="T114" fmla="*/ 58980 w 131"/>
                <a:gd name="T115" fmla="*/ 117072 h 67"/>
                <a:gd name="T116" fmla="*/ 64687 w 131"/>
                <a:gd name="T117" fmla="*/ 126668 h 67"/>
                <a:gd name="T118" fmla="*/ 79908 w 131"/>
                <a:gd name="T119" fmla="*/ 126668 h 67"/>
                <a:gd name="T120" fmla="*/ 110349 w 131"/>
                <a:gd name="T121" fmla="*/ 122829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6" name="Freeform 124"/>
            <p:cNvSpPr>
              <a:spLocks noChangeAspect="1"/>
            </p:cNvSpPr>
            <p:nvPr/>
          </p:nvSpPr>
          <p:spPr bwMode="auto">
            <a:xfrm>
              <a:off x="5906226" y="1916287"/>
              <a:ext cx="190604" cy="105754"/>
            </a:xfrm>
            <a:custGeom>
              <a:avLst/>
              <a:gdLst>
                <a:gd name="T0" fmla="*/ 179371 w 99"/>
                <a:gd name="T1" fmla="*/ 107203 h 68"/>
                <a:gd name="T2" fmla="*/ 188912 w 99"/>
                <a:gd name="T3" fmla="*/ 101460 h 68"/>
                <a:gd name="T4" fmla="*/ 179371 w 99"/>
                <a:gd name="T5" fmla="*/ 76574 h 68"/>
                <a:gd name="T6" fmla="*/ 167922 w 99"/>
                <a:gd name="T7" fmla="*/ 63173 h 68"/>
                <a:gd name="T8" fmla="*/ 150748 w 99"/>
                <a:gd name="T9" fmla="*/ 70831 h 68"/>
                <a:gd name="T10" fmla="*/ 150748 w 99"/>
                <a:gd name="T11" fmla="*/ 61259 h 68"/>
                <a:gd name="T12" fmla="*/ 152656 w 99"/>
                <a:gd name="T13" fmla="*/ 55516 h 68"/>
                <a:gd name="T14" fmla="*/ 148840 w 99"/>
                <a:gd name="T15" fmla="*/ 44030 h 68"/>
                <a:gd name="T16" fmla="*/ 118309 w 99"/>
                <a:gd name="T17" fmla="*/ 47858 h 68"/>
                <a:gd name="T18" fmla="*/ 103043 w 99"/>
                <a:gd name="T19" fmla="*/ 47858 h 68"/>
                <a:gd name="T20" fmla="*/ 97318 w 99"/>
                <a:gd name="T21" fmla="*/ 38287 h 68"/>
                <a:gd name="T22" fmla="*/ 80144 w 99"/>
                <a:gd name="T23" fmla="*/ 45944 h 68"/>
                <a:gd name="T24" fmla="*/ 68695 w 99"/>
                <a:gd name="T25" fmla="*/ 40201 h 68"/>
                <a:gd name="T26" fmla="*/ 45797 w 99"/>
                <a:gd name="T27" fmla="*/ 42115 h 68"/>
                <a:gd name="T28" fmla="*/ 40072 w 99"/>
                <a:gd name="T29" fmla="*/ 30629 h 68"/>
                <a:gd name="T30" fmla="*/ 53430 w 99"/>
                <a:gd name="T31" fmla="*/ 26801 h 68"/>
                <a:gd name="T32" fmla="*/ 74420 w 99"/>
                <a:gd name="T33" fmla="*/ 22972 h 68"/>
                <a:gd name="T34" fmla="*/ 70603 w 99"/>
                <a:gd name="T35" fmla="*/ 15315 h 68"/>
                <a:gd name="T36" fmla="*/ 74420 w 99"/>
                <a:gd name="T37" fmla="*/ 7657 h 68"/>
                <a:gd name="T38" fmla="*/ 61062 w 99"/>
                <a:gd name="T39" fmla="*/ 0 h 68"/>
                <a:gd name="T40" fmla="*/ 53430 w 99"/>
                <a:gd name="T41" fmla="*/ 9572 h 68"/>
                <a:gd name="T42" fmla="*/ 41980 w 99"/>
                <a:gd name="T43" fmla="*/ 7657 h 68"/>
                <a:gd name="T44" fmla="*/ 38164 w 99"/>
                <a:gd name="T45" fmla="*/ 19143 h 68"/>
                <a:gd name="T46" fmla="*/ 22898 w 99"/>
                <a:gd name="T47" fmla="*/ 22972 h 68"/>
                <a:gd name="T48" fmla="*/ 26715 w 99"/>
                <a:gd name="T49" fmla="*/ 24886 h 68"/>
                <a:gd name="T50" fmla="*/ 26715 w 99"/>
                <a:gd name="T51" fmla="*/ 30629 h 68"/>
                <a:gd name="T52" fmla="*/ 20990 w 99"/>
                <a:gd name="T53" fmla="*/ 40201 h 68"/>
                <a:gd name="T54" fmla="*/ 3816 w 99"/>
                <a:gd name="T55" fmla="*/ 42115 h 68"/>
                <a:gd name="T56" fmla="*/ 0 w 99"/>
                <a:gd name="T57" fmla="*/ 51687 h 68"/>
                <a:gd name="T58" fmla="*/ 3816 w 99"/>
                <a:gd name="T59" fmla="*/ 55516 h 68"/>
                <a:gd name="T60" fmla="*/ 15266 w 99"/>
                <a:gd name="T61" fmla="*/ 57430 h 68"/>
                <a:gd name="T62" fmla="*/ 15266 w 99"/>
                <a:gd name="T63" fmla="*/ 67002 h 68"/>
                <a:gd name="T64" fmla="*/ 22898 w 99"/>
                <a:gd name="T65" fmla="*/ 74659 h 68"/>
                <a:gd name="T66" fmla="*/ 24807 w 99"/>
                <a:gd name="T67" fmla="*/ 82317 h 68"/>
                <a:gd name="T68" fmla="*/ 11449 w 99"/>
                <a:gd name="T69" fmla="*/ 99546 h 68"/>
                <a:gd name="T70" fmla="*/ 11449 w 99"/>
                <a:gd name="T71" fmla="*/ 107203 h 68"/>
                <a:gd name="T72" fmla="*/ 17174 w 99"/>
                <a:gd name="T73" fmla="*/ 116775 h 68"/>
                <a:gd name="T74" fmla="*/ 28623 w 99"/>
                <a:gd name="T75" fmla="*/ 120603 h 68"/>
                <a:gd name="T76" fmla="*/ 43889 w 99"/>
                <a:gd name="T77" fmla="*/ 109117 h 68"/>
                <a:gd name="T78" fmla="*/ 51521 w 99"/>
                <a:gd name="T79" fmla="*/ 116775 h 68"/>
                <a:gd name="T80" fmla="*/ 51521 w 99"/>
                <a:gd name="T81" fmla="*/ 109117 h 68"/>
                <a:gd name="T82" fmla="*/ 57246 w 99"/>
                <a:gd name="T83" fmla="*/ 99546 h 68"/>
                <a:gd name="T84" fmla="*/ 70603 w 99"/>
                <a:gd name="T85" fmla="*/ 97631 h 68"/>
                <a:gd name="T86" fmla="*/ 62971 w 99"/>
                <a:gd name="T87" fmla="*/ 91888 h 68"/>
                <a:gd name="T88" fmla="*/ 78236 w 99"/>
                <a:gd name="T89" fmla="*/ 74659 h 68"/>
                <a:gd name="T90" fmla="*/ 91594 w 99"/>
                <a:gd name="T91" fmla="*/ 80402 h 68"/>
                <a:gd name="T92" fmla="*/ 91594 w 99"/>
                <a:gd name="T93" fmla="*/ 91888 h 68"/>
                <a:gd name="T94" fmla="*/ 101135 w 99"/>
                <a:gd name="T95" fmla="*/ 91888 h 68"/>
                <a:gd name="T96" fmla="*/ 101135 w 99"/>
                <a:gd name="T97" fmla="*/ 109117 h 68"/>
                <a:gd name="T98" fmla="*/ 104951 w 99"/>
                <a:gd name="T99" fmla="*/ 122518 h 68"/>
                <a:gd name="T100" fmla="*/ 110676 w 99"/>
                <a:gd name="T101" fmla="*/ 130175 h 68"/>
                <a:gd name="T102" fmla="*/ 116400 w 99"/>
                <a:gd name="T103" fmla="*/ 120603 h 68"/>
                <a:gd name="T104" fmla="*/ 124033 w 99"/>
                <a:gd name="T105" fmla="*/ 118689 h 68"/>
                <a:gd name="T106" fmla="*/ 135482 w 99"/>
                <a:gd name="T107" fmla="*/ 114860 h 68"/>
                <a:gd name="T108" fmla="*/ 148840 w 99"/>
                <a:gd name="T109" fmla="*/ 109117 h 68"/>
                <a:gd name="T110" fmla="*/ 156473 w 99"/>
                <a:gd name="T111" fmla="*/ 114860 h 68"/>
                <a:gd name="T112" fmla="*/ 173646 w 99"/>
                <a:gd name="T113" fmla="*/ 107203 h 68"/>
                <a:gd name="T114" fmla="*/ 179371 w 99"/>
                <a:gd name="T115" fmla="*/ 107203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7" name="Freeform 125"/>
            <p:cNvSpPr>
              <a:spLocks noChangeAspect="1"/>
            </p:cNvSpPr>
            <p:nvPr/>
          </p:nvSpPr>
          <p:spPr bwMode="auto">
            <a:xfrm>
              <a:off x="5960685" y="2051704"/>
              <a:ext cx="693540" cy="637101"/>
            </a:xfrm>
            <a:custGeom>
              <a:avLst/>
              <a:gdLst>
                <a:gd name="T0" fmla="*/ 479838 w 361"/>
                <a:gd name="T1" fmla="*/ 392113 h 412"/>
                <a:gd name="T2" fmla="*/ 441756 w 361"/>
                <a:gd name="T3" fmla="*/ 460637 h 412"/>
                <a:gd name="T4" fmla="*/ 371303 w 361"/>
                <a:gd name="T5" fmla="*/ 519644 h 412"/>
                <a:gd name="T6" fmla="*/ 302755 w 361"/>
                <a:gd name="T7" fmla="*/ 571038 h 412"/>
                <a:gd name="T8" fmla="*/ 297043 w 361"/>
                <a:gd name="T9" fmla="*/ 719507 h 412"/>
                <a:gd name="T10" fmla="*/ 251344 w 361"/>
                <a:gd name="T11" fmla="*/ 778515 h 412"/>
                <a:gd name="T12" fmla="*/ 217070 w 361"/>
                <a:gd name="T13" fmla="*/ 734735 h 412"/>
                <a:gd name="T14" fmla="*/ 167562 w 361"/>
                <a:gd name="T15" fmla="*/ 609107 h 412"/>
                <a:gd name="T16" fmla="*/ 135192 w 361"/>
                <a:gd name="T17" fmla="*/ 527258 h 412"/>
                <a:gd name="T18" fmla="*/ 121864 w 361"/>
                <a:gd name="T19" fmla="*/ 472058 h 412"/>
                <a:gd name="T20" fmla="*/ 118055 w 361"/>
                <a:gd name="T21" fmla="*/ 407340 h 412"/>
                <a:gd name="T22" fmla="*/ 100918 w 361"/>
                <a:gd name="T23" fmla="*/ 395919 h 412"/>
                <a:gd name="T24" fmla="*/ 22849 w 361"/>
                <a:gd name="T25" fmla="*/ 395919 h 412"/>
                <a:gd name="T26" fmla="*/ 57124 w 361"/>
                <a:gd name="T27" fmla="*/ 361657 h 412"/>
                <a:gd name="T28" fmla="*/ 9521 w 361"/>
                <a:gd name="T29" fmla="*/ 348333 h 412"/>
                <a:gd name="T30" fmla="*/ 36178 w 361"/>
                <a:gd name="T31" fmla="*/ 333105 h 412"/>
                <a:gd name="T32" fmla="*/ 66644 w 361"/>
                <a:gd name="T33" fmla="*/ 323588 h 412"/>
                <a:gd name="T34" fmla="*/ 43795 w 361"/>
                <a:gd name="T35" fmla="*/ 279808 h 412"/>
                <a:gd name="T36" fmla="*/ 45699 w 361"/>
                <a:gd name="T37" fmla="*/ 224608 h 412"/>
                <a:gd name="T38" fmla="*/ 81877 w 361"/>
                <a:gd name="T39" fmla="*/ 211284 h 412"/>
                <a:gd name="T40" fmla="*/ 127576 w 361"/>
                <a:gd name="T41" fmla="*/ 157987 h 412"/>
                <a:gd name="T42" fmla="*/ 140905 w 361"/>
                <a:gd name="T43" fmla="*/ 119918 h 412"/>
                <a:gd name="T44" fmla="*/ 135192 w 361"/>
                <a:gd name="T45" fmla="*/ 85656 h 412"/>
                <a:gd name="T46" fmla="*/ 131384 w 361"/>
                <a:gd name="T47" fmla="*/ 24745 h 412"/>
                <a:gd name="T48" fmla="*/ 198028 w 361"/>
                <a:gd name="T49" fmla="*/ 3807 h 412"/>
                <a:gd name="T50" fmla="*/ 224686 w 361"/>
                <a:gd name="T51" fmla="*/ 41876 h 412"/>
                <a:gd name="T52" fmla="*/ 234207 w 361"/>
                <a:gd name="T53" fmla="*/ 93269 h 412"/>
                <a:gd name="T54" fmla="*/ 239919 w 361"/>
                <a:gd name="T55" fmla="*/ 127532 h 412"/>
                <a:gd name="T56" fmla="*/ 295138 w 361"/>
                <a:gd name="T57" fmla="*/ 159891 h 412"/>
                <a:gd name="T58" fmla="*/ 281810 w 361"/>
                <a:gd name="T59" fmla="*/ 203670 h 412"/>
                <a:gd name="T60" fmla="*/ 371303 w 361"/>
                <a:gd name="T61" fmla="*/ 239836 h 412"/>
                <a:gd name="T62" fmla="*/ 413194 w 361"/>
                <a:gd name="T63" fmla="*/ 266484 h 412"/>
                <a:gd name="T64" fmla="*/ 464605 w 361"/>
                <a:gd name="T65" fmla="*/ 251257 h 412"/>
                <a:gd name="T66" fmla="*/ 483646 w 361"/>
                <a:gd name="T67" fmla="*/ 234125 h 412"/>
                <a:gd name="T68" fmla="*/ 527441 w 361"/>
                <a:gd name="T69" fmla="*/ 260774 h 412"/>
                <a:gd name="T70" fmla="*/ 548386 w 361"/>
                <a:gd name="T71" fmla="*/ 230318 h 412"/>
                <a:gd name="T72" fmla="*/ 586469 w 361"/>
                <a:gd name="T73" fmla="*/ 201767 h 412"/>
                <a:gd name="T74" fmla="*/ 635976 w 361"/>
                <a:gd name="T75" fmla="*/ 190346 h 412"/>
                <a:gd name="T76" fmla="*/ 664538 w 361"/>
                <a:gd name="T77" fmla="*/ 211284 h 412"/>
                <a:gd name="T78" fmla="*/ 675962 w 361"/>
                <a:gd name="T79" fmla="*/ 232222 h 412"/>
                <a:gd name="T80" fmla="*/ 656921 w 361"/>
                <a:gd name="T81" fmla="*/ 249353 h 412"/>
                <a:gd name="T82" fmla="*/ 641688 w 361"/>
                <a:gd name="T83" fmla="*/ 283615 h 412"/>
                <a:gd name="T84" fmla="*/ 620743 w 361"/>
                <a:gd name="T85" fmla="*/ 342623 h 412"/>
                <a:gd name="T86" fmla="*/ 605510 w 361"/>
                <a:gd name="T87" fmla="*/ 369271 h 412"/>
                <a:gd name="T88" fmla="*/ 586469 w 361"/>
                <a:gd name="T89" fmla="*/ 399726 h 412"/>
                <a:gd name="T90" fmla="*/ 565523 w 361"/>
                <a:gd name="T91" fmla="*/ 365464 h 412"/>
                <a:gd name="T92" fmla="*/ 550290 w 361"/>
                <a:gd name="T93" fmla="*/ 336912 h 412"/>
                <a:gd name="T94" fmla="*/ 561715 w 361"/>
                <a:gd name="T95" fmla="*/ 304553 h 412"/>
                <a:gd name="T96" fmla="*/ 502688 w 361"/>
                <a:gd name="T97" fmla="*/ 283615 h 412"/>
                <a:gd name="T98" fmla="*/ 479838 w 361"/>
                <a:gd name="T99" fmla="*/ 272195 h 412"/>
                <a:gd name="T100" fmla="*/ 483646 w 361"/>
                <a:gd name="T101" fmla="*/ 314071 h 412"/>
                <a:gd name="T102" fmla="*/ 487455 w 361"/>
                <a:gd name="T103" fmla="*/ 344526 h 412"/>
                <a:gd name="T104" fmla="*/ 498879 w 361"/>
                <a:gd name="T105" fmla="*/ 374981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8" name="Freeform 126"/>
            <p:cNvSpPr>
              <a:spLocks noChangeAspect="1"/>
            </p:cNvSpPr>
            <p:nvPr/>
          </p:nvSpPr>
          <p:spPr bwMode="auto">
            <a:xfrm>
              <a:off x="6450809" y="2227101"/>
              <a:ext cx="81687" cy="38690"/>
            </a:xfrm>
            <a:custGeom>
              <a:avLst/>
              <a:gdLst>
                <a:gd name="T0" fmla="*/ 62134 w 43"/>
                <a:gd name="T1" fmla="*/ 15240 h 25"/>
                <a:gd name="T2" fmla="*/ 60251 w 43"/>
                <a:gd name="T3" fmla="*/ 22860 h 25"/>
                <a:gd name="T4" fmla="*/ 73431 w 43"/>
                <a:gd name="T5" fmla="*/ 24765 h 25"/>
                <a:gd name="T6" fmla="*/ 77196 w 43"/>
                <a:gd name="T7" fmla="*/ 40005 h 25"/>
                <a:gd name="T8" fmla="*/ 62134 w 43"/>
                <a:gd name="T9" fmla="*/ 41910 h 25"/>
                <a:gd name="T10" fmla="*/ 41422 w 43"/>
                <a:gd name="T11" fmla="*/ 45720 h 25"/>
                <a:gd name="T12" fmla="*/ 33891 w 43"/>
                <a:gd name="T13" fmla="*/ 41910 h 25"/>
                <a:gd name="T14" fmla="*/ 26360 w 43"/>
                <a:gd name="T15" fmla="*/ 47625 h 25"/>
                <a:gd name="T16" fmla="*/ 5649 w 43"/>
                <a:gd name="T17" fmla="*/ 41910 h 25"/>
                <a:gd name="T18" fmla="*/ 0 w 43"/>
                <a:gd name="T19" fmla="*/ 32385 h 25"/>
                <a:gd name="T20" fmla="*/ 7531 w 43"/>
                <a:gd name="T21" fmla="*/ 17145 h 25"/>
                <a:gd name="T22" fmla="*/ 9414 w 43"/>
                <a:gd name="T23" fmla="*/ 7620 h 25"/>
                <a:gd name="T24" fmla="*/ 16946 w 43"/>
                <a:gd name="T25" fmla="*/ 1905 h 25"/>
                <a:gd name="T26" fmla="*/ 24477 w 43"/>
                <a:gd name="T27" fmla="*/ 3810 h 25"/>
                <a:gd name="T28" fmla="*/ 32008 w 43"/>
                <a:gd name="T29" fmla="*/ 1905 h 25"/>
                <a:gd name="T30" fmla="*/ 39540 w 43"/>
                <a:gd name="T31" fmla="*/ 7620 h 25"/>
                <a:gd name="T32" fmla="*/ 52719 w 43"/>
                <a:gd name="T33" fmla="*/ 9525 h 25"/>
                <a:gd name="T34" fmla="*/ 60251 w 43"/>
                <a:gd name="T35" fmla="*/ 7620 h 25"/>
                <a:gd name="T36" fmla="*/ 62134 w 43"/>
                <a:gd name="T37" fmla="*/ 1524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9" name="Freeform 127"/>
            <p:cNvSpPr>
              <a:spLocks noChangeAspect="1"/>
            </p:cNvSpPr>
            <p:nvPr/>
          </p:nvSpPr>
          <p:spPr bwMode="auto">
            <a:xfrm>
              <a:off x="6237780" y="2178093"/>
              <a:ext cx="197011" cy="98015"/>
            </a:xfrm>
            <a:custGeom>
              <a:avLst/>
              <a:gdLst>
                <a:gd name="T0" fmla="*/ 191471 w 103"/>
                <a:gd name="T1" fmla="*/ 74688 h 63"/>
                <a:gd name="T2" fmla="*/ 191471 w 103"/>
                <a:gd name="T3" fmla="*/ 84264 h 63"/>
                <a:gd name="T4" fmla="*/ 189576 w 103"/>
                <a:gd name="T5" fmla="*/ 95754 h 63"/>
                <a:gd name="T6" fmla="*/ 195263 w 103"/>
                <a:gd name="T7" fmla="*/ 112990 h 63"/>
                <a:gd name="T8" fmla="*/ 187680 w 103"/>
                <a:gd name="T9" fmla="*/ 118735 h 63"/>
                <a:gd name="T10" fmla="*/ 164931 w 103"/>
                <a:gd name="T11" fmla="*/ 116820 h 63"/>
                <a:gd name="T12" fmla="*/ 149765 w 103"/>
                <a:gd name="T13" fmla="*/ 111075 h 63"/>
                <a:gd name="T14" fmla="*/ 138390 w 103"/>
                <a:gd name="T15" fmla="*/ 111075 h 63"/>
                <a:gd name="T16" fmla="*/ 132703 w 103"/>
                <a:gd name="T17" fmla="*/ 105329 h 63"/>
                <a:gd name="T18" fmla="*/ 127016 w 103"/>
                <a:gd name="T19" fmla="*/ 107244 h 63"/>
                <a:gd name="T20" fmla="*/ 113745 w 103"/>
                <a:gd name="T21" fmla="*/ 97669 h 63"/>
                <a:gd name="T22" fmla="*/ 113745 w 103"/>
                <a:gd name="T23" fmla="*/ 90009 h 63"/>
                <a:gd name="T24" fmla="*/ 96684 w 103"/>
                <a:gd name="T25" fmla="*/ 84264 h 63"/>
                <a:gd name="T26" fmla="*/ 64456 w 103"/>
                <a:gd name="T27" fmla="*/ 82348 h 63"/>
                <a:gd name="T28" fmla="*/ 58768 w 103"/>
                <a:gd name="T29" fmla="*/ 78518 h 63"/>
                <a:gd name="T30" fmla="*/ 34124 w 103"/>
                <a:gd name="T31" fmla="*/ 67028 h 63"/>
                <a:gd name="T32" fmla="*/ 17062 w 103"/>
                <a:gd name="T33" fmla="*/ 47877 h 63"/>
                <a:gd name="T34" fmla="*/ 7583 w 103"/>
                <a:gd name="T35" fmla="*/ 47877 h 63"/>
                <a:gd name="T36" fmla="*/ 0 w 103"/>
                <a:gd name="T37" fmla="*/ 42132 h 63"/>
                <a:gd name="T38" fmla="*/ 1896 w 103"/>
                <a:gd name="T39" fmla="*/ 28726 h 63"/>
                <a:gd name="T40" fmla="*/ 1896 w 103"/>
                <a:gd name="T41" fmla="*/ 21066 h 63"/>
                <a:gd name="T42" fmla="*/ 9479 w 103"/>
                <a:gd name="T43" fmla="*/ 15321 h 63"/>
                <a:gd name="T44" fmla="*/ 20853 w 103"/>
                <a:gd name="T45" fmla="*/ 3830 h 63"/>
                <a:gd name="T46" fmla="*/ 28436 w 103"/>
                <a:gd name="T47" fmla="*/ 9575 h 63"/>
                <a:gd name="T48" fmla="*/ 28436 w 103"/>
                <a:gd name="T49" fmla="*/ 1915 h 63"/>
                <a:gd name="T50" fmla="*/ 36019 w 103"/>
                <a:gd name="T51" fmla="*/ 1915 h 63"/>
                <a:gd name="T52" fmla="*/ 51185 w 103"/>
                <a:gd name="T53" fmla="*/ 7660 h 63"/>
                <a:gd name="T54" fmla="*/ 70143 w 103"/>
                <a:gd name="T55" fmla="*/ 21066 h 63"/>
                <a:gd name="T56" fmla="*/ 81518 w 103"/>
                <a:gd name="T57" fmla="*/ 34471 h 63"/>
                <a:gd name="T58" fmla="*/ 87205 w 103"/>
                <a:gd name="T59" fmla="*/ 26811 h 63"/>
                <a:gd name="T60" fmla="*/ 94788 w 103"/>
                <a:gd name="T61" fmla="*/ 26811 h 63"/>
                <a:gd name="T62" fmla="*/ 94788 w 103"/>
                <a:gd name="T63" fmla="*/ 38302 h 63"/>
                <a:gd name="T64" fmla="*/ 98579 w 103"/>
                <a:gd name="T65" fmla="*/ 45962 h 63"/>
                <a:gd name="T66" fmla="*/ 119433 w 103"/>
                <a:gd name="T67" fmla="*/ 47877 h 63"/>
                <a:gd name="T68" fmla="*/ 119433 w 103"/>
                <a:gd name="T69" fmla="*/ 57452 h 63"/>
                <a:gd name="T70" fmla="*/ 130807 w 103"/>
                <a:gd name="T71" fmla="*/ 59367 h 63"/>
                <a:gd name="T72" fmla="*/ 138390 w 103"/>
                <a:gd name="T73" fmla="*/ 68943 h 63"/>
                <a:gd name="T74" fmla="*/ 145973 w 103"/>
                <a:gd name="T75" fmla="*/ 67028 h 63"/>
                <a:gd name="T76" fmla="*/ 151661 w 103"/>
                <a:gd name="T77" fmla="*/ 72773 h 63"/>
                <a:gd name="T78" fmla="*/ 159244 w 103"/>
                <a:gd name="T79" fmla="*/ 67028 h 63"/>
                <a:gd name="T80" fmla="*/ 166827 w 103"/>
                <a:gd name="T81" fmla="*/ 74688 h 63"/>
                <a:gd name="T82" fmla="*/ 174410 w 103"/>
                <a:gd name="T83" fmla="*/ 78518 h 63"/>
                <a:gd name="T84" fmla="*/ 185784 w 103"/>
                <a:gd name="T85" fmla="*/ 72773 h 63"/>
                <a:gd name="T86" fmla="*/ 191471 w 103"/>
                <a:gd name="T87" fmla="*/ 74688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0" name="Freeform 128"/>
            <p:cNvSpPr>
              <a:spLocks noChangeAspect="1"/>
            </p:cNvSpPr>
            <p:nvPr/>
          </p:nvSpPr>
          <p:spPr bwMode="auto">
            <a:xfrm>
              <a:off x="6439596" y="2265791"/>
              <a:ext cx="120129" cy="132837"/>
            </a:xfrm>
            <a:custGeom>
              <a:avLst/>
              <a:gdLst>
                <a:gd name="T0" fmla="*/ 39688 w 63"/>
                <a:gd name="T1" fmla="*/ 138795 h 86"/>
                <a:gd name="T2" fmla="*/ 45357 w 63"/>
                <a:gd name="T3" fmla="*/ 125486 h 86"/>
                <a:gd name="T4" fmla="*/ 52917 w 63"/>
                <a:gd name="T5" fmla="*/ 134992 h 86"/>
                <a:gd name="T6" fmla="*/ 64256 w 63"/>
                <a:gd name="T7" fmla="*/ 117881 h 86"/>
                <a:gd name="T8" fmla="*/ 56697 w 63"/>
                <a:gd name="T9" fmla="*/ 93164 h 86"/>
                <a:gd name="T10" fmla="*/ 69926 w 63"/>
                <a:gd name="T11" fmla="*/ 108374 h 86"/>
                <a:gd name="T12" fmla="*/ 86935 w 63"/>
                <a:gd name="T13" fmla="*/ 112177 h 86"/>
                <a:gd name="T14" fmla="*/ 94494 w 63"/>
                <a:gd name="T15" fmla="*/ 133091 h 86"/>
                <a:gd name="T16" fmla="*/ 98274 w 63"/>
                <a:gd name="T17" fmla="*/ 146400 h 86"/>
                <a:gd name="T18" fmla="*/ 103944 w 63"/>
                <a:gd name="T19" fmla="*/ 163512 h 86"/>
                <a:gd name="T20" fmla="*/ 115283 w 63"/>
                <a:gd name="T21" fmla="*/ 159709 h 86"/>
                <a:gd name="T22" fmla="*/ 111503 w 63"/>
                <a:gd name="T23" fmla="*/ 114078 h 86"/>
                <a:gd name="T24" fmla="*/ 102054 w 63"/>
                <a:gd name="T25" fmla="*/ 85559 h 86"/>
                <a:gd name="T26" fmla="*/ 90715 w 63"/>
                <a:gd name="T27" fmla="*/ 102670 h 86"/>
                <a:gd name="T28" fmla="*/ 79375 w 63"/>
                <a:gd name="T29" fmla="*/ 96966 h 86"/>
                <a:gd name="T30" fmla="*/ 69926 w 63"/>
                <a:gd name="T31" fmla="*/ 95065 h 86"/>
                <a:gd name="T32" fmla="*/ 88825 w 63"/>
                <a:gd name="T33" fmla="*/ 66546 h 86"/>
                <a:gd name="T34" fmla="*/ 102054 w 63"/>
                <a:gd name="T35" fmla="*/ 55138 h 86"/>
                <a:gd name="T36" fmla="*/ 86935 w 63"/>
                <a:gd name="T37" fmla="*/ 41829 h 86"/>
                <a:gd name="T38" fmla="*/ 41578 w 63"/>
                <a:gd name="T39" fmla="*/ 38026 h 86"/>
                <a:gd name="T40" fmla="*/ 37798 w 63"/>
                <a:gd name="T41" fmla="*/ 15210 h 86"/>
                <a:gd name="T42" fmla="*/ 18899 w 63"/>
                <a:gd name="T43" fmla="*/ 9507 h 86"/>
                <a:gd name="T44" fmla="*/ 1890 w 63"/>
                <a:gd name="T45" fmla="*/ 0 h 86"/>
                <a:gd name="T46" fmla="*/ 5670 w 63"/>
                <a:gd name="T47" fmla="*/ 9507 h 86"/>
                <a:gd name="T48" fmla="*/ 5670 w 63"/>
                <a:gd name="T49" fmla="*/ 30421 h 86"/>
                <a:gd name="T50" fmla="*/ 9449 w 63"/>
                <a:gd name="T51" fmla="*/ 45631 h 86"/>
                <a:gd name="T52" fmla="*/ 5670 w 63"/>
                <a:gd name="T53" fmla="*/ 53236 h 86"/>
                <a:gd name="T54" fmla="*/ 13229 w 63"/>
                <a:gd name="T55" fmla="*/ 64644 h 86"/>
                <a:gd name="T56" fmla="*/ 13229 w 63"/>
                <a:gd name="T57" fmla="*/ 81756 h 86"/>
                <a:gd name="T58" fmla="*/ 18899 w 63"/>
                <a:gd name="T59" fmla="*/ 98868 h 86"/>
                <a:gd name="T60" fmla="*/ 24569 w 63"/>
                <a:gd name="T61" fmla="*/ 104572 h 86"/>
                <a:gd name="T62" fmla="*/ 26458 w 63"/>
                <a:gd name="T63" fmla="*/ 119782 h 86"/>
                <a:gd name="T64" fmla="*/ 32128 w 63"/>
                <a:gd name="T65" fmla="*/ 138795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1" name="Freeform 129"/>
            <p:cNvSpPr>
              <a:spLocks noChangeAspect="1"/>
            </p:cNvSpPr>
            <p:nvPr/>
          </p:nvSpPr>
          <p:spPr bwMode="auto">
            <a:xfrm>
              <a:off x="6542105" y="2223231"/>
              <a:ext cx="217833" cy="424305"/>
            </a:xfrm>
            <a:custGeom>
              <a:avLst/>
              <a:gdLst>
                <a:gd name="T0" fmla="*/ 192973 w 113"/>
                <a:gd name="T1" fmla="*/ 196335 h 274"/>
                <a:gd name="T2" fmla="*/ 164313 w 113"/>
                <a:gd name="T3" fmla="*/ 184898 h 274"/>
                <a:gd name="T4" fmla="*/ 170045 w 113"/>
                <a:gd name="T5" fmla="*/ 158211 h 274"/>
                <a:gd name="T6" fmla="*/ 158581 w 113"/>
                <a:gd name="T7" fmla="*/ 123900 h 274"/>
                <a:gd name="T8" fmla="*/ 122280 w 113"/>
                <a:gd name="T9" fmla="*/ 129619 h 274"/>
                <a:gd name="T10" fmla="*/ 129922 w 113"/>
                <a:gd name="T11" fmla="*/ 91496 h 274"/>
                <a:gd name="T12" fmla="*/ 145207 w 113"/>
                <a:gd name="T13" fmla="*/ 64809 h 274"/>
                <a:gd name="T14" fmla="*/ 129922 w 113"/>
                <a:gd name="T15" fmla="*/ 26686 h 274"/>
                <a:gd name="T16" fmla="*/ 110816 w 113"/>
                <a:gd name="T17" fmla="*/ 9531 h 274"/>
                <a:gd name="T18" fmla="*/ 99352 w 113"/>
                <a:gd name="T19" fmla="*/ 28592 h 274"/>
                <a:gd name="T20" fmla="*/ 91710 w 113"/>
                <a:gd name="T21" fmla="*/ 34311 h 274"/>
                <a:gd name="T22" fmla="*/ 61140 w 113"/>
                <a:gd name="T23" fmla="*/ 53372 h 274"/>
                <a:gd name="T24" fmla="*/ 64961 w 113"/>
                <a:gd name="T25" fmla="*/ 72434 h 274"/>
                <a:gd name="T26" fmla="*/ 49676 w 113"/>
                <a:gd name="T27" fmla="*/ 89590 h 274"/>
                <a:gd name="T28" fmla="*/ 38212 w 113"/>
                <a:gd name="T29" fmla="*/ 133431 h 274"/>
                <a:gd name="T30" fmla="*/ 28659 w 113"/>
                <a:gd name="T31" fmla="*/ 141056 h 274"/>
                <a:gd name="T32" fmla="*/ 22927 w 113"/>
                <a:gd name="T33" fmla="*/ 177273 h 274"/>
                <a:gd name="T34" fmla="*/ 9553 w 113"/>
                <a:gd name="T35" fmla="*/ 188710 h 274"/>
                <a:gd name="T36" fmla="*/ 1911 w 113"/>
                <a:gd name="T37" fmla="*/ 215396 h 274"/>
                <a:gd name="T38" fmla="*/ 17196 w 113"/>
                <a:gd name="T39" fmla="*/ 234458 h 274"/>
                <a:gd name="T40" fmla="*/ 43944 w 113"/>
                <a:gd name="T41" fmla="*/ 247801 h 274"/>
                <a:gd name="T42" fmla="*/ 57319 w 113"/>
                <a:gd name="T43" fmla="*/ 276393 h 274"/>
                <a:gd name="T44" fmla="*/ 63050 w 113"/>
                <a:gd name="T45" fmla="*/ 335484 h 274"/>
                <a:gd name="T46" fmla="*/ 70693 w 113"/>
                <a:gd name="T47" fmla="*/ 341203 h 274"/>
                <a:gd name="T48" fmla="*/ 82157 w 113"/>
                <a:gd name="T49" fmla="*/ 350734 h 274"/>
                <a:gd name="T50" fmla="*/ 91710 w 113"/>
                <a:gd name="T51" fmla="*/ 356452 h 274"/>
                <a:gd name="T52" fmla="*/ 108905 w 113"/>
                <a:gd name="T53" fmla="*/ 341203 h 274"/>
                <a:gd name="T54" fmla="*/ 118458 w 113"/>
                <a:gd name="T55" fmla="*/ 331672 h 274"/>
                <a:gd name="T56" fmla="*/ 133743 w 113"/>
                <a:gd name="T57" fmla="*/ 335484 h 274"/>
                <a:gd name="T58" fmla="*/ 145207 w 113"/>
                <a:gd name="T59" fmla="*/ 369795 h 274"/>
                <a:gd name="T60" fmla="*/ 156671 w 113"/>
                <a:gd name="T61" fmla="*/ 421261 h 274"/>
                <a:gd name="T62" fmla="*/ 175777 w 113"/>
                <a:gd name="T63" fmla="*/ 451760 h 274"/>
                <a:gd name="T64" fmla="*/ 179598 w 113"/>
                <a:gd name="T65" fmla="*/ 478446 h 274"/>
                <a:gd name="T66" fmla="*/ 168135 w 113"/>
                <a:gd name="T67" fmla="*/ 505133 h 274"/>
                <a:gd name="T68" fmla="*/ 177688 w 113"/>
                <a:gd name="T69" fmla="*/ 499414 h 274"/>
                <a:gd name="T70" fmla="*/ 192973 w 113"/>
                <a:gd name="T71" fmla="*/ 459385 h 274"/>
                <a:gd name="T72" fmla="*/ 187241 w 113"/>
                <a:gd name="T73" fmla="*/ 421261 h 274"/>
                <a:gd name="T74" fmla="*/ 154760 w 113"/>
                <a:gd name="T75" fmla="*/ 377420 h 274"/>
                <a:gd name="T76" fmla="*/ 170045 w 113"/>
                <a:gd name="T77" fmla="*/ 350734 h 274"/>
                <a:gd name="T78" fmla="*/ 162403 w 113"/>
                <a:gd name="T79" fmla="*/ 331672 h 274"/>
                <a:gd name="T80" fmla="*/ 147118 w 113"/>
                <a:gd name="T81" fmla="*/ 301173 h 274"/>
                <a:gd name="T82" fmla="*/ 135654 w 113"/>
                <a:gd name="T83" fmla="*/ 280206 h 274"/>
                <a:gd name="T84" fmla="*/ 156671 w 113"/>
                <a:gd name="T85" fmla="*/ 255426 h 274"/>
                <a:gd name="T86" fmla="*/ 179598 w 113"/>
                <a:gd name="T87" fmla="*/ 242082 h 274"/>
                <a:gd name="T88" fmla="*/ 192973 w 113"/>
                <a:gd name="T89" fmla="*/ 232552 h 274"/>
                <a:gd name="T90" fmla="*/ 200615 w 113"/>
                <a:gd name="T91" fmla="*/ 211584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2" name="Freeform 130"/>
            <p:cNvSpPr>
              <a:spLocks noChangeAspect="1"/>
            </p:cNvSpPr>
            <p:nvPr/>
          </p:nvSpPr>
          <p:spPr bwMode="auto">
            <a:xfrm>
              <a:off x="6998593" y="2712020"/>
              <a:ext cx="233850" cy="135417"/>
            </a:xfrm>
            <a:custGeom>
              <a:avLst/>
              <a:gdLst>
                <a:gd name="T0" fmla="*/ 195679 w 122"/>
                <a:gd name="T1" fmla="*/ 82386 h 87"/>
                <a:gd name="T2" fmla="*/ 212777 w 122"/>
                <a:gd name="T3" fmla="*/ 76638 h 87"/>
                <a:gd name="T4" fmla="*/ 205178 w 122"/>
                <a:gd name="T5" fmla="*/ 70890 h 87"/>
                <a:gd name="T6" fmla="*/ 197579 w 122"/>
                <a:gd name="T7" fmla="*/ 63226 h 87"/>
                <a:gd name="T8" fmla="*/ 197579 w 122"/>
                <a:gd name="T9" fmla="*/ 57478 h 87"/>
                <a:gd name="T10" fmla="*/ 210877 w 122"/>
                <a:gd name="T11" fmla="*/ 59394 h 87"/>
                <a:gd name="T12" fmla="*/ 227975 w 122"/>
                <a:gd name="T13" fmla="*/ 53646 h 87"/>
                <a:gd name="T14" fmla="*/ 229875 w 122"/>
                <a:gd name="T15" fmla="*/ 44067 h 87"/>
                <a:gd name="T16" fmla="*/ 222276 w 122"/>
                <a:gd name="T17" fmla="*/ 42151 h 87"/>
                <a:gd name="T18" fmla="*/ 208977 w 122"/>
                <a:gd name="T19" fmla="*/ 38319 h 87"/>
                <a:gd name="T20" fmla="*/ 199478 w 122"/>
                <a:gd name="T21" fmla="*/ 44067 h 87"/>
                <a:gd name="T22" fmla="*/ 188080 w 122"/>
                <a:gd name="T23" fmla="*/ 40235 h 87"/>
                <a:gd name="T24" fmla="*/ 186180 w 122"/>
                <a:gd name="T25" fmla="*/ 24907 h 87"/>
                <a:gd name="T26" fmla="*/ 189980 w 122"/>
                <a:gd name="T27" fmla="*/ 19159 h 87"/>
                <a:gd name="T28" fmla="*/ 182380 w 122"/>
                <a:gd name="T29" fmla="*/ 17243 h 87"/>
                <a:gd name="T30" fmla="*/ 172881 w 122"/>
                <a:gd name="T31" fmla="*/ 5748 h 87"/>
                <a:gd name="T32" fmla="*/ 167182 w 122"/>
                <a:gd name="T33" fmla="*/ 11496 h 87"/>
                <a:gd name="T34" fmla="*/ 159583 w 122"/>
                <a:gd name="T35" fmla="*/ 1916 h 87"/>
                <a:gd name="T36" fmla="*/ 151984 w 122"/>
                <a:gd name="T37" fmla="*/ 22991 h 87"/>
                <a:gd name="T38" fmla="*/ 144384 w 122"/>
                <a:gd name="T39" fmla="*/ 44067 h 87"/>
                <a:gd name="T40" fmla="*/ 134885 w 122"/>
                <a:gd name="T41" fmla="*/ 44067 h 87"/>
                <a:gd name="T42" fmla="*/ 132986 w 122"/>
                <a:gd name="T43" fmla="*/ 49815 h 87"/>
                <a:gd name="T44" fmla="*/ 138685 w 122"/>
                <a:gd name="T45" fmla="*/ 51730 h 87"/>
                <a:gd name="T46" fmla="*/ 138685 w 122"/>
                <a:gd name="T47" fmla="*/ 57478 h 87"/>
                <a:gd name="T48" fmla="*/ 123487 w 122"/>
                <a:gd name="T49" fmla="*/ 59394 h 87"/>
                <a:gd name="T50" fmla="*/ 102589 w 122"/>
                <a:gd name="T51" fmla="*/ 67058 h 87"/>
                <a:gd name="T52" fmla="*/ 102589 w 122"/>
                <a:gd name="T53" fmla="*/ 80470 h 87"/>
                <a:gd name="T54" fmla="*/ 70292 w 122"/>
                <a:gd name="T55" fmla="*/ 107293 h 87"/>
                <a:gd name="T56" fmla="*/ 47495 w 122"/>
                <a:gd name="T57" fmla="*/ 113041 h 87"/>
                <a:gd name="T58" fmla="*/ 43695 w 122"/>
                <a:gd name="T59" fmla="*/ 126452 h 87"/>
                <a:gd name="T60" fmla="*/ 36096 w 122"/>
                <a:gd name="T61" fmla="*/ 124536 h 87"/>
                <a:gd name="T62" fmla="*/ 39896 w 122"/>
                <a:gd name="T63" fmla="*/ 134116 h 87"/>
                <a:gd name="T64" fmla="*/ 30397 w 122"/>
                <a:gd name="T65" fmla="*/ 149444 h 87"/>
                <a:gd name="T66" fmla="*/ 17098 w 122"/>
                <a:gd name="T67" fmla="*/ 141780 h 87"/>
                <a:gd name="T68" fmla="*/ 15198 w 122"/>
                <a:gd name="T69" fmla="*/ 143696 h 87"/>
                <a:gd name="T70" fmla="*/ 7599 w 122"/>
                <a:gd name="T71" fmla="*/ 143696 h 87"/>
                <a:gd name="T72" fmla="*/ 0 w 122"/>
                <a:gd name="T73" fmla="*/ 134116 h 87"/>
                <a:gd name="T74" fmla="*/ 3800 w 122"/>
                <a:gd name="T75" fmla="*/ 149444 h 87"/>
                <a:gd name="T76" fmla="*/ 20898 w 122"/>
                <a:gd name="T77" fmla="*/ 160939 h 87"/>
                <a:gd name="T78" fmla="*/ 24697 w 122"/>
                <a:gd name="T79" fmla="*/ 166687 h 87"/>
                <a:gd name="T80" fmla="*/ 36096 w 122"/>
                <a:gd name="T81" fmla="*/ 160939 h 87"/>
                <a:gd name="T82" fmla="*/ 53194 w 122"/>
                <a:gd name="T83" fmla="*/ 164771 h 87"/>
                <a:gd name="T84" fmla="*/ 62693 w 122"/>
                <a:gd name="T85" fmla="*/ 159023 h 87"/>
                <a:gd name="T86" fmla="*/ 62693 w 122"/>
                <a:gd name="T87" fmla="*/ 151359 h 87"/>
                <a:gd name="T88" fmla="*/ 79791 w 122"/>
                <a:gd name="T89" fmla="*/ 149444 h 87"/>
                <a:gd name="T90" fmla="*/ 77892 w 122"/>
                <a:gd name="T91" fmla="*/ 153275 h 87"/>
                <a:gd name="T92" fmla="*/ 85491 w 122"/>
                <a:gd name="T93" fmla="*/ 151359 h 87"/>
                <a:gd name="T94" fmla="*/ 94990 w 122"/>
                <a:gd name="T95" fmla="*/ 159023 h 87"/>
                <a:gd name="T96" fmla="*/ 102589 w 122"/>
                <a:gd name="T97" fmla="*/ 151359 h 87"/>
                <a:gd name="T98" fmla="*/ 117787 w 122"/>
                <a:gd name="T99" fmla="*/ 151359 h 87"/>
                <a:gd name="T100" fmla="*/ 117787 w 122"/>
                <a:gd name="T101" fmla="*/ 141780 h 87"/>
                <a:gd name="T102" fmla="*/ 131086 w 122"/>
                <a:gd name="T103" fmla="*/ 118788 h 87"/>
                <a:gd name="T104" fmla="*/ 142485 w 122"/>
                <a:gd name="T105" fmla="*/ 101545 h 87"/>
                <a:gd name="T106" fmla="*/ 142485 w 122"/>
                <a:gd name="T107" fmla="*/ 80470 h 87"/>
                <a:gd name="T108" fmla="*/ 159583 w 122"/>
                <a:gd name="T109" fmla="*/ 74722 h 87"/>
                <a:gd name="T110" fmla="*/ 169082 w 122"/>
                <a:gd name="T111" fmla="*/ 80470 h 87"/>
                <a:gd name="T112" fmla="*/ 182380 w 122"/>
                <a:gd name="T113" fmla="*/ 76638 h 87"/>
                <a:gd name="T114" fmla="*/ 195679 w 122"/>
                <a:gd name="T115" fmla="*/ 82386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3" name="Freeform 131"/>
            <p:cNvSpPr>
              <a:spLocks noChangeAspect="1"/>
            </p:cNvSpPr>
            <p:nvPr/>
          </p:nvSpPr>
          <p:spPr bwMode="auto">
            <a:xfrm>
              <a:off x="6761540" y="2719758"/>
              <a:ext cx="105713" cy="113492"/>
            </a:xfrm>
            <a:custGeom>
              <a:avLst/>
              <a:gdLst>
                <a:gd name="T0" fmla="*/ 41910 w 55"/>
                <a:gd name="T1" fmla="*/ 13396 h 73"/>
                <a:gd name="T2" fmla="*/ 51435 w 55"/>
                <a:gd name="T3" fmla="*/ 22964 h 73"/>
                <a:gd name="T4" fmla="*/ 59055 w 55"/>
                <a:gd name="T5" fmla="*/ 32533 h 73"/>
                <a:gd name="T6" fmla="*/ 64770 w 55"/>
                <a:gd name="T7" fmla="*/ 32533 h 73"/>
                <a:gd name="T8" fmla="*/ 80010 w 55"/>
                <a:gd name="T9" fmla="*/ 55497 h 73"/>
                <a:gd name="T10" fmla="*/ 78105 w 55"/>
                <a:gd name="T11" fmla="*/ 76548 h 73"/>
                <a:gd name="T12" fmla="*/ 80010 w 55"/>
                <a:gd name="T13" fmla="*/ 89944 h 73"/>
                <a:gd name="T14" fmla="*/ 80010 w 55"/>
                <a:gd name="T15" fmla="*/ 105253 h 73"/>
                <a:gd name="T16" fmla="*/ 91440 w 55"/>
                <a:gd name="T17" fmla="*/ 112908 h 73"/>
                <a:gd name="T18" fmla="*/ 93345 w 55"/>
                <a:gd name="T19" fmla="*/ 120563 h 73"/>
                <a:gd name="T20" fmla="*/ 104775 w 55"/>
                <a:gd name="T21" fmla="*/ 137786 h 73"/>
                <a:gd name="T22" fmla="*/ 99060 w 55"/>
                <a:gd name="T23" fmla="*/ 137786 h 73"/>
                <a:gd name="T24" fmla="*/ 95250 w 55"/>
                <a:gd name="T25" fmla="*/ 132045 h 73"/>
                <a:gd name="T26" fmla="*/ 81915 w 55"/>
                <a:gd name="T27" fmla="*/ 135873 h 73"/>
                <a:gd name="T28" fmla="*/ 62865 w 55"/>
                <a:gd name="T29" fmla="*/ 128218 h 73"/>
                <a:gd name="T30" fmla="*/ 36195 w 55"/>
                <a:gd name="T31" fmla="*/ 114822 h 73"/>
                <a:gd name="T32" fmla="*/ 26670 w 55"/>
                <a:gd name="T33" fmla="*/ 107167 h 73"/>
                <a:gd name="T34" fmla="*/ 30480 w 55"/>
                <a:gd name="T35" fmla="*/ 93771 h 73"/>
                <a:gd name="T36" fmla="*/ 15240 w 55"/>
                <a:gd name="T37" fmla="*/ 78462 h 73"/>
                <a:gd name="T38" fmla="*/ 17145 w 55"/>
                <a:gd name="T39" fmla="*/ 72721 h 73"/>
                <a:gd name="T40" fmla="*/ 11430 w 55"/>
                <a:gd name="T41" fmla="*/ 66979 h 73"/>
                <a:gd name="T42" fmla="*/ 13335 w 55"/>
                <a:gd name="T43" fmla="*/ 49756 h 73"/>
                <a:gd name="T44" fmla="*/ 5715 w 55"/>
                <a:gd name="T45" fmla="*/ 44015 h 73"/>
                <a:gd name="T46" fmla="*/ 5715 w 55"/>
                <a:gd name="T47" fmla="*/ 21051 h 73"/>
                <a:gd name="T48" fmla="*/ 0 w 55"/>
                <a:gd name="T49" fmla="*/ 7655 h 73"/>
                <a:gd name="T50" fmla="*/ 3810 w 55"/>
                <a:gd name="T51" fmla="*/ 0 h 73"/>
                <a:gd name="T52" fmla="*/ 7620 w 55"/>
                <a:gd name="T53" fmla="*/ 7655 h 73"/>
                <a:gd name="T54" fmla="*/ 15240 w 55"/>
                <a:gd name="T55" fmla="*/ 7655 h 73"/>
                <a:gd name="T56" fmla="*/ 22860 w 55"/>
                <a:gd name="T57" fmla="*/ 13396 h 73"/>
                <a:gd name="T58" fmla="*/ 19050 w 55"/>
                <a:gd name="T59" fmla="*/ 26792 h 73"/>
                <a:gd name="T60" fmla="*/ 22860 w 55"/>
                <a:gd name="T61" fmla="*/ 32533 h 73"/>
                <a:gd name="T62" fmla="*/ 34290 w 55"/>
                <a:gd name="T63" fmla="*/ 24878 h 73"/>
                <a:gd name="T64" fmla="*/ 40005 w 55"/>
                <a:gd name="T65" fmla="*/ 22964 h 73"/>
                <a:gd name="T66" fmla="*/ 41910 w 55"/>
                <a:gd name="T67" fmla="*/ 13396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4" name="Freeform 132"/>
            <p:cNvSpPr>
              <a:spLocks noChangeAspect="1"/>
            </p:cNvSpPr>
            <p:nvPr/>
          </p:nvSpPr>
          <p:spPr bwMode="auto">
            <a:xfrm>
              <a:off x="6676649" y="2412814"/>
              <a:ext cx="206621" cy="334027"/>
            </a:xfrm>
            <a:custGeom>
              <a:avLst/>
              <a:gdLst>
                <a:gd name="T0" fmla="*/ 107179 w 107"/>
                <a:gd name="T1" fmla="*/ 374995 h 216"/>
                <a:gd name="T2" fmla="*/ 80384 w 107"/>
                <a:gd name="T3" fmla="*/ 348346 h 216"/>
                <a:gd name="T4" fmla="*/ 68901 w 107"/>
                <a:gd name="T5" fmla="*/ 308372 h 216"/>
                <a:gd name="T6" fmla="*/ 55503 w 107"/>
                <a:gd name="T7" fmla="*/ 285529 h 216"/>
                <a:gd name="T8" fmla="*/ 72728 w 107"/>
                <a:gd name="T9" fmla="*/ 228423 h 216"/>
                <a:gd name="T10" fmla="*/ 74642 w 107"/>
                <a:gd name="T11" fmla="*/ 186546 h 216"/>
                <a:gd name="T12" fmla="*/ 95695 w 107"/>
                <a:gd name="T13" fmla="*/ 186546 h 216"/>
                <a:gd name="T14" fmla="*/ 91868 w 107"/>
                <a:gd name="T15" fmla="*/ 215099 h 216"/>
                <a:gd name="T16" fmla="*/ 107179 w 107"/>
                <a:gd name="T17" fmla="*/ 217002 h 216"/>
                <a:gd name="T18" fmla="*/ 124404 w 107"/>
                <a:gd name="T19" fmla="*/ 228423 h 216"/>
                <a:gd name="T20" fmla="*/ 139715 w 107"/>
                <a:gd name="T21" fmla="*/ 230327 h 216"/>
                <a:gd name="T22" fmla="*/ 132060 w 107"/>
                <a:gd name="T23" fmla="*/ 205581 h 216"/>
                <a:gd name="T24" fmla="*/ 133973 w 107"/>
                <a:gd name="T25" fmla="*/ 186546 h 216"/>
                <a:gd name="T26" fmla="*/ 160768 w 107"/>
                <a:gd name="T27" fmla="*/ 167510 h 216"/>
                <a:gd name="T28" fmla="*/ 193305 w 107"/>
                <a:gd name="T29" fmla="*/ 171318 h 216"/>
                <a:gd name="T30" fmla="*/ 199046 w 107"/>
                <a:gd name="T31" fmla="*/ 140861 h 216"/>
                <a:gd name="T32" fmla="*/ 199046 w 107"/>
                <a:gd name="T33" fmla="*/ 121826 h 216"/>
                <a:gd name="T34" fmla="*/ 177993 w 107"/>
                <a:gd name="T35" fmla="*/ 93273 h 216"/>
                <a:gd name="T36" fmla="*/ 162682 w 107"/>
                <a:gd name="T37" fmla="*/ 68527 h 216"/>
                <a:gd name="T38" fmla="*/ 149285 w 107"/>
                <a:gd name="T39" fmla="*/ 55202 h 216"/>
                <a:gd name="T40" fmla="*/ 128232 w 107"/>
                <a:gd name="T41" fmla="*/ 68527 h 216"/>
                <a:gd name="T42" fmla="*/ 120576 w 107"/>
                <a:gd name="T43" fmla="*/ 68527 h 216"/>
                <a:gd name="T44" fmla="*/ 99523 w 107"/>
                <a:gd name="T45" fmla="*/ 70431 h 216"/>
                <a:gd name="T46" fmla="*/ 86126 w 107"/>
                <a:gd name="T47" fmla="*/ 57106 h 216"/>
                <a:gd name="T48" fmla="*/ 88040 w 107"/>
                <a:gd name="T49" fmla="*/ 34264 h 216"/>
                <a:gd name="T50" fmla="*/ 66987 w 107"/>
                <a:gd name="T51" fmla="*/ 19035 h 216"/>
                <a:gd name="T52" fmla="*/ 65073 w 107"/>
                <a:gd name="T53" fmla="*/ 0 h 216"/>
                <a:gd name="T54" fmla="*/ 45934 w 107"/>
                <a:gd name="T55" fmla="*/ 1904 h 216"/>
                <a:gd name="T56" fmla="*/ 34450 w 107"/>
                <a:gd name="T57" fmla="*/ 17132 h 216"/>
                <a:gd name="T58" fmla="*/ 7656 w 107"/>
                <a:gd name="T59" fmla="*/ 47588 h 216"/>
                <a:gd name="T60" fmla="*/ 7656 w 107"/>
                <a:gd name="T61" fmla="*/ 55202 h 216"/>
                <a:gd name="T62" fmla="*/ 22967 w 107"/>
                <a:gd name="T63" fmla="*/ 95176 h 216"/>
                <a:gd name="T64" fmla="*/ 34450 w 107"/>
                <a:gd name="T65" fmla="*/ 112308 h 216"/>
                <a:gd name="T66" fmla="*/ 30623 w 107"/>
                <a:gd name="T67" fmla="*/ 140861 h 216"/>
                <a:gd name="T68" fmla="*/ 47848 w 107"/>
                <a:gd name="T69" fmla="*/ 177028 h 216"/>
                <a:gd name="T70" fmla="*/ 47848 w 107"/>
                <a:gd name="T71" fmla="*/ 199870 h 216"/>
                <a:gd name="T72" fmla="*/ 55503 w 107"/>
                <a:gd name="T73" fmla="*/ 253169 h 216"/>
                <a:gd name="T74" fmla="*/ 38278 w 107"/>
                <a:gd name="T75" fmla="*/ 287433 h 216"/>
                <a:gd name="T76" fmla="*/ 30623 w 107"/>
                <a:gd name="T77" fmla="*/ 329310 h 216"/>
                <a:gd name="T78" fmla="*/ 40192 w 107"/>
                <a:gd name="T79" fmla="*/ 331214 h 216"/>
                <a:gd name="T80" fmla="*/ 55503 w 107"/>
                <a:gd name="T81" fmla="*/ 357863 h 216"/>
                <a:gd name="T82" fmla="*/ 72728 w 107"/>
                <a:gd name="T83" fmla="*/ 365477 h 216"/>
                <a:gd name="T84" fmla="*/ 78470 w 107"/>
                <a:gd name="T85" fmla="*/ 382609 h 216"/>
                <a:gd name="T86" fmla="*/ 91868 w 107"/>
                <a:gd name="T87" fmla="*/ 386416 h 216"/>
                <a:gd name="T88" fmla="*/ 103351 w 107"/>
                <a:gd name="T89" fmla="*/ 405451 h 216"/>
                <a:gd name="T90" fmla="*/ 124404 w 107"/>
                <a:gd name="T91" fmla="*/ 401644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5" name="Freeform 133"/>
            <p:cNvSpPr>
              <a:spLocks noChangeAspect="1"/>
            </p:cNvSpPr>
            <p:nvPr/>
          </p:nvSpPr>
          <p:spPr bwMode="auto">
            <a:xfrm>
              <a:off x="6737514" y="2362517"/>
              <a:ext cx="193807" cy="198610"/>
            </a:xfrm>
            <a:custGeom>
              <a:avLst/>
              <a:gdLst>
                <a:gd name="T0" fmla="*/ 180677 w 101"/>
                <a:gd name="T1" fmla="*/ 229195 h 128"/>
                <a:gd name="T2" fmla="*/ 167364 w 101"/>
                <a:gd name="T3" fmla="*/ 227285 h 128"/>
                <a:gd name="T4" fmla="*/ 157855 w 101"/>
                <a:gd name="T5" fmla="*/ 242565 h 128"/>
                <a:gd name="T6" fmla="*/ 142640 w 101"/>
                <a:gd name="T7" fmla="*/ 236835 h 128"/>
                <a:gd name="T8" fmla="*/ 133130 w 101"/>
                <a:gd name="T9" fmla="*/ 233015 h 128"/>
                <a:gd name="T10" fmla="*/ 140738 w 101"/>
                <a:gd name="T11" fmla="*/ 225375 h 128"/>
                <a:gd name="T12" fmla="*/ 144541 w 101"/>
                <a:gd name="T13" fmla="*/ 194816 h 128"/>
                <a:gd name="T14" fmla="*/ 138836 w 101"/>
                <a:gd name="T15" fmla="*/ 183356 h 128"/>
                <a:gd name="T16" fmla="*/ 121719 w 101"/>
                <a:gd name="T17" fmla="*/ 171896 h 128"/>
                <a:gd name="T18" fmla="*/ 119817 w 101"/>
                <a:gd name="T19" fmla="*/ 145157 h 128"/>
                <a:gd name="T20" fmla="*/ 102701 w 101"/>
                <a:gd name="T21" fmla="*/ 129877 h 128"/>
                <a:gd name="T22" fmla="*/ 95093 w 101"/>
                <a:gd name="T23" fmla="*/ 120328 h 128"/>
                <a:gd name="T24" fmla="*/ 79878 w 101"/>
                <a:gd name="T25" fmla="*/ 116508 h 128"/>
                <a:gd name="T26" fmla="*/ 68467 w 101"/>
                <a:gd name="T27" fmla="*/ 129877 h 128"/>
                <a:gd name="T28" fmla="*/ 58958 w 101"/>
                <a:gd name="T29" fmla="*/ 137517 h 128"/>
                <a:gd name="T30" fmla="*/ 49448 w 101"/>
                <a:gd name="T31" fmla="*/ 122238 h 128"/>
                <a:gd name="T32" fmla="*/ 39939 w 101"/>
                <a:gd name="T33" fmla="*/ 131787 h 128"/>
                <a:gd name="T34" fmla="*/ 24724 w 101"/>
                <a:gd name="T35" fmla="*/ 139427 h 128"/>
                <a:gd name="T36" fmla="*/ 24724 w 101"/>
                <a:gd name="T37" fmla="*/ 108868 h 128"/>
                <a:gd name="T38" fmla="*/ 28528 w 101"/>
                <a:gd name="T39" fmla="*/ 95498 h 128"/>
                <a:gd name="T40" fmla="*/ 20920 w 101"/>
                <a:gd name="T41" fmla="*/ 82128 h 128"/>
                <a:gd name="T42" fmla="*/ 11411 w 101"/>
                <a:gd name="T43" fmla="*/ 74488 h 128"/>
                <a:gd name="T44" fmla="*/ 5706 w 101"/>
                <a:gd name="T45" fmla="*/ 61119 h 128"/>
                <a:gd name="T46" fmla="*/ 1902 w 101"/>
                <a:gd name="T47" fmla="*/ 49659 h 128"/>
                <a:gd name="T48" fmla="*/ 7607 w 101"/>
                <a:gd name="T49" fmla="*/ 40109 h 128"/>
                <a:gd name="T50" fmla="*/ 20920 w 101"/>
                <a:gd name="T51" fmla="*/ 24829 h 128"/>
                <a:gd name="T52" fmla="*/ 28528 w 101"/>
                <a:gd name="T53" fmla="*/ 34379 h 128"/>
                <a:gd name="T54" fmla="*/ 39939 w 101"/>
                <a:gd name="T55" fmla="*/ 32469 h 128"/>
                <a:gd name="T56" fmla="*/ 32332 w 101"/>
                <a:gd name="T57" fmla="*/ 13370 h 128"/>
                <a:gd name="T58" fmla="*/ 34234 w 101"/>
                <a:gd name="T59" fmla="*/ 0 h 128"/>
                <a:gd name="T60" fmla="*/ 45645 w 101"/>
                <a:gd name="T61" fmla="*/ 3820 h 128"/>
                <a:gd name="T62" fmla="*/ 57056 w 101"/>
                <a:gd name="T63" fmla="*/ 21010 h 128"/>
                <a:gd name="T64" fmla="*/ 66565 w 101"/>
                <a:gd name="T65" fmla="*/ 22920 h 128"/>
                <a:gd name="T66" fmla="*/ 72271 w 101"/>
                <a:gd name="T67" fmla="*/ 47749 h 128"/>
                <a:gd name="T68" fmla="*/ 83682 w 101"/>
                <a:gd name="T69" fmla="*/ 53479 h 128"/>
                <a:gd name="T70" fmla="*/ 98897 w 101"/>
                <a:gd name="T71" fmla="*/ 45839 h 128"/>
                <a:gd name="T72" fmla="*/ 100799 w 101"/>
                <a:gd name="T73" fmla="*/ 59209 h 128"/>
                <a:gd name="T74" fmla="*/ 116014 w 101"/>
                <a:gd name="T75" fmla="*/ 68759 h 128"/>
                <a:gd name="T76" fmla="*/ 112210 w 101"/>
                <a:gd name="T77" fmla="*/ 74488 h 128"/>
                <a:gd name="T78" fmla="*/ 98897 w 101"/>
                <a:gd name="T79" fmla="*/ 80218 h 128"/>
                <a:gd name="T80" fmla="*/ 91289 w 101"/>
                <a:gd name="T81" fmla="*/ 89768 h 128"/>
                <a:gd name="T82" fmla="*/ 125523 w 101"/>
                <a:gd name="T83" fmla="*/ 118418 h 128"/>
                <a:gd name="T84" fmla="*/ 144541 w 101"/>
                <a:gd name="T85" fmla="*/ 141337 h 128"/>
                <a:gd name="T86" fmla="*/ 159756 w 101"/>
                <a:gd name="T87" fmla="*/ 158527 h 128"/>
                <a:gd name="T88" fmla="*/ 176873 w 101"/>
                <a:gd name="T89" fmla="*/ 177626 h 128"/>
                <a:gd name="T90" fmla="*/ 180677 w 101"/>
                <a:gd name="T91" fmla="*/ 189086 h 128"/>
                <a:gd name="T92" fmla="*/ 186382 w 101"/>
                <a:gd name="T93" fmla="*/ 212006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6" name="Freeform 134"/>
            <p:cNvSpPr>
              <a:spLocks noChangeAspect="1"/>
            </p:cNvSpPr>
            <p:nvPr/>
          </p:nvSpPr>
          <p:spPr bwMode="auto">
            <a:xfrm>
              <a:off x="6806389" y="2544362"/>
              <a:ext cx="132941" cy="92857"/>
            </a:xfrm>
            <a:custGeom>
              <a:avLst/>
              <a:gdLst>
                <a:gd name="T0" fmla="*/ 51559 w 69"/>
                <a:gd name="T1" fmla="*/ 114300 h 60"/>
                <a:gd name="T2" fmla="*/ 43921 w 69"/>
                <a:gd name="T3" fmla="*/ 110490 h 60"/>
                <a:gd name="T4" fmla="*/ 36282 w 69"/>
                <a:gd name="T5" fmla="*/ 102870 h 60"/>
                <a:gd name="T6" fmla="*/ 36282 w 69"/>
                <a:gd name="T7" fmla="*/ 93345 h 60"/>
                <a:gd name="T8" fmla="*/ 30554 w 69"/>
                <a:gd name="T9" fmla="*/ 97155 h 60"/>
                <a:gd name="T10" fmla="*/ 26734 w 69"/>
                <a:gd name="T11" fmla="*/ 102870 h 60"/>
                <a:gd name="T12" fmla="*/ 19096 w 69"/>
                <a:gd name="T13" fmla="*/ 102870 h 60"/>
                <a:gd name="T14" fmla="*/ 21006 w 69"/>
                <a:gd name="T15" fmla="*/ 91440 h 60"/>
                <a:gd name="T16" fmla="*/ 17186 w 69"/>
                <a:gd name="T17" fmla="*/ 80010 h 60"/>
                <a:gd name="T18" fmla="*/ 11458 w 69"/>
                <a:gd name="T19" fmla="*/ 68580 h 60"/>
                <a:gd name="T20" fmla="*/ 9548 w 69"/>
                <a:gd name="T21" fmla="*/ 57150 h 60"/>
                <a:gd name="T22" fmla="*/ 3819 w 69"/>
                <a:gd name="T23" fmla="*/ 51435 h 60"/>
                <a:gd name="T24" fmla="*/ 3819 w 69"/>
                <a:gd name="T25" fmla="*/ 43815 h 60"/>
                <a:gd name="T26" fmla="*/ 0 w 69"/>
                <a:gd name="T27" fmla="*/ 36195 h 60"/>
                <a:gd name="T28" fmla="*/ 1910 w 69"/>
                <a:gd name="T29" fmla="*/ 24765 h 60"/>
                <a:gd name="T30" fmla="*/ 5729 w 69"/>
                <a:gd name="T31" fmla="*/ 24765 h 60"/>
                <a:gd name="T32" fmla="*/ 13367 w 69"/>
                <a:gd name="T33" fmla="*/ 13335 h 60"/>
                <a:gd name="T34" fmla="*/ 24825 w 69"/>
                <a:gd name="T35" fmla="*/ 3810 h 60"/>
                <a:gd name="T36" fmla="*/ 32463 w 69"/>
                <a:gd name="T37" fmla="*/ 5715 h 60"/>
                <a:gd name="T38" fmla="*/ 38192 w 69"/>
                <a:gd name="T39" fmla="*/ 5715 h 60"/>
                <a:gd name="T40" fmla="*/ 55378 w 69"/>
                <a:gd name="T41" fmla="*/ 5715 h 60"/>
                <a:gd name="T42" fmla="*/ 64926 w 69"/>
                <a:gd name="T43" fmla="*/ 9525 h 60"/>
                <a:gd name="T44" fmla="*/ 68745 w 69"/>
                <a:gd name="T45" fmla="*/ 13335 h 60"/>
                <a:gd name="T46" fmla="*/ 74474 w 69"/>
                <a:gd name="T47" fmla="*/ 13335 h 60"/>
                <a:gd name="T48" fmla="*/ 84022 w 69"/>
                <a:gd name="T49" fmla="*/ 17145 h 60"/>
                <a:gd name="T50" fmla="*/ 89751 w 69"/>
                <a:gd name="T51" fmla="*/ 19050 h 60"/>
                <a:gd name="T52" fmla="*/ 87841 w 69"/>
                <a:gd name="T53" fmla="*/ 7620 h 60"/>
                <a:gd name="T54" fmla="*/ 99299 w 69"/>
                <a:gd name="T55" fmla="*/ 3810 h 60"/>
                <a:gd name="T56" fmla="*/ 105028 w 69"/>
                <a:gd name="T57" fmla="*/ 5715 h 60"/>
                <a:gd name="T58" fmla="*/ 112666 w 69"/>
                <a:gd name="T59" fmla="*/ 5715 h 60"/>
                <a:gd name="T60" fmla="*/ 120304 w 69"/>
                <a:gd name="T61" fmla="*/ 0 h 60"/>
                <a:gd name="T62" fmla="*/ 122214 w 69"/>
                <a:gd name="T63" fmla="*/ 7620 h 60"/>
                <a:gd name="T64" fmla="*/ 122214 w 69"/>
                <a:gd name="T65" fmla="*/ 13335 h 60"/>
                <a:gd name="T66" fmla="*/ 122214 w 69"/>
                <a:gd name="T67" fmla="*/ 22860 h 60"/>
                <a:gd name="T68" fmla="*/ 127943 w 69"/>
                <a:gd name="T69" fmla="*/ 26670 h 60"/>
                <a:gd name="T70" fmla="*/ 129852 w 69"/>
                <a:gd name="T71" fmla="*/ 43815 h 60"/>
                <a:gd name="T72" fmla="*/ 124124 w 69"/>
                <a:gd name="T73" fmla="*/ 64770 h 60"/>
                <a:gd name="T74" fmla="*/ 120304 w 69"/>
                <a:gd name="T75" fmla="*/ 62865 h 60"/>
                <a:gd name="T76" fmla="*/ 108847 w 69"/>
                <a:gd name="T77" fmla="*/ 72390 h 60"/>
                <a:gd name="T78" fmla="*/ 97389 w 69"/>
                <a:gd name="T79" fmla="*/ 72390 h 60"/>
                <a:gd name="T80" fmla="*/ 95480 w 69"/>
                <a:gd name="T81" fmla="*/ 80010 h 60"/>
                <a:gd name="T82" fmla="*/ 87841 w 69"/>
                <a:gd name="T83" fmla="*/ 78105 h 60"/>
                <a:gd name="T84" fmla="*/ 84022 w 69"/>
                <a:gd name="T85" fmla="*/ 81915 h 60"/>
                <a:gd name="T86" fmla="*/ 87841 w 69"/>
                <a:gd name="T87" fmla="*/ 91440 h 60"/>
                <a:gd name="T88" fmla="*/ 91661 w 69"/>
                <a:gd name="T89" fmla="*/ 95250 h 60"/>
                <a:gd name="T90" fmla="*/ 93570 w 69"/>
                <a:gd name="T91" fmla="*/ 100965 h 60"/>
                <a:gd name="T92" fmla="*/ 91661 w 69"/>
                <a:gd name="T93" fmla="*/ 106680 h 60"/>
                <a:gd name="T94" fmla="*/ 82113 w 69"/>
                <a:gd name="T95" fmla="*/ 102870 h 60"/>
                <a:gd name="T96" fmla="*/ 64926 w 69"/>
                <a:gd name="T97" fmla="*/ 102870 h 60"/>
                <a:gd name="T98" fmla="*/ 66836 w 69"/>
                <a:gd name="T99" fmla="*/ 110490 h 60"/>
                <a:gd name="T100" fmla="*/ 59197 w 69"/>
                <a:gd name="T101" fmla="*/ 114300 h 60"/>
                <a:gd name="T102" fmla="*/ 51559 w 69"/>
                <a:gd name="T103" fmla="*/ 114300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7" name="Freeform 135"/>
            <p:cNvSpPr>
              <a:spLocks noChangeAspect="1"/>
            </p:cNvSpPr>
            <p:nvPr/>
          </p:nvSpPr>
          <p:spPr bwMode="auto">
            <a:xfrm>
              <a:off x="6782362" y="2340593"/>
              <a:ext cx="195408" cy="339185"/>
            </a:xfrm>
            <a:custGeom>
              <a:avLst/>
              <a:gdLst>
                <a:gd name="T0" fmla="*/ 86291 w 101"/>
                <a:gd name="T1" fmla="*/ 367944 h 219"/>
                <a:gd name="T2" fmla="*/ 90126 w 101"/>
                <a:gd name="T3" fmla="*/ 407980 h 219"/>
                <a:gd name="T4" fmla="*/ 101631 w 101"/>
                <a:gd name="T5" fmla="*/ 415606 h 219"/>
                <a:gd name="T6" fmla="*/ 120807 w 101"/>
                <a:gd name="T7" fmla="*/ 394635 h 219"/>
                <a:gd name="T8" fmla="*/ 128477 w 101"/>
                <a:gd name="T9" fmla="*/ 387009 h 219"/>
                <a:gd name="T10" fmla="*/ 126560 w 101"/>
                <a:gd name="T11" fmla="*/ 375570 h 219"/>
                <a:gd name="T12" fmla="*/ 139983 w 101"/>
                <a:gd name="T13" fmla="*/ 366038 h 219"/>
                <a:gd name="T14" fmla="*/ 162994 w 101"/>
                <a:gd name="T15" fmla="*/ 358412 h 219"/>
                <a:gd name="T16" fmla="*/ 182170 w 101"/>
                <a:gd name="T17" fmla="*/ 339348 h 219"/>
                <a:gd name="T18" fmla="*/ 186005 w 101"/>
                <a:gd name="T19" fmla="*/ 306938 h 219"/>
                <a:gd name="T20" fmla="*/ 186005 w 101"/>
                <a:gd name="T21" fmla="*/ 299312 h 219"/>
                <a:gd name="T22" fmla="*/ 187922 w 101"/>
                <a:gd name="T23" fmla="*/ 278341 h 219"/>
                <a:gd name="T24" fmla="*/ 174499 w 101"/>
                <a:gd name="T25" fmla="*/ 226867 h 219"/>
                <a:gd name="T26" fmla="*/ 155324 w 101"/>
                <a:gd name="T27" fmla="*/ 205896 h 219"/>
                <a:gd name="T28" fmla="*/ 134230 w 101"/>
                <a:gd name="T29" fmla="*/ 184925 h 219"/>
                <a:gd name="T30" fmla="*/ 113137 w 101"/>
                <a:gd name="T31" fmla="*/ 152516 h 219"/>
                <a:gd name="T32" fmla="*/ 90126 w 101"/>
                <a:gd name="T33" fmla="*/ 129638 h 219"/>
                <a:gd name="T34" fmla="*/ 109302 w 101"/>
                <a:gd name="T35" fmla="*/ 89603 h 219"/>
                <a:gd name="T36" fmla="*/ 124642 w 101"/>
                <a:gd name="T37" fmla="*/ 70539 h 219"/>
                <a:gd name="T38" fmla="*/ 124642 w 101"/>
                <a:gd name="T39" fmla="*/ 49568 h 219"/>
                <a:gd name="T40" fmla="*/ 109302 w 101"/>
                <a:gd name="T41" fmla="*/ 20971 h 219"/>
                <a:gd name="T42" fmla="*/ 92044 w 101"/>
                <a:gd name="T43" fmla="*/ 13345 h 219"/>
                <a:gd name="T44" fmla="*/ 65198 w 101"/>
                <a:gd name="T45" fmla="*/ 7626 h 219"/>
                <a:gd name="T46" fmla="*/ 46022 w 101"/>
                <a:gd name="T47" fmla="*/ 20971 h 219"/>
                <a:gd name="T48" fmla="*/ 30681 w 101"/>
                <a:gd name="T49" fmla="*/ 28597 h 219"/>
                <a:gd name="T50" fmla="*/ 13423 w 101"/>
                <a:gd name="T51" fmla="*/ 30503 h 219"/>
                <a:gd name="T52" fmla="*/ 0 w 101"/>
                <a:gd name="T53" fmla="*/ 30503 h 219"/>
                <a:gd name="T54" fmla="*/ 15341 w 101"/>
                <a:gd name="T55" fmla="*/ 43848 h 219"/>
                <a:gd name="T56" fmla="*/ 26846 w 101"/>
                <a:gd name="T57" fmla="*/ 74351 h 219"/>
                <a:gd name="T58" fmla="*/ 47939 w 101"/>
                <a:gd name="T59" fmla="*/ 72445 h 219"/>
                <a:gd name="T60" fmla="*/ 55610 w 101"/>
                <a:gd name="T61" fmla="*/ 85790 h 219"/>
                <a:gd name="T62" fmla="*/ 72868 w 101"/>
                <a:gd name="T63" fmla="*/ 101042 h 219"/>
                <a:gd name="T64" fmla="*/ 53692 w 101"/>
                <a:gd name="T65" fmla="*/ 106761 h 219"/>
                <a:gd name="T66" fmla="*/ 78621 w 101"/>
                <a:gd name="T67" fmla="*/ 133451 h 219"/>
                <a:gd name="T68" fmla="*/ 99714 w 101"/>
                <a:gd name="T69" fmla="*/ 167767 h 219"/>
                <a:gd name="T70" fmla="*/ 118890 w 101"/>
                <a:gd name="T71" fmla="*/ 196364 h 219"/>
                <a:gd name="T72" fmla="*/ 136148 w 101"/>
                <a:gd name="T73" fmla="*/ 215429 h 219"/>
                <a:gd name="T74" fmla="*/ 143818 w 101"/>
                <a:gd name="T75" fmla="*/ 249745 h 219"/>
                <a:gd name="T76" fmla="*/ 145736 w 101"/>
                <a:gd name="T77" fmla="*/ 272622 h 219"/>
                <a:gd name="T78" fmla="*/ 147653 w 101"/>
                <a:gd name="T79" fmla="*/ 314564 h 219"/>
                <a:gd name="T80" fmla="*/ 120807 w 101"/>
                <a:gd name="T81" fmla="*/ 322190 h 219"/>
                <a:gd name="T82" fmla="*/ 107384 w 101"/>
                <a:gd name="T83" fmla="*/ 331722 h 219"/>
                <a:gd name="T84" fmla="*/ 116972 w 101"/>
                <a:gd name="T85" fmla="*/ 350786 h 219"/>
                <a:gd name="T86" fmla="*/ 88208 w 101"/>
                <a:gd name="T87" fmla="*/ 352693 h 219"/>
                <a:gd name="T88" fmla="*/ 74785 w 101"/>
                <a:gd name="T89" fmla="*/ 364131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8" name="Freeform 136"/>
            <p:cNvSpPr>
              <a:spLocks noChangeAspect="1"/>
            </p:cNvSpPr>
            <p:nvPr/>
          </p:nvSpPr>
          <p:spPr bwMode="auto">
            <a:xfrm>
              <a:off x="7238851" y="1858252"/>
              <a:ext cx="124934" cy="141864"/>
            </a:xfrm>
            <a:custGeom>
              <a:avLst/>
              <a:gdLst>
                <a:gd name="T0" fmla="*/ 57150 w 65"/>
                <a:gd name="T1" fmla="*/ 168931 h 92"/>
                <a:gd name="T2" fmla="*/ 47625 w 65"/>
                <a:gd name="T3" fmla="*/ 161338 h 92"/>
                <a:gd name="T4" fmla="*/ 34290 w 65"/>
                <a:gd name="T5" fmla="*/ 174625 h 92"/>
                <a:gd name="T6" fmla="*/ 36195 w 65"/>
                <a:gd name="T7" fmla="*/ 167033 h 92"/>
                <a:gd name="T8" fmla="*/ 28575 w 65"/>
                <a:gd name="T9" fmla="*/ 161338 h 92"/>
                <a:gd name="T10" fmla="*/ 32385 w 65"/>
                <a:gd name="T11" fmla="*/ 155644 h 92"/>
                <a:gd name="T12" fmla="*/ 19050 w 65"/>
                <a:gd name="T13" fmla="*/ 155644 h 92"/>
                <a:gd name="T14" fmla="*/ 20955 w 65"/>
                <a:gd name="T15" fmla="*/ 144255 h 92"/>
                <a:gd name="T16" fmla="*/ 32385 w 65"/>
                <a:gd name="T17" fmla="*/ 140459 h 92"/>
                <a:gd name="T18" fmla="*/ 24765 w 65"/>
                <a:gd name="T19" fmla="*/ 134765 h 92"/>
                <a:gd name="T20" fmla="*/ 32385 w 65"/>
                <a:gd name="T21" fmla="*/ 117682 h 92"/>
                <a:gd name="T22" fmla="*/ 30480 w 65"/>
                <a:gd name="T23" fmla="*/ 111988 h 92"/>
                <a:gd name="T24" fmla="*/ 34290 w 65"/>
                <a:gd name="T25" fmla="*/ 102497 h 92"/>
                <a:gd name="T26" fmla="*/ 26670 w 65"/>
                <a:gd name="T27" fmla="*/ 108192 h 92"/>
                <a:gd name="T28" fmla="*/ 7620 w 65"/>
                <a:gd name="T29" fmla="*/ 108192 h 92"/>
                <a:gd name="T30" fmla="*/ 0 w 65"/>
                <a:gd name="T31" fmla="*/ 100599 h 92"/>
                <a:gd name="T32" fmla="*/ 22860 w 65"/>
                <a:gd name="T33" fmla="*/ 77822 h 92"/>
                <a:gd name="T34" fmla="*/ 32385 w 65"/>
                <a:gd name="T35" fmla="*/ 70230 h 92"/>
                <a:gd name="T36" fmla="*/ 40005 w 65"/>
                <a:gd name="T37" fmla="*/ 58841 h 92"/>
                <a:gd name="T38" fmla="*/ 40005 w 65"/>
                <a:gd name="T39" fmla="*/ 45554 h 92"/>
                <a:gd name="T40" fmla="*/ 49530 w 65"/>
                <a:gd name="T41" fmla="*/ 41758 h 92"/>
                <a:gd name="T42" fmla="*/ 51435 w 65"/>
                <a:gd name="T43" fmla="*/ 47452 h 92"/>
                <a:gd name="T44" fmla="*/ 60960 w 65"/>
                <a:gd name="T45" fmla="*/ 51249 h 92"/>
                <a:gd name="T46" fmla="*/ 74295 w 65"/>
                <a:gd name="T47" fmla="*/ 51249 h 92"/>
                <a:gd name="T48" fmla="*/ 74295 w 65"/>
                <a:gd name="T49" fmla="*/ 43656 h 92"/>
                <a:gd name="T50" fmla="*/ 74295 w 65"/>
                <a:gd name="T51" fmla="*/ 36064 h 92"/>
                <a:gd name="T52" fmla="*/ 89535 w 65"/>
                <a:gd name="T53" fmla="*/ 36064 h 92"/>
                <a:gd name="T54" fmla="*/ 100965 w 65"/>
                <a:gd name="T55" fmla="*/ 15185 h 92"/>
                <a:gd name="T56" fmla="*/ 106680 w 65"/>
                <a:gd name="T57" fmla="*/ 15185 h 92"/>
                <a:gd name="T58" fmla="*/ 108585 w 65"/>
                <a:gd name="T59" fmla="*/ 1898 h 92"/>
                <a:gd name="T60" fmla="*/ 116205 w 65"/>
                <a:gd name="T61" fmla="*/ 1898 h 92"/>
                <a:gd name="T62" fmla="*/ 118110 w 65"/>
                <a:gd name="T63" fmla="*/ 13287 h 92"/>
                <a:gd name="T64" fmla="*/ 123825 w 65"/>
                <a:gd name="T65" fmla="*/ 20879 h 92"/>
                <a:gd name="T66" fmla="*/ 114300 w 65"/>
                <a:gd name="T67" fmla="*/ 47452 h 92"/>
                <a:gd name="T68" fmla="*/ 116205 w 65"/>
                <a:gd name="T69" fmla="*/ 55045 h 92"/>
                <a:gd name="T70" fmla="*/ 120015 w 65"/>
                <a:gd name="T71" fmla="*/ 72128 h 92"/>
                <a:gd name="T72" fmla="*/ 114300 w 65"/>
                <a:gd name="T73" fmla="*/ 77822 h 92"/>
                <a:gd name="T74" fmla="*/ 104775 w 65"/>
                <a:gd name="T75" fmla="*/ 87313 h 92"/>
                <a:gd name="T76" fmla="*/ 93345 w 65"/>
                <a:gd name="T77" fmla="*/ 100599 h 92"/>
                <a:gd name="T78" fmla="*/ 80010 w 65"/>
                <a:gd name="T79" fmla="*/ 100599 h 92"/>
                <a:gd name="T80" fmla="*/ 78105 w 65"/>
                <a:gd name="T81" fmla="*/ 104395 h 92"/>
                <a:gd name="T82" fmla="*/ 72390 w 65"/>
                <a:gd name="T83" fmla="*/ 104395 h 92"/>
                <a:gd name="T84" fmla="*/ 72390 w 65"/>
                <a:gd name="T85" fmla="*/ 111988 h 92"/>
                <a:gd name="T86" fmla="*/ 76200 w 65"/>
                <a:gd name="T87" fmla="*/ 115784 h 92"/>
                <a:gd name="T88" fmla="*/ 72390 w 65"/>
                <a:gd name="T89" fmla="*/ 125274 h 92"/>
                <a:gd name="T90" fmla="*/ 83820 w 65"/>
                <a:gd name="T91" fmla="*/ 129071 h 92"/>
                <a:gd name="T92" fmla="*/ 102870 w 65"/>
                <a:gd name="T93" fmla="*/ 144255 h 92"/>
                <a:gd name="T94" fmla="*/ 95250 w 65"/>
                <a:gd name="T95" fmla="*/ 153746 h 92"/>
                <a:gd name="T96" fmla="*/ 81915 w 65"/>
                <a:gd name="T97" fmla="*/ 153746 h 92"/>
                <a:gd name="T98" fmla="*/ 72390 w 65"/>
                <a:gd name="T99" fmla="*/ 155644 h 92"/>
                <a:gd name="T100" fmla="*/ 66675 w 65"/>
                <a:gd name="T101" fmla="*/ 163236 h 92"/>
                <a:gd name="T102" fmla="*/ 57150 w 65"/>
                <a:gd name="T103" fmla="*/ 168931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9" name="Freeform 137"/>
            <p:cNvSpPr>
              <a:spLocks noChangeAspect="1"/>
            </p:cNvSpPr>
            <p:nvPr/>
          </p:nvSpPr>
          <p:spPr bwMode="auto">
            <a:xfrm>
              <a:off x="7296513" y="1975613"/>
              <a:ext cx="89695" cy="107044"/>
            </a:xfrm>
            <a:custGeom>
              <a:avLst/>
              <a:gdLst>
                <a:gd name="T0" fmla="*/ 0 w 47"/>
                <a:gd name="T1" fmla="*/ 24825 h 69"/>
                <a:gd name="T2" fmla="*/ 9457 w 47"/>
                <a:gd name="T3" fmla="*/ 19096 h 69"/>
                <a:gd name="T4" fmla="*/ 15132 w 47"/>
                <a:gd name="T5" fmla="*/ 11458 h 69"/>
                <a:gd name="T6" fmla="*/ 24589 w 47"/>
                <a:gd name="T7" fmla="*/ 9548 h 69"/>
                <a:gd name="T8" fmla="*/ 37830 w 47"/>
                <a:gd name="T9" fmla="*/ 9548 h 69"/>
                <a:gd name="T10" fmla="*/ 45396 w 47"/>
                <a:gd name="T11" fmla="*/ 0 h 69"/>
                <a:gd name="T12" fmla="*/ 54853 w 47"/>
                <a:gd name="T13" fmla="*/ 15277 h 69"/>
                <a:gd name="T14" fmla="*/ 73768 w 47"/>
                <a:gd name="T15" fmla="*/ 42011 h 69"/>
                <a:gd name="T16" fmla="*/ 79443 w 47"/>
                <a:gd name="T17" fmla="*/ 68746 h 69"/>
                <a:gd name="T18" fmla="*/ 81334 w 47"/>
                <a:gd name="T19" fmla="*/ 80204 h 69"/>
                <a:gd name="T20" fmla="*/ 85117 w 47"/>
                <a:gd name="T21" fmla="*/ 78294 h 69"/>
                <a:gd name="T22" fmla="*/ 85117 w 47"/>
                <a:gd name="T23" fmla="*/ 105028 h 69"/>
                <a:gd name="T24" fmla="*/ 69985 w 47"/>
                <a:gd name="T25" fmla="*/ 106938 h 69"/>
                <a:gd name="T26" fmla="*/ 68094 w 47"/>
                <a:gd name="T27" fmla="*/ 116486 h 69"/>
                <a:gd name="T28" fmla="*/ 54853 w 47"/>
                <a:gd name="T29" fmla="*/ 110757 h 69"/>
                <a:gd name="T30" fmla="*/ 56745 w 47"/>
                <a:gd name="T31" fmla="*/ 118396 h 69"/>
                <a:gd name="T32" fmla="*/ 51070 w 47"/>
                <a:gd name="T33" fmla="*/ 112667 h 69"/>
                <a:gd name="T34" fmla="*/ 51070 w 47"/>
                <a:gd name="T35" fmla="*/ 122215 h 69"/>
                <a:gd name="T36" fmla="*/ 43504 w 47"/>
                <a:gd name="T37" fmla="*/ 114577 h 69"/>
                <a:gd name="T38" fmla="*/ 43504 w 47"/>
                <a:gd name="T39" fmla="*/ 122215 h 69"/>
                <a:gd name="T40" fmla="*/ 37830 w 47"/>
                <a:gd name="T41" fmla="*/ 124125 h 69"/>
                <a:gd name="T42" fmla="*/ 37830 w 47"/>
                <a:gd name="T43" fmla="*/ 116486 h 69"/>
                <a:gd name="T44" fmla="*/ 30264 w 47"/>
                <a:gd name="T45" fmla="*/ 126034 h 69"/>
                <a:gd name="T46" fmla="*/ 28372 w 47"/>
                <a:gd name="T47" fmla="*/ 122215 h 69"/>
                <a:gd name="T48" fmla="*/ 20806 w 47"/>
                <a:gd name="T49" fmla="*/ 131763 h 69"/>
                <a:gd name="T50" fmla="*/ 17023 w 47"/>
                <a:gd name="T51" fmla="*/ 120305 h 69"/>
                <a:gd name="T52" fmla="*/ 20806 w 47"/>
                <a:gd name="T53" fmla="*/ 114577 h 69"/>
                <a:gd name="T54" fmla="*/ 15132 w 47"/>
                <a:gd name="T55" fmla="*/ 103119 h 69"/>
                <a:gd name="T56" fmla="*/ 18915 w 47"/>
                <a:gd name="T57" fmla="*/ 93571 h 69"/>
                <a:gd name="T58" fmla="*/ 15132 w 47"/>
                <a:gd name="T59" fmla="*/ 93571 h 69"/>
                <a:gd name="T60" fmla="*/ 17023 w 47"/>
                <a:gd name="T61" fmla="*/ 80204 h 69"/>
                <a:gd name="T62" fmla="*/ 11349 w 47"/>
                <a:gd name="T63" fmla="*/ 55379 h 69"/>
                <a:gd name="T64" fmla="*/ 1891 w 47"/>
                <a:gd name="T65" fmla="*/ 53469 h 69"/>
                <a:gd name="T66" fmla="*/ 5674 w 47"/>
                <a:gd name="T67" fmla="*/ 47740 h 69"/>
                <a:gd name="T68" fmla="*/ 15132 w 47"/>
                <a:gd name="T69" fmla="*/ 47740 h 69"/>
                <a:gd name="T70" fmla="*/ 13240 w 47"/>
                <a:gd name="T71" fmla="*/ 36283 h 69"/>
                <a:gd name="T72" fmla="*/ 7566 w 47"/>
                <a:gd name="T73" fmla="*/ 28644 h 69"/>
                <a:gd name="T74" fmla="*/ 1891 w 47"/>
                <a:gd name="T75" fmla="*/ 28644 h 69"/>
                <a:gd name="T76" fmla="*/ 0 w 47"/>
                <a:gd name="T77" fmla="*/ 24825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0" name="Freeform 138"/>
            <p:cNvSpPr>
              <a:spLocks noChangeAspect="1"/>
            </p:cNvSpPr>
            <p:nvPr/>
          </p:nvSpPr>
          <p:spPr bwMode="auto">
            <a:xfrm>
              <a:off x="4849097" y="1502301"/>
              <a:ext cx="214630" cy="135417"/>
            </a:xfrm>
            <a:custGeom>
              <a:avLst/>
              <a:gdLst>
                <a:gd name="T0" fmla="*/ 13295 w 112"/>
                <a:gd name="T1" fmla="*/ 157216 h 88"/>
                <a:gd name="T2" fmla="*/ 13295 w 112"/>
                <a:gd name="T3" fmla="*/ 138274 h 88"/>
                <a:gd name="T4" fmla="*/ 7597 w 112"/>
                <a:gd name="T5" fmla="*/ 138274 h 88"/>
                <a:gd name="T6" fmla="*/ 3799 w 112"/>
                <a:gd name="T7" fmla="*/ 134486 h 88"/>
                <a:gd name="T8" fmla="*/ 5698 w 112"/>
                <a:gd name="T9" fmla="*/ 123121 h 88"/>
                <a:gd name="T10" fmla="*/ 9497 w 112"/>
                <a:gd name="T11" fmla="*/ 119333 h 88"/>
                <a:gd name="T12" fmla="*/ 13295 w 112"/>
                <a:gd name="T13" fmla="*/ 113650 h 88"/>
                <a:gd name="T14" fmla="*/ 13295 w 112"/>
                <a:gd name="T15" fmla="*/ 98497 h 88"/>
                <a:gd name="T16" fmla="*/ 9497 w 112"/>
                <a:gd name="T17" fmla="*/ 92814 h 88"/>
                <a:gd name="T18" fmla="*/ 1899 w 112"/>
                <a:gd name="T19" fmla="*/ 87132 h 88"/>
                <a:gd name="T20" fmla="*/ 1899 w 112"/>
                <a:gd name="T21" fmla="*/ 77661 h 88"/>
                <a:gd name="T22" fmla="*/ 11396 w 112"/>
                <a:gd name="T23" fmla="*/ 79555 h 88"/>
                <a:gd name="T24" fmla="*/ 20893 w 112"/>
                <a:gd name="T25" fmla="*/ 75767 h 88"/>
                <a:gd name="T26" fmla="*/ 30389 w 112"/>
                <a:gd name="T27" fmla="*/ 75767 h 88"/>
                <a:gd name="T28" fmla="*/ 36087 w 112"/>
                <a:gd name="T29" fmla="*/ 66296 h 88"/>
                <a:gd name="T30" fmla="*/ 53181 w 112"/>
                <a:gd name="T31" fmla="*/ 66296 h 88"/>
                <a:gd name="T32" fmla="*/ 51282 w 112"/>
                <a:gd name="T33" fmla="*/ 56825 h 88"/>
                <a:gd name="T34" fmla="*/ 56980 w 112"/>
                <a:gd name="T35" fmla="*/ 41672 h 88"/>
                <a:gd name="T36" fmla="*/ 74074 w 112"/>
                <a:gd name="T37" fmla="*/ 37883 h 88"/>
                <a:gd name="T38" fmla="*/ 74074 w 112"/>
                <a:gd name="T39" fmla="*/ 24624 h 88"/>
                <a:gd name="T40" fmla="*/ 81671 w 112"/>
                <a:gd name="T41" fmla="*/ 17048 h 88"/>
                <a:gd name="T42" fmla="*/ 93067 w 112"/>
                <a:gd name="T43" fmla="*/ 18942 h 88"/>
                <a:gd name="T44" fmla="*/ 98765 w 112"/>
                <a:gd name="T45" fmla="*/ 7577 h 88"/>
                <a:gd name="T46" fmla="*/ 104463 w 112"/>
                <a:gd name="T47" fmla="*/ 1894 h 88"/>
                <a:gd name="T48" fmla="*/ 115859 w 112"/>
                <a:gd name="T49" fmla="*/ 1894 h 88"/>
                <a:gd name="T50" fmla="*/ 119658 w 112"/>
                <a:gd name="T51" fmla="*/ 7577 h 88"/>
                <a:gd name="T52" fmla="*/ 131054 w 112"/>
                <a:gd name="T53" fmla="*/ 7577 h 88"/>
                <a:gd name="T54" fmla="*/ 132953 w 112"/>
                <a:gd name="T55" fmla="*/ 17048 h 88"/>
                <a:gd name="T56" fmla="*/ 148148 w 112"/>
                <a:gd name="T57" fmla="*/ 13259 h 88"/>
                <a:gd name="T58" fmla="*/ 170940 w 112"/>
                <a:gd name="T59" fmla="*/ 20836 h 88"/>
                <a:gd name="T60" fmla="*/ 169040 w 112"/>
                <a:gd name="T61" fmla="*/ 47354 h 88"/>
                <a:gd name="T62" fmla="*/ 174738 w 112"/>
                <a:gd name="T63" fmla="*/ 54931 h 88"/>
                <a:gd name="T64" fmla="*/ 176638 w 112"/>
                <a:gd name="T65" fmla="*/ 62508 h 88"/>
                <a:gd name="T66" fmla="*/ 191832 w 112"/>
                <a:gd name="T67" fmla="*/ 71978 h 88"/>
                <a:gd name="T68" fmla="*/ 191832 w 112"/>
                <a:gd name="T69" fmla="*/ 83344 h 88"/>
                <a:gd name="T70" fmla="*/ 203228 w 112"/>
                <a:gd name="T71" fmla="*/ 87132 h 88"/>
                <a:gd name="T72" fmla="*/ 212725 w 112"/>
                <a:gd name="T73" fmla="*/ 98497 h 88"/>
                <a:gd name="T74" fmla="*/ 201329 w 112"/>
                <a:gd name="T75" fmla="*/ 106074 h 88"/>
                <a:gd name="T76" fmla="*/ 193732 w 112"/>
                <a:gd name="T77" fmla="*/ 106074 h 88"/>
                <a:gd name="T78" fmla="*/ 186134 w 112"/>
                <a:gd name="T79" fmla="*/ 100391 h 88"/>
                <a:gd name="T80" fmla="*/ 178537 w 112"/>
                <a:gd name="T81" fmla="*/ 107968 h 88"/>
                <a:gd name="T82" fmla="*/ 186134 w 112"/>
                <a:gd name="T83" fmla="*/ 119333 h 88"/>
                <a:gd name="T84" fmla="*/ 189933 w 112"/>
                <a:gd name="T85" fmla="*/ 136380 h 88"/>
                <a:gd name="T86" fmla="*/ 174738 w 112"/>
                <a:gd name="T87" fmla="*/ 142063 h 88"/>
                <a:gd name="T88" fmla="*/ 169040 w 112"/>
                <a:gd name="T89" fmla="*/ 153428 h 88"/>
                <a:gd name="T90" fmla="*/ 163342 w 112"/>
                <a:gd name="T91" fmla="*/ 164793 h 88"/>
                <a:gd name="T92" fmla="*/ 153846 w 112"/>
                <a:gd name="T93" fmla="*/ 161004 h 88"/>
                <a:gd name="T94" fmla="*/ 144349 w 112"/>
                <a:gd name="T95" fmla="*/ 161004 h 88"/>
                <a:gd name="T96" fmla="*/ 134852 w 112"/>
                <a:gd name="T97" fmla="*/ 159110 h 88"/>
                <a:gd name="T98" fmla="*/ 125356 w 112"/>
                <a:gd name="T99" fmla="*/ 161004 h 88"/>
                <a:gd name="T100" fmla="*/ 115859 w 112"/>
                <a:gd name="T101" fmla="*/ 159110 h 88"/>
                <a:gd name="T102" fmla="*/ 104463 w 112"/>
                <a:gd name="T103" fmla="*/ 162899 h 88"/>
                <a:gd name="T104" fmla="*/ 98765 w 112"/>
                <a:gd name="T105" fmla="*/ 159110 h 88"/>
                <a:gd name="T106" fmla="*/ 83571 w 112"/>
                <a:gd name="T107" fmla="*/ 151534 h 88"/>
                <a:gd name="T108" fmla="*/ 72175 w 112"/>
                <a:gd name="T109" fmla="*/ 151534 h 88"/>
                <a:gd name="T110" fmla="*/ 60779 w 112"/>
                <a:gd name="T111" fmla="*/ 147745 h 88"/>
                <a:gd name="T112" fmla="*/ 41785 w 112"/>
                <a:gd name="T113" fmla="*/ 147745 h 88"/>
                <a:gd name="T114" fmla="*/ 28490 w 112"/>
                <a:gd name="T115" fmla="*/ 147745 h 88"/>
                <a:gd name="T116" fmla="*/ 24691 w 112"/>
                <a:gd name="T117" fmla="*/ 159110 h 88"/>
                <a:gd name="T118" fmla="*/ 13295 w 112"/>
                <a:gd name="T119" fmla="*/ 157216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1" name="Freeform 139"/>
            <p:cNvSpPr>
              <a:spLocks noChangeAspect="1"/>
            </p:cNvSpPr>
            <p:nvPr/>
          </p:nvSpPr>
          <p:spPr bwMode="auto">
            <a:xfrm>
              <a:off x="4644077" y="1540992"/>
              <a:ext cx="230647" cy="157341"/>
            </a:xfrm>
            <a:custGeom>
              <a:avLst/>
              <a:gdLst>
                <a:gd name="T0" fmla="*/ 217170 w 120"/>
                <a:gd name="T1" fmla="*/ 91141 h 102"/>
                <a:gd name="T2" fmla="*/ 207645 w 120"/>
                <a:gd name="T3" fmla="*/ 87344 h 102"/>
                <a:gd name="T4" fmla="*/ 213360 w 120"/>
                <a:gd name="T5" fmla="*/ 72153 h 102"/>
                <a:gd name="T6" fmla="*/ 217170 w 120"/>
                <a:gd name="T7" fmla="*/ 51267 h 102"/>
                <a:gd name="T8" fmla="*/ 205740 w 120"/>
                <a:gd name="T9" fmla="*/ 39874 h 102"/>
                <a:gd name="T10" fmla="*/ 196215 w 120"/>
                <a:gd name="T11" fmla="*/ 22785 h 102"/>
                <a:gd name="T12" fmla="*/ 173355 w 120"/>
                <a:gd name="T13" fmla="*/ 18988 h 102"/>
                <a:gd name="T14" fmla="*/ 129540 w 120"/>
                <a:gd name="T15" fmla="*/ 15190 h 102"/>
                <a:gd name="T16" fmla="*/ 118110 w 120"/>
                <a:gd name="T17" fmla="*/ 26583 h 102"/>
                <a:gd name="T18" fmla="*/ 121920 w 120"/>
                <a:gd name="T19" fmla="*/ 18988 h 102"/>
                <a:gd name="T20" fmla="*/ 121920 w 120"/>
                <a:gd name="T21" fmla="*/ 15190 h 102"/>
                <a:gd name="T22" fmla="*/ 99060 w 120"/>
                <a:gd name="T23" fmla="*/ 20887 h 102"/>
                <a:gd name="T24" fmla="*/ 93345 w 120"/>
                <a:gd name="T25" fmla="*/ 7595 h 102"/>
                <a:gd name="T26" fmla="*/ 83820 w 120"/>
                <a:gd name="T27" fmla="*/ 0 h 102"/>
                <a:gd name="T28" fmla="*/ 60960 w 120"/>
                <a:gd name="T29" fmla="*/ 9494 h 102"/>
                <a:gd name="T30" fmla="*/ 43815 w 120"/>
                <a:gd name="T31" fmla="*/ 18988 h 102"/>
                <a:gd name="T32" fmla="*/ 9525 w 120"/>
                <a:gd name="T33" fmla="*/ 28482 h 102"/>
                <a:gd name="T34" fmla="*/ 9525 w 120"/>
                <a:gd name="T35" fmla="*/ 32279 h 102"/>
                <a:gd name="T36" fmla="*/ 1905 w 120"/>
                <a:gd name="T37" fmla="*/ 36077 h 102"/>
                <a:gd name="T38" fmla="*/ 0 w 120"/>
                <a:gd name="T39" fmla="*/ 64558 h 102"/>
                <a:gd name="T40" fmla="*/ 7620 w 120"/>
                <a:gd name="T41" fmla="*/ 83546 h 102"/>
                <a:gd name="T42" fmla="*/ 9525 w 120"/>
                <a:gd name="T43" fmla="*/ 102534 h 102"/>
                <a:gd name="T44" fmla="*/ 19050 w 120"/>
                <a:gd name="T45" fmla="*/ 119623 h 102"/>
                <a:gd name="T46" fmla="*/ 26670 w 120"/>
                <a:gd name="T47" fmla="*/ 129117 h 102"/>
                <a:gd name="T48" fmla="*/ 36195 w 120"/>
                <a:gd name="T49" fmla="*/ 132914 h 102"/>
                <a:gd name="T50" fmla="*/ 51435 w 120"/>
                <a:gd name="T51" fmla="*/ 138611 h 102"/>
                <a:gd name="T52" fmla="*/ 59055 w 120"/>
                <a:gd name="T53" fmla="*/ 157598 h 102"/>
                <a:gd name="T54" fmla="*/ 62865 w 120"/>
                <a:gd name="T55" fmla="*/ 146206 h 102"/>
                <a:gd name="T56" fmla="*/ 76200 w 120"/>
                <a:gd name="T57" fmla="*/ 151902 h 102"/>
                <a:gd name="T58" fmla="*/ 80010 w 120"/>
                <a:gd name="T59" fmla="*/ 155700 h 102"/>
                <a:gd name="T60" fmla="*/ 91440 w 120"/>
                <a:gd name="T61" fmla="*/ 159497 h 102"/>
                <a:gd name="T62" fmla="*/ 102870 w 120"/>
                <a:gd name="T63" fmla="*/ 170890 h 102"/>
                <a:gd name="T64" fmla="*/ 116205 w 120"/>
                <a:gd name="T65" fmla="*/ 180384 h 102"/>
                <a:gd name="T66" fmla="*/ 131445 w 120"/>
                <a:gd name="T67" fmla="*/ 182282 h 102"/>
                <a:gd name="T68" fmla="*/ 137160 w 120"/>
                <a:gd name="T69" fmla="*/ 186080 h 102"/>
                <a:gd name="T70" fmla="*/ 154305 w 120"/>
                <a:gd name="T71" fmla="*/ 180384 h 102"/>
                <a:gd name="T72" fmla="*/ 165735 w 120"/>
                <a:gd name="T73" fmla="*/ 178485 h 102"/>
                <a:gd name="T74" fmla="*/ 184785 w 120"/>
                <a:gd name="T75" fmla="*/ 187979 h 102"/>
                <a:gd name="T76" fmla="*/ 201930 w 120"/>
                <a:gd name="T77" fmla="*/ 191776 h 102"/>
                <a:gd name="T78" fmla="*/ 198120 w 120"/>
                <a:gd name="T79" fmla="*/ 186080 h 102"/>
                <a:gd name="T80" fmla="*/ 196215 w 120"/>
                <a:gd name="T81" fmla="*/ 172788 h 102"/>
                <a:gd name="T82" fmla="*/ 219075 w 120"/>
                <a:gd name="T83" fmla="*/ 153801 h 102"/>
                <a:gd name="T84" fmla="*/ 228600 w 120"/>
                <a:gd name="T85" fmla="*/ 144307 h 102"/>
                <a:gd name="T86" fmla="*/ 226695 w 120"/>
                <a:gd name="T87" fmla="*/ 134813 h 102"/>
                <a:gd name="T88" fmla="*/ 217170 w 120"/>
                <a:gd name="T89" fmla="*/ 11012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2" name="Freeform 140"/>
            <p:cNvSpPr>
              <a:spLocks noChangeAspect="1"/>
            </p:cNvSpPr>
            <p:nvPr/>
          </p:nvSpPr>
          <p:spPr bwMode="auto">
            <a:xfrm>
              <a:off x="4770612" y="1533254"/>
              <a:ext cx="67272" cy="23214"/>
            </a:xfrm>
            <a:custGeom>
              <a:avLst/>
              <a:gdLst>
                <a:gd name="T0" fmla="*/ 60960 w 35"/>
                <a:gd name="T1" fmla="*/ 24765 h 15"/>
                <a:gd name="T2" fmla="*/ 47625 w 35"/>
                <a:gd name="T3" fmla="*/ 28575 h 15"/>
                <a:gd name="T4" fmla="*/ 36195 w 35"/>
                <a:gd name="T5" fmla="*/ 26670 h 15"/>
                <a:gd name="T6" fmla="*/ 3810 w 35"/>
                <a:gd name="T7" fmla="*/ 24765 h 15"/>
                <a:gd name="T8" fmla="*/ 13335 w 35"/>
                <a:gd name="T9" fmla="*/ 19050 h 15"/>
                <a:gd name="T10" fmla="*/ 11430 w 35"/>
                <a:gd name="T11" fmla="*/ 17145 h 15"/>
                <a:gd name="T12" fmla="*/ 3810 w 35"/>
                <a:gd name="T13" fmla="*/ 19050 h 15"/>
                <a:gd name="T14" fmla="*/ 1905 w 35"/>
                <a:gd name="T15" fmla="*/ 11430 h 15"/>
                <a:gd name="T16" fmla="*/ 11430 w 35"/>
                <a:gd name="T17" fmla="*/ 9525 h 15"/>
                <a:gd name="T18" fmla="*/ 20955 w 35"/>
                <a:gd name="T19" fmla="*/ 1905 h 15"/>
                <a:gd name="T20" fmla="*/ 20955 w 35"/>
                <a:gd name="T21" fmla="*/ 3810 h 15"/>
                <a:gd name="T22" fmla="*/ 17145 w 35"/>
                <a:gd name="T23" fmla="*/ 9525 h 15"/>
                <a:gd name="T24" fmla="*/ 30480 w 35"/>
                <a:gd name="T25" fmla="*/ 9525 h 15"/>
                <a:gd name="T26" fmla="*/ 30480 w 35"/>
                <a:gd name="T27" fmla="*/ 1905 h 15"/>
                <a:gd name="T28" fmla="*/ 34290 w 35"/>
                <a:gd name="T29" fmla="*/ 0 h 15"/>
                <a:gd name="T30" fmla="*/ 43815 w 35"/>
                <a:gd name="T31" fmla="*/ 5715 h 15"/>
                <a:gd name="T32" fmla="*/ 51435 w 35"/>
                <a:gd name="T33" fmla="*/ 5715 h 15"/>
                <a:gd name="T34" fmla="*/ 55245 w 35"/>
                <a:gd name="T35" fmla="*/ 3810 h 15"/>
                <a:gd name="T36" fmla="*/ 64770 w 35"/>
                <a:gd name="T37" fmla="*/ 9525 h 15"/>
                <a:gd name="T38" fmla="*/ 64770 w 35"/>
                <a:gd name="T39" fmla="*/ 17145 h 15"/>
                <a:gd name="T40" fmla="*/ 60960 w 35"/>
                <a:gd name="T41" fmla="*/ 24765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3" name="Freeform 141"/>
            <p:cNvSpPr>
              <a:spLocks noChangeAspect="1"/>
            </p:cNvSpPr>
            <p:nvPr/>
          </p:nvSpPr>
          <p:spPr bwMode="auto">
            <a:xfrm>
              <a:off x="4793035" y="1493274"/>
              <a:ext cx="134544" cy="73512"/>
            </a:xfrm>
            <a:custGeom>
              <a:avLst/>
              <a:gdLst>
                <a:gd name="T0" fmla="*/ 11430 w 70"/>
                <a:gd name="T1" fmla="*/ 49014 h 48"/>
                <a:gd name="T2" fmla="*/ 7620 w 70"/>
                <a:gd name="T3" fmla="*/ 37703 h 48"/>
                <a:gd name="T4" fmla="*/ 1905 w 70"/>
                <a:gd name="T5" fmla="*/ 26392 h 48"/>
                <a:gd name="T6" fmla="*/ 0 w 70"/>
                <a:gd name="T7" fmla="*/ 16967 h 48"/>
                <a:gd name="T8" fmla="*/ 7620 w 70"/>
                <a:gd name="T9" fmla="*/ 9426 h 48"/>
                <a:gd name="T10" fmla="*/ 22860 w 70"/>
                <a:gd name="T11" fmla="*/ 1885 h 48"/>
                <a:gd name="T12" fmla="*/ 45720 w 70"/>
                <a:gd name="T13" fmla="*/ 5656 h 48"/>
                <a:gd name="T14" fmla="*/ 68580 w 70"/>
                <a:gd name="T15" fmla="*/ 7541 h 48"/>
                <a:gd name="T16" fmla="*/ 76200 w 70"/>
                <a:gd name="T17" fmla="*/ 11311 h 48"/>
                <a:gd name="T18" fmla="*/ 87630 w 70"/>
                <a:gd name="T19" fmla="*/ 7541 h 48"/>
                <a:gd name="T20" fmla="*/ 99060 w 70"/>
                <a:gd name="T21" fmla="*/ 15081 h 48"/>
                <a:gd name="T22" fmla="*/ 114300 w 70"/>
                <a:gd name="T23" fmla="*/ 24507 h 48"/>
                <a:gd name="T24" fmla="*/ 129540 w 70"/>
                <a:gd name="T25" fmla="*/ 35818 h 48"/>
                <a:gd name="T26" fmla="*/ 129540 w 70"/>
                <a:gd name="T27" fmla="*/ 49014 h 48"/>
                <a:gd name="T28" fmla="*/ 112395 w 70"/>
                <a:gd name="T29" fmla="*/ 52785 h 48"/>
                <a:gd name="T30" fmla="*/ 106680 w 70"/>
                <a:gd name="T31" fmla="*/ 67866 h 48"/>
                <a:gd name="T32" fmla="*/ 108585 w 70"/>
                <a:gd name="T33" fmla="*/ 77292 h 48"/>
                <a:gd name="T34" fmla="*/ 91440 w 70"/>
                <a:gd name="T35" fmla="*/ 77292 h 48"/>
                <a:gd name="T36" fmla="*/ 85725 w 70"/>
                <a:gd name="T37" fmla="*/ 86718 h 48"/>
                <a:gd name="T38" fmla="*/ 76200 w 70"/>
                <a:gd name="T39" fmla="*/ 86718 h 48"/>
                <a:gd name="T40" fmla="*/ 66675 w 70"/>
                <a:gd name="T41" fmla="*/ 90488 h 48"/>
                <a:gd name="T42" fmla="*/ 57150 w 70"/>
                <a:gd name="T43" fmla="*/ 88603 h 48"/>
                <a:gd name="T44" fmla="*/ 47625 w 70"/>
                <a:gd name="T45" fmla="*/ 81062 h 48"/>
                <a:gd name="T46" fmla="*/ 38100 w 70"/>
                <a:gd name="T47" fmla="*/ 73522 h 48"/>
                <a:gd name="T48" fmla="*/ 41910 w 70"/>
                <a:gd name="T49" fmla="*/ 65981 h 48"/>
                <a:gd name="T50" fmla="*/ 41910 w 70"/>
                <a:gd name="T51" fmla="*/ 58440 h 48"/>
                <a:gd name="T52" fmla="*/ 32385 w 70"/>
                <a:gd name="T53" fmla="*/ 52785 h 48"/>
                <a:gd name="T54" fmla="*/ 28575 w 70"/>
                <a:gd name="T55" fmla="*/ 54670 h 48"/>
                <a:gd name="T56" fmla="*/ 20955 w 70"/>
                <a:gd name="T57" fmla="*/ 54670 h 48"/>
                <a:gd name="T58" fmla="*/ 11430 w 70"/>
                <a:gd name="T59" fmla="*/ 49014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4" name="Freeform 142"/>
            <p:cNvSpPr>
              <a:spLocks noChangeAspect="1"/>
            </p:cNvSpPr>
            <p:nvPr/>
          </p:nvSpPr>
          <p:spPr bwMode="auto">
            <a:xfrm>
              <a:off x="4791434" y="1444266"/>
              <a:ext cx="164976" cy="77381"/>
            </a:xfrm>
            <a:custGeom>
              <a:avLst/>
              <a:gdLst>
                <a:gd name="T0" fmla="*/ 138795 w 86"/>
                <a:gd name="T1" fmla="*/ 17145 h 50"/>
                <a:gd name="T2" fmla="*/ 133091 w 86"/>
                <a:gd name="T3" fmla="*/ 17145 h 50"/>
                <a:gd name="T4" fmla="*/ 125486 w 86"/>
                <a:gd name="T5" fmla="*/ 20955 h 50"/>
                <a:gd name="T6" fmla="*/ 112177 w 86"/>
                <a:gd name="T7" fmla="*/ 11430 h 50"/>
                <a:gd name="T8" fmla="*/ 95065 w 86"/>
                <a:gd name="T9" fmla="*/ 3810 h 50"/>
                <a:gd name="T10" fmla="*/ 87460 w 86"/>
                <a:gd name="T11" fmla="*/ 1905 h 50"/>
                <a:gd name="T12" fmla="*/ 74151 w 86"/>
                <a:gd name="T13" fmla="*/ 9525 h 50"/>
                <a:gd name="T14" fmla="*/ 77953 w 86"/>
                <a:gd name="T15" fmla="*/ 26670 h 50"/>
                <a:gd name="T16" fmla="*/ 70348 w 86"/>
                <a:gd name="T17" fmla="*/ 38100 h 50"/>
                <a:gd name="T18" fmla="*/ 55138 w 86"/>
                <a:gd name="T19" fmla="*/ 43815 h 50"/>
                <a:gd name="T20" fmla="*/ 45631 w 86"/>
                <a:gd name="T21" fmla="*/ 30480 h 50"/>
                <a:gd name="T22" fmla="*/ 36125 w 86"/>
                <a:gd name="T23" fmla="*/ 20955 h 50"/>
                <a:gd name="T24" fmla="*/ 34223 w 86"/>
                <a:gd name="T25" fmla="*/ 15240 h 50"/>
                <a:gd name="T26" fmla="*/ 17112 w 86"/>
                <a:gd name="T27" fmla="*/ 22860 h 50"/>
                <a:gd name="T28" fmla="*/ 11408 w 86"/>
                <a:gd name="T29" fmla="*/ 30480 h 50"/>
                <a:gd name="T30" fmla="*/ 1901 w 86"/>
                <a:gd name="T31" fmla="*/ 53340 h 50"/>
                <a:gd name="T32" fmla="*/ 1901 w 86"/>
                <a:gd name="T33" fmla="*/ 76200 h 50"/>
                <a:gd name="T34" fmla="*/ 9507 w 86"/>
                <a:gd name="T35" fmla="*/ 68580 h 50"/>
                <a:gd name="T36" fmla="*/ 24717 w 86"/>
                <a:gd name="T37" fmla="*/ 60960 h 50"/>
                <a:gd name="T38" fmla="*/ 47533 w 86"/>
                <a:gd name="T39" fmla="*/ 64770 h 50"/>
                <a:gd name="T40" fmla="*/ 70348 w 86"/>
                <a:gd name="T41" fmla="*/ 66675 h 50"/>
                <a:gd name="T42" fmla="*/ 77953 w 86"/>
                <a:gd name="T43" fmla="*/ 70485 h 50"/>
                <a:gd name="T44" fmla="*/ 89361 w 86"/>
                <a:gd name="T45" fmla="*/ 66675 h 50"/>
                <a:gd name="T46" fmla="*/ 100769 w 86"/>
                <a:gd name="T47" fmla="*/ 74295 h 50"/>
                <a:gd name="T48" fmla="*/ 115979 w 86"/>
                <a:gd name="T49" fmla="*/ 83820 h 50"/>
                <a:gd name="T50" fmla="*/ 131190 w 86"/>
                <a:gd name="T51" fmla="*/ 95250 h 50"/>
                <a:gd name="T52" fmla="*/ 138795 w 86"/>
                <a:gd name="T53" fmla="*/ 87630 h 50"/>
                <a:gd name="T54" fmla="*/ 150203 w 86"/>
                <a:gd name="T55" fmla="*/ 89535 h 50"/>
                <a:gd name="T56" fmla="*/ 155907 w 86"/>
                <a:gd name="T57" fmla="*/ 78105 h 50"/>
                <a:gd name="T58" fmla="*/ 161611 w 86"/>
                <a:gd name="T59" fmla="*/ 72390 h 50"/>
                <a:gd name="T60" fmla="*/ 163512 w 86"/>
                <a:gd name="T61" fmla="*/ 64770 h 50"/>
                <a:gd name="T62" fmla="*/ 152104 w 86"/>
                <a:gd name="T63" fmla="*/ 45720 h 50"/>
                <a:gd name="T64" fmla="*/ 152104 w 86"/>
                <a:gd name="T65" fmla="*/ 32385 h 50"/>
                <a:gd name="T66" fmla="*/ 146400 w 86"/>
                <a:gd name="T67" fmla="*/ 24765 h 50"/>
                <a:gd name="T68" fmla="*/ 138795 w 86"/>
                <a:gd name="T69" fmla="*/ 17145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5" name="Freeform 143"/>
            <p:cNvSpPr>
              <a:spLocks noChangeAspect="1"/>
            </p:cNvSpPr>
            <p:nvPr/>
          </p:nvSpPr>
          <p:spPr bwMode="auto">
            <a:xfrm>
              <a:off x="4842689" y="1404286"/>
              <a:ext cx="102509" cy="58035"/>
            </a:xfrm>
            <a:custGeom>
              <a:avLst/>
              <a:gdLst>
                <a:gd name="T0" fmla="*/ 88181 w 53"/>
                <a:gd name="T1" fmla="*/ 67576 h 37"/>
                <a:gd name="T2" fmla="*/ 82430 w 53"/>
                <a:gd name="T3" fmla="*/ 67576 h 37"/>
                <a:gd name="T4" fmla="*/ 74762 w 53"/>
                <a:gd name="T5" fmla="*/ 71437 h 37"/>
                <a:gd name="T6" fmla="*/ 61343 w 53"/>
                <a:gd name="T7" fmla="*/ 61783 h 37"/>
                <a:gd name="T8" fmla="*/ 44091 w 53"/>
                <a:gd name="T9" fmla="*/ 54060 h 37"/>
                <a:gd name="T10" fmla="*/ 36423 w 53"/>
                <a:gd name="T11" fmla="*/ 52130 h 37"/>
                <a:gd name="T12" fmla="*/ 23004 w 53"/>
                <a:gd name="T13" fmla="*/ 59853 h 37"/>
                <a:gd name="T14" fmla="*/ 26838 w 53"/>
                <a:gd name="T15" fmla="*/ 42476 h 37"/>
                <a:gd name="T16" fmla="*/ 19170 w 53"/>
                <a:gd name="T17" fmla="*/ 42476 h 37"/>
                <a:gd name="T18" fmla="*/ 13419 w 53"/>
                <a:gd name="T19" fmla="*/ 46338 h 37"/>
                <a:gd name="T20" fmla="*/ 3834 w 53"/>
                <a:gd name="T21" fmla="*/ 36684 h 37"/>
                <a:gd name="T22" fmla="*/ 3834 w 53"/>
                <a:gd name="T23" fmla="*/ 28961 h 37"/>
                <a:gd name="T24" fmla="*/ 0 w 53"/>
                <a:gd name="T25" fmla="*/ 21238 h 37"/>
                <a:gd name="T26" fmla="*/ 3834 w 53"/>
                <a:gd name="T27" fmla="*/ 11584 h 37"/>
                <a:gd name="T28" fmla="*/ 19170 w 53"/>
                <a:gd name="T29" fmla="*/ 5792 h 37"/>
                <a:gd name="T30" fmla="*/ 46008 w 53"/>
                <a:gd name="T31" fmla="*/ 0 h 37"/>
                <a:gd name="T32" fmla="*/ 69011 w 53"/>
                <a:gd name="T33" fmla="*/ 0 h 37"/>
                <a:gd name="T34" fmla="*/ 78596 w 53"/>
                <a:gd name="T35" fmla="*/ 5792 h 37"/>
                <a:gd name="T36" fmla="*/ 101600 w 53"/>
                <a:gd name="T37" fmla="*/ 5792 h 37"/>
                <a:gd name="T38" fmla="*/ 99683 w 53"/>
                <a:gd name="T39" fmla="*/ 15446 h 37"/>
                <a:gd name="T40" fmla="*/ 97766 w 53"/>
                <a:gd name="T41" fmla="*/ 21238 h 37"/>
                <a:gd name="T42" fmla="*/ 86264 w 53"/>
                <a:gd name="T43" fmla="*/ 23169 h 37"/>
                <a:gd name="T44" fmla="*/ 76679 w 53"/>
                <a:gd name="T45" fmla="*/ 27030 h 37"/>
                <a:gd name="T46" fmla="*/ 84347 w 53"/>
                <a:gd name="T47" fmla="*/ 42476 h 37"/>
                <a:gd name="T48" fmla="*/ 92015 w 53"/>
                <a:gd name="T49" fmla="*/ 59853 h 37"/>
                <a:gd name="T50" fmla="*/ 90098 w 53"/>
                <a:gd name="T51" fmla="*/ 63714 h 37"/>
                <a:gd name="T52" fmla="*/ 88181 w 53"/>
                <a:gd name="T53" fmla="*/ 67576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6" name="Freeform 144"/>
            <p:cNvSpPr>
              <a:spLocks noChangeAspect="1"/>
            </p:cNvSpPr>
            <p:nvPr/>
          </p:nvSpPr>
          <p:spPr bwMode="auto">
            <a:xfrm>
              <a:off x="4765808" y="1071548"/>
              <a:ext cx="245062" cy="326288"/>
            </a:xfrm>
            <a:custGeom>
              <a:avLst/>
              <a:gdLst>
                <a:gd name="T0" fmla="*/ 91800 w 127"/>
                <a:gd name="T1" fmla="*/ 180832 h 211"/>
                <a:gd name="T2" fmla="*/ 105187 w 127"/>
                <a:gd name="T3" fmla="*/ 207481 h 211"/>
                <a:gd name="T4" fmla="*/ 74587 w 127"/>
                <a:gd name="T5" fmla="*/ 232226 h 211"/>
                <a:gd name="T6" fmla="*/ 42075 w 127"/>
                <a:gd name="T7" fmla="*/ 268393 h 211"/>
                <a:gd name="T8" fmla="*/ 19125 w 127"/>
                <a:gd name="T9" fmla="*/ 285524 h 211"/>
                <a:gd name="T10" fmla="*/ 24862 w 127"/>
                <a:gd name="T11" fmla="*/ 352146 h 211"/>
                <a:gd name="T12" fmla="*/ 49725 w 127"/>
                <a:gd name="T13" fmla="*/ 376892 h 211"/>
                <a:gd name="T14" fmla="*/ 65025 w 127"/>
                <a:gd name="T15" fmla="*/ 397830 h 211"/>
                <a:gd name="T16" fmla="*/ 112837 w 127"/>
                <a:gd name="T17" fmla="*/ 388313 h 211"/>
                <a:gd name="T18" fmla="*/ 156825 w 127"/>
                <a:gd name="T19" fmla="*/ 376892 h 211"/>
                <a:gd name="T20" fmla="*/ 179775 w 127"/>
                <a:gd name="T21" fmla="*/ 361664 h 211"/>
                <a:gd name="T22" fmla="*/ 214200 w 127"/>
                <a:gd name="T23" fmla="*/ 327401 h 211"/>
                <a:gd name="T24" fmla="*/ 242887 w 127"/>
                <a:gd name="T25" fmla="*/ 283620 h 211"/>
                <a:gd name="T26" fmla="*/ 212287 w 127"/>
                <a:gd name="T27" fmla="*/ 251261 h 211"/>
                <a:gd name="T28" fmla="*/ 216112 w 127"/>
                <a:gd name="T29" fmla="*/ 230323 h 211"/>
                <a:gd name="T30" fmla="*/ 208462 w 127"/>
                <a:gd name="T31" fmla="*/ 213191 h 211"/>
                <a:gd name="T32" fmla="*/ 200812 w 127"/>
                <a:gd name="T33" fmla="*/ 199867 h 211"/>
                <a:gd name="T34" fmla="*/ 196987 w 127"/>
                <a:gd name="T35" fmla="*/ 188446 h 211"/>
                <a:gd name="T36" fmla="*/ 208462 w 127"/>
                <a:gd name="T37" fmla="*/ 167507 h 211"/>
                <a:gd name="T38" fmla="*/ 198900 w 127"/>
                <a:gd name="T39" fmla="*/ 100885 h 211"/>
                <a:gd name="T40" fmla="*/ 168300 w 127"/>
                <a:gd name="T41" fmla="*/ 79947 h 211"/>
                <a:gd name="T42" fmla="*/ 168300 w 127"/>
                <a:gd name="T43" fmla="*/ 53298 h 211"/>
                <a:gd name="T44" fmla="*/ 170212 w 127"/>
                <a:gd name="T45" fmla="*/ 43780 h 211"/>
                <a:gd name="T46" fmla="*/ 160650 w 127"/>
                <a:gd name="T47" fmla="*/ 13324 h 211"/>
                <a:gd name="T48" fmla="*/ 116662 w 127"/>
                <a:gd name="T49" fmla="*/ 5710 h 211"/>
                <a:gd name="T50" fmla="*/ 105187 w 127"/>
                <a:gd name="T51" fmla="*/ 47587 h 211"/>
                <a:gd name="T52" fmla="*/ 91800 w 127"/>
                <a:gd name="T53" fmla="*/ 62815 h 211"/>
                <a:gd name="T54" fmla="*/ 51637 w 127"/>
                <a:gd name="T55" fmla="*/ 60912 h 211"/>
                <a:gd name="T56" fmla="*/ 7650 w 127"/>
                <a:gd name="T57" fmla="*/ 26649 h 211"/>
                <a:gd name="T58" fmla="*/ 0 w 127"/>
                <a:gd name="T59" fmla="*/ 43780 h 211"/>
                <a:gd name="T60" fmla="*/ 42075 w 127"/>
                <a:gd name="T61" fmla="*/ 68526 h 211"/>
                <a:gd name="T62" fmla="*/ 59287 w 127"/>
                <a:gd name="T63" fmla="*/ 102789 h 211"/>
                <a:gd name="T64" fmla="*/ 65025 w 127"/>
                <a:gd name="T65" fmla="*/ 114210 h 211"/>
                <a:gd name="T66" fmla="*/ 66937 w 127"/>
                <a:gd name="T67" fmla="*/ 150376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7" name="Freeform 145"/>
            <p:cNvSpPr>
              <a:spLocks noChangeAspect="1"/>
            </p:cNvSpPr>
            <p:nvPr/>
          </p:nvSpPr>
          <p:spPr bwMode="auto">
            <a:xfrm>
              <a:off x="4568796" y="1103790"/>
              <a:ext cx="273893" cy="424305"/>
            </a:xfrm>
            <a:custGeom>
              <a:avLst/>
              <a:gdLst>
                <a:gd name="T0" fmla="*/ 9492 w 143"/>
                <a:gd name="T1" fmla="*/ 371701 h 274"/>
                <a:gd name="T2" fmla="*/ 26577 w 143"/>
                <a:gd name="T3" fmla="*/ 345015 h 274"/>
                <a:gd name="T4" fmla="*/ 30373 w 143"/>
                <a:gd name="T5" fmla="*/ 308798 h 274"/>
                <a:gd name="T6" fmla="*/ 17085 w 143"/>
                <a:gd name="T7" fmla="*/ 280206 h 274"/>
                <a:gd name="T8" fmla="*/ 30373 w 143"/>
                <a:gd name="T9" fmla="*/ 198241 h 274"/>
                <a:gd name="T10" fmla="*/ 53154 w 143"/>
                <a:gd name="T11" fmla="*/ 182991 h 274"/>
                <a:gd name="T12" fmla="*/ 66442 w 143"/>
                <a:gd name="T13" fmla="*/ 118182 h 274"/>
                <a:gd name="T14" fmla="*/ 98714 w 143"/>
                <a:gd name="T15" fmla="*/ 85777 h 274"/>
                <a:gd name="T16" fmla="*/ 125291 w 143"/>
                <a:gd name="T17" fmla="*/ 41936 h 274"/>
                <a:gd name="T18" fmla="*/ 140477 w 143"/>
                <a:gd name="T19" fmla="*/ 20968 h 274"/>
                <a:gd name="T20" fmla="*/ 180343 w 143"/>
                <a:gd name="T21" fmla="*/ 28592 h 274"/>
                <a:gd name="T22" fmla="*/ 195529 w 143"/>
                <a:gd name="T23" fmla="*/ 3812 h 274"/>
                <a:gd name="T24" fmla="*/ 237293 w 143"/>
                <a:gd name="T25" fmla="*/ 28592 h 274"/>
                <a:gd name="T26" fmla="*/ 254378 w 143"/>
                <a:gd name="T27" fmla="*/ 62903 h 274"/>
                <a:gd name="T28" fmla="*/ 260073 w 143"/>
                <a:gd name="T29" fmla="*/ 74340 h 274"/>
                <a:gd name="T30" fmla="*/ 261971 w 143"/>
                <a:gd name="T31" fmla="*/ 110557 h 274"/>
                <a:gd name="T32" fmla="*/ 254378 w 143"/>
                <a:gd name="T33" fmla="*/ 133431 h 274"/>
                <a:gd name="T34" fmla="*/ 235394 w 143"/>
                <a:gd name="T35" fmla="*/ 144868 h 274"/>
                <a:gd name="T36" fmla="*/ 220208 w 143"/>
                <a:gd name="T37" fmla="*/ 156305 h 274"/>
                <a:gd name="T38" fmla="*/ 222106 w 143"/>
                <a:gd name="T39" fmla="*/ 184898 h 274"/>
                <a:gd name="T40" fmla="*/ 195529 w 143"/>
                <a:gd name="T41" fmla="*/ 213490 h 274"/>
                <a:gd name="T42" fmla="*/ 161359 w 143"/>
                <a:gd name="T43" fmla="*/ 232552 h 274"/>
                <a:gd name="T44" fmla="*/ 146172 w 143"/>
                <a:gd name="T45" fmla="*/ 255426 h 274"/>
                <a:gd name="T46" fmla="*/ 138579 w 143"/>
                <a:gd name="T47" fmla="*/ 266862 h 274"/>
                <a:gd name="T48" fmla="*/ 129087 w 143"/>
                <a:gd name="T49" fmla="*/ 291643 h 274"/>
                <a:gd name="T50" fmla="*/ 142376 w 143"/>
                <a:gd name="T51" fmla="*/ 339297 h 274"/>
                <a:gd name="T52" fmla="*/ 176546 w 143"/>
                <a:gd name="T53" fmla="*/ 360264 h 274"/>
                <a:gd name="T54" fmla="*/ 148071 w 143"/>
                <a:gd name="T55" fmla="*/ 371701 h 274"/>
                <a:gd name="T56" fmla="*/ 163257 w 143"/>
                <a:gd name="T57" fmla="*/ 377420 h 274"/>
                <a:gd name="T58" fmla="*/ 146172 w 143"/>
                <a:gd name="T59" fmla="*/ 388857 h 274"/>
                <a:gd name="T60" fmla="*/ 127189 w 143"/>
                <a:gd name="T61" fmla="*/ 407918 h 274"/>
                <a:gd name="T62" fmla="*/ 119596 w 143"/>
                <a:gd name="T63" fmla="*/ 472728 h 274"/>
                <a:gd name="T64" fmla="*/ 87324 w 143"/>
                <a:gd name="T65" fmla="*/ 491789 h 274"/>
                <a:gd name="T66" fmla="*/ 81629 w 143"/>
                <a:gd name="T67" fmla="*/ 516570 h 274"/>
                <a:gd name="T68" fmla="*/ 45560 w 143"/>
                <a:gd name="T69" fmla="*/ 520382 h 274"/>
                <a:gd name="T70" fmla="*/ 49357 w 143"/>
                <a:gd name="T71" fmla="*/ 507039 h 274"/>
                <a:gd name="T72" fmla="*/ 45560 w 143"/>
                <a:gd name="T73" fmla="*/ 489883 h 274"/>
                <a:gd name="T74" fmla="*/ 45560 w 143"/>
                <a:gd name="T75" fmla="*/ 480352 h 274"/>
                <a:gd name="T76" fmla="*/ 18983 w 143"/>
                <a:gd name="T77" fmla="*/ 451760 h 274"/>
                <a:gd name="T78" fmla="*/ 15187 w 143"/>
                <a:gd name="T79" fmla="*/ 415543 h 274"/>
                <a:gd name="T80" fmla="*/ 7593 w 143"/>
                <a:gd name="T81" fmla="*/ 394575 h 274"/>
                <a:gd name="T82" fmla="*/ 9492 w 143"/>
                <a:gd name="T83" fmla="*/ 386951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8" name="Freeform 146"/>
            <p:cNvSpPr>
              <a:spLocks noChangeAspect="1"/>
            </p:cNvSpPr>
            <p:nvPr/>
          </p:nvSpPr>
          <p:spPr bwMode="auto">
            <a:xfrm>
              <a:off x="4429447" y="1036726"/>
              <a:ext cx="552590" cy="412698"/>
            </a:xfrm>
            <a:custGeom>
              <a:avLst/>
              <a:gdLst>
                <a:gd name="T0" fmla="*/ 133582 w 287"/>
                <a:gd name="T1" fmla="*/ 449019 h 267"/>
                <a:gd name="T2" fmla="*/ 124041 w 287"/>
                <a:gd name="T3" fmla="*/ 466142 h 267"/>
                <a:gd name="T4" fmla="*/ 74424 w 287"/>
                <a:gd name="T5" fmla="*/ 502292 h 267"/>
                <a:gd name="T6" fmla="*/ 11450 w 287"/>
                <a:gd name="T7" fmla="*/ 475655 h 267"/>
                <a:gd name="T8" fmla="*/ 24808 w 287"/>
                <a:gd name="T9" fmla="*/ 450921 h 267"/>
                <a:gd name="T10" fmla="*/ 24808 w 287"/>
                <a:gd name="T11" fmla="*/ 437603 h 267"/>
                <a:gd name="T12" fmla="*/ 17175 w 287"/>
                <a:gd name="T13" fmla="*/ 435700 h 267"/>
                <a:gd name="T14" fmla="*/ 9542 w 287"/>
                <a:gd name="T15" fmla="*/ 397648 h 267"/>
                <a:gd name="T16" fmla="*/ 13358 w 287"/>
                <a:gd name="T17" fmla="*/ 369109 h 267"/>
                <a:gd name="T18" fmla="*/ 1908 w 287"/>
                <a:gd name="T19" fmla="*/ 353888 h 267"/>
                <a:gd name="T20" fmla="*/ 47708 w 287"/>
                <a:gd name="T21" fmla="*/ 351985 h 267"/>
                <a:gd name="T22" fmla="*/ 57250 w 287"/>
                <a:gd name="T23" fmla="*/ 338667 h 267"/>
                <a:gd name="T24" fmla="*/ 72516 w 287"/>
                <a:gd name="T25" fmla="*/ 334861 h 267"/>
                <a:gd name="T26" fmla="*/ 85874 w 287"/>
                <a:gd name="T27" fmla="*/ 310127 h 267"/>
                <a:gd name="T28" fmla="*/ 103049 w 287"/>
                <a:gd name="T29" fmla="*/ 304419 h 267"/>
                <a:gd name="T30" fmla="*/ 135491 w 287"/>
                <a:gd name="T31" fmla="*/ 289198 h 267"/>
                <a:gd name="T32" fmla="*/ 103049 w 287"/>
                <a:gd name="T33" fmla="*/ 291101 h 267"/>
                <a:gd name="T34" fmla="*/ 148849 w 287"/>
                <a:gd name="T35" fmla="*/ 266367 h 267"/>
                <a:gd name="T36" fmla="*/ 164115 w 287"/>
                <a:gd name="T37" fmla="*/ 235925 h 267"/>
                <a:gd name="T38" fmla="*/ 171749 w 287"/>
                <a:gd name="T39" fmla="*/ 205483 h 267"/>
                <a:gd name="T40" fmla="*/ 177473 w 287"/>
                <a:gd name="T41" fmla="*/ 188360 h 267"/>
                <a:gd name="T42" fmla="*/ 202282 w 287"/>
                <a:gd name="T43" fmla="*/ 169333 h 267"/>
                <a:gd name="T44" fmla="*/ 217548 w 287"/>
                <a:gd name="T45" fmla="*/ 152210 h 267"/>
                <a:gd name="T46" fmla="*/ 209915 w 287"/>
                <a:gd name="T47" fmla="*/ 140794 h 267"/>
                <a:gd name="T48" fmla="*/ 261439 w 287"/>
                <a:gd name="T49" fmla="*/ 114157 h 267"/>
                <a:gd name="T50" fmla="*/ 225181 w 287"/>
                <a:gd name="T51" fmla="*/ 89423 h 267"/>
                <a:gd name="T52" fmla="*/ 246173 w 287"/>
                <a:gd name="T53" fmla="*/ 106547 h 267"/>
                <a:gd name="T54" fmla="*/ 255714 w 287"/>
                <a:gd name="T55" fmla="*/ 93228 h 267"/>
                <a:gd name="T56" fmla="*/ 274798 w 287"/>
                <a:gd name="T57" fmla="*/ 68494 h 267"/>
                <a:gd name="T58" fmla="*/ 299606 w 287"/>
                <a:gd name="T59" fmla="*/ 76105 h 267"/>
                <a:gd name="T60" fmla="*/ 307239 w 287"/>
                <a:gd name="T61" fmla="*/ 68494 h 267"/>
                <a:gd name="T62" fmla="*/ 316781 w 287"/>
                <a:gd name="T63" fmla="*/ 74202 h 267"/>
                <a:gd name="T64" fmla="*/ 354947 w 287"/>
                <a:gd name="T65" fmla="*/ 66592 h 267"/>
                <a:gd name="T66" fmla="*/ 356855 w 287"/>
                <a:gd name="T67" fmla="*/ 36150 h 267"/>
                <a:gd name="T68" fmla="*/ 387388 w 287"/>
                <a:gd name="T69" fmla="*/ 38052 h 267"/>
                <a:gd name="T70" fmla="*/ 408380 w 287"/>
                <a:gd name="T71" fmla="*/ 5708 h 267"/>
                <a:gd name="T72" fmla="*/ 435096 w 287"/>
                <a:gd name="T73" fmla="*/ 15221 h 267"/>
                <a:gd name="T74" fmla="*/ 442729 w 287"/>
                <a:gd name="T75" fmla="*/ 19026 h 267"/>
                <a:gd name="T76" fmla="*/ 461813 w 287"/>
                <a:gd name="T77" fmla="*/ 28539 h 267"/>
                <a:gd name="T78" fmla="*/ 480896 w 287"/>
                <a:gd name="T79" fmla="*/ 1903 h 267"/>
                <a:gd name="T80" fmla="*/ 484712 w 287"/>
                <a:gd name="T81" fmla="*/ 22831 h 267"/>
                <a:gd name="T82" fmla="*/ 499979 w 287"/>
                <a:gd name="T83" fmla="*/ 13318 h 267"/>
                <a:gd name="T84" fmla="*/ 543870 w 287"/>
                <a:gd name="T85" fmla="*/ 36150 h 267"/>
                <a:gd name="T86" fmla="*/ 522879 w 287"/>
                <a:gd name="T87" fmla="*/ 53273 h 267"/>
                <a:gd name="T88" fmla="*/ 547687 w 287"/>
                <a:gd name="T89" fmla="*/ 62787 h 267"/>
                <a:gd name="T90" fmla="*/ 526696 w 287"/>
                <a:gd name="T91" fmla="*/ 72300 h 267"/>
                <a:gd name="T92" fmla="*/ 503796 w 287"/>
                <a:gd name="T93" fmla="*/ 87521 h 267"/>
                <a:gd name="T94" fmla="*/ 471354 w 287"/>
                <a:gd name="T95" fmla="*/ 47566 h 267"/>
                <a:gd name="T96" fmla="*/ 438913 w 287"/>
                <a:gd name="T97" fmla="*/ 91326 h 267"/>
                <a:gd name="T98" fmla="*/ 400747 w 287"/>
                <a:gd name="T99" fmla="*/ 97034 h 267"/>
                <a:gd name="T100" fmla="*/ 341589 w 287"/>
                <a:gd name="T101" fmla="*/ 70397 h 267"/>
                <a:gd name="T102" fmla="*/ 320597 w 287"/>
                <a:gd name="T103" fmla="*/ 87521 h 267"/>
                <a:gd name="T104" fmla="*/ 278614 w 287"/>
                <a:gd name="T105" fmla="*/ 104644 h 267"/>
                <a:gd name="T106" fmla="*/ 236631 w 287"/>
                <a:gd name="T107" fmla="*/ 154112 h 267"/>
                <a:gd name="T108" fmla="*/ 204190 w 287"/>
                <a:gd name="T109" fmla="*/ 201678 h 267"/>
                <a:gd name="T110" fmla="*/ 196557 w 287"/>
                <a:gd name="T111" fmla="*/ 281588 h 267"/>
                <a:gd name="T112" fmla="*/ 154574 w 287"/>
                <a:gd name="T113" fmla="*/ 363401 h 267"/>
                <a:gd name="T114" fmla="*/ 162207 w 287"/>
                <a:gd name="T115" fmla="*/ 395745 h 267"/>
                <a:gd name="T116" fmla="*/ 146940 w 287"/>
                <a:gd name="T117" fmla="*/ 45472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9" name="Freeform 148"/>
            <p:cNvSpPr>
              <a:spLocks noChangeAspect="1"/>
            </p:cNvSpPr>
            <p:nvPr/>
          </p:nvSpPr>
          <p:spPr bwMode="auto">
            <a:xfrm>
              <a:off x="4379794" y="1632558"/>
              <a:ext cx="88095" cy="50298"/>
            </a:xfrm>
            <a:custGeom>
              <a:avLst/>
              <a:gdLst>
                <a:gd name="T0" fmla="*/ 0 w 46"/>
                <a:gd name="T1" fmla="*/ 13133 h 33"/>
                <a:gd name="T2" fmla="*/ 9491 w 46"/>
                <a:gd name="T3" fmla="*/ 5628 h 33"/>
                <a:gd name="T4" fmla="*/ 17083 w 46"/>
                <a:gd name="T5" fmla="*/ 3752 h 33"/>
                <a:gd name="T6" fmla="*/ 24675 w 46"/>
                <a:gd name="T7" fmla="*/ 7505 h 33"/>
                <a:gd name="T8" fmla="*/ 32268 w 46"/>
                <a:gd name="T9" fmla="*/ 7505 h 33"/>
                <a:gd name="T10" fmla="*/ 34166 w 46"/>
                <a:gd name="T11" fmla="*/ 5628 h 33"/>
                <a:gd name="T12" fmla="*/ 39860 w 46"/>
                <a:gd name="T13" fmla="*/ 1876 h 33"/>
                <a:gd name="T14" fmla="*/ 43657 w 46"/>
                <a:gd name="T15" fmla="*/ 0 h 33"/>
                <a:gd name="T16" fmla="*/ 53147 w 46"/>
                <a:gd name="T17" fmla="*/ 0 h 33"/>
                <a:gd name="T18" fmla="*/ 58841 w 46"/>
                <a:gd name="T19" fmla="*/ 3752 h 33"/>
                <a:gd name="T20" fmla="*/ 60739 w 46"/>
                <a:gd name="T21" fmla="*/ 7505 h 33"/>
                <a:gd name="T22" fmla="*/ 66434 w 46"/>
                <a:gd name="T23" fmla="*/ 7505 h 33"/>
                <a:gd name="T24" fmla="*/ 72128 w 46"/>
                <a:gd name="T25" fmla="*/ 11257 h 33"/>
                <a:gd name="T26" fmla="*/ 70230 w 46"/>
                <a:gd name="T27" fmla="*/ 20638 h 33"/>
                <a:gd name="T28" fmla="*/ 77822 w 46"/>
                <a:gd name="T29" fmla="*/ 20638 h 33"/>
                <a:gd name="T30" fmla="*/ 83517 w 46"/>
                <a:gd name="T31" fmla="*/ 26266 h 33"/>
                <a:gd name="T32" fmla="*/ 81619 w 46"/>
                <a:gd name="T33" fmla="*/ 30018 h 33"/>
                <a:gd name="T34" fmla="*/ 85415 w 46"/>
                <a:gd name="T35" fmla="*/ 30018 h 33"/>
                <a:gd name="T36" fmla="*/ 87313 w 46"/>
                <a:gd name="T37" fmla="*/ 35647 h 33"/>
                <a:gd name="T38" fmla="*/ 79721 w 46"/>
                <a:gd name="T39" fmla="*/ 41275 h 33"/>
                <a:gd name="T40" fmla="*/ 75924 w 46"/>
                <a:gd name="T41" fmla="*/ 43151 h 33"/>
                <a:gd name="T42" fmla="*/ 72128 w 46"/>
                <a:gd name="T43" fmla="*/ 48780 h 33"/>
                <a:gd name="T44" fmla="*/ 74026 w 46"/>
                <a:gd name="T45" fmla="*/ 54408 h 33"/>
                <a:gd name="T46" fmla="*/ 75924 w 46"/>
                <a:gd name="T47" fmla="*/ 61913 h 33"/>
                <a:gd name="T48" fmla="*/ 70230 w 46"/>
                <a:gd name="T49" fmla="*/ 61913 h 33"/>
                <a:gd name="T50" fmla="*/ 62638 w 46"/>
                <a:gd name="T51" fmla="*/ 58161 h 33"/>
                <a:gd name="T52" fmla="*/ 55045 w 46"/>
                <a:gd name="T53" fmla="*/ 52532 h 33"/>
                <a:gd name="T54" fmla="*/ 51249 w 46"/>
                <a:gd name="T55" fmla="*/ 46904 h 33"/>
                <a:gd name="T56" fmla="*/ 47453 w 46"/>
                <a:gd name="T57" fmla="*/ 46904 h 33"/>
                <a:gd name="T58" fmla="*/ 39860 w 46"/>
                <a:gd name="T59" fmla="*/ 46904 h 33"/>
                <a:gd name="T60" fmla="*/ 37962 w 46"/>
                <a:gd name="T61" fmla="*/ 41275 h 33"/>
                <a:gd name="T62" fmla="*/ 34166 w 46"/>
                <a:gd name="T63" fmla="*/ 35647 h 33"/>
                <a:gd name="T64" fmla="*/ 26574 w 46"/>
                <a:gd name="T65" fmla="*/ 35647 h 33"/>
                <a:gd name="T66" fmla="*/ 24675 w 46"/>
                <a:gd name="T67" fmla="*/ 31895 h 33"/>
                <a:gd name="T68" fmla="*/ 17083 w 46"/>
                <a:gd name="T69" fmla="*/ 30018 h 33"/>
                <a:gd name="T70" fmla="*/ 13287 w 46"/>
                <a:gd name="T71" fmla="*/ 24390 h 33"/>
                <a:gd name="T72" fmla="*/ 7592 w 46"/>
                <a:gd name="T73" fmla="*/ 22514 h 33"/>
                <a:gd name="T74" fmla="*/ 3796 w 46"/>
                <a:gd name="T75" fmla="*/ 20638 h 33"/>
                <a:gd name="T76" fmla="*/ 0 w 46"/>
                <a:gd name="T77" fmla="*/ 13133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0" name="Freeform 149"/>
            <p:cNvSpPr>
              <a:spLocks noChangeAspect="1"/>
            </p:cNvSpPr>
            <p:nvPr/>
          </p:nvSpPr>
          <p:spPr bwMode="auto">
            <a:xfrm>
              <a:off x="4418235" y="1578391"/>
              <a:ext cx="67272" cy="72222"/>
            </a:xfrm>
            <a:custGeom>
              <a:avLst/>
              <a:gdLst>
                <a:gd name="T0" fmla="*/ 1905 w 35"/>
                <a:gd name="T1" fmla="*/ 68094 h 47"/>
                <a:gd name="T2" fmla="*/ 0 w 35"/>
                <a:gd name="T3" fmla="*/ 58636 h 47"/>
                <a:gd name="T4" fmla="*/ 0 w 35"/>
                <a:gd name="T5" fmla="*/ 51070 h 47"/>
                <a:gd name="T6" fmla="*/ 0 w 35"/>
                <a:gd name="T7" fmla="*/ 43504 h 47"/>
                <a:gd name="T8" fmla="*/ 5715 w 35"/>
                <a:gd name="T9" fmla="*/ 34047 h 47"/>
                <a:gd name="T10" fmla="*/ 7620 w 35"/>
                <a:gd name="T11" fmla="*/ 22698 h 47"/>
                <a:gd name="T12" fmla="*/ 11430 w 35"/>
                <a:gd name="T13" fmla="*/ 17023 h 47"/>
                <a:gd name="T14" fmla="*/ 19050 w 35"/>
                <a:gd name="T15" fmla="*/ 15132 h 47"/>
                <a:gd name="T16" fmla="*/ 24765 w 35"/>
                <a:gd name="T17" fmla="*/ 9457 h 47"/>
                <a:gd name="T18" fmla="*/ 36195 w 35"/>
                <a:gd name="T19" fmla="*/ 1891 h 47"/>
                <a:gd name="T20" fmla="*/ 43815 w 35"/>
                <a:gd name="T21" fmla="*/ 3783 h 47"/>
                <a:gd name="T22" fmla="*/ 47625 w 35"/>
                <a:gd name="T23" fmla="*/ 1891 h 47"/>
                <a:gd name="T24" fmla="*/ 57150 w 35"/>
                <a:gd name="T25" fmla="*/ 0 h 47"/>
                <a:gd name="T26" fmla="*/ 59055 w 35"/>
                <a:gd name="T27" fmla="*/ 3783 h 47"/>
                <a:gd name="T28" fmla="*/ 62865 w 35"/>
                <a:gd name="T29" fmla="*/ 5674 h 47"/>
                <a:gd name="T30" fmla="*/ 66675 w 35"/>
                <a:gd name="T31" fmla="*/ 9457 h 47"/>
                <a:gd name="T32" fmla="*/ 64770 w 35"/>
                <a:gd name="T33" fmla="*/ 17023 h 47"/>
                <a:gd name="T34" fmla="*/ 60960 w 35"/>
                <a:gd name="T35" fmla="*/ 26481 h 47"/>
                <a:gd name="T36" fmla="*/ 62865 w 35"/>
                <a:gd name="T37" fmla="*/ 37830 h 47"/>
                <a:gd name="T38" fmla="*/ 55245 w 35"/>
                <a:gd name="T39" fmla="*/ 43504 h 47"/>
                <a:gd name="T40" fmla="*/ 55245 w 35"/>
                <a:gd name="T41" fmla="*/ 51070 h 47"/>
                <a:gd name="T42" fmla="*/ 47625 w 35"/>
                <a:gd name="T43" fmla="*/ 52962 h 47"/>
                <a:gd name="T44" fmla="*/ 40005 w 35"/>
                <a:gd name="T45" fmla="*/ 52962 h 47"/>
                <a:gd name="T46" fmla="*/ 43815 w 35"/>
                <a:gd name="T47" fmla="*/ 68094 h 47"/>
                <a:gd name="T48" fmla="*/ 41910 w 35"/>
                <a:gd name="T49" fmla="*/ 75660 h 47"/>
                <a:gd name="T50" fmla="*/ 40005 w 35"/>
                <a:gd name="T51" fmla="*/ 81334 h 47"/>
                <a:gd name="T52" fmla="*/ 40005 w 35"/>
                <a:gd name="T53" fmla="*/ 87009 h 47"/>
                <a:gd name="T54" fmla="*/ 32385 w 35"/>
                <a:gd name="T55" fmla="*/ 87009 h 47"/>
                <a:gd name="T56" fmla="*/ 34290 w 35"/>
                <a:gd name="T57" fmla="*/ 77551 h 47"/>
                <a:gd name="T58" fmla="*/ 28575 w 35"/>
                <a:gd name="T59" fmla="*/ 73768 h 47"/>
                <a:gd name="T60" fmla="*/ 22860 w 35"/>
                <a:gd name="T61" fmla="*/ 73768 h 47"/>
                <a:gd name="T62" fmla="*/ 20955 w 35"/>
                <a:gd name="T63" fmla="*/ 69985 h 47"/>
                <a:gd name="T64" fmla="*/ 15240 w 35"/>
                <a:gd name="T65" fmla="*/ 66202 h 47"/>
                <a:gd name="T66" fmla="*/ 5715 w 35"/>
                <a:gd name="T67" fmla="*/ 66202 h 47"/>
                <a:gd name="T68" fmla="*/ 1905 w 35"/>
                <a:gd name="T69" fmla="*/ 68094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1" name="Freeform 150"/>
            <p:cNvSpPr>
              <a:spLocks noChangeAspect="1"/>
            </p:cNvSpPr>
            <p:nvPr/>
          </p:nvSpPr>
          <p:spPr bwMode="auto">
            <a:xfrm>
              <a:off x="4078673" y="1521646"/>
              <a:ext cx="107315" cy="112203"/>
            </a:xfrm>
            <a:custGeom>
              <a:avLst/>
              <a:gdLst>
                <a:gd name="T0" fmla="*/ 100665 w 56"/>
                <a:gd name="T1" fmla="*/ 61384 h 72"/>
                <a:gd name="T2" fmla="*/ 106363 w 56"/>
                <a:gd name="T3" fmla="*/ 86321 h 72"/>
                <a:gd name="T4" fmla="*/ 96866 w 56"/>
                <a:gd name="T5" fmla="*/ 109339 h 72"/>
                <a:gd name="T6" fmla="*/ 79772 w 56"/>
                <a:gd name="T7" fmla="*/ 111258 h 72"/>
                <a:gd name="T8" fmla="*/ 55081 w 56"/>
                <a:gd name="T9" fmla="*/ 124685 h 72"/>
                <a:gd name="T10" fmla="*/ 26591 w 56"/>
                <a:gd name="T11" fmla="*/ 134277 h 72"/>
                <a:gd name="T12" fmla="*/ 24691 w 56"/>
                <a:gd name="T13" fmla="*/ 128522 h 72"/>
                <a:gd name="T14" fmla="*/ 18993 w 56"/>
                <a:gd name="T15" fmla="*/ 124685 h 72"/>
                <a:gd name="T16" fmla="*/ 9497 w 56"/>
                <a:gd name="T17" fmla="*/ 117012 h 72"/>
                <a:gd name="T18" fmla="*/ 3799 w 56"/>
                <a:gd name="T19" fmla="*/ 113176 h 72"/>
                <a:gd name="T20" fmla="*/ 18993 w 56"/>
                <a:gd name="T21" fmla="*/ 107421 h 72"/>
                <a:gd name="T22" fmla="*/ 32289 w 56"/>
                <a:gd name="T23" fmla="*/ 97830 h 72"/>
                <a:gd name="T24" fmla="*/ 36087 w 56"/>
                <a:gd name="T25" fmla="*/ 92075 h 72"/>
                <a:gd name="T26" fmla="*/ 22792 w 56"/>
                <a:gd name="T27" fmla="*/ 93994 h 72"/>
                <a:gd name="T28" fmla="*/ 32289 w 56"/>
                <a:gd name="T29" fmla="*/ 80566 h 72"/>
                <a:gd name="T30" fmla="*/ 36087 w 56"/>
                <a:gd name="T31" fmla="*/ 70975 h 72"/>
                <a:gd name="T32" fmla="*/ 28490 w 56"/>
                <a:gd name="T33" fmla="*/ 67138 h 72"/>
                <a:gd name="T34" fmla="*/ 22792 w 56"/>
                <a:gd name="T35" fmla="*/ 74811 h 72"/>
                <a:gd name="T36" fmla="*/ 15195 w 56"/>
                <a:gd name="T37" fmla="*/ 61384 h 72"/>
                <a:gd name="T38" fmla="*/ 24691 w 56"/>
                <a:gd name="T39" fmla="*/ 51792 h 72"/>
                <a:gd name="T40" fmla="*/ 20893 w 56"/>
                <a:gd name="T41" fmla="*/ 46038 h 72"/>
                <a:gd name="T42" fmla="*/ 22792 w 56"/>
                <a:gd name="T43" fmla="*/ 36446 h 72"/>
                <a:gd name="T44" fmla="*/ 37987 w 56"/>
                <a:gd name="T45" fmla="*/ 42201 h 72"/>
                <a:gd name="T46" fmla="*/ 49383 w 56"/>
                <a:gd name="T47" fmla="*/ 40283 h 72"/>
                <a:gd name="T48" fmla="*/ 56980 w 56"/>
                <a:gd name="T49" fmla="*/ 28774 h 72"/>
                <a:gd name="T50" fmla="*/ 45584 w 56"/>
                <a:gd name="T51" fmla="*/ 21101 h 72"/>
                <a:gd name="T52" fmla="*/ 56980 w 56"/>
                <a:gd name="T53" fmla="*/ 7673 h 72"/>
                <a:gd name="T54" fmla="*/ 75974 w 56"/>
                <a:gd name="T55" fmla="*/ 0 h 72"/>
                <a:gd name="T56" fmla="*/ 77873 w 56"/>
                <a:gd name="T57" fmla="*/ 15346 h 72"/>
                <a:gd name="T58" fmla="*/ 64578 w 56"/>
                <a:gd name="T59" fmla="*/ 21101 h 72"/>
                <a:gd name="T60" fmla="*/ 56980 w 56"/>
                <a:gd name="T61" fmla="*/ 30692 h 72"/>
                <a:gd name="T62" fmla="*/ 77873 w 56"/>
                <a:gd name="T63" fmla="*/ 44119 h 72"/>
                <a:gd name="T64" fmla="*/ 79772 w 56"/>
                <a:gd name="T65" fmla="*/ 34528 h 72"/>
                <a:gd name="T66" fmla="*/ 91168 w 56"/>
                <a:gd name="T67" fmla="*/ 42201 h 72"/>
                <a:gd name="T68" fmla="*/ 102564 w 56"/>
                <a:gd name="T69" fmla="*/ 53711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2" name="Freeform 151"/>
            <p:cNvSpPr>
              <a:spLocks noChangeAspect="1"/>
            </p:cNvSpPr>
            <p:nvPr/>
          </p:nvSpPr>
          <p:spPr bwMode="auto">
            <a:xfrm>
              <a:off x="4136334" y="1526805"/>
              <a:ext cx="59264" cy="38690"/>
            </a:xfrm>
            <a:custGeom>
              <a:avLst/>
              <a:gdLst>
                <a:gd name="T0" fmla="*/ 45475 w 31"/>
                <a:gd name="T1" fmla="*/ 47625 h 25"/>
                <a:gd name="T2" fmla="*/ 49264 w 31"/>
                <a:gd name="T3" fmla="*/ 38100 h 25"/>
                <a:gd name="T4" fmla="*/ 56843 w 31"/>
                <a:gd name="T5" fmla="*/ 34290 h 25"/>
                <a:gd name="T6" fmla="*/ 56843 w 31"/>
                <a:gd name="T7" fmla="*/ 24765 h 25"/>
                <a:gd name="T8" fmla="*/ 54948 w 31"/>
                <a:gd name="T9" fmla="*/ 15240 h 25"/>
                <a:gd name="T10" fmla="*/ 51159 w 31"/>
                <a:gd name="T11" fmla="*/ 3810 h 25"/>
                <a:gd name="T12" fmla="*/ 41685 w 31"/>
                <a:gd name="T13" fmla="*/ 0 h 25"/>
                <a:gd name="T14" fmla="*/ 32211 w 31"/>
                <a:gd name="T15" fmla="*/ 1905 h 25"/>
                <a:gd name="T16" fmla="*/ 28422 w 31"/>
                <a:gd name="T17" fmla="*/ 0 h 25"/>
                <a:gd name="T18" fmla="*/ 20843 w 31"/>
                <a:gd name="T19" fmla="*/ 9525 h 25"/>
                <a:gd name="T20" fmla="*/ 15158 w 31"/>
                <a:gd name="T21" fmla="*/ 15240 h 25"/>
                <a:gd name="T22" fmla="*/ 7579 w 31"/>
                <a:gd name="T23" fmla="*/ 15240 h 25"/>
                <a:gd name="T24" fmla="*/ 9474 w 31"/>
                <a:gd name="T25" fmla="*/ 20955 h 25"/>
                <a:gd name="T26" fmla="*/ 0 w 31"/>
                <a:gd name="T27" fmla="*/ 24765 h 25"/>
                <a:gd name="T28" fmla="*/ 9474 w 31"/>
                <a:gd name="T29" fmla="*/ 36195 h 25"/>
                <a:gd name="T30" fmla="*/ 20843 w 31"/>
                <a:gd name="T31" fmla="*/ 38100 h 25"/>
                <a:gd name="T32" fmla="*/ 24632 w 31"/>
                <a:gd name="T33" fmla="*/ 34290 h 25"/>
                <a:gd name="T34" fmla="*/ 22737 w 31"/>
                <a:gd name="T35" fmla="*/ 28575 h 25"/>
                <a:gd name="T36" fmla="*/ 28422 w 31"/>
                <a:gd name="T37" fmla="*/ 28575 h 25"/>
                <a:gd name="T38" fmla="*/ 34106 w 31"/>
                <a:gd name="T39" fmla="*/ 36195 h 25"/>
                <a:gd name="T40" fmla="*/ 41685 w 31"/>
                <a:gd name="T41" fmla="*/ 41910 h 25"/>
                <a:gd name="T42" fmla="*/ 45475 w 31"/>
                <a:gd name="T43" fmla="*/ 47625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3" name="Freeform 152"/>
            <p:cNvSpPr>
              <a:spLocks noChangeAspect="1"/>
            </p:cNvSpPr>
            <p:nvPr/>
          </p:nvSpPr>
          <p:spPr bwMode="auto">
            <a:xfrm>
              <a:off x="5320000" y="2602397"/>
              <a:ext cx="249867" cy="303075"/>
            </a:xfrm>
            <a:custGeom>
              <a:avLst/>
              <a:gdLst>
                <a:gd name="T0" fmla="*/ 17145 w 130"/>
                <a:gd name="T1" fmla="*/ 220792 h 196"/>
                <a:gd name="T2" fmla="*/ 11430 w 130"/>
                <a:gd name="T3" fmla="*/ 237923 h 196"/>
                <a:gd name="T4" fmla="*/ 0 w 130"/>
                <a:gd name="T5" fmla="*/ 251247 h 196"/>
                <a:gd name="T6" fmla="*/ 0 w 130"/>
                <a:gd name="T7" fmla="*/ 354029 h 196"/>
                <a:gd name="T8" fmla="*/ 15240 w 130"/>
                <a:gd name="T9" fmla="*/ 373063 h 196"/>
                <a:gd name="T10" fmla="*/ 24765 w 130"/>
                <a:gd name="T11" fmla="*/ 350222 h 196"/>
                <a:gd name="T12" fmla="*/ 49530 w 130"/>
                <a:gd name="T13" fmla="*/ 325478 h 196"/>
                <a:gd name="T14" fmla="*/ 72390 w 130"/>
                <a:gd name="T15" fmla="*/ 300734 h 196"/>
                <a:gd name="T16" fmla="*/ 81915 w 130"/>
                <a:gd name="T17" fmla="*/ 295024 h 196"/>
                <a:gd name="T18" fmla="*/ 89535 w 130"/>
                <a:gd name="T19" fmla="*/ 283604 h 196"/>
                <a:gd name="T20" fmla="*/ 110490 w 130"/>
                <a:gd name="T21" fmla="*/ 272184 h 196"/>
                <a:gd name="T22" fmla="*/ 125730 w 130"/>
                <a:gd name="T23" fmla="*/ 264570 h 196"/>
                <a:gd name="T24" fmla="*/ 142875 w 130"/>
                <a:gd name="T25" fmla="*/ 243633 h 196"/>
                <a:gd name="T26" fmla="*/ 160020 w 130"/>
                <a:gd name="T27" fmla="*/ 220792 h 196"/>
                <a:gd name="T28" fmla="*/ 175260 w 130"/>
                <a:gd name="T29" fmla="*/ 194145 h 196"/>
                <a:gd name="T30" fmla="*/ 198120 w 130"/>
                <a:gd name="T31" fmla="*/ 159884 h 196"/>
                <a:gd name="T32" fmla="*/ 196215 w 130"/>
                <a:gd name="T33" fmla="*/ 152271 h 196"/>
                <a:gd name="T34" fmla="*/ 215265 w 130"/>
                <a:gd name="T35" fmla="*/ 119913 h 196"/>
                <a:gd name="T36" fmla="*/ 213360 w 130"/>
                <a:gd name="T37" fmla="*/ 112300 h 196"/>
                <a:gd name="T38" fmla="*/ 222885 w 130"/>
                <a:gd name="T39" fmla="*/ 104686 h 196"/>
                <a:gd name="T40" fmla="*/ 230505 w 130"/>
                <a:gd name="T41" fmla="*/ 85652 h 196"/>
                <a:gd name="T42" fmla="*/ 238125 w 130"/>
                <a:gd name="T43" fmla="*/ 68522 h 196"/>
                <a:gd name="T44" fmla="*/ 238125 w 130"/>
                <a:gd name="T45" fmla="*/ 47585 h 196"/>
                <a:gd name="T46" fmla="*/ 243840 w 130"/>
                <a:gd name="T47" fmla="*/ 36164 h 196"/>
                <a:gd name="T48" fmla="*/ 241935 w 130"/>
                <a:gd name="T49" fmla="*/ 19034 h 196"/>
                <a:gd name="T50" fmla="*/ 245745 w 130"/>
                <a:gd name="T51" fmla="*/ 3807 h 196"/>
                <a:gd name="T52" fmla="*/ 234315 w 130"/>
                <a:gd name="T53" fmla="*/ 0 h 196"/>
                <a:gd name="T54" fmla="*/ 228600 w 130"/>
                <a:gd name="T55" fmla="*/ 1903 h 196"/>
                <a:gd name="T56" fmla="*/ 220980 w 130"/>
                <a:gd name="T57" fmla="*/ 9517 h 196"/>
                <a:gd name="T58" fmla="*/ 201930 w 130"/>
                <a:gd name="T59" fmla="*/ 15227 h 196"/>
                <a:gd name="T60" fmla="*/ 190500 w 130"/>
                <a:gd name="T61" fmla="*/ 20937 h 196"/>
                <a:gd name="T62" fmla="*/ 179070 w 130"/>
                <a:gd name="T63" fmla="*/ 17130 h 196"/>
                <a:gd name="T64" fmla="*/ 169545 w 130"/>
                <a:gd name="T65" fmla="*/ 22841 h 196"/>
                <a:gd name="T66" fmla="*/ 152400 w 130"/>
                <a:gd name="T67" fmla="*/ 22841 h 196"/>
                <a:gd name="T68" fmla="*/ 139065 w 130"/>
                <a:gd name="T69" fmla="*/ 30454 h 196"/>
                <a:gd name="T70" fmla="*/ 121920 w 130"/>
                <a:gd name="T71" fmla="*/ 36164 h 196"/>
                <a:gd name="T72" fmla="*/ 112395 w 130"/>
                <a:gd name="T73" fmla="*/ 34261 h 196"/>
                <a:gd name="T74" fmla="*/ 93345 w 130"/>
                <a:gd name="T75" fmla="*/ 41874 h 196"/>
                <a:gd name="T76" fmla="*/ 74295 w 130"/>
                <a:gd name="T77" fmla="*/ 39971 h 196"/>
                <a:gd name="T78" fmla="*/ 64770 w 130"/>
                <a:gd name="T79" fmla="*/ 30454 h 196"/>
                <a:gd name="T80" fmla="*/ 64770 w 130"/>
                <a:gd name="T81" fmla="*/ 22841 h 196"/>
                <a:gd name="T82" fmla="*/ 55245 w 130"/>
                <a:gd name="T83" fmla="*/ 19034 h 196"/>
                <a:gd name="T84" fmla="*/ 49530 w 130"/>
                <a:gd name="T85" fmla="*/ 22841 h 196"/>
                <a:gd name="T86" fmla="*/ 43815 w 130"/>
                <a:gd name="T87" fmla="*/ 26647 h 196"/>
                <a:gd name="T88" fmla="*/ 34290 w 130"/>
                <a:gd name="T89" fmla="*/ 43778 h 196"/>
                <a:gd name="T90" fmla="*/ 49530 w 130"/>
                <a:gd name="T91" fmla="*/ 59005 h 196"/>
                <a:gd name="T92" fmla="*/ 53340 w 130"/>
                <a:gd name="T93" fmla="*/ 68522 h 196"/>
                <a:gd name="T94" fmla="*/ 64770 w 130"/>
                <a:gd name="T95" fmla="*/ 79942 h 196"/>
                <a:gd name="T96" fmla="*/ 142875 w 130"/>
                <a:gd name="T97" fmla="*/ 110396 h 196"/>
                <a:gd name="T98" fmla="*/ 165735 w 130"/>
                <a:gd name="T99" fmla="*/ 106589 h 196"/>
                <a:gd name="T100" fmla="*/ 95250 w 130"/>
                <a:gd name="T101" fmla="*/ 192242 h 196"/>
                <a:gd name="T102" fmla="*/ 68580 w 130"/>
                <a:gd name="T103" fmla="*/ 194145 h 196"/>
                <a:gd name="T104" fmla="*/ 41910 w 130"/>
                <a:gd name="T105" fmla="*/ 205565 h 196"/>
                <a:gd name="T106" fmla="*/ 17145 w 130"/>
                <a:gd name="T107" fmla="*/ 220792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4" name="Freeform 153"/>
            <p:cNvSpPr>
              <a:spLocks noChangeAspect="1"/>
            </p:cNvSpPr>
            <p:nvPr/>
          </p:nvSpPr>
          <p:spPr bwMode="auto">
            <a:xfrm>
              <a:off x="4974030" y="3523227"/>
              <a:ext cx="57662" cy="50298"/>
            </a:xfrm>
            <a:custGeom>
              <a:avLst/>
              <a:gdLst>
                <a:gd name="T0" fmla="*/ 36195 w 30"/>
                <a:gd name="T1" fmla="*/ 0 h 32"/>
                <a:gd name="T2" fmla="*/ 55245 w 30"/>
                <a:gd name="T3" fmla="*/ 17413 h 32"/>
                <a:gd name="T4" fmla="*/ 55245 w 30"/>
                <a:gd name="T5" fmla="*/ 29022 h 32"/>
                <a:gd name="T6" fmla="*/ 45720 w 30"/>
                <a:gd name="T7" fmla="*/ 44500 h 32"/>
                <a:gd name="T8" fmla="*/ 40005 w 30"/>
                <a:gd name="T9" fmla="*/ 46435 h 32"/>
                <a:gd name="T10" fmla="*/ 30480 w 30"/>
                <a:gd name="T11" fmla="*/ 46435 h 32"/>
                <a:gd name="T12" fmla="*/ 22860 w 30"/>
                <a:gd name="T13" fmla="*/ 59978 h 32"/>
                <a:gd name="T14" fmla="*/ 15240 w 30"/>
                <a:gd name="T15" fmla="*/ 59978 h 32"/>
                <a:gd name="T16" fmla="*/ 7620 w 30"/>
                <a:gd name="T17" fmla="*/ 50304 h 32"/>
                <a:gd name="T18" fmla="*/ 1905 w 30"/>
                <a:gd name="T19" fmla="*/ 40630 h 32"/>
                <a:gd name="T20" fmla="*/ 1905 w 30"/>
                <a:gd name="T21" fmla="*/ 29022 h 32"/>
                <a:gd name="T22" fmla="*/ 11430 w 30"/>
                <a:gd name="T23" fmla="*/ 23217 h 32"/>
                <a:gd name="T24" fmla="*/ 20955 w 30"/>
                <a:gd name="T25" fmla="*/ 9674 h 32"/>
                <a:gd name="T26" fmla="*/ 30480 w 30"/>
                <a:gd name="T27" fmla="*/ 5804 h 32"/>
                <a:gd name="T28" fmla="*/ 36195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5" name="Freeform 154"/>
            <p:cNvSpPr>
              <a:spLocks noChangeAspect="1"/>
            </p:cNvSpPr>
            <p:nvPr/>
          </p:nvSpPr>
          <p:spPr bwMode="auto">
            <a:xfrm>
              <a:off x="4578406" y="2089105"/>
              <a:ext cx="9610" cy="6449"/>
            </a:xfrm>
            <a:custGeom>
              <a:avLst/>
              <a:gdLst>
                <a:gd name="T0" fmla="*/ 3810 w 5"/>
                <a:gd name="T1" fmla="*/ 0 h 4"/>
                <a:gd name="T2" fmla="*/ 9525 w 5"/>
                <a:gd name="T3" fmla="*/ 3969 h 4"/>
                <a:gd name="T4" fmla="*/ 3810 w 5"/>
                <a:gd name="T5" fmla="*/ 7938 h 4"/>
                <a:gd name="T6" fmla="*/ 0 w 5"/>
                <a:gd name="T7" fmla="*/ 3969 h 4"/>
                <a:gd name="T8" fmla="*/ 3810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6" name="Freeform 155"/>
            <p:cNvSpPr>
              <a:spLocks noChangeAspect="1"/>
            </p:cNvSpPr>
            <p:nvPr/>
          </p:nvSpPr>
          <p:spPr bwMode="auto">
            <a:xfrm>
              <a:off x="5611512" y="2584341"/>
              <a:ext cx="35238" cy="10318"/>
            </a:xfrm>
            <a:custGeom>
              <a:avLst/>
              <a:gdLst>
                <a:gd name="T0" fmla="*/ 9701 w 18"/>
                <a:gd name="T1" fmla="*/ 1814 h 7"/>
                <a:gd name="T2" fmla="*/ 17463 w 18"/>
                <a:gd name="T3" fmla="*/ 5443 h 7"/>
                <a:gd name="T4" fmla="*/ 27164 w 18"/>
                <a:gd name="T5" fmla="*/ 0 h 7"/>
                <a:gd name="T6" fmla="*/ 32985 w 18"/>
                <a:gd name="T7" fmla="*/ 5443 h 7"/>
                <a:gd name="T8" fmla="*/ 21343 w 18"/>
                <a:gd name="T9" fmla="*/ 12700 h 7"/>
                <a:gd name="T10" fmla="*/ 1940 w 18"/>
                <a:gd name="T11" fmla="*/ 7257 h 7"/>
                <a:gd name="T12" fmla="*/ 9701 w 18"/>
                <a:gd name="T13" fmla="*/ 1814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5" y="1"/>
                  </a:moveTo>
                  <a:cubicBezTo>
                    <a:pt x="6" y="1"/>
                    <a:pt x="8" y="3"/>
                    <a:pt x="9" y="3"/>
                  </a:cubicBezTo>
                  <a:cubicBezTo>
                    <a:pt x="11" y="3"/>
                    <a:pt x="12" y="0"/>
                    <a:pt x="14" y="0"/>
                  </a:cubicBezTo>
                  <a:cubicBezTo>
                    <a:pt x="15" y="0"/>
                    <a:pt x="18" y="2"/>
                    <a:pt x="17" y="3"/>
                  </a:cubicBezTo>
                  <a:cubicBezTo>
                    <a:pt x="16" y="5"/>
                    <a:pt x="14" y="7"/>
                    <a:pt x="11" y="7"/>
                  </a:cubicBezTo>
                  <a:cubicBezTo>
                    <a:pt x="8" y="7"/>
                    <a:pt x="4" y="6"/>
                    <a:pt x="1" y="4"/>
                  </a:cubicBezTo>
                  <a:cubicBezTo>
                    <a:pt x="0" y="3"/>
                    <a:pt x="3"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7" name="Freeform 156"/>
            <p:cNvSpPr>
              <a:spLocks noChangeAspect="1"/>
            </p:cNvSpPr>
            <p:nvPr/>
          </p:nvSpPr>
          <p:spPr bwMode="auto">
            <a:xfrm>
              <a:off x="5278356" y="2993170"/>
              <a:ext cx="11212" cy="19345"/>
            </a:xfrm>
            <a:custGeom>
              <a:avLst/>
              <a:gdLst>
                <a:gd name="T0" fmla="*/ 3704 w 6"/>
                <a:gd name="T1" fmla="*/ 1832 h 13"/>
                <a:gd name="T2" fmla="*/ 11112 w 6"/>
                <a:gd name="T3" fmla="*/ 20149 h 13"/>
                <a:gd name="T4" fmla="*/ 1852 w 6"/>
                <a:gd name="T5" fmla="*/ 14654 h 13"/>
                <a:gd name="T6" fmla="*/ 3704 w 6"/>
                <a:gd name="T7" fmla="*/ 1832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8" name="Freeform 157"/>
            <p:cNvSpPr>
              <a:spLocks noChangeAspect="1"/>
            </p:cNvSpPr>
            <p:nvPr/>
          </p:nvSpPr>
          <p:spPr bwMode="auto">
            <a:xfrm>
              <a:off x="4523948" y="2784242"/>
              <a:ext cx="17619" cy="16766"/>
            </a:xfrm>
            <a:custGeom>
              <a:avLst/>
              <a:gdLst>
                <a:gd name="T0" fmla="*/ 15523 w 9"/>
                <a:gd name="T1" fmla="*/ 3752 h 11"/>
                <a:gd name="T2" fmla="*/ 11642 w 9"/>
                <a:gd name="T3" fmla="*/ 18761 h 11"/>
                <a:gd name="T4" fmla="*/ 1940 w 9"/>
                <a:gd name="T5" fmla="*/ 15009 h 11"/>
                <a:gd name="T6" fmla="*/ 9702 w 9"/>
                <a:gd name="T7" fmla="*/ 5628 h 11"/>
                <a:gd name="T8" fmla="*/ 15523 w 9"/>
                <a:gd name="T9" fmla="*/ 375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9" name="Freeform 158"/>
            <p:cNvSpPr>
              <a:spLocks noChangeAspect="1"/>
            </p:cNvSpPr>
            <p:nvPr/>
          </p:nvSpPr>
          <p:spPr bwMode="auto">
            <a:xfrm>
              <a:off x="4485507" y="2856465"/>
              <a:ext cx="8009" cy="9027"/>
            </a:xfrm>
            <a:custGeom>
              <a:avLst/>
              <a:gdLst>
                <a:gd name="T0" fmla="*/ 3969 w 4"/>
                <a:gd name="T1" fmla="*/ 0 h 6"/>
                <a:gd name="T2" fmla="*/ 7938 w 4"/>
                <a:gd name="T3" fmla="*/ 3704 h 6"/>
                <a:gd name="T4" fmla="*/ 3969 w 4"/>
                <a:gd name="T5" fmla="*/ 11112 h 6"/>
                <a:gd name="T6" fmla="*/ 0 w 4"/>
                <a:gd name="T7" fmla="*/ 9260 h 6"/>
                <a:gd name="T8" fmla="*/ 3969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0" name="Freeform 159"/>
            <p:cNvSpPr>
              <a:spLocks noChangeAspect="1"/>
            </p:cNvSpPr>
            <p:nvPr/>
          </p:nvSpPr>
          <p:spPr bwMode="auto">
            <a:xfrm>
              <a:off x="3972960" y="2212914"/>
              <a:ext cx="20823" cy="21925"/>
            </a:xfrm>
            <a:custGeom>
              <a:avLst/>
              <a:gdLst>
                <a:gd name="T0" fmla="*/ 20638 w 11"/>
                <a:gd name="T1" fmla="*/ 1928 h 14"/>
                <a:gd name="T2" fmla="*/ 16886 w 11"/>
                <a:gd name="T3" fmla="*/ 17349 h 14"/>
                <a:gd name="T4" fmla="*/ 3752 w 11"/>
                <a:gd name="T5" fmla="*/ 23133 h 14"/>
                <a:gd name="T6" fmla="*/ 13133 w 11"/>
                <a:gd name="T7" fmla="*/ 9639 h 14"/>
                <a:gd name="T8" fmla="*/ 16886 w 11"/>
                <a:gd name="T9" fmla="*/ 0 h 14"/>
                <a:gd name="T10" fmla="*/ 20638 w 11"/>
                <a:gd name="T11" fmla="*/ 1928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1" name="Freeform 160"/>
            <p:cNvSpPr>
              <a:spLocks noChangeAspect="1"/>
            </p:cNvSpPr>
            <p:nvPr/>
          </p:nvSpPr>
          <p:spPr bwMode="auto">
            <a:xfrm>
              <a:off x="3993783" y="2198728"/>
              <a:ext cx="14415" cy="14186"/>
            </a:xfrm>
            <a:custGeom>
              <a:avLst/>
              <a:gdLst>
                <a:gd name="T0" fmla="*/ 12501 w 8"/>
                <a:gd name="T1" fmla="*/ 3880 h 9"/>
                <a:gd name="T2" fmla="*/ 8929 w 8"/>
                <a:gd name="T3" fmla="*/ 11641 h 9"/>
                <a:gd name="T4" fmla="*/ 1786 w 8"/>
                <a:gd name="T5" fmla="*/ 15522 h 9"/>
                <a:gd name="T6" fmla="*/ 1786 w 8"/>
                <a:gd name="T7" fmla="*/ 7761 h 9"/>
                <a:gd name="T8" fmla="*/ 12501 w 8"/>
                <a:gd name="T9" fmla="*/ 388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2" name="Freeform 161"/>
            <p:cNvSpPr>
              <a:spLocks noChangeAspect="1"/>
            </p:cNvSpPr>
            <p:nvPr/>
          </p:nvSpPr>
          <p:spPr bwMode="auto">
            <a:xfrm>
              <a:off x="3945731" y="2223231"/>
              <a:ext cx="14415" cy="12897"/>
            </a:xfrm>
            <a:custGeom>
              <a:avLst/>
              <a:gdLst>
                <a:gd name="T0" fmla="*/ 12501 w 8"/>
                <a:gd name="T1" fmla="*/ 1984 h 8"/>
                <a:gd name="T2" fmla="*/ 12501 w 8"/>
                <a:gd name="T3" fmla="*/ 9922 h 8"/>
                <a:gd name="T4" fmla="*/ 7144 w 8"/>
                <a:gd name="T5" fmla="*/ 15875 h 8"/>
                <a:gd name="T6" fmla="*/ 0 w 8"/>
                <a:gd name="T7" fmla="*/ 11906 h 8"/>
                <a:gd name="T8" fmla="*/ 3572 w 8"/>
                <a:gd name="T9" fmla="*/ 1984 h 8"/>
                <a:gd name="T10" fmla="*/ 12501 w 8"/>
                <a:gd name="T11" fmla="*/ 198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3" name="Freeform 162"/>
            <p:cNvSpPr>
              <a:spLocks noChangeAspect="1"/>
            </p:cNvSpPr>
            <p:nvPr/>
          </p:nvSpPr>
          <p:spPr bwMode="auto">
            <a:xfrm>
              <a:off x="3920103" y="2215493"/>
              <a:ext cx="20822" cy="15476"/>
            </a:xfrm>
            <a:custGeom>
              <a:avLst/>
              <a:gdLst>
                <a:gd name="T0" fmla="*/ 20637 w 11"/>
                <a:gd name="T1" fmla="*/ 3810 h 10"/>
                <a:gd name="T2" fmla="*/ 7504 w 11"/>
                <a:gd name="T3" fmla="*/ 19050 h 10"/>
                <a:gd name="T4" fmla="*/ 1876 w 11"/>
                <a:gd name="T5" fmla="*/ 13335 h 10"/>
                <a:gd name="T6" fmla="*/ 1876 w 11"/>
                <a:gd name="T7" fmla="*/ 7620 h 10"/>
                <a:gd name="T8" fmla="*/ 13133 w 11"/>
                <a:gd name="T9" fmla="*/ 1905 h 10"/>
                <a:gd name="T10" fmla="*/ 20637 w 11"/>
                <a:gd name="T11" fmla="*/ 381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4" name="Freeform 163"/>
            <p:cNvSpPr>
              <a:spLocks noChangeAspect="1"/>
            </p:cNvSpPr>
            <p:nvPr/>
          </p:nvSpPr>
          <p:spPr bwMode="auto">
            <a:xfrm>
              <a:off x="3908890" y="2224521"/>
              <a:ext cx="11213" cy="7738"/>
            </a:xfrm>
            <a:custGeom>
              <a:avLst/>
              <a:gdLst>
                <a:gd name="T0" fmla="*/ 1852 w 6"/>
                <a:gd name="T1" fmla="*/ 1905 h 5"/>
                <a:gd name="T2" fmla="*/ 11113 w 6"/>
                <a:gd name="T3" fmla="*/ 5715 h 5"/>
                <a:gd name="T4" fmla="*/ 5557 w 6"/>
                <a:gd name="T5" fmla="*/ 7620 h 5"/>
                <a:gd name="T6" fmla="*/ 1852 w 6"/>
                <a:gd name="T7" fmla="*/ 190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3" y="0"/>
                    <a:pt x="5" y="1"/>
                    <a:pt x="6" y="3"/>
                  </a:cubicBezTo>
                  <a:cubicBezTo>
                    <a:pt x="6" y="4"/>
                    <a:pt x="4" y="5"/>
                    <a:pt x="3" y="4"/>
                  </a:cubicBezTo>
                  <a:cubicBezTo>
                    <a:pt x="2" y="4"/>
                    <a:pt x="0" y="2"/>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5" name="Freeform 164"/>
            <p:cNvSpPr>
              <a:spLocks noChangeAspect="1"/>
            </p:cNvSpPr>
            <p:nvPr/>
          </p:nvSpPr>
          <p:spPr bwMode="auto">
            <a:xfrm>
              <a:off x="3892874" y="2234839"/>
              <a:ext cx="9610" cy="9027"/>
            </a:xfrm>
            <a:custGeom>
              <a:avLst/>
              <a:gdLst>
                <a:gd name="T0" fmla="*/ 7620 w 5"/>
                <a:gd name="T1" fmla="*/ 0 h 6"/>
                <a:gd name="T2" fmla="*/ 5715 w 5"/>
                <a:gd name="T3" fmla="*/ 9260 h 6"/>
                <a:gd name="T4" fmla="*/ 1905 w 5"/>
                <a:gd name="T5" fmla="*/ 3704 h 6"/>
                <a:gd name="T6" fmla="*/ 762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4" y="0"/>
                  </a:moveTo>
                  <a:cubicBezTo>
                    <a:pt x="5" y="2"/>
                    <a:pt x="4" y="4"/>
                    <a:pt x="3" y="5"/>
                  </a:cubicBezTo>
                  <a:cubicBezTo>
                    <a:pt x="2" y="6"/>
                    <a:pt x="0" y="3"/>
                    <a:pt x="1" y="2"/>
                  </a:cubicBezTo>
                  <a:cubicBezTo>
                    <a:pt x="1" y="1"/>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6" name="Freeform 165"/>
            <p:cNvSpPr>
              <a:spLocks noChangeAspect="1"/>
            </p:cNvSpPr>
            <p:nvPr/>
          </p:nvSpPr>
          <p:spPr bwMode="auto">
            <a:xfrm>
              <a:off x="3896076" y="2207755"/>
              <a:ext cx="6407" cy="11608"/>
            </a:xfrm>
            <a:custGeom>
              <a:avLst/>
              <a:gdLst>
                <a:gd name="T0" fmla="*/ 6350 w 4"/>
                <a:gd name="T1" fmla="*/ 4082 h 7"/>
                <a:gd name="T2" fmla="*/ 4762 w 4"/>
                <a:gd name="T3" fmla="*/ 14288 h 7"/>
                <a:gd name="T4" fmla="*/ 1588 w 4"/>
                <a:gd name="T5" fmla="*/ 8165 h 7"/>
                <a:gd name="T6" fmla="*/ 1588 w 4"/>
                <a:gd name="T7" fmla="*/ 2041 h 7"/>
                <a:gd name="T8" fmla="*/ 6350 w 4"/>
                <a:gd name="T9" fmla="*/ 4082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2"/>
                  </a:moveTo>
                  <a:cubicBezTo>
                    <a:pt x="4" y="4"/>
                    <a:pt x="4" y="6"/>
                    <a:pt x="3" y="7"/>
                  </a:cubicBezTo>
                  <a:cubicBezTo>
                    <a:pt x="2" y="7"/>
                    <a:pt x="1" y="5"/>
                    <a:pt x="1" y="4"/>
                  </a:cubicBezTo>
                  <a:cubicBezTo>
                    <a:pt x="0" y="3"/>
                    <a:pt x="0" y="1"/>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7" name="Freeform 166"/>
            <p:cNvSpPr>
              <a:spLocks noChangeAspect="1"/>
            </p:cNvSpPr>
            <p:nvPr/>
          </p:nvSpPr>
          <p:spPr bwMode="auto">
            <a:xfrm>
              <a:off x="3916900" y="2113609"/>
              <a:ext cx="14415" cy="6448"/>
            </a:xfrm>
            <a:custGeom>
              <a:avLst/>
              <a:gdLst>
                <a:gd name="T0" fmla="*/ 5358 w 8"/>
                <a:gd name="T1" fmla="*/ 0 h 4"/>
                <a:gd name="T2" fmla="*/ 14287 w 8"/>
                <a:gd name="T3" fmla="*/ 3969 h 4"/>
                <a:gd name="T4" fmla="*/ 7144 w 8"/>
                <a:gd name="T5" fmla="*/ 7937 h 4"/>
                <a:gd name="T6" fmla="*/ 0 w 8"/>
                <a:gd name="T7" fmla="*/ 3969 h 4"/>
                <a:gd name="T8" fmla="*/ 5358 w 8"/>
                <a:gd name="T9" fmla="*/ 0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3" y="0"/>
                  </a:moveTo>
                  <a:cubicBezTo>
                    <a:pt x="5" y="0"/>
                    <a:pt x="7" y="0"/>
                    <a:pt x="8" y="2"/>
                  </a:cubicBezTo>
                  <a:cubicBezTo>
                    <a:pt x="8" y="4"/>
                    <a:pt x="5" y="4"/>
                    <a:pt x="4" y="4"/>
                  </a:cubicBezTo>
                  <a:cubicBezTo>
                    <a:pt x="2" y="4"/>
                    <a:pt x="0" y="4"/>
                    <a:pt x="0" y="2"/>
                  </a:cubicBezTo>
                  <a:cubicBezTo>
                    <a:pt x="0" y="1"/>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8" name="Freeform 167"/>
            <p:cNvSpPr>
              <a:spLocks noChangeAspect="1"/>
            </p:cNvSpPr>
            <p:nvPr/>
          </p:nvSpPr>
          <p:spPr bwMode="auto">
            <a:xfrm>
              <a:off x="5587485" y="2595949"/>
              <a:ext cx="9610" cy="3868"/>
            </a:xfrm>
            <a:custGeom>
              <a:avLst/>
              <a:gdLst>
                <a:gd name="T0" fmla="*/ 5715 w 5"/>
                <a:gd name="T1" fmla="*/ 2381 h 2"/>
                <a:gd name="T2" fmla="*/ 7620 w 5"/>
                <a:gd name="T3" fmla="*/ 4762 h 2"/>
                <a:gd name="T4" fmla="*/ 3810 w 5"/>
                <a:gd name="T5" fmla="*/ 4762 h 2"/>
                <a:gd name="T6" fmla="*/ 0 w 5"/>
                <a:gd name="T7" fmla="*/ 2381 h 2"/>
                <a:gd name="T8" fmla="*/ 5715 w 5"/>
                <a:gd name="T9" fmla="*/ 2381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9" name="Freeform 168"/>
            <p:cNvSpPr>
              <a:spLocks noChangeAspect="1"/>
            </p:cNvSpPr>
            <p:nvPr/>
          </p:nvSpPr>
          <p:spPr bwMode="auto">
            <a:xfrm>
              <a:off x="6748727" y="2719758"/>
              <a:ext cx="1601" cy="6448"/>
            </a:xfrm>
            <a:custGeom>
              <a:avLst/>
              <a:gdLst>
                <a:gd name="T0" fmla="*/ 1587 w 1"/>
                <a:gd name="T1" fmla="*/ 5953 h 4"/>
                <a:gd name="T2" fmla="*/ 0 w 1"/>
                <a:gd name="T3" fmla="*/ 7937 h 4"/>
                <a:gd name="T4" fmla="*/ 0 w 1"/>
                <a:gd name="T5" fmla="*/ 3969 h 4"/>
                <a:gd name="T6" fmla="*/ 0 w 1"/>
                <a:gd name="T7" fmla="*/ 0 h 4"/>
                <a:gd name="T8" fmla="*/ 1587 w 1"/>
                <a:gd name="T9" fmla="*/ 5953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0" y="4"/>
                  </a:cubicBezTo>
                  <a:cubicBezTo>
                    <a:pt x="0" y="4"/>
                    <a:pt x="0" y="3"/>
                    <a:pt x="0" y="2"/>
                  </a:cubicBezTo>
                  <a:cubicBezTo>
                    <a:pt x="0" y="2"/>
                    <a:pt x="0" y="0"/>
                    <a:pt x="0"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0" name="Freeform 169"/>
            <p:cNvSpPr>
              <a:spLocks noChangeAspect="1"/>
            </p:cNvSpPr>
            <p:nvPr/>
          </p:nvSpPr>
          <p:spPr bwMode="auto">
            <a:xfrm>
              <a:off x="6703879" y="2575314"/>
              <a:ext cx="1601" cy="5158"/>
            </a:xfrm>
            <a:custGeom>
              <a:avLst/>
              <a:gdLst>
                <a:gd name="T0" fmla="*/ 1587 w 1"/>
                <a:gd name="T1" fmla="*/ 4762 h 4"/>
                <a:gd name="T2" fmla="*/ 1587 w 1"/>
                <a:gd name="T3" fmla="*/ 6350 h 4"/>
                <a:gd name="T4" fmla="*/ 0 w 1"/>
                <a:gd name="T5" fmla="*/ 3175 h 4"/>
                <a:gd name="T6" fmla="*/ 0 w 1"/>
                <a:gd name="T7" fmla="*/ 0 h 4"/>
                <a:gd name="T8" fmla="*/ 1587 w 1"/>
                <a:gd name="T9" fmla="*/ 4762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1" y="4"/>
                  </a:cubicBezTo>
                  <a:cubicBezTo>
                    <a:pt x="0" y="4"/>
                    <a:pt x="0" y="3"/>
                    <a:pt x="0" y="2"/>
                  </a:cubicBezTo>
                  <a:cubicBezTo>
                    <a:pt x="0" y="1"/>
                    <a:pt x="0" y="0"/>
                    <a:pt x="0"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1" name="Freeform 170"/>
            <p:cNvSpPr>
              <a:spLocks noChangeAspect="1"/>
            </p:cNvSpPr>
            <p:nvPr/>
          </p:nvSpPr>
          <p:spPr bwMode="auto">
            <a:xfrm>
              <a:off x="6700675" y="2606267"/>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3"/>
                    <a:pt x="0" y="3"/>
                  </a:cubicBezTo>
                  <a:cubicBezTo>
                    <a:pt x="0" y="2"/>
                    <a:pt x="1"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2" name="Freeform 171"/>
            <p:cNvSpPr>
              <a:spLocks noChangeAspect="1"/>
            </p:cNvSpPr>
            <p:nvPr/>
          </p:nvSpPr>
          <p:spPr bwMode="auto">
            <a:xfrm>
              <a:off x="6703879" y="2625612"/>
              <a:ext cx="4805" cy="7738"/>
            </a:xfrm>
            <a:custGeom>
              <a:avLst/>
              <a:gdLst>
                <a:gd name="T0" fmla="*/ 4762 w 2"/>
                <a:gd name="T1" fmla="*/ 5715 h 5"/>
                <a:gd name="T2" fmla="*/ 4762 w 2"/>
                <a:gd name="T3" fmla="*/ 9525 h 5"/>
                <a:gd name="T4" fmla="*/ 2381 w 2"/>
                <a:gd name="T5" fmla="*/ 5715 h 5"/>
                <a:gd name="T6" fmla="*/ 2381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2" y="5"/>
                  </a:cubicBezTo>
                  <a:cubicBezTo>
                    <a:pt x="1" y="4"/>
                    <a:pt x="1" y="3"/>
                    <a:pt x="1" y="3"/>
                  </a:cubicBezTo>
                  <a:cubicBezTo>
                    <a:pt x="1"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3" name="Freeform 172"/>
            <p:cNvSpPr>
              <a:spLocks noChangeAspect="1"/>
            </p:cNvSpPr>
            <p:nvPr/>
          </p:nvSpPr>
          <p:spPr bwMode="auto">
            <a:xfrm>
              <a:off x="6705480" y="2644957"/>
              <a:ext cx="6407" cy="7738"/>
            </a:xfrm>
            <a:custGeom>
              <a:avLst/>
              <a:gdLst>
                <a:gd name="T0" fmla="*/ 4233 w 3"/>
                <a:gd name="T1" fmla="*/ 5715 h 5"/>
                <a:gd name="T2" fmla="*/ 0 w 3"/>
                <a:gd name="T3" fmla="*/ 9525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5"/>
                  </a:cubicBezTo>
                  <a:cubicBezTo>
                    <a:pt x="0" y="4"/>
                    <a:pt x="0" y="3"/>
                    <a:pt x="0" y="2"/>
                  </a:cubicBezTo>
                  <a:cubicBezTo>
                    <a:pt x="1" y="2"/>
                    <a:pt x="2" y="0"/>
                    <a:pt x="2" y="0"/>
                  </a:cubicBezTo>
                  <a:cubicBezTo>
                    <a:pt x="3"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4" name="Freeform 173"/>
            <p:cNvSpPr>
              <a:spLocks noChangeAspect="1"/>
            </p:cNvSpPr>
            <p:nvPr/>
          </p:nvSpPr>
          <p:spPr bwMode="auto">
            <a:xfrm>
              <a:off x="6705480" y="2585632"/>
              <a:ext cx="4806" cy="7738"/>
            </a:xfrm>
            <a:custGeom>
              <a:avLst/>
              <a:gdLst>
                <a:gd name="T0" fmla="*/ 4763 w 2"/>
                <a:gd name="T1" fmla="*/ 5715 h 5"/>
                <a:gd name="T2" fmla="*/ 2382 w 2"/>
                <a:gd name="T3" fmla="*/ 9525 h 5"/>
                <a:gd name="T4" fmla="*/ 0 w 2"/>
                <a:gd name="T5" fmla="*/ 5715 h 5"/>
                <a:gd name="T6" fmla="*/ 2382 w 2"/>
                <a:gd name="T7" fmla="*/ 1905 h 5"/>
                <a:gd name="T8" fmla="*/ 4763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5" name="Freeform 174"/>
            <p:cNvSpPr>
              <a:spLocks noChangeAspect="1"/>
            </p:cNvSpPr>
            <p:nvPr/>
          </p:nvSpPr>
          <p:spPr bwMode="auto">
            <a:xfrm>
              <a:off x="6569335" y="2564996"/>
              <a:ext cx="8008" cy="15476"/>
            </a:xfrm>
            <a:custGeom>
              <a:avLst/>
              <a:gdLst>
                <a:gd name="T0" fmla="*/ 5953 w 4"/>
                <a:gd name="T1" fmla="*/ 11430 h 10"/>
                <a:gd name="T2" fmla="*/ 1984 w 4"/>
                <a:gd name="T3" fmla="*/ 17145 h 10"/>
                <a:gd name="T4" fmla="*/ 1984 w 4"/>
                <a:gd name="T5" fmla="*/ 9525 h 10"/>
                <a:gd name="T6" fmla="*/ 5953 w 4"/>
                <a:gd name="T7" fmla="*/ 1905 h 10"/>
                <a:gd name="T8" fmla="*/ 5953 w 4"/>
                <a:gd name="T9" fmla="*/ 1143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6" name="Freeform 175"/>
            <p:cNvSpPr>
              <a:spLocks noChangeAspect="1"/>
            </p:cNvSpPr>
            <p:nvPr/>
          </p:nvSpPr>
          <p:spPr bwMode="auto">
            <a:xfrm>
              <a:off x="6567732" y="2580473"/>
              <a:ext cx="8009" cy="18056"/>
            </a:xfrm>
            <a:custGeom>
              <a:avLst/>
              <a:gdLst>
                <a:gd name="T0" fmla="*/ 5953 w 4"/>
                <a:gd name="T1" fmla="*/ 14143 h 11"/>
                <a:gd name="T2" fmla="*/ 1985 w 4"/>
                <a:gd name="T3" fmla="*/ 20205 h 11"/>
                <a:gd name="T4" fmla="*/ 1985 w 4"/>
                <a:gd name="T5" fmla="*/ 12123 h 11"/>
                <a:gd name="T6" fmla="*/ 5953 w 4"/>
                <a:gd name="T7" fmla="*/ 2020 h 11"/>
                <a:gd name="T8" fmla="*/ 5953 w 4"/>
                <a:gd name="T9" fmla="*/ 14143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7" name="Freeform 176"/>
            <p:cNvSpPr>
              <a:spLocks noChangeAspect="1"/>
            </p:cNvSpPr>
            <p:nvPr/>
          </p:nvSpPr>
          <p:spPr bwMode="auto">
            <a:xfrm>
              <a:off x="6567732" y="2601108"/>
              <a:ext cx="3203" cy="15476"/>
            </a:xfrm>
            <a:custGeom>
              <a:avLst/>
              <a:gdLst>
                <a:gd name="T0" fmla="*/ 3175 w 2"/>
                <a:gd name="T1" fmla="*/ 13335 h 10"/>
                <a:gd name="T2" fmla="*/ 1588 w 2"/>
                <a:gd name="T3" fmla="*/ 19050 h 10"/>
                <a:gd name="T4" fmla="*/ 0 w 2"/>
                <a:gd name="T5" fmla="*/ 9525 h 10"/>
                <a:gd name="T6" fmla="*/ 1588 w 2"/>
                <a:gd name="T7" fmla="*/ 1905 h 10"/>
                <a:gd name="T8" fmla="*/ 3175 w 2"/>
                <a:gd name="T9" fmla="*/ 13335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8" name="Freeform 177"/>
            <p:cNvSpPr>
              <a:spLocks noChangeAspect="1"/>
            </p:cNvSpPr>
            <p:nvPr/>
          </p:nvSpPr>
          <p:spPr bwMode="auto">
            <a:xfrm>
              <a:off x="5345628" y="2521148"/>
              <a:ext cx="6407" cy="2579"/>
            </a:xfrm>
            <a:custGeom>
              <a:avLst/>
              <a:gdLst>
                <a:gd name="T0" fmla="*/ 3175 w 4"/>
                <a:gd name="T1" fmla="*/ 0 h 2"/>
                <a:gd name="T2" fmla="*/ 4762 w 4"/>
                <a:gd name="T3" fmla="*/ 1588 h 2"/>
                <a:gd name="T4" fmla="*/ 3175 w 4"/>
                <a:gd name="T5" fmla="*/ 3175 h 2"/>
                <a:gd name="T6" fmla="*/ 0 w 4"/>
                <a:gd name="T7" fmla="*/ 1588 h 2"/>
                <a:gd name="T8" fmla="*/ 3175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3" y="1"/>
                  </a:cubicBezTo>
                  <a:cubicBezTo>
                    <a:pt x="3" y="2"/>
                    <a:pt x="3" y="2"/>
                    <a:pt x="2" y="2"/>
                  </a:cubicBezTo>
                  <a:cubicBezTo>
                    <a:pt x="1" y="2"/>
                    <a:pt x="0" y="2"/>
                    <a:pt x="0" y="1"/>
                  </a:cubicBezTo>
                  <a:cubicBezTo>
                    <a:pt x="1"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9" name="Freeform 178"/>
            <p:cNvSpPr>
              <a:spLocks noChangeAspect="1"/>
            </p:cNvSpPr>
            <p:nvPr/>
          </p:nvSpPr>
          <p:spPr bwMode="auto">
            <a:xfrm>
              <a:off x="6527690" y="2361228"/>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0" name="Freeform 179"/>
            <p:cNvSpPr>
              <a:spLocks noChangeAspect="1"/>
            </p:cNvSpPr>
            <p:nvPr/>
          </p:nvSpPr>
          <p:spPr bwMode="auto">
            <a:xfrm>
              <a:off x="6516477" y="2356069"/>
              <a:ext cx="3203" cy="5158"/>
            </a:xfrm>
            <a:custGeom>
              <a:avLst/>
              <a:gdLst>
                <a:gd name="T0" fmla="*/ 3175 w 2"/>
                <a:gd name="T1" fmla="*/ 4233 h 3"/>
                <a:gd name="T2" fmla="*/ 1588 w 2"/>
                <a:gd name="T3" fmla="*/ 6350 h 3"/>
                <a:gd name="T4" fmla="*/ 0 w 2"/>
                <a:gd name="T5" fmla="*/ 4233 h 3"/>
                <a:gd name="T6" fmla="*/ 0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1" name="Freeform 180"/>
            <p:cNvSpPr>
              <a:spLocks noChangeAspect="1"/>
            </p:cNvSpPr>
            <p:nvPr/>
          </p:nvSpPr>
          <p:spPr bwMode="auto">
            <a:xfrm>
              <a:off x="6518080" y="2363807"/>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2" name="Freeform 181"/>
            <p:cNvSpPr>
              <a:spLocks noChangeAspect="1"/>
            </p:cNvSpPr>
            <p:nvPr/>
          </p:nvSpPr>
          <p:spPr bwMode="auto">
            <a:xfrm>
              <a:off x="6506867" y="2356069"/>
              <a:ext cx="6407" cy="12897"/>
            </a:xfrm>
            <a:custGeom>
              <a:avLst/>
              <a:gdLst>
                <a:gd name="T0" fmla="*/ 4762 w 4"/>
                <a:gd name="T1" fmla="*/ 7938 h 8"/>
                <a:gd name="T2" fmla="*/ 4762 w 4"/>
                <a:gd name="T3" fmla="*/ 15875 h 8"/>
                <a:gd name="T4" fmla="*/ 1588 w 4"/>
                <a:gd name="T5" fmla="*/ 9922 h 8"/>
                <a:gd name="T6" fmla="*/ 1588 w 4"/>
                <a:gd name="T7" fmla="*/ 0 h 8"/>
                <a:gd name="T8" fmla="*/ 4762 w 4"/>
                <a:gd name="T9" fmla="*/ 7938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3" name="Oval 182"/>
            <p:cNvSpPr>
              <a:spLocks noChangeAspect="1" noChangeArrowheads="1"/>
            </p:cNvSpPr>
            <p:nvPr/>
          </p:nvSpPr>
          <p:spPr bwMode="auto">
            <a:xfrm>
              <a:off x="5608308" y="2598528"/>
              <a:ext cx="6407"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4" name="Oval 183"/>
            <p:cNvSpPr>
              <a:spLocks noChangeAspect="1" noChangeArrowheads="1"/>
            </p:cNvSpPr>
            <p:nvPr/>
          </p:nvSpPr>
          <p:spPr bwMode="auto">
            <a:xfrm>
              <a:off x="6710286" y="2691384"/>
              <a:ext cx="3203"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5" name="Freeform 184"/>
            <p:cNvSpPr>
              <a:spLocks noChangeAspect="1"/>
            </p:cNvSpPr>
            <p:nvPr/>
          </p:nvSpPr>
          <p:spPr bwMode="auto">
            <a:xfrm>
              <a:off x="6695870" y="2593370"/>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1" y="0"/>
                    <a:pt x="1" y="0"/>
                  </a:cubicBezTo>
                  <a:cubicBezTo>
                    <a:pt x="2" y="0"/>
                    <a:pt x="3" y="0"/>
                    <a:pt x="3"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6" name="Freeform 185"/>
            <p:cNvSpPr>
              <a:spLocks noChangeAspect="1"/>
            </p:cNvSpPr>
            <p:nvPr/>
          </p:nvSpPr>
          <p:spPr bwMode="auto">
            <a:xfrm>
              <a:off x="6705480" y="2607556"/>
              <a:ext cx="4806" cy="3869"/>
            </a:xfrm>
            <a:custGeom>
              <a:avLst/>
              <a:gdLst>
                <a:gd name="T0" fmla="*/ 4763 w 2"/>
                <a:gd name="T1" fmla="*/ 3175 h 3"/>
                <a:gd name="T2" fmla="*/ 2382 w 2"/>
                <a:gd name="T3" fmla="*/ 3175 h 3"/>
                <a:gd name="T4" fmla="*/ 0 w 2"/>
                <a:gd name="T5" fmla="*/ 1588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2"/>
                  </a:cubicBezTo>
                  <a:cubicBezTo>
                    <a:pt x="1" y="2"/>
                    <a:pt x="0" y="2"/>
                    <a:pt x="0" y="1"/>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7" name="Freeform 186"/>
            <p:cNvSpPr>
              <a:spLocks noChangeAspect="1"/>
            </p:cNvSpPr>
            <p:nvPr/>
          </p:nvSpPr>
          <p:spPr bwMode="auto">
            <a:xfrm>
              <a:off x="6710286" y="2619163"/>
              <a:ext cx="3203" cy="5158"/>
            </a:xfrm>
            <a:custGeom>
              <a:avLst/>
              <a:gdLst>
                <a:gd name="T0" fmla="*/ 1588 w 2"/>
                <a:gd name="T1" fmla="*/ 4233 h 3"/>
                <a:gd name="T2" fmla="*/ 1588 w 2"/>
                <a:gd name="T3" fmla="*/ 6350 h 3"/>
                <a:gd name="T4" fmla="*/ 0 w 2"/>
                <a:gd name="T5" fmla="*/ 4233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8" name="Freeform 187"/>
            <p:cNvSpPr>
              <a:spLocks noChangeAspect="1"/>
            </p:cNvSpPr>
            <p:nvPr/>
          </p:nvSpPr>
          <p:spPr bwMode="auto">
            <a:xfrm>
              <a:off x="6700675" y="2598528"/>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0"/>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9" name="Freeform 188"/>
            <p:cNvSpPr>
              <a:spLocks noChangeAspect="1"/>
            </p:cNvSpPr>
            <p:nvPr/>
          </p:nvSpPr>
          <p:spPr bwMode="auto">
            <a:xfrm>
              <a:off x="6703879" y="2641088"/>
              <a:ext cx="4805" cy="3869"/>
            </a:xfrm>
            <a:custGeom>
              <a:avLst/>
              <a:gdLst>
                <a:gd name="T0" fmla="*/ 2381 w 2"/>
                <a:gd name="T1" fmla="*/ 2382 h 2"/>
                <a:gd name="T2" fmla="*/ 2381 w 2"/>
                <a:gd name="T3" fmla="*/ 4763 h 2"/>
                <a:gd name="T4" fmla="*/ 0 w 2"/>
                <a:gd name="T5" fmla="*/ 2382 h 2"/>
                <a:gd name="T6" fmla="*/ 2381 w 2"/>
                <a:gd name="T7" fmla="*/ 0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1" y="2"/>
                  </a:cubicBezTo>
                  <a:cubicBezTo>
                    <a:pt x="0" y="2"/>
                    <a:pt x="0" y="2"/>
                    <a:pt x="0" y="1"/>
                  </a:cubicBezTo>
                  <a:cubicBezTo>
                    <a:pt x="0" y="1"/>
                    <a:pt x="0" y="0"/>
                    <a:pt x="1" y="0"/>
                  </a:cubicBezTo>
                  <a:cubicBezTo>
                    <a:pt x="2"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0" name="Freeform 189"/>
            <p:cNvSpPr>
              <a:spLocks noChangeAspect="1"/>
            </p:cNvSpPr>
            <p:nvPr/>
          </p:nvSpPr>
          <p:spPr bwMode="auto">
            <a:xfrm>
              <a:off x="6593360" y="2691384"/>
              <a:ext cx="4806" cy="3868"/>
            </a:xfrm>
            <a:custGeom>
              <a:avLst/>
              <a:gdLst>
                <a:gd name="T0" fmla="*/ 3175 w 3"/>
                <a:gd name="T1" fmla="*/ 3175 h 3"/>
                <a:gd name="T2" fmla="*/ 3175 w 3"/>
                <a:gd name="T3" fmla="*/ 4762 h 3"/>
                <a:gd name="T4" fmla="*/ 1588 w 3"/>
                <a:gd name="T5" fmla="*/ 3175 h 3"/>
                <a:gd name="T6" fmla="*/ 1588 w 3"/>
                <a:gd name="T7" fmla="*/ 0 h 3"/>
                <a:gd name="T8" fmla="*/ 3175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2" y="3"/>
                    <a:pt x="2" y="3"/>
                  </a:cubicBezTo>
                  <a:cubicBezTo>
                    <a:pt x="1" y="3"/>
                    <a:pt x="1" y="2"/>
                    <a:pt x="1"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1" name="Freeform 190"/>
            <p:cNvSpPr>
              <a:spLocks noChangeAspect="1"/>
            </p:cNvSpPr>
            <p:nvPr/>
          </p:nvSpPr>
          <p:spPr bwMode="auto">
            <a:xfrm>
              <a:off x="6585352" y="2684936"/>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2" name="Freeform 191"/>
            <p:cNvSpPr>
              <a:spLocks noChangeAspect="1"/>
            </p:cNvSpPr>
            <p:nvPr/>
          </p:nvSpPr>
          <p:spPr bwMode="auto">
            <a:xfrm>
              <a:off x="6596563" y="2704282"/>
              <a:ext cx="3203" cy="5158"/>
            </a:xfrm>
            <a:custGeom>
              <a:avLst/>
              <a:gdLst>
                <a:gd name="T0" fmla="*/ 1588 w 2"/>
                <a:gd name="T1" fmla="*/ 4233 h 3"/>
                <a:gd name="T2" fmla="*/ 0 w 2"/>
                <a:gd name="T3" fmla="*/ 6350 h 3"/>
                <a:gd name="T4" fmla="*/ 0 w 2"/>
                <a:gd name="T5" fmla="*/ 2117 h 3"/>
                <a:gd name="T6" fmla="*/ 1588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3"/>
                  </a:cubicBezTo>
                  <a:cubicBezTo>
                    <a:pt x="0" y="2"/>
                    <a:pt x="0" y="2"/>
                    <a:pt x="0" y="1"/>
                  </a:cubicBezTo>
                  <a:cubicBezTo>
                    <a:pt x="0" y="1"/>
                    <a:pt x="1" y="0"/>
                    <a:pt x="1" y="1"/>
                  </a:cubicBezTo>
                  <a:cubicBezTo>
                    <a:pt x="2"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3" name="Freeform 192"/>
            <p:cNvSpPr>
              <a:spLocks noChangeAspect="1"/>
            </p:cNvSpPr>
            <p:nvPr/>
          </p:nvSpPr>
          <p:spPr bwMode="auto">
            <a:xfrm>
              <a:off x="6574139" y="2663013"/>
              <a:ext cx="1602" cy="2579"/>
            </a:xfrm>
            <a:custGeom>
              <a:avLst/>
              <a:gdLst>
                <a:gd name="T0" fmla="*/ 1588 w 1"/>
                <a:gd name="T1" fmla="*/ 1588 h 2"/>
                <a:gd name="T2" fmla="*/ 1588 w 1"/>
                <a:gd name="T3" fmla="*/ 3175 h 2"/>
                <a:gd name="T4" fmla="*/ 0 w 1"/>
                <a:gd name="T5" fmla="*/ 1588 h 2"/>
                <a:gd name="T6" fmla="*/ 0 w 1"/>
                <a:gd name="T7" fmla="*/ 0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1" y="2"/>
                  </a:cubicBezTo>
                  <a:cubicBezTo>
                    <a:pt x="0" y="2"/>
                    <a:pt x="0" y="2"/>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4" name="Freeform 193"/>
            <p:cNvSpPr>
              <a:spLocks noChangeAspect="1"/>
            </p:cNvSpPr>
            <p:nvPr/>
          </p:nvSpPr>
          <p:spPr bwMode="auto">
            <a:xfrm>
              <a:off x="6598165" y="2684936"/>
              <a:ext cx="6407" cy="9029"/>
            </a:xfrm>
            <a:custGeom>
              <a:avLst/>
              <a:gdLst>
                <a:gd name="T0" fmla="*/ 4233 w 3"/>
                <a:gd name="T1" fmla="*/ 5557 h 6"/>
                <a:gd name="T2" fmla="*/ 4233 w 3"/>
                <a:gd name="T3" fmla="*/ 9261 h 6"/>
                <a:gd name="T4" fmla="*/ 2117 w 3"/>
                <a:gd name="T5" fmla="*/ 7409 h 6"/>
                <a:gd name="T6" fmla="*/ 2117 w 3"/>
                <a:gd name="T7" fmla="*/ 1852 h 6"/>
                <a:gd name="T8" fmla="*/ 4233 w 3"/>
                <a:gd name="T9" fmla="*/ 5557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3"/>
                  </a:moveTo>
                  <a:cubicBezTo>
                    <a:pt x="3" y="4"/>
                    <a:pt x="3" y="5"/>
                    <a:pt x="2" y="5"/>
                  </a:cubicBezTo>
                  <a:cubicBezTo>
                    <a:pt x="2" y="6"/>
                    <a:pt x="1" y="4"/>
                    <a:pt x="1" y="4"/>
                  </a:cubicBezTo>
                  <a:cubicBezTo>
                    <a:pt x="1" y="3"/>
                    <a:pt x="0" y="1"/>
                    <a:pt x="1" y="1"/>
                  </a:cubicBezTo>
                  <a:cubicBezTo>
                    <a:pt x="1"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5" name="Freeform 194"/>
            <p:cNvSpPr>
              <a:spLocks noChangeAspect="1"/>
            </p:cNvSpPr>
            <p:nvPr/>
          </p:nvSpPr>
          <p:spPr bwMode="auto">
            <a:xfrm>
              <a:off x="6567732" y="2626902"/>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4"/>
                  </a:cubicBezTo>
                  <a:cubicBezTo>
                    <a:pt x="0" y="4"/>
                    <a:pt x="0" y="3"/>
                    <a:pt x="0" y="2"/>
                  </a:cubicBezTo>
                  <a:cubicBezTo>
                    <a:pt x="0" y="2"/>
                    <a:pt x="0" y="0"/>
                    <a:pt x="1"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6" name="Freeform 195"/>
            <p:cNvSpPr>
              <a:spLocks noChangeAspect="1"/>
            </p:cNvSpPr>
            <p:nvPr/>
          </p:nvSpPr>
          <p:spPr bwMode="auto">
            <a:xfrm>
              <a:off x="6577344" y="2599818"/>
              <a:ext cx="8009" cy="6449"/>
            </a:xfrm>
            <a:custGeom>
              <a:avLst/>
              <a:gdLst>
                <a:gd name="T0" fmla="*/ 5953 w 4"/>
                <a:gd name="T1" fmla="*/ 3969 h 4"/>
                <a:gd name="T2" fmla="*/ 5953 w 4"/>
                <a:gd name="T3" fmla="*/ 5953 h 4"/>
                <a:gd name="T4" fmla="*/ 1985 w 4"/>
                <a:gd name="T5" fmla="*/ 5953 h 4"/>
                <a:gd name="T6" fmla="*/ 1985 w 4"/>
                <a:gd name="T7" fmla="*/ 1985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1" y="3"/>
                  </a:cubicBezTo>
                  <a:cubicBezTo>
                    <a:pt x="1" y="3"/>
                    <a:pt x="0" y="2"/>
                    <a:pt x="1"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7" name="Freeform 196"/>
            <p:cNvSpPr>
              <a:spLocks noChangeAspect="1"/>
            </p:cNvSpPr>
            <p:nvPr/>
          </p:nvSpPr>
          <p:spPr bwMode="auto">
            <a:xfrm>
              <a:off x="5566664" y="2633349"/>
              <a:ext cx="6407" cy="5158"/>
            </a:xfrm>
            <a:custGeom>
              <a:avLst/>
              <a:gdLst>
                <a:gd name="T0" fmla="*/ 4762 w 4"/>
                <a:gd name="T1" fmla="*/ 0 h 3"/>
                <a:gd name="T2" fmla="*/ 6350 w 4"/>
                <a:gd name="T3" fmla="*/ 2117 h 3"/>
                <a:gd name="T4" fmla="*/ 3175 w 4"/>
                <a:gd name="T5" fmla="*/ 6350 h 3"/>
                <a:gd name="T6" fmla="*/ 0 w 4"/>
                <a:gd name="T7" fmla="*/ 2117 h 3"/>
                <a:gd name="T8" fmla="*/ 4762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0"/>
                  </a:moveTo>
                  <a:cubicBezTo>
                    <a:pt x="3" y="0"/>
                    <a:pt x="4" y="1"/>
                    <a:pt x="4" y="1"/>
                  </a:cubicBezTo>
                  <a:cubicBezTo>
                    <a:pt x="4" y="2"/>
                    <a:pt x="3" y="3"/>
                    <a:pt x="2" y="3"/>
                  </a:cubicBezTo>
                  <a:cubicBezTo>
                    <a:pt x="1" y="3"/>
                    <a:pt x="0"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8" name="Freeform 197"/>
            <p:cNvSpPr>
              <a:spLocks noChangeAspect="1"/>
            </p:cNvSpPr>
            <p:nvPr/>
          </p:nvSpPr>
          <p:spPr bwMode="auto">
            <a:xfrm>
              <a:off x="5368051" y="3138903"/>
              <a:ext cx="182595" cy="314682"/>
            </a:xfrm>
            <a:custGeom>
              <a:avLst/>
              <a:gdLst>
                <a:gd name="T0" fmla="*/ 161925 w 95"/>
                <a:gd name="T1" fmla="*/ 24684 h 204"/>
                <a:gd name="T2" fmla="*/ 177165 w 95"/>
                <a:gd name="T3" fmla="*/ 79749 h 204"/>
                <a:gd name="T4" fmla="*/ 175260 w 95"/>
                <a:gd name="T5" fmla="*/ 113926 h 204"/>
                <a:gd name="T6" fmla="*/ 158115 w 95"/>
                <a:gd name="T7" fmla="*/ 106331 h 204"/>
                <a:gd name="T8" fmla="*/ 154305 w 95"/>
                <a:gd name="T9" fmla="*/ 157598 h 204"/>
                <a:gd name="T10" fmla="*/ 144780 w 95"/>
                <a:gd name="T11" fmla="*/ 203169 h 204"/>
                <a:gd name="T12" fmla="*/ 123825 w 95"/>
                <a:gd name="T13" fmla="*/ 258233 h 204"/>
                <a:gd name="T14" fmla="*/ 102870 w 95"/>
                <a:gd name="T15" fmla="*/ 332286 h 204"/>
                <a:gd name="T16" fmla="*/ 80010 w 95"/>
                <a:gd name="T17" fmla="*/ 374059 h 204"/>
                <a:gd name="T18" fmla="*/ 57150 w 95"/>
                <a:gd name="T19" fmla="*/ 385451 h 204"/>
                <a:gd name="T20" fmla="*/ 7620 w 95"/>
                <a:gd name="T21" fmla="*/ 353172 h 204"/>
                <a:gd name="T22" fmla="*/ 11430 w 95"/>
                <a:gd name="T23" fmla="*/ 324690 h 204"/>
                <a:gd name="T24" fmla="*/ 0 w 95"/>
                <a:gd name="T25" fmla="*/ 284816 h 204"/>
                <a:gd name="T26" fmla="*/ 15240 w 95"/>
                <a:gd name="T27" fmla="*/ 260132 h 204"/>
                <a:gd name="T28" fmla="*/ 28575 w 95"/>
                <a:gd name="T29" fmla="*/ 231650 h 204"/>
                <a:gd name="T30" fmla="*/ 24765 w 95"/>
                <a:gd name="T31" fmla="*/ 199371 h 204"/>
                <a:gd name="T32" fmla="*/ 20955 w 95"/>
                <a:gd name="T33" fmla="*/ 170890 h 204"/>
                <a:gd name="T34" fmla="*/ 20955 w 95"/>
                <a:gd name="T35" fmla="*/ 155700 h 204"/>
                <a:gd name="T36" fmla="*/ 36195 w 95"/>
                <a:gd name="T37" fmla="*/ 117724 h 204"/>
                <a:gd name="T38" fmla="*/ 57150 w 95"/>
                <a:gd name="T39" fmla="*/ 113926 h 204"/>
                <a:gd name="T40" fmla="*/ 76200 w 95"/>
                <a:gd name="T41" fmla="*/ 110129 h 204"/>
                <a:gd name="T42" fmla="*/ 81915 w 95"/>
                <a:gd name="T43" fmla="*/ 100635 h 204"/>
                <a:gd name="T44" fmla="*/ 99060 w 95"/>
                <a:gd name="T45" fmla="*/ 94939 h 204"/>
                <a:gd name="T46" fmla="*/ 106680 w 95"/>
                <a:gd name="T47" fmla="*/ 91141 h 204"/>
                <a:gd name="T48" fmla="*/ 120015 w 95"/>
                <a:gd name="T49" fmla="*/ 83546 h 204"/>
                <a:gd name="T50" fmla="*/ 114300 w 95"/>
                <a:gd name="T51" fmla="*/ 70255 h 204"/>
                <a:gd name="T52" fmla="*/ 121920 w 95"/>
                <a:gd name="T53" fmla="*/ 64558 h 204"/>
                <a:gd name="T54" fmla="*/ 118110 w 95"/>
                <a:gd name="T55" fmla="*/ 43672 h 204"/>
                <a:gd name="T56" fmla="*/ 129540 w 95"/>
                <a:gd name="T57" fmla="*/ 45571 h 204"/>
                <a:gd name="T58" fmla="*/ 140970 w 95"/>
                <a:gd name="T59" fmla="*/ 32279 h 204"/>
                <a:gd name="T60" fmla="*/ 137160 w 95"/>
                <a:gd name="T61" fmla="*/ 15190 h 204"/>
                <a:gd name="T62" fmla="*/ 154305 w 95"/>
                <a:gd name="T63" fmla="*/ 1899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9" name="Freeform 198"/>
            <p:cNvSpPr>
              <a:spLocks noChangeAspect="1"/>
            </p:cNvSpPr>
            <p:nvPr/>
          </p:nvSpPr>
          <p:spPr bwMode="auto">
            <a:xfrm>
              <a:off x="5374458" y="3127297"/>
              <a:ext cx="4805" cy="9027"/>
            </a:xfrm>
            <a:custGeom>
              <a:avLst/>
              <a:gdLst>
                <a:gd name="T0" fmla="*/ 1587 w 3"/>
                <a:gd name="T1" fmla="*/ 0 h 6"/>
                <a:gd name="T2" fmla="*/ 0 w 3"/>
                <a:gd name="T3" fmla="*/ 5556 h 6"/>
                <a:gd name="T4" fmla="*/ 1587 w 3"/>
                <a:gd name="T5" fmla="*/ 11112 h 6"/>
                <a:gd name="T6" fmla="*/ 3175 w 3"/>
                <a:gd name="T7" fmla="*/ 5556 h 6"/>
                <a:gd name="T8" fmla="*/ 1587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1" y="0"/>
                  </a:moveTo>
                  <a:cubicBezTo>
                    <a:pt x="0" y="0"/>
                    <a:pt x="0" y="2"/>
                    <a:pt x="0" y="3"/>
                  </a:cubicBezTo>
                  <a:cubicBezTo>
                    <a:pt x="0" y="4"/>
                    <a:pt x="0" y="6"/>
                    <a:pt x="1" y="6"/>
                  </a:cubicBezTo>
                  <a:cubicBezTo>
                    <a:pt x="3" y="6"/>
                    <a:pt x="2" y="4"/>
                    <a:pt x="2" y="3"/>
                  </a:cubicBezTo>
                  <a:cubicBezTo>
                    <a:pt x="2" y="2"/>
                    <a:pt x="2"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0" name="Freeform 199"/>
            <p:cNvSpPr>
              <a:spLocks noChangeAspect="1"/>
            </p:cNvSpPr>
            <p:nvPr/>
          </p:nvSpPr>
          <p:spPr bwMode="auto">
            <a:xfrm>
              <a:off x="5398483" y="3140194"/>
              <a:ext cx="9610" cy="9027"/>
            </a:xfrm>
            <a:custGeom>
              <a:avLst/>
              <a:gdLst>
                <a:gd name="T0" fmla="*/ 1905 w 5"/>
                <a:gd name="T1" fmla="*/ 1852 h 6"/>
                <a:gd name="T2" fmla="*/ 1905 w 5"/>
                <a:gd name="T3" fmla="*/ 5556 h 6"/>
                <a:gd name="T4" fmla="*/ 5715 w 5"/>
                <a:gd name="T5" fmla="*/ 11112 h 6"/>
                <a:gd name="T6" fmla="*/ 5715 w 5"/>
                <a:gd name="T7" fmla="*/ 3704 h 6"/>
                <a:gd name="T8" fmla="*/ 1905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1"/>
                    <a:pt x="0" y="2"/>
                    <a:pt x="1" y="3"/>
                  </a:cubicBezTo>
                  <a:cubicBezTo>
                    <a:pt x="1" y="4"/>
                    <a:pt x="2" y="6"/>
                    <a:pt x="3" y="6"/>
                  </a:cubicBezTo>
                  <a:cubicBezTo>
                    <a:pt x="5" y="5"/>
                    <a:pt x="4" y="3"/>
                    <a:pt x="3" y="2"/>
                  </a:cubicBezTo>
                  <a:cubicBezTo>
                    <a:pt x="3"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1" name="Freeform 200"/>
            <p:cNvSpPr>
              <a:spLocks noChangeAspect="1"/>
            </p:cNvSpPr>
            <p:nvPr/>
          </p:nvSpPr>
          <p:spPr bwMode="auto">
            <a:xfrm>
              <a:off x="5417703" y="3154379"/>
              <a:ext cx="9610" cy="9029"/>
            </a:xfrm>
            <a:custGeom>
              <a:avLst/>
              <a:gdLst>
                <a:gd name="T0" fmla="*/ 1905 w 5"/>
                <a:gd name="T1" fmla="*/ 0 h 6"/>
                <a:gd name="T2" fmla="*/ 1905 w 5"/>
                <a:gd name="T3" fmla="*/ 5557 h 6"/>
                <a:gd name="T4" fmla="*/ 5715 w 5"/>
                <a:gd name="T5" fmla="*/ 11113 h 6"/>
                <a:gd name="T6" fmla="*/ 5715 w 5"/>
                <a:gd name="T7" fmla="*/ 3704 h 6"/>
                <a:gd name="T8" fmla="*/ 190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0"/>
                  </a:moveTo>
                  <a:cubicBezTo>
                    <a:pt x="0" y="1"/>
                    <a:pt x="0" y="2"/>
                    <a:pt x="1" y="3"/>
                  </a:cubicBezTo>
                  <a:cubicBezTo>
                    <a:pt x="1" y="4"/>
                    <a:pt x="2" y="6"/>
                    <a:pt x="3" y="6"/>
                  </a:cubicBezTo>
                  <a:cubicBezTo>
                    <a:pt x="5" y="5"/>
                    <a:pt x="4" y="3"/>
                    <a:pt x="3" y="2"/>
                  </a:cubicBezTo>
                  <a:cubicBezTo>
                    <a:pt x="3" y="1"/>
                    <a:pt x="2"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2" name="Freeform 201"/>
            <p:cNvSpPr>
              <a:spLocks noChangeAspect="1"/>
            </p:cNvSpPr>
            <p:nvPr/>
          </p:nvSpPr>
          <p:spPr bwMode="auto">
            <a:xfrm>
              <a:off x="5492985" y="3163408"/>
              <a:ext cx="8008" cy="10318"/>
            </a:xfrm>
            <a:custGeom>
              <a:avLst/>
              <a:gdLst>
                <a:gd name="T0" fmla="*/ 0 w 4"/>
                <a:gd name="T1" fmla="*/ 1814 h 7"/>
                <a:gd name="T2" fmla="*/ 0 w 4"/>
                <a:gd name="T3" fmla="*/ 5443 h 7"/>
                <a:gd name="T4" fmla="*/ 5953 w 4"/>
                <a:gd name="T5" fmla="*/ 10886 h 7"/>
                <a:gd name="T6" fmla="*/ 5953 w 4"/>
                <a:gd name="T7" fmla="*/ 3629 h 7"/>
                <a:gd name="T8" fmla="*/ 0 w 4"/>
                <a:gd name="T9" fmla="*/ 1814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0" y="1"/>
                  </a:moveTo>
                  <a:cubicBezTo>
                    <a:pt x="0" y="1"/>
                    <a:pt x="0" y="3"/>
                    <a:pt x="0" y="3"/>
                  </a:cubicBezTo>
                  <a:cubicBezTo>
                    <a:pt x="1" y="5"/>
                    <a:pt x="2" y="7"/>
                    <a:pt x="3" y="6"/>
                  </a:cubicBezTo>
                  <a:cubicBezTo>
                    <a:pt x="4" y="5"/>
                    <a:pt x="3" y="3"/>
                    <a:pt x="3" y="2"/>
                  </a:cubicBezTo>
                  <a:cubicBezTo>
                    <a:pt x="2" y="1"/>
                    <a:pt x="1"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3" name="Freeform 202"/>
            <p:cNvSpPr>
              <a:spLocks noChangeAspect="1"/>
            </p:cNvSpPr>
            <p:nvPr/>
          </p:nvSpPr>
          <p:spPr bwMode="auto">
            <a:xfrm>
              <a:off x="5709216" y="3319458"/>
              <a:ext cx="11213" cy="18056"/>
            </a:xfrm>
            <a:custGeom>
              <a:avLst/>
              <a:gdLst>
                <a:gd name="T0" fmla="*/ 5557 w 6"/>
                <a:gd name="T1" fmla="*/ 1852 h 12"/>
                <a:gd name="T2" fmla="*/ 11113 w 6"/>
                <a:gd name="T3" fmla="*/ 12965 h 12"/>
                <a:gd name="T4" fmla="*/ 5557 w 6"/>
                <a:gd name="T5" fmla="*/ 20373 h 12"/>
                <a:gd name="T6" fmla="*/ 0 w 6"/>
                <a:gd name="T7" fmla="*/ 11113 h 12"/>
                <a:gd name="T8" fmla="*/ 5557 w 6"/>
                <a:gd name="T9" fmla="*/ 1852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4" name="Freeform 203"/>
            <p:cNvSpPr>
              <a:spLocks noChangeAspect="1"/>
            </p:cNvSpPr>
            <p:nvPr/>
          </p:nvSpPr>
          <p:spPr bwMode="auto">
            <a:xfrm>
              <a:off x="5657961" y="3342673"/>
              <a:ext cx="14416" cy="12897"/>
            </a:xfrm>
            <a:custGeom>
              <a:avLst/>
              <a:gdLst>
                <a:gd name="T0" fmla="*/ 4082 w 7"/>
                <a:gd name="T1" fmla="*/ 0 h 8"/>
                <a:gd name="T2" fmla="*/ 14288 w 7"/>
                <a:gd name="T3" fmla="*/ 9922 h 8"/>
                <a:gd name="T4" fmla="*/ 12247 w 7"/>
                <a:gd name="T5" fmla="*/ 15875 h 8"/>
                <a:gd name="T6" fmla="*/ 2041 w 7"/>
                <a:gd name="T7" fmla="*/ 11906 h 8"/>
                <a:gd name="T8" fmla="*/ 4082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5" name="Freeform 204"/>
            <p:cNvSpPr>
              <a:spLocks noChangeAspect="1"/>
            </p:cNvSpPr>
            <p:nvPr/>
          </p:nvSpPr>
          <p:spPr bwMode="auto">
            <a:xfrm>
              <a:off x="5664367" y="2966086"/>
              <a:ext cx="11213" cy="9029"/>
            </a:xfrm>
            <a:custGeom>
              <a:avLst/>
              <a:gdLst>
                <a:gd name="T0" fmla="*/ 1852 w 6"/>
                <a:gd name="T1" fmla="*/ 1852 h 6"/>
                <a:gd name="T2" fmla="*/ 9261 w 6"/>
                <a:gd name="T3" fmla="*/ 5557 h 6"/>
                <a:gd name="T4" fmla="*/ 9261 w 6"/>
                <a:gd name="T5" fmla="*/ 11113 h 6"/>
                <a:gd name="T6" fmla="*/ 1852 w 6"/>
                <a:gd name="T7" fmla="*/ 7409 h 6"/>
                <a:gd name="T8" fmla="*/ 1852 w 6"/>
                <a:gd name="T9" fmla="*/ 1852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1" y="1"/>
                  </a:moveTo>
                  <a:cubicBezTo>
                    <a:pt x="3" y="0"/>
                    <a:pt x="4" y="2"/>
                    <a:pt x="5" y="3"/>
                  </a:cubicBezTo>
                  <a:cubicBezTo>
                    <a:pt x="6" y="4"/>
                    <a:pt x="6" y="5"/>
                    <a:pt x="5" y="6"/>
                  </a:cubicBezTo>
                  <a:cubicBezTo>
                    <a:pt x="4" y="6"/>
                    <a:pt x="2" y="5"/>
                    <a:pt x="1" y="4"/>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6" name="Freeform 205"/>
            <p:cNvSpPr>
              <a:spLocks noChangeAspect="1"/>
            </p:cNvSpPr>
            <p:nvPr/>
          </p:nvSpPr>
          <p:spPr bwMode="auto">
            <a:xfrm>
              <a:off x="4102699" y="1838907"/>
              <a:ext cx="296316" cy="196031"/>
            </a:xfrm>
            <a:custGeom>
              <a:avLst/>
              <a:gdLst>
                <a:gd name="T0" fmla="*/ 41955 w 154"/>
                <a:gd name="T1" fmla="*/ 195338 h 126"/>
                <a:gd name="T2" fmla="*/ 55305 w 154"/>
                <a:gd name="T3" fmla="*/ 180017 h 126"/>
                <a:gd name="T4" fmla="*/ 47676 w 154"/>
                <a:gd name="T5" fmla="*/ 162782 h 126"/>
                <a:gd name="T6" fmla="*/ 55305 w 154"/>
                <a:gd name="T7" fmla="*/ 149376 h 126"/>
                <a:gd name="T8" fmla="*/ 45769 w 154"/>
                <a:gd name="T9" fmla="*/ 134056 h 126"/>
                <a:gd name="T10" fmla="*/ 57212 w 154"/>
                <a:gd name="T11" fmla="*/ 120650 h 126"/>
                <a:gd name="T12" fmla="*/ 59119 w 154"/>
                <a:gd name="T13" fmla="*/ 109160 h 126"/>
                <a:gd name="T14" fmla="*/ 66747 w 154"/>
                <a:gd name="T15" fmla="*/ 80433 h 126"/>
                <a:gd name="T16" fmla="*/ 64840 w 154"/>
                <a:gd name="T17" fmla="*/ 67028 h 126"/>
                <a:gd name="T18" fmla="*/ 53398 w 154"/>
                <a:gd name="T19" fmla="*/ 57452 h 126"/>
                <a:gd name="T20" fmla="*/ 40048 w 154"/>
                <a:gd name="T21" fmla="*/ 61283 h 126"/>
                <a:gd name="T22" fmla="*/ 32420 w 154"/>
                <a:gd name="T23" fmla="*/ 55537 h 126"/>
                <a:gd name="T24" fmla="*/ 11442 w 154"/>
                <a:gd name="T25" fmla="*/ 59367 h 126"/>
                <a:gd name="T26" fmla="*/ 13349 w 154"/>
                <a:gd name="T27" fmla="*/ 44047 h 126"/>
                <a:gd name="T28" fmla="*/ 9535 w 154"/>
                <a:gd name="T29" fmla="*/ 36387 h 126"/>
                <a:gd name="T30" fmla="*/ 1907 w 154"/>
                <a:gd name="T31" fmla="*/ 22981 h 126"/>
                <a:gd name="T32" fmla="*/ 26699 w 154"/>
                <a:gd name="T33" fmla="*/ 13406 h 126"/>
                <a:gd name="T34" fmla="*/ 32420 w 154"/>
                <a:gd name="T35" fmla="*/ 1915 h 126"/>
                <a:gd name="T36" fmla="*/ 55305 w 154"/>
                <a:gd name="T37" fmla="*/ 5745 h 126"/>
                <a:gd name="T38" fmla="*/ 93446 w 154"/>
                <a:gd name="T39" fmla="*/ 3830 h 126"/>
                <a:gd name="T40" fmla="*/ 125866 w 154"/>
                <a:gd name="T41" fmla="*/ 9575 h 126"/>
                <a:gd name="T42" fmla="*/ 146844 w 154"/>
                <a:gd name="T43" fmla="*/ 13406 h 126"/>
                <a:gd name="T44" fmla="*/ 164007 w 154"/>
                <a:gd name="T45" fmla="*/ 15321 h 126"/>
                <a:gd name="T46" fmla="*/ 184985 w 154"/>
                <a:gd name="T47" fmla="*/ 15321 h 126"/>
                <a:gd name="T48" fmla="*/ 200241 w 154"/>
                <a:gd name="T49" fmla="*/ 24896 h 126"/>
                <a:gd name="T50" fmla="*/ 223126 w 154"/>
                <a:gd name="T51" fmla="*/ 32556 h 126"/>
                <a:gd name="T52" fmla="*/ 234568 w 154"/>
                <a:gd name="T53" fmla="*/ 26811 h 126"/>
                <a:gd name="T54" fmla="*/ 259360 w 154"/>
                <a:gd name="T55" fmla="*/ 40217 h 126"/>
                <a:gd name="T56" fmla="*/ 282245 w 154"/>
                <a:gd name="T57" fmla="*/ 42132 h 126"/>
                <a:gd name="T58" fmla="*/ 291780 w 154"/>
                <a:gd name="T59" fmla="*/ 49792 h 126"/>
                <a:gd name="T60" fmla="*/ 272709 w 154"/>
                <a:gd name="T61" fmla="*/ 70858 h 126"/>
                <a:gd name="T62" fmla="*/ 240289 w 154"/>
                <a:gd name="T63" fmla="*/ 84264 h 126"/>
                <a:gd name="T64" fmla="*/ 236475 w 154"/>
                <a:gd name="T65" fmla="*/ 99584 h 126"/>
                <a:gd name="T66" fmla="*/ 211683 w 154"/>
                <a:gd name="T67" fmla="*/ 132141 h 126"/>
                <a:gd name="T68" fmla="*/ 217405 w 154"/>
                <a:gd name="T69" fmla="*/ 153206 h 126"/>
                <a:gd name="T70" fmla="*/ 211683 w 154"/>
                <a:gd name="T71" fmla="*/ 166612 h 126"/>
                <a:gd name="T72" fmla="*/ 198334 w 154"/>
                <a:gd name="T73" fmla="*/ 191508 h 126"/>
                <a:gd name="T74" fmla="*/ 184985 w 154"/>
                <a:gd name="T75" fmla="*/ 197253 h 126"/>
                <a:gd name="T76" fmla="*/ 171635 w 154"/>
                <a:gd name="T77" fmla="*/ 218319 h 126"/>
                <a:gd name="T78" fmla="*/ 160193 w 154"/>
                <a:gd name="T79" fmla="*/ 218319 h 126"/>
                <a:gd name="T80" fmla="*/ 137308 w 154"/>
                <a:gd name="T81" fmla="*/ 222149 h 126"/>
                <a:gd name="T82" fmla="*/ 110609 w 154"/>
                <a:gd name="T83" fmla="*/ 225979 h 126"/>
                <a:gd name="T84" fmla="*/ 91539 w 154"/>
                <a:gd name="T85" fmla="*/ 239385 h 126"/>
                <a:gd name="T86" fmla="*/ 70561 w 154"/>
                <a:gd name="T87" fmla="*/ 225979 h 126"/>
                <a:gd name="T88" fmla="*/ 57212 w 154"/>
                <a:gd name="T89" fmla="*/ 206829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7" name="Freeform 206"/>
            <p:cNvSpPr>
              <a:spLocks noChangeAspect="1"/>
            </p:cNvSpPr>
            <p:nvPr/>
          </p:nvSpPr>
          <p:spPr bwMode="auto">
            <a:xfrm>
              <a:off x="4193996" y="2033649"/>
              <a:ext cx="6407" cy="3868"/>
            </a:xfrm>
            <a:custGeom>
              <a:avLst/>
              <a:gdLst>
                <a:gd name="T0" fmla="*/ 0 w 4"/>
                <a:gd name="T1" fmla="*/ 3175 h 3"/>
                <a:gd name="T2" fmla="*/ 3175 w 4"/>
                <a:gd name="T3" fmla="*/ 1587 h 3"/>
                <a:gd name="T4" fmla="*/ 4762 w 4"/>
                <a:gd name="T5" fmla="*/ 0 h 3"/>
                <a:gd name="T6" fmla="*/ 6350 w 4"/>
                <a:gd name="T7" fmla="*/ 3175 h 3"/>
                <a:gd name="T8" fmla="*/ 3175 w 4"/>
                <a:gd name="T9" fmla="*/ 4762 h 3"/>
                <a:gd name="T10" fmla="*/ 0 w 4"/>
                <a:gd name="T11" fmla="*/ 3175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8" name="Freeform 207"/>
            <p:cNvSpPr>
              <a:spLocks noChangeAspect="1"/>
            </p:cNvSpPr>
            <p:nvPr/>
          </p:nvSpPr>
          <p:spPr bwMode="auto">
            <a:xfrm>
              <a:off x="4376590" y="1936922"/>
              <a:ext cx="28831" cy="18056"/>
            </a:xfrm>
            <a:custGeom>
              <a:avLst/>
              <a:gdLst>
                <a:gd name="T0" fmla="*/ 19050 w 15"/>
                <a:gd name="T1" fmla="*/ 0 h 12"/>
                <a:gd name="T2" fmla="*/ 19050 w 15"/>
                <a:gd name="T3" fmla="*/ 7408 h 12"/>
                <a:gd name="T4" fmla="*/ 28575 w 15"/>
                <a:gd name="T5" fmla="*/ 7408 h 12"/>
                <a:gd name="T6" fmla="*/ 19050 w 15"/>
                <a:gd name="T7" fmla="*/ 22225 h 12"/>
                <a:gd name="T8" fmla="*/ 15240 w 15"/>
                <a:gd name="T9" fmla="*/ 20373 h 12"/>
                <a:gd name="T10" fmla="*/ 9525 w 15"/>
                <a:gd name="T11" fmla="*/ 14817 h 12"/>
                <a:gd name="T12" fmla="*/ 0 w 15"/>
                <a:gd name="T13" fmla="*/ 11113 h 12"/>
                <a:gd name="T14" fmla="*/ 11430 w 15"/>
                <a:gd name="T15" fmla="*/ 5556 h 12"/>
                <a:gd name="T16" fmla="*/ 19050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9" name="Freeform 208"/>
            <p:cNvSpPr>
              <a:spLocks noChangeAspect="1"/>
            </p:cNvSpPr>
            <p:nvPr/>
          </p:nvSpPr>
          <p:spPr bwMode="auto">
            <a:xfrm>
              <a:off x="4413430" y="1934343"/>
              <a:ext cx="14415" cy="9029"/>
            </a:xfrm>
            <a:custGeom>
              <a:avLst/>
              <a:gdLst>
                <a:gd name="T0" fmla="*/ 5358 w 8"/>
                <a:gd name="T1" fmla="*/ 0 h 6"/>
                <a:gd name="T2" fmla="*/ 12501 w 8"/>
                <a:gd name="T3" fmla="*/ 9261 h 6"/>
                <a:gd name="T4" fmla="*/ 0 w 8"/>
                <a:gd name="T5" fmla="*/ 5557 h 6"/>
                <a:gd name="T6" fmla="*/ 0 w 8"/>
                <a:gd name="T7" fmla="*/ 1852 h 6"/>
                <a:gd name="T8" fmla="*/ 5358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0" name="Freeform 209"/>
            <p:cNvSpPr>
              <a:spLocks noChangeAspect="1"/>
            </p:cNvSpPr>
            <p:nvPr/>
          </p:nvSpPr>
          <p:spPr bwMode="auto">
            <a:xfrm>
              <a:off x="4349361" y="1957557"/>
              <a:ext cx="12814" cy="9029"/>
            </a:xfrm>
            <a:custGeom>
              <a:avLst/>
              <a:gdLst>
                <a:gd name="T0" fmla="*/ 10886 w 7"/>
                <a:gd name="T1" fmla="*/ 1852 h 6"/>
                <a:gd name="T2" fmla="*/ 7257 w 7"/>
                <a:gd name="T3" fmla="*/ 7409 h 6"/>
                <a:gd name="T4" fmla="*/ 0 w 7"/>
                <a:gd name="T5" fmla="*/ 9261 h 6"/>
                <a:gd name="T6" fmla="*/ 3629 w 7"/>
                <a:gd name="T7" fmla="*/ 3704 h 6"/>
                <a:gd name="T8" fmla="*/ 10886 w 7"/>
                <a:gd name="T9" fmla="*/ 1852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1" name="Freeform 210"/>
            <p:cNvSpPr>
              <a:spLocks noChangeAspect="1"/>
            </p:cNvSpPr>
            <p:nvPr/>
          </p:nvSpPr>
          <p:spPr bwMode="auto">
            <a:xfrm>
              <a:off x="4354167" y="1967875"/>
              <a:ext cx="11213" cy="5158"/>
            </a:xfrm>
            <a:custGeom>
              <a:avLst/>
              <a:gdLst>
                <a:gd name="T0" fmla="*/ 4445 w 5"/>
                <a:gd name="T1" fmla="*/ 0 h 3"/>
                <a:gd name="T2" fmla="*/ 8890 w 5"/>
                <a:gd name="T3" fmla="*/ 4233 h 3"/>
                <a:gd name="T4" fmla="*/ 2223 w 5"/>
                <a:gd name="T5" fmla="*/ 4233 h 3"/>
                <a:gd name="T6" fmla="*/ 4445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2" name="Freeform 211"/>
            <p:cNvSpPr>
              <a:spLocks noChangeAspect="1"/>
            </p:cNvSpPr>
            <p:nvPr/>
          </p:nvSpPr>
          <p:spPr bwMode="auto">
            <a:xfrm>
              <a:off x="4802647" y="1966586"/>
              <a:ext cx="8009" cy="3868"/>
            </a:xfrm>
            <a:custGeom>
              <a:avLst/>
              <a:gdLst>
                <a:gd name="T0" fmla="*/ 3969 w 4"/>
                <a:gd name="T1" fmla="*/ 0 h 3"/>
                <a:gd name="T2" fmla="*/ 7938 w 4"/>
                <a:gd name="T3" fmla="*/ 3175 h 3"/>
                <a:gd name="T4" fmla="*/ 1985 w 4"/>
                <a:gd name="T5" fmla="*/ 3175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2"/>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3" name="Freeform 212"/>
            <p:cNvSpPr>
              <a:spLocks noChangeAspect="1"/>
            </p:cNvSpPr>
            <p:nvPr/>
          </p:nvSpPr>
          <p:spPr bwMode="auto">
            <a:xfrm>
              <a:off x="4807452" y="1988510"/>
              <a:ext cx="6407" cy="6449"/>
            </a:xfrm>
            <a:custGeom>
              <a:avLst/>
              <a:gdLst>
                <a:gd name="T0" fmla="*/ 3175 w 4"/>
                <a:gd name="T1" fmla="*/ 0 h 4"/>
                <a:gd name="T2" fmla="*/ 6350 w 4"/>
                <a:gd name="T3" fmla="*/ 5953 h 4"/>
                <a:gd name="T4" fmla="*/ 0 w 4"/>
                <a:gd name="T5" fmla="*/ 5953 h 4"/>
                <a:gd name="T6" fmla="*/ 3175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4" name="Freeform 213"/>
            <p:cNvSpPr>
              <a:spLocks noChangeAspect="1"/>
            </p:cNvSpPr>
            <p:nvPr/>
          </p:nvSpPr>
          <p:spPr bwMode="auto">
            <a:xfrm>
              <a:off x="4895546" y="1916287"/>
              <a:ext cx="9610" cy="6449"/>
            </a:xfrm>
            <a:custGeom>
              <a:avLst/>
              <a:gdLst>
                <a:gd name="T0" fmla="*/ 3810 w 5"/>
                <a:gd name="T1" fmla="*/ 0 h 4"/>
                <a:gd name="T2" fmla="*/ 7620 w 5"/>
                <a:gd name="T3" fmla="*/ 5953 h 4"/>
                <a:gd name="T4" fmla="*/ 1905 w 5"/>
                <a:gd name="T5" fmla="*/ 5953 h 4"/>
                <a:gd name="T6" fmla="*/ 3810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5" name="Freeform 214"/>
            <p:cNvSpPr>
              <a:spLocks noChangeAspect="1"/>
            </p:cNvSpPr>
            <p:nvPr/>
          </p:nvSpPr>
          <p:spPr bwMode="auto">
            <a:xfrm>
              <a:off x="4917969" y="1921446"/>
              <a:ext cx="8009" cy="5158"/>
            </a:xfrm>
            <a:custGeom>
              <a:avLst/>
              <a:gdLst>
                <a:gd name="T0" fmla="*/ 3969 w 4"/>
                <a:gd name="T1" fmla="*/ 0 h 3"/>
                <a:gd name="T2" fmla="*/ 7938 w 4"/>
                <a:gd name="T3" fmla="*/ 4233 h 3"/>
                <a:gd name="T4" fmla="*/ 1985 w 4"/>
                <a:gd name="T5" fmla="*/ 4233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6" name="Freeform 215"/>
            <p:cNvSpPr>
              <a:spLocks noChangeAspect="1"/>
            </p:cNvSpPr>
            <p:nvPr/>
          </p:nvSpPr>
          <p:spPr bwMode="auto">
            <a:xfrm>
              <a:off x="4909961" y="1935633"/>
              <a:ext cx="8008" cy="3868"/>
            </a:xfrm>
            <a:custGeom>
              <a:avLst/>
              <a:gdLst>
                <a:gd name="T0" fmla="*/ 3969 w 4"/>
                <a:gd name="T1" fmla="*/ 0 h 3"/>
                <a:gd name="T2" fmla="*/ 7937 w 4"/>
                <a:gd name="T3" fmla="*/ 3175 h 3"/>
                <a:gd name="T4" fmla="*/ 1984 w 4"/>
                <a:gd name="T5" fmla="*/ 3175 h 3"/>
                <a:gd name="T6" fmla="*/ 3969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7" name="Freeform 216"/>
            <p:cNvSpPr>
              <a:spLocks noChangeAspect="1"/>
            </p:cNvSpPr>
            <p:nvPr/>
          </p:nvSpPr>
          <p:spPr bwMode="auto">
            <a:xfrm>
              <a:off x="4897147" y="1961427"/>
              <a:ext cx="8008" cy="5158"/>
            </a:xfrm>
            <a:custGeom>
              <a:avLst/>
              <a:gdLst>
                <a:gd name="T0" fmla="*/ 1984 w 4"/>
                <a:gd name="T1" fmla="*/ 0 h 3"/>
                <a:gd name="T2" fmla="*/ 5953 w 4"/>
                <a:gd name="T3" fmla="*/ 6350 h 3"/>
                <a:gd name="T4" fmla="*/ 0 w 4"/>
                <a:gd name="T5" fmla="*/ 6350 h 3"/>
                <a:gd name="T6" fmla="*/ 1984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8" name="Freeform 217"/>
            <p:cNvSpPr>
              <a:spLocks noChangeAspect="1"/>
            </p:cNvSpPr>
            <p:nvPr/>
          </p:nvSpPr>
          <p:spPr bwMode="auto">
            <a:xfrm>
              <a:off x="4903555" y="1987220"/>
              <a:ext cx="9610" cy="5158"/>
            </a:xfrm>
            <a:custGeom>
              <a:avLst/>
              <a:gdLst>
                <a:gd name="T0" fmla="*/ 5715 w 5"/>
                <a:gd name="T1" fmla="*/ 1588 h 4"/>
                <a:gd name="T2" fmla="*/ 7620 w 5"/>
                <a:gd name="T3" fmla="*/ 6350 h 4"/>
                <a:gd name="T4" fmla="*/ 0 w 5"/>
                <a:gd name="T5" fmla="*/ 1588 h 4"/>
                <a:gd name="T6" fmla="*/ 5715 w 5"/>
                <a:gd name="T7" fmla="*/ 1588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9" name="Freeform 218"/>
            <p:cNvSpPr>
              <a:spLocks noChangeAspect="1"/>
            </p:cNvSpPr>
            <p:nvPr/>
          </p:nvSpPr>
          <p:spPr bwMode="auto">
            <a:xfrm>
              <a:off x="4948402" y="1991089"/>
              <a:ext cx="9610" cy="5158"/>
            </a:xfrm>
            <a:custGeom>
              <a:avLst/>
              <a:gdLst>
                <a:gd name="T0" fmla="*/ 5715 w 5"/>
                <a:gd name="T1" fmla="*/ 2117 h 3"/>
                <a:gd name="T2" fmla="*/ 7620 w 5"/>
                <a:gd name="T3" fmla="*/ 6350 h 3"/>
                <a:gd name="T4" fmla="*/ 0 w 5"/>
                <a:gd name="T5" fmla="*/ 2117 h 3"/>
                <a:gd name="T6" fmla="*/ 5715 w 5"/>
                <a:gd name="T7" fmla="*/ 2117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3" y="1"/>
                  </a:moveTo>
                  <a:cubicBezTo>
                    <a:pt x="4" y="1"/>
                    <a:pt x="5" y="3"/>
                    <a:pt x="4" y="3"/>
                  </a:cubicBezTo>
                  <a:cubicBezTo>
                    <a:pt x="4" y="3"/>
                    <a:pt x="1" y="2"/>
                    <a:pt x="0" y="1"/>
                  </a:cubicBezTo>
                  <a:cubicBezTo>
                    <a:pt x="0" y="0"/>
                    <a:pt x="1"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0" name="Freeform 219"/>
            <p:cNvSpPr>
              <a:spLocks noChangeAspect="1"/>
            </p:cNvSpPr>
            <p:nvPr/>
          </p:nvSpPr>
          <p:spPr bwMode="auto">
            <a:xfrm>
              <a:off x="4897147" y="2015594"/>
              <a:ext cx="6407" cy="6448"/>
            </a:xfrm>
            <a:custGeom>
              <a:avLst/>
              <a:gdLst>
                <a:gd name="T0" fmla="*/ 2117 w 3"/>
                <a:gd name="T1" fmla="*/ 3969 h 4"/>
                <a:gd name="T2" fmla="*/ 6350 w 3"/>
                <a:gd name="T3" fmla="*/ 1984 h 4"/>
                <a:gd name="T4" fmla="*/ 2117 w 3"/>
                <a:gd name="T5" fmla="*/ 7937 h 4"/>
                <a:gd name="T6" fmla="*/ 2117 w 3"/>
                <a:gd name="T7" fmla="*/ 396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2"/>
                  </a:moveTo>
                  <a:cubicBezTo>
                    <a:pt x="2" y="1"/>
                    <a:pt x="3" y="0"/>
                    <a:pt x="3" y="1"/>
                  </a:cubicBezTo>
                  <a:cubicBezTo>
                    <a:pt x="3" y="2"/>
                    <a:pt x="2" y="3"/>
                    <a:pt x="1" y="4"/>
                  </a:cubicBezTo>
                  <a:cubicBezTo>
                    <a:pt x="0" y="4"/>
                    <a:pt x="0"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1" name="Freeform 220"/>
            <p:cNvSpPr>
              <a:spLocks noChangeAspect="1"/>
            </p:cNvSpPr>
            <p:nvPr/>
          </p:nvSpPr>
          <p:spPr bwMode="auto">
            <a:xfrm>
              <a:off x="4933987" y="1994959"/>
              <a:ext cx="8009" cy="3868"/>
            </a:xfrm>
            <a:custGeom>
              <a:avLst/>
              <a:gdLst>
                <a:gd name="T0" fmla="*/ 1985 w 4"/>
                <a:gd name="T1" fmla="*/ 1587 h 3"/>
                <a:gd name="T2" fmla="*/ 7938 w 4"/>
                <a:gd name="T3" fmla="*/ 1587 h 3"/>
                <a:gd name="T4" fmla="*/ 1985 w 4"/>
                <a:gd name="T5" fmla="*/ 4762 h 3"/>
                <a:gd name="T6" fmla="*/ 1985 w 4"/>
                <a:gd name="T7" fmla="*/ 1587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1"/>
                  </a:moveTo>
                  <a:cubicBezTo>
                    <a:pt x="2" y="1"/>
                    <a:pt x="4" y="0"/>
                    <a:pt x="4" y="1"/>
                  </a:cubicBezTo>
                  <a:cubicBezTo>
                    <a:pt x="4" y="1"/>
                    <a:pt x="2" y="3"/>
                    <a:pt x="1" y="3"/>
                  </a:cubicBezTo>
                  <a:cubicBezTo>
                    <a:pt x="0"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2" name="Freeform 221"/>
            <p:cNvSpPr>
              <a:spLocks noChangeAspect="1"/>
            </p:cNvSpPr>
            <p:nvPr/>
          </p:nvSpPr>
          <p:spPr bwMode="auto">
            <a:xfrm>
              <a:off x="4932386" y="2013015"/>
              <a:ext cx="4805" cy="5158"/>
            </a:xfrm>
            <a:custGeom>
              <a:avLst/>
              <a:gdLst>
                <a:gd name="T0" fmla="*/ 1587 w 3"/>
                <a:gd name="T1" fmla="*/ 2117 h 3"/>
                <a:gd name="T2" fmla="*/ 4762 w 3"/>
                <a:gd name="T3" fmla="*/ 0 h 3"/>
                <a:gd name="T4" fmla="*/ 1587 w 3"/>
                <a:gd name="T5" fmla="*/ 6350 h 3"/>
                <a:gd name="T6" fmla="*/ 1587 w 3"/>
                <a:gd name="T7" fmla="*/ 211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2" y="1"/>
                    <a:pt x="3" y="0"/>
                    <a:pt x="3" y="0"/>
                  </a:cubicBezTo>
                  <a:cubicBezTo>
                    <a:pt x="3" y="1"/>
                    <a:pt x="1" y="3"/>
                    <a:pt x="1" y="3"/>
                  </a:cubicBezTo>
                  <a:cubicBezTo>
                    <a:pt x="0"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3" name="Freeform 222"/>
            <p:cNvSpPr>
              <a:spLocks noChangeAspect="1"/>
            </p:cNvSpPr>
            <p:nvPr/>
          </p:nvSpPr>
          <p:spPr bwMode="auto">
            <a:xfrm>
              <a:off x="4881130" y="1951109"/>
              <a:ext cx="8008" cy="6448"/>
            </a:xfrm>
            <a:custGeom>
              <a:avLst/>
              <a:gdLst>
                <a:gd name="T0" fmla="*/ 1984 w 4"/>
                <a:gd name="T1" fmla="*/ 3969 h 4"/>
                <a:gd name="T2" fmla="*/ 5953 w 4"/>
                <a:gd name="T3" fmla="*/ 1984 h 4"/>
                <a:gd name="T4" fmla="*/ 1984 w 4"/>
                <a:gd name="T5" fmla="*/ 7937 h 4"/>
                <a:gd name="T6" fmla="*/ 1984 w 4"/>
                <a:gd name="T7" fmla="*/ 3969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2"/>
                  </a:moveTo>
                  <a:cubicBezTo>
                    <a:pt x="2" y="1"/>
                    <a:pt x="4" y="0"/>
                    <a:pt x="3" y="1"/>
                  </a:cubicBezTo>
                  <a:cubicBezTo>
                    <a:pt x="3" y="2"/>
                    <a:pt x="2" y="3"/>
                    <a:pt x="1" y="4"/>
                  </a:cubicBezTo>
                  <a:cubicBezTo>
                    <a:pt x="0" y="4"/>
                    <a:pt x="0"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4" name="Freeform 223"/>
            <p:cNvSpPr>
              <a:spLocks noChangeAspect="1"/>
            </p:cNvSpPr>
            <p:nvPr/>
          </p:nvSpPr>
          <p:spPr bwMode="auto">
            <a:xfrm>
              <a:off x="4874723" y="1954978"/>
              <a:ext cx="4805" cy="5158"/>
            </a:xfrm>
            <a:custGeom>
              <a:avLst/>
              <a:gdLst>
                <a:gd name="T0" fmla="*/ 3175 w 3"/>
                <a:gd name="T1" fmla="*/ 2117 h 3"/>
                <a:gd name="T2" fmla="*/ 4762 w 3"/>
                <a:gd name="T3" fmla="*/ 6350 h 3"/>
                <a:gd name="T4" fmla="*/ 0 w 3"/>
                <a:gd name="T5" fmla="*/ 2117 h 3"/>
                <a:gd name="T6" fmla="*/ 3175 w 3"/>
                <a:gd name="T7" fmla="*/ 211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1"/>
                  </a:moveTo>
                  <a:cubicBezTo>
                    <a:pt x="3" y="1"/>
                    <a:pt x="3" y="3"/>
                    <a:pt x="3" y="3"/>
                  </a:cubicBezTo>
                  <a:cubicBezTo>
                    <a:pt x="2" y="3"/>
                    <a:pt x="0" y="1"/>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5" name="Freeform 224"/>
            <p:cNvSpPr>
              <a:spLocks noChangeAspect="1"/>
            </p:cNvSpPr>
            <p:nvPr/>
          </p:nvSpPr>
          <p:spPr bwMode="auto">
            <a:xfrm>
              <a:off x="4245250" y="1742181"/>
              <a:ext cx="6407" cy="3868"/>
            </a:xfrm>
            <a:custGeom>
              <a:avLst/>
              <a:gdLst>
                <a:gd name="T0" fmla="*/ 4233 w 3"/>
                <a:gd name="T1" fmla="*/ 3175 h 3"/>
                <a:gd name="T2" fmla="*/ 4233 w 3"/>
                <a:gd name="T3" fmla="*/ 4762 h 3"/>
                <a:gd name="T4" fmla="*/ 0 w 3"/>
                <a:gd name="T5" fmla="*/ 3175 h 3"/>
                <a:gd name="T6" fmla="*/ 2117 w 3"/>
                <a:gd name="T7" fmla="*/ 0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2" y="3"/>
                  </a:cubicBezTo>
                  <a:cubicBezTo>
                    <a:pt x="1" y="3"/>
                    <a:pt x="1" y="3"/>
                    <a:pt x="0" y="2"/>
                  </a:cubicBezTo>
                  <a:cubicBezTo>
                    <a:pt x="0" y="1"/>
                    <a:pt x="0" y="0"/>
                    <a:pt x="1" y="0"/>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6" name="Freeform 225"/>
            <p:cNvSpPr>
              <a:spLocks noChangeAspect="1"/>
            </p:cNvSpPr>
            <p:nvPr/>
          </p:nvSpPr>
          <p:spPr bwMode="auto">
            <a:xfrm>
              <a:off x="4266073" y="1751209"/>
              <a:ext cx="6407" cy="5158"/>
            </a:xfrm>
            <a:custGeom>
              <a:avLst/>
              <a:gdLst>
                <a:gd name="T0" fmla="*/ 4233 w 3"/>
                <a:gd name="T1" fmla="*/ 2117 h 3"/>
                <a:gd name="T2" fmla="*/ 6350 w 3"/>
                <a:gd name="T3" fmla="*/ 4233 h 3"/>
                <a:gd name="T4" fmla="*/ 2117 w 3"/>
                <a:gd name="T5" fmla="*/ 4233 h 3"/>
                <a:gd name="T6" fmla="*/ 2117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3" y="2"/>
                  </a:cubicBezTo>
                  <a:cubicBezTo>
                    <a:pt x="2" y="3"/>
                    <a:pt x="1" y="2"/>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7" name="Freeform 226"/>
            <p:cNvSpPr>
              <a:spLocks noChangeAspect="1"/>
            </p:cNvSpPr>
            <p:nvPr/>
          </p:nvSpPr>
          <p:spPr bwMode="auto">
            <a:xfrm>
              <a:off x="4286895" y="1777002"/>
              <a:ext cx="6407" cy="5158"/>
            </a:xfrm>
            <a:custGeom>
              <a:avLst/>
              <a:gdLst>
                <a:gd name="T0" fmla="*/ 4233 w 3"/>
                <a:gd name="T1" fmla="*/ 4233 h 3"/>
                <a:gd name="T2" fmla="*/ 6350 w 3"/>
                <a:gd name="T3" fmla="*/ 6350 h 3"/>
                <a:gd name="T4" fmla="*/ 0 w 3"/>
                <a:gd name="T5" fmla="*/ 6350 h 3"/>
                <a:gd name="T6" fmla="*/ 0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3" y="3"/>
                  </a:cubicBezTo>
                  <a:cubicBezTo>
                    <a:pt x="2" y="3"/>
                    <a:pt x="1" y="3"/>
                    <a:pt x="0" y="3"/>
                  </a:cubicBezTo>
                  <a:cubicBezTo>
                    <a:pt x="0" y="2"/>
                    <a:pt x="0" y="1"/>
                    <a:pt x="0" y="1"/>
                  </a:cubicBezTo>
                  <a:cubicBezTo>
                    <a:pt x="1" y="0"/>
                    <a:pt x="1"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8" name="Freeform 227"/>
            <p:cNvSpPr>
              <a:spLocks noChangeAspect="1"/>
            </p:cNvSpPr>
            <p:nvPr/>
          </p:nvSpPr>
          <p:spPr bwMode="auto">
            <a:xfrm>
              <a:off x="4658492" y="1804087"/>
              <a:ext cx="6407" cy="3868"/>
            </a:xfrm>
            <a:custGeom>
              <a:avLst/>
              <a:gdLst>
                <a:gd name="T0" fmla="*/ 4233 w 3"/>
                <a:gd name="T1" fmla="*/ 1587 h 3"/>
                <a:gd name="T2" fmla="*/ 4233 w 3"/>
                <a:gd name="T3" fmla="*/ 3175 h 3"/>
                <a:gd name="T4" fmla="*/ 2117 w 3"/>
                <a:gd name="T5" fmla="*/ 3175 h 3"/>
                <a:gd name="T6" fmla="*/ 2117 w 3"/>
                <a:gd name="T7" fmla="*/ 0 h 3"/>
                <a:gd name="T8" fmla="*/ 4233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1"/>
                    <a:pt x="0" y="1"/>
                    <a:pt x="1"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9" name="Freeform 228"/>
            <p:cNvSpPr>
              <a:spLocks noChangeAspect="1"/>
            </p:cNvSpPr>
            <p:nvPr/>
          </p:nvSpPr>
          <p:spPr bwMode="auto">
            <a:xfrm>
              <a:off x="4403820" y="1627399"/>
              <a:ext cx="11212" cy="5158"/>
            </a:xfrm>
            <a:custGeom>
              <a:avLst/>
              <a:gdLst>
                <a:gd name="T0" fmla="*/ 0 w 6"/>
                <a:gd name="T1" fmla="*/ 2117 h 3"/>
                <a:gd name="T2" fmla="*/ 5556 w 6"/>
                <a:gd name="T3" fmla="*/ 2117 h 3"/>
                <a:gd name="T4" fmla="*/ 11112 w 6"/>
                <a:gd name="T5" fmla="*/ 4233 h 3"/>
                <a:gd name="T6" fmla="*/ 5556 w 6"/>
                <a:gd name="T7" fmla="*/ 4233 h 3"/>
                <a:gd name="T8" fmla="*/ 0 w 6"/>
                <a:gd name="T9" fmla="*/ 2117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1"/>
                  </a:moveTo>
                  <a:cubicBezTo>
                    <a:pt x="1" y="0"/>
                    <a:pt x="2" y="1"/>
                    <a:pt x="3" y="1"/>
                  </a:cubicBezTo>
                  <a:cubicBezTo>
                    <a:pt x="4" y="1"/>
                    <a:pt x="6" y="2"/>
                    <a:pt x="6" y="2"/>
                  </a:cubicBezTo>
                  <a:cubicBezTo>
                    <a:pt x="5" y="3"/>
                    <a:pt x="4" y="2"/>
                    <a:pt x="3" y="2"/>
                  </a:cubicBezTo>
                  <a:cubicBezTo>
                    <a:pt x="2" y="2"/>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0" name="Freeform 229"/>
            <p:cNvSpPr>
              <a:spLocks noChangeAspect="1"/>
            </p:cNvSpPr>
            <p:nvPr/>
          </p:nvSpPr>
          <p:spPr bwMode="auto">
            <a:xfrm>
              <a:off x="4426245" y="1582261"/>
              <a:ext cx="8008" cy="9027"/>
            </a:xfrm>
            <a:custGeom>
              <a:avLst/>
              <a:gdLst>
                <a:gd name="T0" fmla="*/ 1984 w 4"/>
                <a:gd name="T1" fmla="*/ 9260 h 6"/>
                <a:gd name="T2" fmla="*/ 3969 w 4"/>
                <a:gd name="T3" fmla="*/ 3704 h 6"/>
                <a:gd name="T4" fmla="*/ 7937 w 4"/>
                <a:gd name="T5" fmla="*/ 1852 h 6"/>
                <a:gd name="T6" fmla="*/ 5953 w 4"/>
                <a:gd name="T7" fmla="*/ 7408 h 6"/>
                <a:gd name="T8" fmla="*/ 1984 w 4"/>
                <a:gd name="T9" fmla="*/ 926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1" name="Freeform 230"/>
            <p:cNvSpPr>
              <a:spLocks noChangeAspect="1"/>
            </p:cNvSpPr>
            <p:nvPr/>
          </p:nvSpPr>
          <p:spPr bwMode="auto">
            <a:xfrm>
              <a:off x="4435855" y="1575812"/>
              <a:ext cx="6407" cy="6449"/>
            </a:xfrm>
            <a:custGeom>
              <a:avLst/>
              <a:gdLst>
                <a:gd name="T0" fmla="*/ 0 w 3"/>
                <a:gd name="T1" fmla="*/ 7938 h 4"/>
                <a:gd name="T2" fmla="*/ 4233 w 3"/>
                <a:gd name="T3" fmla="*/ 3969 h 4"/>
                <a:gd name="T4" fmla="*/ 6350 w 3"/>
                <a:gd name="T5" fmla="*/ 1985 h 4"/>
                <a:gd name="T6" fmla="*/ 4233 w 3"/>
                <a:gd name="T7" fmla="*/ 5953 h 4"/>
                <a:gd name="T8" fmla="*/ 0 w 3"/>
                <a:gd name="T9" fmla="*/ 793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2" name="Freeform 231"/>
            <p:cNvSpPr>
              <a:spLocks noChangeAspect="1"/>
            </p:cNvSpPr>
            <p:nvPr/>
          </p:nvSpPr>
          <p:spPr bwMode="auto">
            <a:xfrm>
              <a:off x="4405421" y="1624820"/>
              <a:ext cx="9610" cy="3869"/>
            </a:xfrm>
            <a:custGeom>
              <a:avLst/>
              <a:gdLst>
                <a:gd name="T0" fmla="*/ 3810 w 5"/>
                <a:gd name="T1" fmla="*/ 1588 h 3"/>
                <a:gd name="T2" fmla="*/ 9525 w 5"/>
                <a:gd name="T3" fmla="*/ 3175 h 3"/>
                <a:gd name="T4" fmla="*/ 3810 w 5"/>
                <a:gd name="T5" fmla="*/ 3175 h 3"/>
                <a:gd name="T6" fmla="*/ 0 w 5"/>
                <a:gd name="T7" fmla="*/ 1588 h 3"/>
                <a:gd name="T8" fmla="*/ 3810 w 5"/>
                <a:gd name="T9" fmla="*/ 1588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1"/>
                  </a:moveTo>
                  <a:cubicBezTo>
                    <a:pt x="3" y="1"/>
                    <a:pt x="5" y="1"/>
                    <a:pt x="5" y="2"/>
                  </a:cubicBezTo>
                  <a:cubicBezTo>
                    <a:pt x="5" y="3"/>
                    <a:pt x="3" y="2"/>
                    <a:pt x="2" y="2"/>
                  </a:cubicBezTo>
                  <a:cubicBezTo>
                    <a:pt x="1" y="2"/>
                    <a:pt x="0" y="1"/>
                    <a:pt x="0" y="1"/>
                  </a:cubicBezTo>
                  <a:cubicBezTo>
                    <a:pt x="0"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3" name="Freeform 232"/>
            <p:cNvSpPr>
              <a:spLocks noChangeAspect="1"/>
            </p:cNvSpPr>
            <p:nvPr/>
          </p:nvSpPr>
          <p:spPr bwMode="auto">
            <a:xfrm>
              <a:off x="4408624" y="1620952"/>
              <a:ext cx="8009" cy="3868"/>
            </a:xfrm>
            <a:custGeom>
              <a:avLst/>
              <a:gdLst>
                <a:gd name="T0" fmla="*/ 1985 w 4"/>
                <a:gd name="T1" fmla="*/ 2381 h 2"/>
                <a:gd name="T2" fmla="*/ 7938 w 4"/>
                <a:gd name="T3" fmla="*/ 4762 h 2"/>
                <a:gd name="T4" fmla="*/ 1985 w 4"/>
                <a:gd name="T5" fmla="*/ 4762 h 2"/>
                <a:gd name="T6" fmla="*/ 0 w 4"/>
                <a:gd name="T7" fmla="*/ 2381 h 2"/>
                <a:gd name="T8" fmla="*/ 1985 w 4"/>
                <a:gd name="T9" fmla="*/ 238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1"/>
                  </a:moveTo>
                  <a:cubicBezTo>
                    <a:pt x="2" y="1"/>
                    <a:pt x="4" y="1"/>
                    <a:pt x="4" y="2"/>
                  </a:cubicBezTo>
                  <a:cubicBezTo>
                    <a:pt x="4" y="2"/>
                    <a:pt x="2" y="2"/>
                    <a:pt x="1" y="2"/>
                  </a:cubicBezTo>
                  <a:cubicBezTo>
                    <a:pt x="1" y="2"/>
                    <a:pt x="0" y="1"/>
                    <a:pt x="0" y="1"/>
                  </a:cubicBezTo>
                  <a:cubicBezTo>
                    <a:pt x="0"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4" name="Freeform 233"/>
            <p:cNvSpPr>
              <a:spLocks noChangeAspect="1"/>
            </p:cNvSpPr>
            <p:nvPr/>
          </p:nvSpPr>
          <p:spPr bwMode="auto">
            <a:xfrm>
              <a:off x="4258064" y="1682856"/>
              <a:ext cx="4806" cy="5158"/>
            </a:xfrm>
            <a:custGeom>
              <a:avLst/>
              <a:gdLst>
                <a:gd name="T0" fmla="*/ 2382 w 2"/>
                <a:gd name="T1" fmla="*/ 0 h 3"/>
                <a:gd name="T2" fmla="*/ 0 w 2"/>
                <a:gd name="T3" fmla="*/ 4233 h 3"/>
                <a:gd name="T4" fmla="*/ 2382 w 2"/>
                <a:gd name="T5" fmla="*/ 6350 h 3"/>
                <a:gd name="T6" fmla="*/ 4763 w 2"/>
                <a:gd name="T7" fmla="*/ 6350 h 3"/>
                <a:gd name="T8" fmla="*/ 2382 w 2"/>
                <a:gd name="T9" fmla="*/ 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0"/>
                  </a:moveTo>
                  <a:cubicBezTo>
                    <a:pt x="1" y="0"/>
                    <a:pt x="0" y="1"/>
                    <a:pt x="0" y="2"/>
                  </a:cubicBezTo>
                  <a:cubicBezTo>
                    <a:pt x="0" y="2"/>
                    <a:pt x="0" y="3"/>
                    <a:pt x="1" y="3"/>
                  </a:cubicBezTo>
                  <a:cubicBezTo>
                    <a:pt x="1" y="3"/>
                    <a:pt x="1" y="3"/>
                    <a:pt x="2" y="3"/>
                  </a:cubicBezTo>
                  <a:cubicBezTo>
                    <a:pt x="2" y="2"/>
                    <a:pt x="2" y="1"/>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5" name="Freeform 234"/>
            <p:cNvSpPr>
              <a:spLocks noChangeAspect="1"/>
            </p:cNvSpPr>
            <p:nvPr/>
          </p:nvSpPr>
          <p:spPr bwMode="auto">
            <a:xfrm>
              <a:off x="4520746" y="1856962"/>
              <a:ext cx="24026" cy="43849"/>
            </a:xfrm>
            <a:custGeom>
              <a:avLst/>
              <a:gdLst>
                <a:gd name="T0" fmla="*/ 16486 w 13"/>
                <a:gd name="T1" fmla="*/ 53975 h 29"/>
                <a:gd name="T2" fmla="*/ 5495 w 13"/>
                <a:gd name="T3" fmla="*/ 48391 h 29"/>
                <a:gd name="T4" fmla="*/ 9159 w 13"/>
                <a:gd name="T5" fmla="*/ 44669 h 29"/>
                <a:gd name="T6" fmla="*/ 7327 w 13"/>
                <a:gd name="T7" fmla="*/ 39085 h 29"/>
                <a:gd name="T8" fmla="*/ 3664 w 13"/>
                <a:gd name="T9" fmla="*/ 35363 h 29"/>
                <a:gd name="T10" fmla="*/ 5495 w 13"/>
                <a:gd name="T11" fmla="*/ 31641 h 29"/>
                <a:gd name="T12" fmla="*/ 0 w 13"/>
                <a:gd name="T13" fmla="*/ 27918 h 29"/>
                <a:gd name="T14" fmla="*/ 3664 w 13"/>
                <a:gd name="T15" fmla="*/ 24196 h 29"/>
                <a:gd name="T16" fmla="*/ 3664 w 13"/>
                <a:gd name="T17" fmla="*/ 16751 h 29"/>
                <a:gd name="T18" fmla="*/ 12822 w 13"/>
                <a:gd name="T19" fmla="*/ 11167 h 29"/>
                <a:gd name="T20" fmla="*/ 16486 w 13"/>
                <a:gd name="T21" fmla="*/ 13028 h 29"/>
                <a:gd name="T22" fmla="*/ 18318 w 13"/>
                <a:gd name="T23" fmla="*/ 1861 h 29"/>
                <a:gd name="T24" fmla="*/ 21981 w 13"/>
                <a:gd name="T25" fmla="*/ 5584 h 29"/>
                <a:gd name="T26" fmla="*/ 23813 w 13"/>
                <a:gd name="T27" fmla="*/ 16751 h 29"/>
                <a:gd name="T28" fmla="*/ 23813 w 13"/>
                <a:gd name="T29" fmla="*/ 31641 h 29"/>
                <a:gd name="T30" fmla="*/ 20149 w 13"/>
                <a:gd name="T31" fmla="*/ 39085 h 29"/>
                <a:gd name="T32" fmla="*/ 16486 w 13"/>
                <a:gd name="T33" fmla="*/ 48391 h 29"/>
                <a:gd name="T34" fmla="*/ 16486 w 13"/>
                <a:gd name="T35" fmla="*/ 53975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6" name="Freeform 235"/>
            <p:cNvSpPr>
              <a:spLocks noChangeAspect="1"/>
            </p:cNvSpPr>
            <p:nvPr/>
          </p:nvSpPr>
          <p:spPr bwMode="auto">
            <a:xfrm>
              <a:off x="4511134" y="1904681"/>
              <a:ext cx="41645" cy="60614"/>
            </a:xfrm>
            <a:custGeom>
              <a:avLst/>
              <a:gdLst>
                <a:gd name="T0" fmla="*/ 35647 w 22"/>
                <a:gd name="T1" fmla="*/ 5739 h 39"/>
                <a:gd name="T2" fmla="*/ 41275 w 22"/>
                <a:gd name="T3" fmla="*/ 22958 h 39"/>
                <a:gd name="T4" fmla="*/ 35647 w 22"/>
                <a:gd name="T5" fmla="*/ 32523 h 39"/>
                <a:gd name="T6" fmla="*/ 37523 w 22"/>
                <a:gd name="T7" fmla="*/ 40176 h 39"/>
                <a:gd name="T8" fmla="*/ 35647 w 22"/>
                <a:gd name="T9" fmla="*/ 66959 h 39"/>
                <a:gd name="T10" fmla="*/ 24390 w 22"/>
                <a:gd name="T11" fmla="*/ 63133 h 39"/>
                <a:gd name="T12" fmla="*/ 20638 w 22"/>
                <a:gd name="T13" fmla="*/ 72699 h 39"/>
                <a:gd name="T14" fmla="*/ 11257 w 22"/>
                <a:gd name="T15" fmla="*/ 70786 h 39"/>
                <a:gd name="T16" fmla="*/ 5628 w 22"/>
                <a:gd name="T17" fmla="*/ 65046 h 39"/>
                <a:gd name="T18" fmla="*/ 7505 w 22"/>
                <a:gd name="T19" fmla="*/ 55481 h 39"/>
                <a:gd name="T20" fmla="*/ 13133 w 22"/>
                <a:gd name="T21" fmla="*/ 44002 h 39"/>
                <a:gd name="T22" fmla="*/ 7505 w 22"/>
                <a:gd name="T23" fmla="*/ 38263 h 39"/>
                <a:gd name="T24" fmla="*/ 9381 w 22"/>
                <a:gd name="T25" fmla="*/ 32523 h 39"/>
                <a:gd name="T26" fmla="*/ 5628 w 22"/>
                <a:gd name="T27" fmla="*/ 22958 h 39"/>
                <a:gd name="T28" fmla="*/ 0 w 22"/>
                <a:gd name="T29" fmla="*/ 17218 h 39"/>
                <a:gd name="T30" fmla="*/ 3752 w 22"/>
                <a:gd name="T31" fmla="*/ 3826 h 39"/>
                <a:gd name="T32" fmla="*/ 11257 w 22"/>
                <a:gd name="T33" fmla="*/ 13392 h 39"/>
                <a:gd name="T34" fmla="*/ 16885 w 22"/>
                <a:gd name="T35" fmla="*/ 7653 h 39"/>
                <a:gd name="T36" fmla="*/ 26266 w 22"/>
                <a:gd name="T37" fmla="*/ 1913 h 39"/>
                <a:gd name="T38" fmla="*/ 35647 w 22"/>
                <a:gd name="T39" fmla="*/ 573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7" name="Freeform 236"/>
            <p:cNvSpPr>
              <a:spLocks noChangeAspect="1"/>
            </p:cNvSpPr>
            <p:nvPr/>
          </p:nvSpPr>
          <p:spPr bwMode="auto">
            <a:xfrm>
              <a:off x="4615246" y="1979483"/>
              <a:ext cx="73679" cy="42559"/>
            </a:xfrm>
            <a:custGeom>
              <a:avLst/>
              <a:gdLst>
                <a:gd name="T0" fmla="*/ 73025 w 39"/>
                <a:gd name="T1" fmla="*/ 0 h 28"/>
                <a:gd name="T2" fmla="*/ 63663 w 39"/>
                <a:gd name="T3" fmla="*/ 20581 h 28"/>
                <a:gd name="T4" fmla="*/ 63663 w 39"/>
                <a:gd name="T5" fmla="*/ 31806 h 28"/>
                <a:gd name="T6" fmla="*/ 67408 w 39"/>
                <a:gd name="T7" fmla="*/ 39290 h 28"/>
                <a:gd name="T8" fmla="*/ 63663 w 39"/>
                <a:gd name="T9" fmla="*/ 44903 h 28"/>
                <a:gd name="T10" fmla="*/ 63663 w 39"/>
                <a:gd name="T11" fmla="*/ 52387 h 28"/>
                <a:gd name="T12" fmla="*/ 48683 w 39"/>
                <a:gd name="T13" fmla="*/ 44903 h 28"/>
                <a:gd name="T14" fmla="*/ 39321 w 39"/>
                <a:gd name="T15" fmla="*/ 37419 h 28"/>
                <a:gd name="T16" fmla="*/ 22469 w 39"/>
                <a:gd name="T17" fmla="*/ 29935 h 28"/>
                <a:gd name="T18" fmla="*/ 14979 w 39"/>
                <a:gd name="T19" fmla="*/ 22452 h 28"/>
                <a:gd name="T20" fmla="*/ 1872 w 39"/>
                <a:gd name="T21" fmla="*/ 18710 h 28"/>
                <a:gd name="T22" fmla="*/ 3745 w 39"/>
                <a:gd name="T23" fmla="*/ 7484 h 28"/>
                <a:gd name="T24" fmla="*/ 14979 w 39"/>
                <a:gd name="T25" fmla="*/ 7484 h 28"/>
                <a:gd name="T26" fmla="*/ 24342 w 39"/>
                <a:gd name="T27" fmla="*/ 9355 h 28"/>
                <a:gd name="T28" fmla="*/ 39321 w 39"/>
                <a:gd name="T29" fmla="*/ 9355 h 28"/>
                <a:gd name="T30" fmla="*/ 59918 w 39"/>
                <a:gd name="T31" fmla="*/ 3742 h 28"/>
                <a:gd name="T32" fmla="*/ 73025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8" name="Freeform 237"/>
            <p:cNvSpPr>
              <a:spLocks noChangeAspect="1"/>
            </p:cNvSpPr>
            <p:nvPr/>
          </p:nvSpPr>
          <p:spPr bwMode="auto">
            <a:xfrm>
              <a:off x="4506330" y="1457163"/>
              <a:ext cx="52856" cy="29663"/>
            </a:xfrm>
            <a:custGeom>
              <a:avLst/>
              <a:gdLst>
                <a:gd name="T0" fmla="*/ 50447 w 27"/>
                <a:gd name="T1" fmla="*/ 1922 h 19"/>
                <a:gd name="T2" fmla="*/ 46566 w 27"/>
                <a:gd name="T3" fmla="*/ 1922 h 19"/>
                <a:gd name="T4" fmla="*/ 36865 w 27"/>
                <a:gd name="T5" fmla="*/ 7687 h 19"/>
                <a:gd name="T6" fmla="*/ 27164 w 27"/>
                <a:gd name="T7" fmla="*/ 19217 h 19"/>
                <a:gd name="T8" fmla="*/ 9701 w 27"/>
                <a:gd name="T9" fmla="*/ 23061 h 19"/>
                <a:gd name="T10" fmla="*/ 0 w 27"/>
                <a:gd name="T11" fmla="*/ 34591 h 19"/>
                <a:gd name="T12" fmla="*/ 5821 w 27"/>
                <a:gd name="T13" fmla="*/ 32670 h 19"/>
                <a:gd name="T14" fmla="*/ 11642 w 27"/>
                <a:gd name="T15" fmla="*/ 26904 h 19"/>
                <a:gd name="T16" fmla="*/ 17462 w 27"/>
                <a:gd name="T17" fmla="*/ 24983 h 19"/>
                <a:gd name="T18" fmla="*/ 36865 w 27"/>
                <a:gd name="T19" fmla="*/ 23061 h 19"/>
                <a:gd name="T20" fmla="*/ 40745 w 27"/>
                <a:gd name="T21" fmla="*/ 23061 h 19"/>
                <a:gd name="T22" fmla="*/ 46566 w 27"/>
                <a:gd name="T23" fmla="*/ 26904 h 19"/>
                <a:gd name="T24" fmla="*/ 52387 w 27"/>
                <a:gd name="T25" fmla="*/ 15374 h 19"/>
                <a:gd name="T26" fmla="*/ 48506 w 27"/>
                <a:gd name="T27" fmla="*/ 7687 h 19"/>
                <a:gd name="T28" fmla="*/ 50447 w 27"/>
                <a:gd name="T29" fmla="*/ 1922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9" name="Freeform 238"/>
            <p:cNvSpPr>
              <a:spLocks noChangeAspect="1"/>
            </p:cNvSpPr>
            <p:nvPr/>
          </p:nvSpPr>
          <p:spPr bwMode="auto">
            <a:xfrm>
              <a:off x="4503127" y="1477797"/>
              <a:ext cx="65670" cy="63195"/>
            </a:xfrm>
            <a:custGeom>
              <a:avLst/>
              <a:gdLst>
                <a:gd name="T0" fmla="*/ 28715 w 34"/>
                <a:gd name="T1" fmla="*/ 77788 h 41"/>
                <a:gd name="T2" fmla="*/ 38286 w 34"/>
                <a:gd name="T3" fmla="*/ 75891 h 41"/>
                <a:gd name="T4" fmla="*/ 34458 w 34"/>
                <a:gd name="T5" fmla="*/ 70199 h 41"/>
                <a:gd name="T6" fmla="*/ 36372 w 34"/>
                <a:gd name="T7" fmla="*/ 66404 h 41"/>
                <a:gd name="T8" fmla="*/ 34458 w 34"/>
                <a:gd name="T9" fmla="*/ 55021 h 41"/>
                <a:gd name="T10" fmla="*/ 40201 w 34"/>
                <a:gd name="T11" fmla="*/ 55021 h 41"/>
                <a:gd name="T12" fmla="*/ 38286 w 34"/>
                <a:gd name="T13" fmla="*/ 49329 h 41"/>
                <a:gd name="T14" fmla="*/ 44029 w 34"/>
                <a:gd name="T15" fmla="*/ 43637 h 41"/>
                <a:gd name="T16" fmla="*/ 49772 w 34"/>
                <a:gd name="T17" fmla="*/ 32254 h 41"/>
                <a:gd name="T18" fmla="*/ 59344 w 34"/>
                <a:gd name="T19" fmla="*/ 30356 h 41"/>
                <a:gd name="T20" fmla="*/ 65087 w 34"/>
                <a:gd name="T21" fmla="*/ 20870 h 41"/>
                <a:gd name="T22" fmla="*/ 53601 w 34"/>
                <a:gd name="T23" fmla="*/ 18973 h 41"/>
                <a:gd name="T24" fmla="*/ 47858 w 34"/>
                <a:gd name="T25" fmla="*/ 13281 h 41"/>
                <a:gd name="T26" fmla="*/ 47858 w 34"/>
                <a:gd name="T27" fmla="*/ 3795 h 41"/>
                <a:gd name="T28" fmla="*/ 40201 w 34"/>
                <a:gd name="T29" fmla="*/ 0 h 41"/>
                <a:gd name="T30" fmla="*/ 28715 w 34"/>
                <a:gd name="T31" fmla="*/ 3795 h 41"/>
                <a:gd name="T32" fmla="*/ 26801 w 34"/>
                <a:gd name="T33" fmla="*/ 5692 h 41"/>
                <a:gd name="T34" fmla="*/ 26801 w 34"/>
                <a:gd name="T35" fmla="*/ 17075 h 41"/>
                <a:gd name="T36" fmla="*/ 21058 w 34"/>
                <a:gd name="T37" fmla="*/ 17075 h 41"/>
                <a:gd name="T38" fmla="*/ 21058 w 34"/>
                <a:gd name="T39" fmla="*/ 9486 h 41"/>
                <a:gd name="T40" fmla="*/ 17229 w 34"/>
                <a:gd name="T41" fmla="*/ 11384 h 41"/>
                <a:gd name="T42" fmla="*/ 15315 w 34"/>
                <a:gd name="T43" fmla="*/ 15178 h 41"/>
                <a:gd name="T44" fmla="*/ 15315 w 34"/>
                <a:gd name="T45" fmla="*/ 15178 h 41"/>
                <a:gd name="T46" fmla="*/ 15315 w 34"/>
                <a:gd name="T47" fmla="*/ 20870 h 41"/>
                <a:gd name="T48" fmla="*/ 11486 w 34"/>
                <a:gd name="T49" fmla="*/ 17075 h 41"/>
                <a:gd name="T50" fmla="*/ 1914 w 34"/>
                <a:gd name="T51" fmla="*/ 13281 h 41"/>
                <a:gd name="T52" fmla="*/ 3829 w 34"/>
                <a:gd name="T53" fmla="*/ 22767 h 41"/>
                <a:gd name="T54" fmla="*/ 1914 w 34"/>
                <a:gd name="T55" fmla="*/ 28459 h 41"/>
                <a:gd name="T56" fmla="*/ 3829 w 34"/>
                <a:gd name="T57" fmla="*/ 34151 h 41"/>
                <a:gd name="T58" fmla="*/ 1914 w 34"/>
                <a:gd name="T59" fmla="*/ 43637 h 41"/>
                <a:gd name="T60" fmla="*/ 0 w 34"/>
                <a:gd name="T61" fmla="*/ 51226 h 41"/>
                <a:gd name="T62" fmla="*/ 5743 w 34"/>
                <a:gd name="T63" fmla="*/ 51226 h 41"/>
                <a:gd name="T64" fmla="*/ 11486 w 34"/>
                <a:gd name="T65" fmla="*/ 56918 h 41"/>
                <a:gd name="T66" fmla="*/ 15315 w 34"/>
                <a:gd name="T67" fmla="*/ 64507 h 41"/>
                <a:gd name="T68" fmla="*/ 15315 w 34"/>
                <a:gd name="T69" fmla="*/ 73993 h 41"/>
                <a:gd name="T70" fmla="*/ 22972 w 34"/>
                <a:gd name="T71" fmla="*/ 75891 h 41"/>
                <a:gd name="T72" fmla="*/ 28715 w 34"/>
                <a:gd name="T73" fmla="*/ 77788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0" name="Freeform 239"/>
            <p:cNvSpPr>
              <a:spLocks noChangeAspect="1"/>
            </p:cNvSpPr>
            <p:nvPr/>
          </p:nvSpPr>
          <p:spPr bwMode="auto">
            <a:xfrm>
              <a:off x="4286895" y="1649324"/>
              <a:ext cx="9610" cy="3868"/>
            </a:xfrm>
            <a:custGeom>
              <a:avLst/>
              <a:gdLst>
                <a:gd name="T0" fmla="*/ 7620 w 5"/>
                <a:gd name="T1" fmla="*/ 3175 h 3"/>
                <a:gd name="T2" fmla="*/ 3810 w 5"/>
                <a:gd name="T3" fmla="*/ 0 h 3"/>
                <a:gd name="T4" fmla="*/ 0 w 5"/>
                <a:gd name="T5" fmla="*/ 3175 h 3"/>
                <a:gd name="T6" fmla="*/ 3810 w 5"/>
                <a:gd name="T7" fmla="*/ 4762 h 3"/>
                <a:gd name="T8" fmla="*/ 7620 w 5"/>
                <a:gd name="T9" fmla="*/ 3175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1" name="Freeform 240"/>
            <p:cNvSpPr>
              <a:spLocks noChangeAspect="1"/>
            </p:cNvSpPr>
            <p:nvPr/>
          </p:nvSpPr>
          <p:spPr bwMode="auto">
            <a:xfrm>
              <a:off x="4213216" y="1550019"/>
              <a:ext cx="11213" cy="7738"/>
            </a:xfrm>
            <a:custGeom>
              <a:avLst/>
              <a:gdLst>
                <a:gd name="T0" fmla="*/ 9261 w 6"/>
                <a:gd name="T1" fmla="*/ 1905 h 5"/>
                <a:gd name="T2" fmla="*/ 5557 w 6"/>
                <a:gd name="T3" fmla="*/ 1905 h 5"/>
                <a:gd name="T4" fmla="*/ 1852 w 6"/>
                <a:gd name="T5" fmla="*/ 7620 h 5"/>
                <a:gd name="T6" fmla="*/ 7409 w 6"/>
                <a:gd name="T7" fmla="*/ 7620 h 5"/>
                <a:gd name="T8" fmla="*/ 9261 w 6"/>
                <a:gd name="T9" fmla="*/ 190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5" y="1"/>
                  </a:moveTo>
                  <a:cubicBezTo>
                    <a:pt x="5" y="0"/>
                    <a:pt x="3" y="0"/>
                    <a:pt x="3" y="1"/>
                  </a:cubicBezTo>
                  <a:cubicBezTo>
                    <a:pt x="2" y="2"/>
                    <a:pt x="0" y="3"/>
                    <a:pt x="1" y="4"/>
                  </a:cubicBezTo>
                  <a:cubicBezTo>
                    <a:pt x="1" y="5"/>
                    <a:pt x="3" y="4"/>
                    <a:pt x="4" y="4"/>
                  </a:cubicBezTo>
                  <a:cubicBezTo>
                    <a:pt x="5" y="3"/>
                    <a:pt x="6"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2" name="Freeform 241"/>
            <p:cNvSpPr>
              <a:spLocks noChangeAspect="1"/>
            </p:cNvSpPr>
            <p:nvPr/>
          </p:nvSpPr>
          <p:spPr bwMode="auto">
            <a:xfrm>
              <a:off x="4200402" y="1512619"/>
              <a:ext cx="6407" cy="6448"/>
            </a:xfrm>
            <a:custGeom>
              <a:avLst/>
              <a:gdLst>
                <a:gd name="T0" fmla="*/ 4233 w 3"/>
                <a:gd name="T1" fmla="*/ 7937 h 4"/>
                <a:gd name="T2" fmla="*/ 6350 w 3"/>
                <a:gd name="T3" fmla="*/ 3969 h 4"/>
                <a:gd name="T4" fmla="*/ 2117 w 3"/>
                <a:gd name="T5" fmla="*/ 0 h 4"/>
                <a:gd name="T6" fmla="*/ 0 w 3"/>
                <a:gd name="T7" fmla="*/ 3969 h 4"/>
                <a:gd name="T8" fmla="*/ 4233 w 3"/>
                <a:gd name="T9" fmla="*/ 7937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3" y="1"/>
                    <a:pt x="2" y="0"/>
                    <a:pt x="1" y="0"/>
                  </a:cubicBezTo>
                  <a:cubicBezTo>
                    <a:pt x="0" y="0"/>
                    <a:pt x="0" y="1"/>
                    <a:pt x="0" y="2"/>
                  </a:cubicBezTo>
                  <a:cubicBezTo>
                    <a:pt x="1" y="3"/>
                    <a:pt x="1"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3" name="Freeform 242"/>
            <p:cNvSpPr>
              <a:spLocks noChangeAspect="1"/>
            </p:cNvSpPr>
            <p:nvPr/>
          </p:nvSpPr>
          <p:spPr bwMode="auto">
            <a:xfrm>
              <a:off x="4193996" y="1542281"/>
              <a:ext cx="4806" cy="6449"/>
            </a:xfrm>
            <a:custGeom>
              <a:avLst/>
              <a:gdLst>
                <a:gd name="T0" fmla="*/ 3175 w 3"/>
                <a:gd name="T1" fmla="*/ 7938 h 4"/>
                <a:gd name="T2" fmla="*/ 4763 w 3"/>
                <a:gd name="T3" fmla="*/ 3969 h 4"/>
                <a:gd name="T4" fmla="*/ 1588 w 3"/>
                <a:gd name="T5" fmla="*/ 0 h 4"/>
                <a:gd name="T6" fmla="*/ 0 w 3"/>
                <a:gd name="T7" fmla="*/ 3969 h 4"/>
                <a:gd name="T8" fmla="*/ 3175 w 3"/>
                <a:gd name="T9" fmla="*/ 793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4" name="Freeform 243"/>
            <p:cNvSpPr>
              <a:spLocks noChangeAspect="1"/>
            </p:cNvSpPr>
            <p:nvPr/>
          </p:nvSpPr>
          <p:spPr bwMode="auto">
            <a:xfrm>
              <a:off x="4216420" y="1578391"/>
              <a:ext cx="9610" cy="3869"/>
            </a:xfrm>
            <a:custGeom>
              <a:avLst/>
              <a:gdLst>
                <a:gd name="T0" fmla="*/ 9525 w 5"/>
                <a:gd name="T1" fmla="*/ 1588 h 3"/>
                <a:gd name="T2" fmla="*/ 5715 w 5"/>
                <a:gd name="T3" fmla="*/ 0 h 3"/>
                <a:gd name="T4" fmla="*/ 0 w 5"/>
                <a:gd name="T5" fmla="*/ 1588 h 3"/>
                <a:gd name="T6" fmla="*/ 3810 w 5"/>
                <a:gd name="T7" fmla="*/ 4763 h 3"/>
                <a:gd name="T8" fmla="*/ 9525 w 5"/>
                <a:gd name="T9" fmla="*/ 1588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1"/>
                  </a:moveTo>
                  <a:cubicBezTo>
                    <a:pt x="5" y="0"/>
                    <a:pt x="4" y="0"/>
                    <a:pt x="3" y="0"/>
                  </a:cubicBezTo>
                  <a:cubicBezTo>
                    <a:pt x="2" y="0"/>
                    <a:pt x="1" y="0"/>
                    <a:pt x="0" y="1"/>
                  </a:cubicBezTo>
                  <a:cubicBezTo>
                    <a:pt x="0" y="3"/>
                    <a:pt x="2" y="3"/>
                    <a:pt x="2" y="3"/>
                  </a:cubicBezTo>
                  <a:cubicBezTo>
                    <a:pt x="3" y="3"/>
                    <a:pt x="4" y="3"/>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5" name="Freeform 244"/>
            <p:cNvSpPr>
              <a:spLocks noChangeAspect="1"/>
            </p:cNvSpPr>
            <p:nvPr/>
          </p:nvSpPr>
          <p:spPr bwMode="auto">
            <a:xfrm>
              <a:off x="4563991" y="1470059"/>
              <a:ext cx="6407" cy="3869"/>
            </a:xfrm>
            <a:custGeom>
              <a:avLst/>
              <a:gdLst>
                <a:gd name="T0" fmla="*/ 6350 w 3"/>
                <a:gd name="T1" fmla="*/ 0 h 3"/>
                <a:gd name="T2" fmla="*/ 2117 w 3"/>
                <a:gd name="T3" fmla="*/ 0 h 3"/>
                <a:gd name="T4" fmla="*/ 0 w 3"/>
                <a:gd name="T5" fmla="*/ 3175 h 3"/>
                <a:gd name="T6" fmla="*/ 4233 w 3"/>
                <a:gd name="T7" fmla="*/ 3175 h 3"/>
                <a:gd name="T8" fmla="*/ 635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0"/>
                    <a:pt x="2" y="0"/>
                    <a:pt x="1" y="0"/>
                  </a:cubicBezTo>
                  <a:cubicBezTo>
                    <a:pt x="1" y="1"/>
                    <a:pt x="0" y="2"/>
                    <a:pt x="0" y="2"/>
                  </a:cubicBezTo>
                  <a:cubicBezTo>
                    <a:pt x="1" y="3"/>
                    <a:pt x="2" y="2"/>
                    <a:pt x="2" y="2"/>
                  </a:cubicBezTo>
                  <a:cubicBezTo>
                    <a:pt x="3" y="2"/>
                    <a:pt x="3"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6" name="Freeform 245"/>
            <p:cNvSpPr>
              <a:spLocks noChangeAspect="1"/>
            </p:cNvSpPr>
            <p:nvPr/>
          </p:nvSpPr>
          <p:spPr bwMode="auto">
            <a:xfrm>
              <a:off x="4541567" y="1534543"/>
              <a:ext cx="6407" cy="5158"/>
            </a:xfrm>
            <a:custGeom>
              <a:avLst/>
              <a:gdLst>
                <a:gd name="T0" fmla="*/ 6350 w 3"/>
                <a:gd name="T1" fmla="*/ 6350 h 3"/>
                <a:gd name="T2" fmla="*/ 4233 w 3"/>
                <a:gd name="T3" fmla="*/ 2117 h 3"/>
                <a:gd name="T4" fmla="*/ 0 w 3"/>
                <a:gd name="T5" fmla="*/ 2117 h 3"/>
                <a:gd name="T6" fmla="*/ 2117 w 3"/>
                <a:gd name="T7" fmla="*/ 4233 h 3"/>
                <a:gd name="T8" fmla="*/ 6350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3"/>
                  </a:moveTo>
                  <a:cubicBezTo>
                    <a:pt x="3" y="2"/>
                    <a:pt x="3" y="1"/>
                    <a:pt x="2" y="1"/>
                  </a:cubicBezTo>
                  <a:cubicBezTo>
                    <a:pt x="2" y="1"/>
                    <a:pt x="1" y="0"/>
                    <a:pt x="0" y="1"/>
                  </a:cubicBezTo>
                  <a:cubicBezTo>
                    <a:pt x="0" y="1"/>
                    <a:pt x="1" y="2"/>
                    <a:pt x="1" y="2"/>
                  </a:cubicBezTo>
                  <a:cubicBezTo>
                    <a:pt x="2" y="3"/>
                    <a:pt x="3" y="3"/>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7" name="Freeform 246"/>
            <p:cNvSpPr>
              <a:spLocks noChangeAspect="1"/>
            </p:cNvSpPr>
            <p:nvPr/>
          </p:nvSpPr>
          <p:spPr bwMode="auto">
            <a:xfrm>
              <a:off x="4552779" y="1537123"/>
              <a:ext cx="6407" cy="5158"/>
            </a:xfrm>
            <a:custGeom>
              <a:avLst/>
              <a:gdLst>
                <a:gd name="T0" fmla="*/ 6350 w 3"/>
                <a:gd name="T1" fmla="*/ 4233 h 3"/>
                <a:gd name="T2" fmla="*/ 4233 w 3"/>
                <a:gd name="T3" fmla="*/ 2117 h 3"/>
                <a:gd name="T4" fmla="*/ 0 w 3"/>
                <a:gd name="T5" fmla="*/ 0 h 3"/>
                <a:gd name="T6" fmla="*/ 2117 w 3"/>
                <a:gd name="T7" fmla="*/ 4233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1"/>
                    <a:pt x="2" y="1"/>
                  </a:cubicBezTo>
                  <a:cubicBezTo>
                    <a:pt x="2" y="0"/>
                    <a:pt x="1" y="0"/>
                    <a:pt x="0" y="0"/>
                  </a:cubicBezTo>
                  <a:cubicBezTo>
                    <a:pt x="0" y="1"/>
                    <a:pt x="0" y="1"/>
                    <a:pt x="1" y="2"/>
                  </a:cubicBezTo>
                  <a:cubicBezTo>
                    <a:pt x="1" y="2"/>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8" name="Freeform 247"/>
            <p:cNvSpPr>
              <a:spLocks noChangeAspect="1"/>
            </p:cNvSpPr>
            <p:nvPr/>
          </p:nvSpPr>
          <p:spPr bwMode="auto">
            <a:xfrm>
              <a:off x="4509533" y="1534543"/>
              <a:ext cx="1601" cy="6449"/>
            </a:xfrm>
            <a:custGeom>
              <a:avLst/>
              <a:gdLst>
                <a:gd name="T0" fmla="*/ 1587 w 1"/>
                <a:gd name="T1" fmla="*/ 7938 h 4"/>
                <a:gd name="T2" fmla="*/ 1587 w 1"/>
                <a:gd name="T3" fmla="*/ 3969 h 4"/>
                <a:gd name="T4" fmla="*/ 1587 w 1"/>
                <a:gd name="T5" fmla="*/ 0 h 4"/>
                <a:gd name="T6" fmla="*/ 0 w 1"/>
                <a:gd name="T7" fmla="*/ 3969 h 4"/>
                <a:gd name="T8" fmla="*/ 1587 w 1"/>
                <a:gd name="T9" fmla="*/ 7938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4"/>
                  </a:moveTo>
                  <a:cubicBezTo>
                    <a:pt x="1" y="4"/>
                    <a:pt x="1" y="3"/>
                    <a:pt x="1" y="2"/>
                  </a:cubicBezTo>
                  <a:cubicBezTo>
                    <a:pt x="1" y="2"/>
                    <a:pt x="1" y="1"/>
                    <a:pt x="1" y="0"/>
                  </a:cubicBezTo>
                  <a:cubicBezTo>
                    <a:pt x="0" y="0"/>
                    <a:pt x="0" y="1"/>
                    <a:pt x="0" y="2"/>
                  </a:cubicBezTo>
                  <a:cubicBezTo>
                    <a:pt x="0" y="3"/>
                    <a:pt x="1" y="4"/>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69" name="Freeform 248"/>
            <p:cNvSpPr>
              <a:spLocks noChangeAspect="1"/>
            </p:cNvSpPr>
            <p:nvPr/>
          </p:nvSpPr>
          <p:spPr bwMode="auto">
            <a:xfrm>
              <a:off x="4509533" y="1524225"/>
              <a:ext cx="3203" cy="2579"/>
            </a:xfrm>
            <a:custGeom>
              <a:avLst/>
              <a:gdLst>
                <a:gd name="T0" fmla="*/ 3175 w 2"/>
                <a:gd name="T1" fmla="*/ 3175 h 2"/>
                <a:gd name="T2" fmla="*/ 3175 w 2"/>
                <a:gd name="T3" fmla="*/ 0 h 2"/>
                <a:gd name="T4" fmla="*/ 0 w 2"/>
                <a:gd name="T5" fmla="*/ 0 h 2"/>
                <a:gd name="T6" fmla="*/ 1588 w 2"/>
                <a:gd name="T7" fmla="*/ 1588 h 2"/>
                <a:gd name="T8" fmla="*/ 3175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1"/>
                    <a:pt x="2" y="1"/>
                    <a:pt x="2" y="0"/>
                  </a:cubicBezTo>
                  <a:cubicBezTo>
                    <a:pt x="1" y="0"/>
                    <a:pt x="0" y="0"/>
                    <a:pt x="0" y="0"/>
                  </a:cubicBezTo>
                  <a:cubicBezTo>
                    <a:pt x="0" y="1"/>
                    <a:pt x="0" y="1"/>
                    <a:pt x="1" y="1"/>
                  </a:cubicBezTo>
                  <a:cubicBezTo>
                    <a:pt x="1"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0" name="Freeform 249"/>
            <p:cNvSpPr>
              <a:spLocks noChangeAspect="1"/>
            </p:cNvSpPr>
            <p:nvPr/>
          </p:nvSpPr>
          <p:spPr bwMode="auto">
            <a:xfrm>
              <a:off x="4511134" y="1542281"/>
              <a:ext cx="3203" cy="2579"/>
            </a:xfrm>
            <a:custGeom>
              <a:avLst/>
              <a:gdLst>
                <a:gd name="T0" fmla="*/ 3175 w 2"/>
                <a:gd name="T1" fmla="*/ 3175 h 2"/>
                <a:gd name="T2" fmla="*/ 3175 w 2"/>
                <a:gd name="T3" fmla="*/ 1588 h 2"/>
                <a:gd name="T4" fmla="*/ 1588 w 2"/>
                <a:gd name="T5" fmla="*/ 0 h 2"/>
                <a:gd name="T6" fmla="*/ 1588 w 2"/>
                <a:gd name="T7" fmla="*/ 1588 h 2"/>
                <a:gd name="T8" fmla="*/ 3175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2" y="1"/>
                    <a:pt x="2" y="1"/>
                  </a:cubicBezTo>
                  <a:cubicBezTo>
                    <a:pt x="2" y="0"/>
                    <a:pt x="1" y="0"/>
                    <a:pt x="1" y="0"/>
                  </a:cubicBezTo>
                  <a:cubicBezTo>
                    <a:pt x="0" y="0"/>
                    <a:pt x="1" y="1"/>
                    <a:pt x="1" y="1"/>
                  </a:cubicBezTo>
                  <a:cubicBezTo>
                    <a:pt x="1" y="1"/>
                    <a:pt x="1"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1" name="Freeform 250"/>
            <p:cNvSpPr>
              <a:spLocks noChangeAspect="1"/>
            </p:cNvSpPr>
            <p:nvPr/>
          </p:nvSpPr>
          <p:spPr bwMode="auto">
            <a:xfrm>
              <a:off x="4512737" y="1548730"/>
              <a:ext cx="6407" cy="1289"/>
            </a:xfrm>
            <a:custGeom>
              <a:avLst/>
              <a:gdLst>
                <a:gd name="T0" fmla="*/ 6350 w 3"/>
                <a:gd name="T1" fmla="*/ 1587 h 1"/>
                <a:gd name="T2" fmla="*/ 4233 w 3"/>
                <a:gd name="T3" fmla="*/ 0 h 1"/>
                <a:gd name="T4" fmla="*/ 0 w 3"/>
                <a:gd name="T5" fmla="*/ 1587 h 1"/>
                <a:gd name="T6" fmla="*/ 4233 w 3"/>
                <a:gd name="T7" fmla="*/ 1587 h 1"/>
                <a:gd name="T8" fmla="*/ 6350 w 3"/>
                <a:gd name="T9" fmla="*/ 1587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1"/>
                  </a:moveTo>
                  <a:cubicBezTo>
                    <a:pt x="3" y="0"/>
                    <a:pt x="2" y="0"/>
                    <a:pt x="2" y="0"/>
                  </a:cubicBezTo>
                  <a:cubicBezTo>
                    <a:pt x="1" y="0"/>
                    <a:pt x="1" y="0"/>
                    <a:pt x="0" y="1"/>
                  </a:cubicBezTo>
                  <a:cubicBezTo>
                    <a:pt x="0" y="1"/>
                    <a:pt x="1" y="1"/>
                    <a:pt x="2" y="1"/>
                  </a:cubicBezTo>
                  <a:cubicBezTo>
                    <a:pt x="2" y="1"/>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2" name="Freeform 251"/>
            <p:cNvSpPr>
              <a:spLocks noChangeAspect="1"/>
            </p:cNvSpPr>
            <p:nvPr/>
          </p:nvSpPr>
          <p:spPr bwMode="auto">
            <a:xfrm>
              <a:off x="4597627" y="1535833"/>
              <a:ext cx="4806" cy="3868"/>
            </a:xfrm>
            <a:custGeom>
              <a:avLst/>
              <a:gdLst>
                <a:gd name="T0" fmla="*/ 4763 w 3"/>
                <a:gd name="T1" fmla="*/ 2381 h 2"/>
                <a:gd name="T2" fmla="*/ 3175 w 3"/>
                <a:gd name="T3" fmla="*/ 0 h 2"/>
                <a:gd name="T4" fmla="*/ 0 w 3"/>
                <a:gd name="T5" fmla="*/ 2381 h 2"/>
                <a:gd name="T6" fmla="*/ 3175 w 3"/>
                <a:gd name="T7" fmla="*/ 4762 h 2"/>
                <a:gd name="T8" fmla="*/ 4763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3" y="1"/>
                  </a:moveTo>
                  <a:cubicBezTo>
                    <a:pt x="3" y="0"/>
                    <a:pt x="2" y="0"/>
                    <a:pt x="2" y="0"/>
                  </a:cubicBezTo>
                  <a:cubicBezTo>
                    <a:pt x="1" y="0"/>
                    <a:pt x="1" y="1"/>
                    <a:pt x="0" y="1"/>
                  </a:cubicBezTo>
                  <a:cubicBezTo>
                    <a:pt x="0" y="2"/>
                    <a:pt x="1" y="2"/>
                    <a:pt x="2" y="2"/>
                  </a:cubicBezTo>
                  <a:cubicBezTo>
                    <a:pt x="2" y="2"/>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3" name="Oval 252"/>
            <p:cNvSpPr>
              <a:spLocks noChangeAspect="1" noChangeArrowheads="1"/>
            </p:cNvSpPr>
            <p:nvPr/>
          </p:nvSpPr>
          <p:spPr bwMode="auto">
            <a:xfrm>
              <a:off x="4559186" y="1508749"/>
              <a:ext cx="3203"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4" name="Freeform 253"/>
            <p:cNvSpPr>
              <a:spLocks noChangeAspect="1"/>
            </p:cNvSpPr>
            <p:nvPr/>
          </p:nvSpPr>
          <p:spPr bwMode="auto">
            <a:xfrm>
              <a:off x="4656891" y="1529385"/>
              <a:ext cx="8008" cy="6449"/>
            </a:xfrm>
            <a:custGeom>
              <a:avLst/>
              <a:gdLst>
                <a:gd name="T0" fmla="*/ 0 w 4"/>
                <a:gd name="T1" fmla="*/ 1985 h 4"/>
                <a:gd name="T2" fmla="*/ 1984 w 4"/>
                <a:gd name="T3" fmla="*/ 5953 h 4"/>
                <a:gd name="T4" fmla="*/ 5953 w 4"/>
                <a:gd name="T5" fmla="*/ 7938 h 4"/>
                <a:gd name="T6" fmla="*/ 5953 w 4"/>
                <a:gd name="T7" fmla="*/ 3969 h 4"/>
                <a:gd name="T8" fmla="*/ 0 w 4"/>
                <a:gd name="T9" fmla="*/ 198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5" name="Freeform 254"/>
            <p:cNvSpPr>
              <a:spLocks noChangeAspect="1"/>
            </p:cNvSpPr>
            <p:nvPr/>
          </p:nvSpPr>
          <p:spPr bwMode="auto">
            <a:xfrm>
              <a:off x="4514338" y="1481667"/>
              <a:ext cx="6407" cy="6448"/>
            </a:xfrm>
            <a:custGeom>
              <a:avLst/>
              <a:gdLst>
                <a:gd name="T0" fmla="*/ 4233 w 3"/>
                <a:gd name="T1" fmla="*/ 0 h 4"/>
                <a:gd name="T2" fmla="*/ 2117 w 3"/>
                <a:gd name="T3" fmla="*/ 1984 h 4"/>
                <a:gd name="T4" fmla="*/ 0 w 3"/>
                <a:gd name="T5" fmla="*/ 5953 h 4"/>
                <a:gd name="T6" fmla="*/ 4233 w 3"/>
                <a:gd name="T7" fmla="*/ 3969 h 4"/>
                <a:gd name="T8" fmla="*/ 423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6" name="Freeform 255"/>
            <p:cNvSpPr>
              <a:spLocks noChangeAspect="1"/>
            </p:cNvSpPr>
            <p:nvPr/>
          </p:nvSpPr>
          <p:spPr bwMode="auto">
            <a:xfrm>
              <a:off x="4543169" y="1519067"/>
              <a:ext cx="20823" cy="16766"/>
            </a:xfrm>
            <a:custGeom>
              <a:avLst/>
              <a:gdLst>
                <a:gd name="T0" fmla="*/ 9381 w 11"/>
                <a:gd name="T1" fmla="*/ 0 h 11"/>
                <a:gd name="T2" fmla="*/ 16886 w 11"/>
                <a:gd name="T3" fmla="*/ 3752 h 11"/>
                <a:gd name="T4" fmla="*/ 20638 w 11"/>
                <a:gd name="T5" fmla="*/ 13133 h 11"/>
                <a:gd name="T6" fmla="*/ 16886 w 11"/>
                <a:gd name="T7" fmla="*/ 20638 h 11"/>
                <a:gd name="T8" fmla="*/ 5629 w 11"/>
                <a:gd name="T9" fmla="*/ 15009 h 11"/>
                <a:gd name="T10" fmla="*/ 0 w 11"/>
                <a:gd name="T11" fmla="*/ 9381 h 11"/>
                <a:gd name="T12" fmla="*/ 3752 w 11"/>
                <a:gd name="T13" fmla="*/ 1876 h 11"/>
                <a:gd name="T14" fmla="*/ 9381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7" name="Freeform 256"/>
            <p:cNvSpPr>
              <a:spLocks noChangeAspect="1"/>
            </p:cNvSpPr>
            <p:nvPr/>
          </p:nvSpPr>
          <p:spPr bwMode="auto">
            <a:xfrm>
              <a:off x="4567195" y="1503591"/>
              <a:ext cx="38441" cy="36111"/>
            </a:xfrm>
            <a:custGeom>
              <a:avLst/>
              <a:gdLst>
                <a:gd name="T0" fmla="*/ 22860 w 20"/>
                <a:gd name="T1" fmla="*/ 5798 h 23"/>
                <a:gd name="T2" fmla="*/ 32385 w 20"/>
                <a:gd name="T3" fmla="*/ 0 h 23"/>
                <a:gd name="T4" fmla="*/ 38100 w 20"/>
                <a:gd name="T5" fmla="*/ 5798 h 23"/>
                <a:gd name="T6" fmla="*/ 34290 w 20"/>
                <a:gd name="T7" fmla="*/ 21259 h 23"/>
                <a:gd name="T8" fmla="*/ 30480 w 20"/>
                <a:gd name="T9" fmla="*/ 25124 h 23"/>
                <a:gd name="T10" fmla="*/ 34290 w 20"/>
                <a:gd name="T11" fmla="*/ 30922 h 23"/>
                <a:gd name="T12" fmla="*/ 28575 w 20"/>
                <a:gd name="T13" fmla="*/ 32854 h 23"/>
                <a:gd name="T14" fmla="*/ 28575 w 20"/>
                <a:gd name="T15" fmla="*/ 42517 h 23"/>
                <a:gd name="T16" fmla="*/ 19050 w 20"/>
                <a:gd name="T17" fmla="*/ 36720 h 23"/>
                <a:gd name="T18" fmla="*/ 13335 w 20"/>
                <a:gd name="T19" fmla="*/ 34787 h 23"/>
                <a:gd name="T20" fmla="*/ 5715 w 20"/>
                <a:gd name="T21" fmla="*/ 28989 h 23"/>
                <a:gd name="T22" fmla="*/ 5715 w 20"/>
                <a:gd name="T23" fmla="*/ 21259 h 23"/>
                <a:gd name="T24" fmla="*/ 1905 w 20"/>
                <a:gd name="T25" fmla="*/ 15461 h 23"/>
                <a:gd name="T26" fmla="*/ 11430 w 20"/>
                <a:gd name="T27" fmla="*/ 13528 h 23"/>
                <a:gd name="T28" fmla="*/ 13335 w 20"/>
                <a:gd name="T29" fmla="*/ 7730 h 23"/>
                <a:gd name="T30" fmla="*/ 19050 w 20"/>
                <a:gd name="T31" fmla="*/ 11596 h 23"/>
                <a:gd name="T32" fmla="*/ 19050 w 20"/>
                <a:gd name="T33" fmla="*/ 15461 h 23"/>
                <a:gd name="T34" fmla="*/ 26670 w 20"/>
                <a:gd name="T35" fmla="*/ 17393 h 23"/>
                <a:gd name="T36" fmla="*/ 26670 w 20"/>
                <a:gd name="T37" fmla="*/ 9663 h 23"/>
                <a:gd name="T38" fmla="*/ 22860 w 20"/>
                <a:gd name="T39" fmla="*/ 5798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8" name="Freeform 257"/>
            <p:cNvSpPr>
              <a:spLocks noChangeAspect="1"/>
            </p:cNvSpPr>
            <p:nvPr/>
          </p:nvSpPr>
          <p:spPr bwMode="auto">
            <a:xfrm>
              <a:off x="4586415" y="1539702"/>
              <a:ext cx="9610" cy="9029"/>
            </a:xfrm>
            <a:custGeom>
              <a:avLst/>
              <a:gdLst>
                <a:gd name="T0" fmla="*/ 9525 w 5"/>
                <a:gd name="T1" fmla="*/ 1852 h 6"/>
                <a:gd name="T2" fmla="*/ 1905 w 5"/>
                <a:gd name="T3" fmla="*/ 0 h 6"/>
                <a:gd name="T4" fmla="*/ 3810 w 5"/>
                <a:gd name="T5" fmla="*/ 5557 h 6"/>
                <a:gd name="T6" fmla="*/ 5715 w 5"/>
                <a:gd name="T7" fmla="*/ 11113 h 6"/>
                <a:gd name="T8" fmla="*/ 9525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9" name="Freeform 258"/>
            <p:cNvSpPr>
              <a:spLocks noChangeAspect="1"/>
            </p:cNvSpPr>
            <p:nvPr/>
          </p:nvSpPr>
          <p:spPr bwMode="auto">
            <a:xfrm>
              <a:off x="4570398" y="1537123"/>
              <a:ext cx="17618" cy="10318"/>
            </a:xfrm>
            <a:custGeom>
              <a:avLst/>
              <a:gdLst>
                <a:gd name="T0" fmla="*/ 3880 w 9"/>
                <a:gd name="T1" fmla="*/ 0 h 6"/>
                <a:gd name="T2" fmla="*/ 13582 w 9"/>
                <a:gd name="T3" fmla="*/ 6350 h 6"/>
                <a:gd name="T4" fmla="*/ 17462 w 9"/>
                <a:gd name="T5" fmla="*/ 12700 h 6"/>
                <a:gd name="T6" fmla="*/ 5821 w 9"/>
                <a:gd name="T7" fmla="*/ 10583 h 6"/>
                <a:gd name="T8" fmla="*/ 0 w 9"/>
                <a:gd name="T9" fmla="*/ 6350 h 6"/>
                <a:gd name="T10" fmla="*/ 0 w 9"/>
                <a:gd name="T11" fmla="*/ 2117 h 6"/>
                <a:gd name="T12" fmla="*/ 3880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0" name="Freeform 259"/>
            <p:cNvSpPr>
              <a:spLocks noChangeAspect="1"/>
            </p:cNvSpPr>
            <p:nvPr/>
          </p:nvSpPr>
          <p:spPr bwMode="auto">
            <a:xfrm>
              <a:off x="4562389" y="1534543"/>
              <a:ext cx="4806" cy="10318"/>
            </a:xfrm>
            <a:custGeom>
              <a:avLst/>
              <a:gdLst>
                <a:gd name="T0" fmla="*/ 4763 w 2"/>
                <a:gd name="T1" fmla="*/ 0 h 7"/>
                <a:gd name="T2" fmla="*/ 0 w 2"/>
                <a:gd name="T3" fmla="*/ 12700 h 7"/>
                <a:gd name="T4" fmla="*/ 0 w 2"/>
                <a:gd name="T5" fmla="*/ 5443 h 7"/>
                <a:gd name="T6" fmla="*/ 476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1" name="Freeform 260"/>
            <p:cNvSpPr>
              <a:spLocks noChangeAspect="1"/>
            </p:cNvSpPr>
            <p:nvPr/>
          </p:nvSpPr>
          <p:spPr bwMode="auto">
            <a:xfrm>
              <a:off x="4618450" y="1544860"/>
              <a:ext cx="12814" cy="12897"/>
            </a:xfrm>
            <a:custGeom>
              <a:avLst/>
              <a:gdLst>
                <a:gd name="T0" fmla="*/ 5443 w 7"/>
                <a:gd name="T1" fmla="*/ 1984 h 8"/>
                <a:gd name="T2" fmla="*/ 10886 w 7"/>
                <a:gd name="T3" fmla="*/ 5953 h 8"/>
                <a:gd name="T4" fmla="*/ 9071 w 7"/>
                <a:gd name="T5" fmla="*/ 13891 h 8"/>
                <a:gd name="T6" fmla="*/ 1814 w 7"/>
                <a:gd name="T7" fmla="*/ 9922 h 8"/>
                <a:gd name="T8" fmla="*/ 1814 w 7"/>
                <a:gd name="T9" fmla="*/ 3969 h 8"/>
                <a:gd name="T10" fmla="*/ 5443 w 7"/>
                <a:gd name="T11" fmla="*/ 1984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2" name="Freeform 261"/>
            <p:cNvSpPr>
              <a:spLocks noChangeAspect="1"/>
            </p:cNvSpPr>
            <p:nvPr/>
          </p:nvSpPr>
          <p:spPr bwMode="auto">
            <a:xfrm>
              <a:off x="4187589" y="1428789"/>
              <a:ext cx="172985" cy="245039"/>
            </a:xfrm>
            <a:custGeom>
              <a:avLst/>
              <a:gdLst>
                <a:gd name="T0" fmla="*/ 167640 w 90"/>
                <a:gd name="T1" fmla="*/ 253900 h 158"/>
                <a:gd name="T2" fmla="*/ 125730 w 90"/>
                <a:gd name="T3" fmla="*/ 269172 h 158"/>
                <a:gd name="T4" fmla="*/ 87630 w 90"/>
                <a:gd name="T5" fmla="*/ 272990 h 158"/>
                <a:gd name="T6" fmla="*/ 55245 w 90"/>
                <a:gd name="T7" fmla="*/ 276808 h 158"/>
                <a:gd name="T8" fmla="*/ 20955 w 90"/>
                <a:gd name="T9" fmla="*/ 292080 h 158"/>
                <a:gd name="T10" fmla="*/ 0 w 90"/>
                <a:gd name="T11" fmla="*/ 297807 h 158"/>
                <a:gd name="T12" fmla="*/ 30480 w 90"/>
                <a:gd name="T13" fmla="*/ 263445 h 158"/>
                <a:gd name="T14" fmla="*/ 62865 w 90"/>
                <a:gd name="T15" fmla="*/ 255809 h 158"/>
                <a:gd name="T16" fmla="*/ 57150 w 90"/>
                <a:gd name="T17" fmla="*/ 251991 h 158"/>
                <a:gd name="T18" fmla="*/ 34290 w 90"/>
                <a:gd name="T19" fmla="*/ 240536 h 158"/>
                <a:gd name="T20" fmla="*/ 30480 w 90"/>
                <a:gd name="T21" fmla="*/ 225264 h 158"/>
                <a:gd name="T22" fmla="*/ 28575 w 90"/>
                <a:gd name="T23" fmla="*/ 202356 h 158"/>
                <a:gd name="T24" fmla="*/ 57150 w 90"/>
                <a:gd name="T25" fmla="*/ 185175 h 158"/>
                <a:gd name="T26" fmla="*/ 68580 w 90"/>
                <a:gd name="T27" fmla="*/ 169903 h 158"/>
                <a:gd name="T28" fmla="*/ 62865 w 90"/>
                <a:gd name="T29" fmla="*/ 158449 h 158"/>
                <a:gd name="T30" fmla="*/ 60960 w 90"/>
                <a:gd name="T31" fmla="*/ 129813 h 158"/>
                <a:gd name="T32" fmla="*/ 30480 w 90"/>
                <a:gd name="T33" fmla="*/ 133631 h 158"/>
                <a:gd name="T34" fmla="*/ 26670 w 90"/>
                <a:gd name="T35" fmla="*/ 114541 h 158"/>
                <a:gd name="T36" fmla="*/ 22860 w 90"/>
                <a:gd name="T37" fmla="*/ 97360 h 158"/>
                <a:gd name="T38" fmla="*/ 11430 w 90"/>
                <a:gd name="T39" fmla="*/ 99269 h 158"/>
                <a:gd name="T40" fmla="*/ 13335 w 90"/>
                <a:gd name="T41" fmla="*/ 78270 h 158"/>
                <a:gd name="T42" fmla="*/ 0 w 90"/>
                <a:gd name="T43" fmla="*/ 70634 h 158"/>
                <a:gd name="T44" fmla="*/ 9525 w 90"/>
                <a:gd name="T45" fmla="*/ 59180 h 158"/>
                <a:gd name="T46" fmla="*/ 7620 w 90"/>
                <a:gd name="T47" fmla="*/ 49634 h 158"/>
                <a:gd name="T48" fmla="*/ 5715 w 90"/>
                <a:gd name="T49" fmla="*/ 34362 h 158"/>
                <a:gd name="T50" fmla="*/ 13335 w 90"/>
                <a:gd name="T51" fmla="*/ 20999 h 158"/>
                <a:gd name="T52" fmla="*/ 22860 w 90"/>
                <a:gd name="T53" fmla="*/ 13363 h 158"/>
                <a:gd name="T54" fmla="*/ 36195 w 90"/>
                <a:gd name="T55" fmla="*/ 5727 h 158"/>
                <a:gd name="T56" fmla="*/ 64770 w 90"/>
                <a:gd name="T57" fmla="*/ 7636 h 158"/>
                <a:gd name="T58" fmla="*/ 40005 w 90"/>
                <a:gd name="T59" fmla="*/ 30544 h 158"/>
                <a:gd name="T60" fmla="*/ 38100 w 90"/>
                <a:gd name="T61" fmla="*/ 43907 h 158"/>
                <a:gd name="T62" fmla="*/ 76200 w 90"/>
                <a:gd name="T63" fmla="*/ 34362 h 158"/>
                <a:gd name="T64" fmla="*/ 91440 w 90"/>
                <a:gd name="T65" fmla="*/ 49634 h 158"/>
                <a:gd name="T66" fmla="*/ 68580 w 90"/>
                <a:gd name="T67" fmla="*/ 78270 h 158"/>
                <a:gd name="T68" fmla="*/ 59055 w 90"/>
                <a:gd name="T69" fmla="*/ 95451 h 158"/>
                <a:gd name="T70" fmla="*/ 87630 w 90"/>
                <a:gd name="T71" fmla="*/ 99269 h 158"/>
                <a:gd name="T72" fmla="*/ 106680 w 90"/>
                <a:gd name="T73" fmla="*/ 139358 h 158"/>
                <a:gd name="T74" fmla="*/ 135255 w 90"/>
                <a:gd name="T75" fmla="*/ 177539 h 158"/>
                <a:gd name="T76" fmla="*/ 142875 w 90"/>
                <a:gd name="T77" fmla="*/ 190902 h 158"/>
                <a:gd name="T78" fmla="*/ 142875 w 90"/>
                <a:gd name="T79" fmla="*/ 204265 h 158"/>
                <a:gd name="T80" fmla="*/ 171450 w 90"/>
                <a:gd name="T81" fmla="*/ 215719 h 158"/>
                <a:gd name="T82" fmla="*/ 160020 w 90"/>
                <a:gd name="T83" fmla="*/ 238627 h 158"/>
                <a:gd name="T84" fmla="*/ 146685 w 90"/>
                <a:gd name="T85" fmla="*/ 248172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3" name="Freeform 262"/>
            <p:cNvSpPr>
              <a:spLocks noChangeAspect="1"/>
            </p:cNvSpPr>
            <p:nvPr/>
          </p:nvSpPr>
          <p:spPr bwMode="auto">
            <a:xfrm>
              <a:off x="4190792" y="1513908"/>
              <a:ext cx="8009" cy="10318"/>
            </a:xfrm>
            <a:custGeom>
              <a:avLst/>
              <a:gdLst>
                <a:gd name="T0" fmla="*/ 1985 w 4"/>
                <a:gd name="T1" fmla="*/ 10583 h 6"/>
                <a:gd name="T2" fmla="*/ 3969 w 4"/>
                <a:gd name="T3" fmla="*/ 0 h 6"/>
                <a:gd name="T4" fmla="*/ 5953 w 4"/>
                <a:gd name="T5" fmla="*/ 0 h 6"/>
                <a:gd name="T6" fmla="*/ 5953 w 4"/>
                <a:gd name="T7" fmla="*/ 10583 h 6"/>
                <a:gd name="T8" fmla="*/ 1985 w 4"/>
                <a:gd name="T9" fmla="*/ 10583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4" name="Freeform 263"/>
            <p:cNvSpPr>
              <a:spLocks noChangeAspect="1"/>
            </p:cNvSpPr>
            <p:nvPr/>
          </p:nvSpPr>
          <p:spPr bwMode="auto">
            <a:xfrm>
              <a:off x="4161961" y="1432659"/>
              <a:ext cx="22424" cy="24503"/>
            </a:xfrm>
            <a:custGeom>
              <a:avLst/>
              <a:gdLst>
                <a:gd name="T0" fmla="*/ 22225 w 11"/>
                <a:gd name="T1" fmla="*/ 1885 h 16"/>
                <a:gd name="T2" fmla="*/ 16164 w 11"/>
                <a:gd name="T3" fmla="*/ 20736 h 16"/>
                <a:gd name="T4" fmla="*/ 2020 w 11"/>
                <a:gd name="T5" fmla="*/ 28277 h 16"/>
                <a:gd name="T6" fmla="*/ 4041 w 11"/>
                <a:gd name="T7" fmla="*/ 20736 h 16"/>
                <a:gd name="T8" fmla="*/ 2020 w 11"/>
                <a:gd name="T9" fmla="*/ 11311 h 16"/>
                <a:gd name="T10" fmla="*/ 8082 w 11"/>
                <a:gd name="T11" fmla="*/ 11311 h 16"/>
                <a:gd name="T12" fmla="*/ 14143 w 11"/>
                <a:gd name="T13" fmla="*/ 3770 h 16"/>
                <a:gd name="T14" fmla="*/ 22225 w 11"/>
                <a:gd name="T15" fmla="*/ 1885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5" name="Freeform 264"/>
            <p:cNvSpPr>
              <a:spLocks noChangeAspect="1"/>
            </p:cNvSpPr>
            <p:nvPr/>
          </p:nvSpPr>
          <p:spPr bwMode="auto">
            <a:xfrm>
              <a:off x="4168368" y="1457163"/>
              <a:ext cx="25627" cy="15476"/>
            </a:xfrm>
            <a:custGeom>
              <a:avLst/>
              <a:gdLst>
                <a:gd name="T0" fmla="*/ 15631 w 13"/>
                <a:gd name="T1" fmla="*/ 0 h 10"/>
                <a:gd name="T2" fmla="*/ 17585 w 13"/>
                <a:gd name="T3" fmla="*/ 11430 h 10"/>
                <a:gd name="T4" fmla="*/ 23446 w 13"/>
                <a:gd name="T5" fmla="*/ 15240 h 10"/>
                <a:gd name="T6" fmla="*/ 15631 w 13"/>
                <a:gd name="T7" fmla="*/ 17145 h 10"/>
                <a:gd name="T8" fmla="*/ 7815 w 13"/>
                <a:gd name="T9" fmla="*/ 11430 h 10"/>
                <a:gd name="T10" fmla="*/ 1954 w 13"/>
                <a:gd name="T11" fmla="*/ 5715 h 10"/>
                <a:gd name="T12" fmla="*/ 11723 w 13"/>
                <a:gd name="T13" fmla="*/ 5715 h 10"/>
                <a:gd name="T14" fmla="*/ 15631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6" name="Freeform 265"/>
            <p:cNvSpPr>
              <a:spLocks noChangeAspect="1"/>
            </p:cNvSpPr>
            <p:nvPr/>
          </p:nvSpPr>
          <p:spPr bwMode="auto">
            <a:xfrm>
              <a:off x="4174775" y="1506170"/>
              <a:ext cx="12814" cy="10318"/>
            </a:xfrm>
            <a:custGeom>
              <a:avLst/>
              <a:gdLst>
                <a:gd name="T0" fmla="*/ 0 w 7"/>
                <a:gd name="T1" fmla="*/ 8467 h 6"/>
                <a:gd name="T2" fmla="*/ 7257 w 7"/>
                <a:gd name="T3" fmla="*/ 0 h 6"/>
                <a:gd name="T4" fmla="*/ 12700 w 7"/>
                <a:gd name="T5" fmla="*/ 10583 h 6"/>
                <a:gd name="T6" fmla="*/ 9071 w 7"/>
                <a:gd name="T7" fmla="*/ 12700 h 6"/>
                <a:gd name="T8" fmla="*/ 5443 w 7"/>
                <a:gd name="T9" fmla="*/ 10583 h 6"/>
                <a:gd name="T10" fmla="*/ 0 w 7"/>
                <a:gd name="T11" fmla="*/ 8467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7" name="Freeform 266"/>
            <p:cNvSpPr>
              <a:spLocks noChangeAspect="1"/>
            </p:cNvSpPr>
            <p:nvPr/>
          </p:nvSpPr>
          <p:spPr bwMode="auto">
            <a:xfrm>
              <a:off x="4246853" y="1410734"/>
              <a:ext cx="20822" cy="14187"/>
            </a:xfrm>
            <a:custGeom>
              <a:avLst/>
              <a:gdLst>
                <a:gd name="T0" fmla="*/ 1876 w 11"/>
                <a:gd name="T1" fmla="*/ 3881 h 9"/>
                <a:gd name="T2" fmla="*/ 3752 w 11"/>
                <a:gd name="T3" fmla="*/ 13582 h 9"/>
                <a:gd name="T4" fmla="*/ 15009 w 11"/>
                <a:gd name="T5" fmla="*/ 15523 h 9"/>
                <a:gd name="T6" fmla="*/ 9380 w 11"/>
                <a:gd name="T7" fmla="*/ 5821 h 9"/>
                <a:gd name="T8" fmla="*/ 18761 w 11"/>
                <a:gd name="T9" fmla="*/ 5821 h 9"/>
                <a:gd name="T10" fmla="*/ 15009 w 11"/>
                <a:gd name="T11" fmla="*/ 1940 h 9"/>
                <a:gd name="T12" fmla="*/ 7504 w 11"/>
                <a:gd name="T13" fmla="*/ 1940 h 9"/>
                <a:gd name="T14" fmla="*/ 9380 w 11"/>
                <a:gd name="T15" fmla="*/ 5821 h 9"/>
                <a:gd name="T16" fmla="*/ 1876 w 11"/>
                <a:gd name="T17" fmla="*/ 388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8" name="Freeform 267"/>
            <p:cNvSpPr>
              <a:spLocks noChangeAspect="1"/>
            </p:cNvSpPr>
            <p:nvPr/>
          </p:nvSpPr>
          <p:spPr bwMode="auto">
            <a:xfrm>
              <a:off x="4176377" y="1475218"/>
              <a:ext cx="8008" cy="5158"/>
            </a:xfrm>
            <a:custGeom>
              <a:avLst/>
              <a:gdLst>
                <a:gd name="T0" fmla="*/ 3969 w 4"/>
                <a:gd name="T1" fmla="*/ 0 h 3"/>
                <a:gd name="T2" fmla="*/ 7937 w 4"/>
                <a:gd name="T3" fmla="*/ 4233 h 3"/>
                <a:gd name="T4" fmla="*/ 3969 w 4"/>
                <a:gd name="T5" fmla="*/ 6350 h 3"/>
                <a:gd name="T6" fmla="*/ 0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3" y="0"/>
                    <a:pt x="4" y="1"/>
                    <a:pt x="4" y="2"/>
                  </a:cubicBezTo>
                  <a:cubicBezTo>
                    <a:pt x="4" y="2"/>
                    <a:pt x="3" y="3"/>
                    <a:pt x="2" y="3"/>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9" name="Freeform 268"/>
            <p:cNvSpPr>
              <a:spLocks noChangeAspect="1"/>
            </p:cNvSpPr>
            <p:nvPr/>
          </p:nvSpPr>
          <p:spPr bwMode="auto">
            <a:xfrm>
              <a:off x="4155554" y="1457163"/>
              <a:ext cx="4806" cy="2579"/>
            </a:xfrm>
            <a:custGeom>
              <a:avLst/>
              <a:gdLst>
                <a:gd name="T0" fmla="*/ 1588 w 3"/>
                <a:gd name="T1" fmla="*/ 0 h 2"/>
                <a:gd name="T2" fmla="*/ 4763 w 3"/>
                <a:gd name="T3" fmla="*/ 1588 h 2"/>
                <a:gd name="T4" fmla="*/ 1588 w 3"/>
                <a:gd name="T5" fmla="*/ 3175 h 2"/>
                <a:gd name="T6" fmla="*/ 0 w 3"/>
                <a:gd name="T7" fmla="*/ 1588 h 2"/>
                <a:gd name="T8" fmla="*/ 1588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0"/>
                    <a:pt x="3" y="1"/>
                  </a:cubicBezTo>
                  <a:cubicBezTo>
                    <a:pt x="3" y="2"/>
                    <a:pt x="2" y="2"/>
                    <a:pt x="1" y="2"/>
                  </a:cubicBezTo>
                  <a:cubicBezTo>
                    <a:pt x="1" y="2"/>
                    <a:pt x="0" y="1"/>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0" name="Freeform 269"/>
            <p:cNvSpPr>
              <a:spLocks noChangeAspect="1"/>
            </p:cNvSpPr>
            <p:nvPr/>
          </p:nvSpPr>
          <p:spPr bwMode="auto">
            <a:xfrm>
              <a:off x="4155554" y="1462321"/>
              <a:ext cx="4806" cy="2579"/>
            </a:xfrm>
            <a:custGeom>
              <a:avLst/>
              <a:gdLst>
                <a:gd name="T0" fmla="*/ 1588 w 3"/>
                <a:gd name="T1" fmla="*/ 0 h 2"/>
                <a:gd name="T2" fmla="*/ 4763 w 3"/>
                <a:gd name="T3" fmla="*/ 1588 h 2"/>
                <a:gd name="T4" fmla="*/ 3175 w 3"/>
                <a:gd name="T5" fmla="*/ 3175 h 2"/>
                <a:gd name="T6" fmla="*/ 0 w 3"/>
                <a:gd name="T7" fmla="*/ 1588 h 2"/>
                <a:gd name="T8" fmla="*/ 1588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1"/>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1" name="Freeform 270"/>
            <p:cNvSpPr>
              <a:spLocks noChangeAspect="1"/>
            </p:cNvSpPr>
            <p:nvPr/>
          </p:nvSpPr>
          <p:spPr bwMode="auto">
            <a:xfrm>
              <a:off x="4155554" y="1466190"/>
              <a:ext cx="4806" cy="3868"/>
            </a:xfrm>
            <a:custGeom>
              <a:avLst/>
              <a:gdLst>
                <a:gd name="T0" fmla="*/ 1588 w 3"/>
                <a:gd name="T1" fmla="*/ 2381 h 2"/>
                <a:gd name="T2" fmla="*/ 4763 w 3"/>
                <a:gd name="T3" fmla="*/ 4762 h 2"/>
                <a:gd name="T4" fmla="*/ 1588 w 3"/>
                <a:gd name="T5" fmla="*/ 4762 h 2"/>
                <a:gd name="T6" fmla="*/ 0 w 3"/>
                <a:gd name="T7" fmla="*/ 2381 h 2"/>
                <a:gd name="T8" fmla="*/ 1588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2" y="1"/>
                    <a:pt x="3" y="1"/>
                    <a:pt x="3" y="2"/>
                  </a:cubicBezTo>
                  <a:cubicBezTo>
                    <a:pt x="3" y="2"/>
                    <a:pt x="2" y="2"/>
                    <a:pt x="1" y="2"/>
                  </a:cubicBezTo>
                  <a:cubicBezTo>
                    <a:pt x="0" y="2"/>
                    <a:pt x="0" y="2"/>
                    <a:pt x="0" y="1"/>
                  </a:cubicBezTo>
                  <a:cubicBezTo>
                    <a:pt x="0" y="1"/>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2" name="Freeform 271"/>
            <p:cNvSpPr>
              <a:spLocks noChangeAspect="1"/>
            </p:cNvSpPr>
            <p:nvPr/>
          </p:nvSpPr>
          <p:spPr bwMode="auto">
            <a:xfrm>
              <a:off x="4152351" y="1471349"/>
              <a:ext cx="6407" cy="2579"/>
            </a:xfrm>
            <a:custGeom>
              <a:avLst/>
              <a:gdLst>
                <a:gd name="T0" fmla="*/ 4233 w 3"/>
                <a:gd name="T1" fmla="*/ 1588 h 2"/>
                <a:gd name="T2" fmla="*/ 6350 w 3"/>
                <a:gd name="T3" fmla="*/ 3175 h 2"/>
                <a:gd name="T4" fmla="*/ 4233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2" y="2"/>
                  </a:cubicBezTo>
                  <a:cubicBezTo>
                    <a:pt x="1" y="2"/>
                    <a:pt x="0" y="2"/>
                    <a:pt x="0" y="1"/>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3" name="Oval 272"/>
            <p:cNvSpPr>
              <a:spLocks noChangeAspect="1" noChangeArrowheads="1"/>
            </p:cNvSpPr>
            <p:nvPr/>
          </p:nvSpPr>
          <p:spPr bwMode="auto">
            <a:xfrm>
              <a:off x="4152351" y="1477797"/>
              <a:ext cx="4806" cy="1290"/>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4" name="Freeform 273"/>
            <p:cNvSpPr>
              <a:spLocks noChangeAspect="1"/>
            </p:cNvSpPr>
            <p:nvPr/>
          </p:nvSpPr>
          <p:spPr bwMode="auto">
            <a:xfrm>
              <a:off x="4176377" y="1488114"/>
              <a:ext cx="17618" cy="10318"/>
            </a:xfrm>
            <a:custGeom>
              <a:avLst/>
              <a:gdLst>
                <a:gd name="T0" fmla="*/ 7761 w 9"/>
                <a:gd name="T1" fmla="*/ 0 h 7"/>
                <a:gd name="T2" fmla="*/ 17462 w 9"/>
                <a:gd name="T3" fmla="*/ 5443 h 7"/>
                <a:gd name="T4" fmla="*/ 13582 w 9"/>
                <a:gd name="T5" fmla="*/ 10886 h 7"/>
                <a:gd name="T6" fmla="*/ 1940 w 9"/>
                <a:gd name="T7" fmla="*/ 10886 h 7"/>
                <a:gd name="T8" fmla="*/ 7761 w 9"/>
                <a:gd name="T9" fmla="*/ 5443 h 7"/>
                <a:gd name="T10" fmla="*/ 5821 w 9"/>
                <a:gd name="T11" fmla="*/ 0 h 7"/>
                <a:gd name="T12" fmla="*/ 7761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5" name="Freeform 274"/>
            <p:cNvSpPr>
              <a:spLocks noChangeAspect="1"/>
            </p:cNvSpPr>
            <p:nvPr/>
          </p:nvSpPr>
          <p:spPr bwMode="auto">
            <a:xfrm>
              <a:off x="4165165" y="1485535"/>
              <a:ext cx="11213" cy="10318"/>
            </a:xfrm>
            <a:custGeom>
              <a:avLst/>
              <a:gdLst>
                <a:gd name="T0" fmla="*/ 11113 w 6"/>
                <a:gd name="T1" fmla="*/ 1814 h 7"/>
                <a:gd name="T2" fmla="*/ 1852 w 6"/>
                <a:gd name="T3" fmla="*/ 12700 h 7"/>
                <a:gd name="T4" fmla="*/ 1852 w 6"/>
                <a:gd name="T5" fmla="*/ 5443 h 7"/>
                <a:gd name="T6" fmla="*/ 11113 w 6"/>
                <a:gd name="T7" fmla="*/ 1814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6" name="Freeform 275"/>
            <p:cNvSpPr>
              <a:spLocks noChangeAspect="1"/>
            </p:cNvSpPr>
            <p:nvPr/>
          </p:nvSpPr>
          <p:spPr bwMode="auto">
            <a:xfrm>
              <a:off x="4282090" y="1378492"/>
              <a:ext cx="17618" cy="16766"/>
            </a:xfrm>
            <a:custGeom>
              <a:avLst/>
              <a:gdLst>
                <a:gd name="T0" fmla="*/ 1940 w 9"/>
                <a:gd name="T1" fmla="*/ 1876 h 11"/>
                <a:gd name="T2" fmla="*/ 11641 w 9"/>
                <a:gd name="T3" fmla="*/ 0 h 11"/>
                <a:gd name="T4" fmla="*/ 17462 w 9"/>
                <a:gd name="T5" fmla="*/ 3752 h 11"/>
                <a:gd name="T6" fmla="*/ 11641 w 9"/>
                <a:gd name="T7" fmla="*/ 20637 h 11"/>
                <a:gd name="T8" fmla="*/ 11641 w 9"/>
                <a:gd name="T9" fmla="*/ 11257 h 11"/>
                <a:gd name="T10" fmla="*/ 3880 w 9"/>
                <a:gd name="T11" fmla="*/ 7504 h 11"/>
                <a:gd name="T12" fmla="*/ 1940 w 9"/>
                <a:gd name="T13" fmla="*/ 1876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7" name="Freeform 276"/>
            <p:cNvSpPr>
              <a:spLocks noChangeAspect="1"/>
            </p:cNvSpPr>
            <p:nvPr/>
          </p:nvSpPr>
          <p:spPr bwMode="auto">
            <a:xfrm>
              <a:off x="4302912" y="1364305"/>
              <a:ext cx="6407" cy="6449"/>
            </a:xfrm>
            <a:custGeom>
              <a:avLst/>
              <a:gdLst>
                <a:gd name="T0" fmla="*/ 4233 w 3"/>
                <a:gd name="T1" fmla="*/ 0 h 4"/>
                <a:gd name="T2" fmla="*/ 6350 w 3"/>
                <a:gd name="T3" fmla="*/ 3969 h 4"/>
                <a:gd name="T4" fmla="*/ 2117 w 3"/>
                <a:gd name="T5" fmla="*/ 7938 h 4"/>
                <a:gd name="T6" fmla="*/ 0 w 3"/>
                <a:gd name="T7" fmla="*/ 1985 h 4"/>
                <a:gd name="T8" fmla="*/ 423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3" y="1"/>
                    <a:pt x="3" y="2"/>
                  </a:cubicBezTo>
                  <a:cubicBezTo>
                    <a:pt x="2" y="3"/>
                    <a:pt x="2" y="4"/>
                    <a:pt x="1" y="4"/>
                  </a:cubicBezTo>
                  <a:cubicBezTo>
                    <a:pt x="0" y="4"/>
                    <a:pt x="0" y="3"/>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8" name="Freeform 277"/>
            <p:cNvSpPr>
              <a:spLocks noChangeAspect="1"/>
            </p:cNvSpPr>
            <p:nvPr/>
          </p:nvSpPr>
          <p:spPr bwMode="auto">
            <a:xfrm>
              <a:off x="4294903" y="1366884"/>
              <a:ext cx="6407" cy="7738"/>
            </a:xfrm>
            <a:custGeom>
              <a:avLst/>
              <a:gdLst>
                <a:gd name="T0" fmla="*/ 4233 w 3"/>
                <a:gd name="T1" fmla="*/ 0 h 5"/>
                <a:gd name="T2" fmla="*/ 6350 w 3"/>
                <a:gd name="T3" fmla="*/ 5715 h 5"/>
                <a:gd name="T4" fmla="*/ 4233 w 3"/>
                <a:gd name="T5" fmla="*/ 9525 h 5"/>
                <a:gd name="T6" fmla="*/ 0 w 3"/>
                <a:gd name="T7" fmla="*/ 3810 h 5"/>
                <a:gd name="T8" fmla="*/ 4233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0"/>
                  </a:moveTo>
                  <a:cubicBezTo>
                    <a:pt x="3" y="0"/>
                    <a:pt x="3" y="2"/>
                    <a:pt x="3" y="3"/>
                  </a:cubicBezTo>
                  <a:cubicBezTo>
                    <a:pt x="3" y="3"/>
                    <a:pt x="2" y="5"/>
                    <a:pt x="2" y="5"/>
                  </a:cubicBezTo>
                  <a:cubicBezTo>
                    <a:pt x="1" y="4"/>
                    <a:pt x="0"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9" name="Freeform 278"/>
            <p:cNvSpPr>
              <a:spLocks noChangeAspect="1"/>
            </p:cNvSpPr>
            <p:nvPr/>
          </p:nvSpPr>
          <p:spPr bwMode="auto">
            <a:xfrm>
              <a:off x="4437456" y="1388810"/>
              <a:ext cx="6407" cy="7738"/>
            </a:xfrm>
            <a:custGeom>
              <a:avLst/>
              <a:gdLst>
                <a:gd name="T0" fmla="*/ 4233 w 3"/>
                <a:gd name="T1" fmla="*/ 1905 h 5"/>
                <a:gd name="T2" fmla="*/ 6350 w 3"/>
                <a:gd name="T3" fmla="*/ 5715 h 5"/>
                <a:gd name="T4" fmla="*/ 4233 w 3"/>
                <a:gd name="T5" fmla="*/ 9525 h 5"/>
                <a:gd name="T6" fmla="*/ 0 w 3"/>
                <a:gd name="T7" fmla="*/ 3810 h 5"/>
                <a:gd name="T8" fmla="*/ 4233 w 3"/>
                <a:gd name="T9" fmla="*/ 190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0" name="Freeform 279"/>
            <p:cNvSpPr>
              <a:spLocks noChangeAspect="1"/>
            </p:cNvSpPr>
            <p:nvPr/>
          </p:nvSpPr>
          <p:spPr bwMode="auto">
            <a:xfrm>
              <a:off x="4448669" y="1412024"/>
              <a:ext cx="9610" cy="5158"/>
            </a:xfrm>
            <a:custGeom>
              <a:avLst/>
              <a:gdLst>
                <a:gd name="T0" fmla="*/ 7620 w 5"/>
                <a:gd name="T1" fmla="*/ 4233 h 3"/>
                <a:gd name="T2" fmla="*/ 3810 w 5"/>
                <a:gd name="T3" fmla="*/ 6350 h 3"/>
                <a:gd name="T4" fmla="*/ 0 w 5"/>
                <a:gd name="T5" fmla="*/ 4233 h 3"/>
                <a:gd name="T6" fmla="*/ 5715 w 5"/>
                <a:gd name="T7" fmla="*/ 0 h 3"/>
                <a:gd name="T8" fmla="*/ 762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1" name="Freeform 280"/>
            <p:cNvSpPr>
              <a:spLocks noChangeAspect="1"/>
            </p:cNvSpPr>
            <p:nvPr/>
          </p:nvSpPr>
          <p:spPr bwMode="auto">
            <a:xfrm>
              <a:off x="4442261" y="1319167"/>
              <a:ext cx="9610" cy="5158"/>
            </a:xfrm>
            <a:custGeom>
              <a:avLst/>
              <a:gdLst>
                <a:gd name="T0" fmla="*/ 9525 w 5"/>
                <a:gd name="T1" fmla="*/ 4233 h 3"/>
                <a:gd name="T2" fmla="*/ 5715 w 5"/>
                <a:gd name="T3" fmla="*/ 6350 h 3"/>
                <a:gd name="T4" fmla="*/ 1905 w 5"/>
                <a:gd name="T5" fmla="*/ 2117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2" name="Freeform 281"/>
            <p:cNvSpPr>
              <a:spLocks noChangeAspect="1"/>
            </p:cNvSpPr>
            <p:nvPr/>
          </p:nvSpPr>
          <p:spPr bwMode="auto">
            <a:xfrm>
              <a:off x="4483906" y="1295953"/>
              <a:ext cx="8008" cy="3868"/>
            </a:xfrm>
            <a:custGeom>
              <a:avLst/>
              <a:gdLst>
                <a:gd name="T0" fmla="*/ 7937 w 4"/>
                <a:gd name="T1" fmla="*/ 2381 h 2"/>
                <a:gd name="T2" fmla="*/ 3969 w 4"/>
                <a:gd name="T3" fmla="*/ 4762 h 2"/>
                <a:gd name="T4" fmla="*/ 0 w 4"/>
                <a:gd name="T5" fmla="*/ 2381 h 2"/>
                <a:gd name="T6" fmla="*/ 3969 w 4"/>
                <a:gd name="T7" fmla="*/ 0 h 2"/>
                <a:gd name="T8" fmla="*/ 7937 w 4"/>
                <a:gd name="T9" fmla="*/ 238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3" name="Freeform 282"/>
            <p:cNvSpPr>
              <a:spLocks noChangeAspect="1"/>
            </p:cNvSpPr>
            <p:nvPr/>
          </p:nvSpPr>
          <p:spPr bwMode="auto">
            <a:xfrm>
              <a:off x="4491915" y="1286924"/>
              <a:ext cx="9610" cy="5158"/>
            </a:xfrm>
            <a:custGeom>
              <a:avLst/>
              <a:gdLst>
                <a:gd name="T0" fmla="*/ 9525 w 5"/>
                <a:gd name="T1" fmla="*/ 4233 h 3"/>
                <a:gd name="T2" fmla="*/ 3810 w 5"/>
                <a:gd name="T3" fmla="*/ 6350 h 3"/>
                <a:gd name="T4" fmla="*/ 0 w 5"/>
                <a:gd name="T5" fmla="*/ 2117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4" name="Freeform 283"/>
            <p:cNvSpPr>
              <a:spLocks noChangeAspect="1"/>
            </p:cNvSpPr>
            <p:nvPr/>
          </p:nvSpPr>
          <p:spPr bwMode="auto">
            <a:xfrm>
              <a:off x="4571999" y="1215993"/>
              <a:ext cx="9610" cy="3868"/>
            </a:xfrm>
            <a:custGeom>
              <a:avLst/>
              <a:gdLst>
                <a:gd name="T0" fmla="*/ 9525 w 5"/>
                <a:gd name="T1" fmla="*/ 3175 h 3"/>
                <a:gd name="T2" fmla="*/ 5715 w 5"/>
                <a:gd name="T3" fmla="*/ 4762 h 3"/>
                <a:gd name="T4" fmla="*/ 1905 w 5"/>
                <a:gd name="T5" fmla="*/ 3175 h 3"/>
                <a:gd name="T6" fmla="*/ 5715 w 5"/>
                <a:gd name="T7" fmla="*/ 0 h 3"/>
                <a:gd name="T8" fmla="*/ 9525 w 5"/>
                <a:gd name="T9" fmla="*/ 3175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5" name="Freeform 284"/>
            <p:cNvSpPr>
              <a:spLocks noChangeAspect="1"/>
            </p:cNvSpPr>
            <p:nvPr/>
          </p:nvSpPr>
          <p:spPr bwMode="auto">
            <a:xfrm>
              <a:off x="4648882" y="1134743"/>
              <a:ext cx="9610" cy="5158"/>
            </a:xfrm>
            <a:custGeom>
              <a:avLst/>
              <a:gdLst>
                <a:gd name="T0" fmla="*/ 9525 w 5"/>
                <a:gd name="T1" fmla="*/ 4233 h 3"/>
                <a:gd name="T2" fmla="*/ 3810 w 5"/>
                <a:gd name="T3" fmla="*/ 6350 h 3"/>
                <a:gd name="T4" fmla="*/ 0 w 5"/>
                <a:gd name="T5" fmla="*/ 4233 h 3"/>
                <a:gd name="T6" fmla="*/ 5715 w 5"/>
                <a:gd name="T7" fmla="*/ 0 h 3"/>
                <a:gd name="T8" fmla="*/ 9525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6" name="Freeform 285"/>
            <p:cNvSpPr>
              <a:spLocks noChangeAspect="1"/>
            </p:cNvSpPr>
            <p:nvPr/>
          </p:nvSpPr>
          <p:spPr bwMode="auto">
            <a:xfrm>
              <a:off x="4716154" y="1070258"/>
              <a:ext cx="8009" cy="5158"/>
            </a:xfrm>
            <a:custGeom>
              <a:avLst/>
              <a:gdLst>
                <a:gd name="T0" fmla="*/ 7938 w 4"/>
                <a:gd name="T1" fmla="*/ 4233 h 3"/>
                <a:gd name="T2" fmla="*/ 3969 w 4"/>
                <a:gd name="T3" fmla="*/ 6350 h 3"/>
                <a:gd name="T4" fmla="*/ 0 w 4"/>
                <a:gd name="T5" fmla="*/ 4233 h 3"/>
                <a:gd name="T6" fmla="*/ 5953 w 4"/>
                <a:gd name="T7" fmla="*/ 0 h 3"/>
                <a:gd name="T8" fmla="*/ 7938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3" y="3"/>
                    <a:pt x="2" y="3"/>
                  </a:cubicBezTo>
                  <a:cubicBezTo>
                    <a:pt x="1" y="2"/>
                    <a:pt x="0" y="2"/>
                    <a:pt x="0" y="2"/>
                  </a:cubicBezTo>
                  <a:cubicBezTo>
                    <a:pt x="1" y="1"/>
                    <a:pt x="2" y="0"/>
                    <a:pt x="3"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7" name="Freeform 286"/>
            <p:cNvSpPr>
              <a:spLocks noChangeAspect="1"/>
            </p:cNvSpPr>
            <p:nvPr/>
          </p:nvSpPr>
          <p:spPr bwMode="auto">
            <a:xfrm>
              <a:off x="4724163" y="1065100"/>
              <a:ext cx="6407" cy="5158"/>
            </a:xfrm>
            <a:custGeom>
              <a:avLst/>
              <a:gdLst>
                <a:gd name="T0" fmla="*/ 6350 w 3"/>
                <a:gd name="T1" fmla="*/ 4233 h 3"/>
                <a:gd name="T2" fmla="*/ 2117 w 3"/>
                <a:gd name="T3" fmla="*/ 6350 h 3"/>
                <a:gd name="T4" fmla="*/ 0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1" y="3"/>
                    <a:pt x="0" y="2"/>
                    <a:pt x="0" y="2"/>
                  </a:cubicBezTo>
                  <a:cubicBezTo>
                    <a:pt x="0" y="1"/>
                    <a:pt x="1"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8" name="Freeform 287"/>
            <p:cNvSpPr>
              <a:spLocks noChangeAspect="1"/>
            </p:cNvSpPr>
            <p:nvPr/>
          </p:nvSpPr>
          <p:spPr bwMode="auto">
            <a:xfrm>
              <a:off x="4740180" y="1076707"/>
              <a:ext cx="4805" cy="3868"/>
            </a:xfrm>
            <a:custGeom>
              <a:avLst/>
              <a:gdLst>
                <a:gd name="T0" fmla="*/ 4762 w 3"/>
                <a:gd name="T1" fmla="*/ 0 h 3"/>
                <a:gd name="T2" fmla="*/ 3175 w 3"/>
                <a:gd name="T3" fmla="*/ 3175 h 3"/>
                <a:gd name="T4" fmla="*/ 0 w 3"/>
                <a:gd name="T5" fmla="*/ 4762 h 3"/>
                <a:gd name="T6" fmla="*/ 1587 w 3"/>
                <a:gd name="T7" fmla="*/ 0 h 3"/>
                <a:gd name="T8" fmla="*/ 4762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9" name="Freeform 288"/>
            <p:cNvSpPr>
              <a:spLocks noChangeAspect="1"/>
            </p:cNvSpPr>
            <p:nvPr/>
          </p:nvSpPr>
          <p:spPr bwMode="auto">
            <a:xfrm>
              <a:off x="4756197" y="1065100"/>
              <a:ext cx="6407" cy="5158"/>
            </a:xfrm>
            <a:custGeom>
              <a:avLst/>
              <a:gdLst>
                <a:gd name="T0" fmla="*/ 6350 w 3"/>
                <a:gd name="T1" fmla="*/ 0 h 3"/>
                <a:gd name="T2" fmla="*/ 4233 w 3"/>
                <a:gd name="T3" fmla="*/ 4233 h 3"/>
                <a:gd name="T4" fmla="*/ 0 w 3"/>
                <a:gd name="T5" fmla="*/ 6350 h 3"/>
                <a:gd name="T6" fmla="*/ 2117 w 3"/>
                <a:gd name="T7" fmla="*/ 0 h 3"/>
                <a:gd name="T8" fmla="*/ 635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0" name="Freeform 289"/>
            <p:cNvSpPr>
              <a:spLocks noChangeAspect="1"/>
            </p:cNvSpPr>
            <p:nvPr/>
          </p:nvSpPr>
          <p:spPr bwMode="auto">
            <a:xfrm>
              <a:off x="4797842" y="1062520"/>
              <a:ext cx="6407" cy="2579"/>
            </a:xfrm>
            <a:custGeom>
              <a:avLst/>
              <a:gdLst>
                <a:gd name="T0" fmla="*/ 6350 w 4"/>
                <a:gd name="T1" fmla="*/ 3175 h 2"/>
                <a:gd name="T2" fmla="*/ 3175 w 4"/>
                <a:gd name="T3" fmla="*/ 3175 h 2"/>
                <a:gd name="T4" fmla="*/ 0 w 4"/>
                <a:gd name="T5" fmla="*/ 1588 h 2"/>
                <a:gd name="T6" fmla="*/ 4762 w 4"/>
                <a:gd name="T7" fmla="*/ 0 h 2"/>
                <a:gd name="T8" fmla="*/ 6350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1" name="Freeform 290"/>
            <p:cNvSpPr>
              <a:spLocks noChangeAspect="1"/>
            </p:cNvSpPr>
            <p:nvPr/>
          </p:nvSpPr>
          <p:spPr bwMode="auto">
            <a:xfrm>
              <a:off x="4826673" y="1040596"/>
              <a:ext cx="6407" cy="3868"/>
            </a:xfrm>
            <a:custGeom>
              <a:avLst/>
              <a:gdLst>
                <a:gd name="T0" fmla="*/ 6350 w 4"/>
                <a:gd name="T1" fmla="*/ 4762 h 2"/>
                <a:gd name="T2" fmla="*/ 3175 w 4"/>
                <a:gd name="T3" fmla="*/ 4762 h 2"/>
                <a:gd name="T4" fmla="*/ 0 w 4"/>
                <a:gd name="T5" fmla="*/ 2381 h 2"/>
                <a:gd name="T6" fmla="*/ 4762 w 4"/>
                <a:gd name="T7" fmla="*/ 0 h 2"/>
                <a:gd name="T8" fmla="*/ 6350 w 4"/>
                <a:gd name="T9" fmla="*/ 476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2" y="2"/>
                    <a:pt x="2" y="2"/>
                  </a:cubicBezTo>
                  <a:cubicBezTo>
                    <a:pt x="1" y="2"/>
                    <a:pt x="0" y="1"/>
                    <a:pt x="0" y="1"/>
                  </a:cubicBezTo>
                  <a:cubicBezTo>
                    <a:pt x="1" y="0"/>
                    <a:pt x="2" y="0"/>
                    <a:pt x="3"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2" name="Freeform 291"/>
            <p:cNvSpPr>
              <a:spLocks noChangeAspect="1"/>
            </p:cNvSpPr>
            <p:nvPr/>
          </p:nvSpPr>
          <p:spPr bwMode="auto">
            <a:xfrm>
              <a:off x="4831476" y="1047044"/>
              <a:ext cx="8009" cy="2579"/>
            </a:xfrm>
            <a:custGeom>
              <a:avLst/>
              <a:gdLst>
                <a:gd name="T0" fmla="*/ 7938 w 4"/>
                <a:gd name="T1" fmla="*/ 1588 h 2"/>
                <a:gd name="T2" fmla="*/ 3969 w 4"/>
                <a:gd name="T3" fmla="*/ 3175 h 2"/>
                <a:gd name="T4" fmla="*/ 0 w 4"/>
                <a:gd name="T5" fmla="*/ 1588 h 2"/>
                <a:gd name="T6" fmla="*/ 5953 w 4"/>
                <a:gd name="T7" fmla="*/ 0 h 2"/>
                <a:gd name="T8" fmla="*/ 7938 w 4"/>
                <a:gd name="T9" fmla="*/ 1588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2" y="2"/>
                    <a:pt x="2" y="2"/>
                  </a:cubicBezTo>
                  <a:cubicBezTo>
                    <a:pt x="1" y="2"/>
                    <a:pt x="0" y="1"/>
                    <a:pt x="0" y="1"/>
                  </a:cubicBezTo>
                  <a:cubicBezTo>
                    <a:pt x="1" y="0"/>
                    <a:pt x="2" y="0"/>
                    <a:pt x="3" y="0"/>
                  </a:cubicBezTo>
                  <a:cubicBezTo>
                    <a:pt x="3" y="0"/>
                    <a:pt x="4"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3" name="Freeform 292"/>
            <p:cNvSpPr>
              <a:spLocks noChangeAspect="1"/>
            </p:cNvSpPr>
            <p:nvPr/>
          </p:nvSpPr>
          <p:spPr bwMode="auto">
            <a:xfrm>
              <a:off x="4857104" y="1036726"/>
              <a:ext cx="11213" cy="5158"/>
            </a:xfrm>
            <a:custGeom>
              <a:avLst/>
              <a:gdLst>
                <a:gd name="T0" fmla="*/ 11113 w 6"/>
                <a:gd name="T1" fmla="*/ 4762 h 4"/>
                <a:gd name="T2" fmla="*/ 5557 w 6"/>
                <a:gd name="T3" fmla="*/ 6350 h 4"/>
                <a:gd name="T4" fmla="*/ 1852 w 6"/>
                <a:gd name="T5" fmla="*/ 3175 h 4"/>
                <a:gd name="T6" fmla="*/ 7409 w 6"/>
                <a:gd name="T7" fmla="*/ 0 h 4"/>
                <a:gd name="T8" fmla="*/ 11113 w 6"/>
                <a:gd name="T9" fmla="*/ 4762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6" y="3"/>
                  </a:moveTo>
                  <a:cubicBezTo>
                    <a:pt x="6" y="4"/>
                    <a:pt x="4" y="4"/>
                    <a:pt x="3" y="4"/>
                  </a:cubicBezTo>
                  <a:cubicBezTo>
                    <a:pt x="2" y="3"/>
                    <a:pt x="0" y="3"/>
                    <a:pt x="1" y="2"/>
                  </a:cubicBezTo>
                  <a:cubicBezTo>
                    <a:pt x="1" y="1"/>
                    <a:pt x="3" y="0"/>
                    <a:pt x="4" y="0"/>
                  </a:cubicBezTo>
                  <a:cubicBezTo>
                    <a:pt x="5" y="1"/>
                    <a:pt x="6" y="2"/>
                    <a:pt x="6"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4" name="Freeform 293"/>
            <p:cNvSpPr>
              <a:spLocks noChangeAspect="1"/>
            </p:cNvSpPr>
            <p:nvPr/>
          </p:nvSpPr>
          <p:spPr bwMode="auto">
            <a:xfrm>
              <a:off x="4583212" y="1219861"/>
              <a:ext cx="9610" cy="12897"/>
            </a:xfrm>
            <a:custGeom>
              <a:avLst/>
              <a:gdLst>
                <a:gd name="T0" fmla="*/ 9525 w 5"/>
                <a:gd name="T1" fmla="*/ 1984 h 8"/>
                <a:gd name="T2" fmla="*/ 7620 w 5"/>
                <a:gd name="T3" fmla="*/ 11906 h 8"/>
                <a:gd name="T4" fmla="*/ 1905 w 5"/>
                <a:gd name="T5" fmla="*/ 13891 h 8"/>
                <a:gd name="T6" fmla="*/ 1905 w 5"/>
                <a:gd name="T7" fmla="*/ 3969 h 8"/>
                <a:gd name="T8" fmla="*/ 9525 w 5"/>
                <a:gd name="T9" fmla="*/ 1984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5" name="Freeform 294"/>
            <p:cNvSpPr>
              <a:spLocks noChangeAspect="1"/>
            </p:cNvSpPr>
            <p:nvPr/>
          </p:nvSpPr>
          <p:spPr bwMode="auto">
            <a:xfrm>
              <a:off x="4169970" y="1334643"/>
              <a:ext cx="8008" cy="5158"/>
            </a:xfrm>
            <a:custGeom>
              <a:avLst/>
              <a:gdLst>
                <a:gd name="T0" fmla="*/ 0 w 4"/>
                <a:gd name="T1" fmla="*/ 0 h 3"/>
                <a:gd name="T2" fmla="*/ 5953 w 4"/>
                <a:gd name="T3" fmla="*/ 2117 h 3"/>
                <a:gd name="T4" fmla="*/ 5953 w 4"/>
                <a:gd name="T5" fmla="*/ 4233 h 3"/>
                <a:gd name="T6" fmla="*/ 0 w 4"/>
                <a:gd name="T7" fmla="*/ 4233 h 3"/>
                <a:gd name="T8" fmla="*/ 0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0" y="0"/>
                  </a:moveTo>
                  <a:cubicBezTo>
                    <a:pt x="1" y="0"/>
                    <a:pt x="2" y="0"/>
                    <a:pt x="3" y="1"/>
                  </a:cubicBezTo>
                  <a:cubicBezTo>
                    <a:pt x="3" y="1"/>
                    <a:pt x="4" y="2"/>
                    <a:pt x="3" y="2"/>
                  </a:cubicBezTo>
                  <a:cubicBezTo>
                    <a:pt x="3" y="3"/>
                    <a:pt x="1" y="2"/>
                    <a:pt x="0" y="2"/>
                  </a:cubicBezTo>
                  <a:cubicBezTo>
                    <a:pt x="0" y="1"/>
                    <a:pt x="0"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6" name="Freeform 295"/>
            <p:cNvSpPr>
              <a:spLocks noChangeAspect="1"/>
            </p:cNvSpPr>
            <p:nvPr/>
          </p:nvSpPr>
          <p:spPr bwMode="auto">
            <a:xfrm>
              <a:off x="4168368" y="1341091"/>
              <a:ext cx="8009" cy="6449"/>
            </a:xfrm>
            <a:custGeom>
              <a:avLst/>
              <a:gdLst>
                <a:gd name="T0" fmla="*/ 1985 w 4"/>
                <a:gd name="T1" fmla="*/ 1985 h 4"/>
                <a:gd name="T2" fmla="*/ 5953 w 4"/>
                <a:gd name="T3" fmla="*/ 3969 h 4"/>
                <a:gd name="T4" fmla="*/ 5953 w 4"/>
                <a:gd name="T5" fmla="*/ 7938 h 4"/>
                <a:gd name="T6" fmla="*/ 1985 w 4"/>
                <a:gd name="T7" fmla="*/ 3969 h 4"/>
                <a:gd name="T8" fmla="*/ 1985 w 4"/>
                <a:gd name="T9" fmla="*/ 198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1"/>
                  </a:moveTo>
                  <a:cubicBezTo>
                    <a:pt x="2" y="1"/>
                    <a:pt x="3" y="1"/>
                    <a:pt x="3" y="2"/>
                  </a:cubicBezTo>
                  <a:cubicBezTo>
                    <a:pt x="4" y="3"/>
                    <a:pt x="4" y="4"/>
                    <a:pt x="3" y="4"/>
                  </a:cubicBezTo>
                  <a:cubicBezTo>
                    <a:pt x="2" y="4"/>
                    <a:pt x="1" y="3"/>
                    <a:pt x="1" y="2"/>
                  </a:cubicBezTo>
                  <a:cubicBezTo>
                    <a:pt x="0" y="1"/>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7" name="Freeform 296"/>
            <p:cNvSpPr>
              <a:spLocks noChangeAspect="1"/>
            </p:cNvSpPr>
            <p:nvPr/>
          </p:nvSpPr>
          <p:spPr bwMode="auto">
            <a:xfrm>
              <a:off x="4176377" y="1319167"/>
              <a:ext cx="8008" cy="5158"/>
            </a:xfrm>
            <a:custGeom>
              <a:avLst/>
              <a:gdLst>
                <a:gd name="T0" fmla="*/ 1984 w 4"/>
                <a:gd name="T1" fmla="*/ 0 h 3"/>
                <a:gd name="T2" fmla="*/ 5953 w 4"/>
                <a:gd name="T3" fmla="*/ 2117 h 3"/>
                <a:gd name="T4" fmla="*/ 5953 w 4"/>
                <a:gd name="T5" fmla="*/ 6350 h 3"/>
                <a:gd name="T6" fmla="*/ 1984 w 4"/>
                <a:gd name="T7" fmla="*/ 2117 h 3"/>
                <a:gd name="T8" fmla="*/ 1984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2" y="0"/>
                    <a:pt x="3" y="1"/>
                    <a:pt x="3" y="1"/>
                  </a:cubicBezTo>
                  <a:cubicBezTo>
                    <a:pt x="3" y="2"/>
                    <a:pt x="4" y="3"/>
                    <a:pt x="3" y="3"/>
                  </a:cubicBezTo>
                  <a:cubicBezTo>
                    <a:pt x="2" y="3"/>
                    <a:pt x="1" y="2"/>
                    <a:pt x="1"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8" name="Freeform 297"/>
            <p:cNvSpPr>
              <a:spLocks noChangeAspect="1"/>
            </p:cNvSpPr>
            <p:nvPr/>
          </p:nvSpPr>
          <p:spPr bwMode="auto">
            <a:xfrm>
              <a:off x="4158758" y="1324325"/>
              <a:ext cx="8009" cy="3868"/>
            </a:xfrm>
            <a:custGeom>
              <a:avLst/>
              <a:gdLst>
                <a:gd name="T0" fmla="*/ 1985 w 4"/>
                <a:gd name="T1" fmla="*/ 0 h 3"/>
                <a:gd name="T2" fmla="*/ 5953 w 4"/>
                <a:gd name="T3" fmla="*/ 1587 h 3"/>
                <a:gd name="T4" fmla="*/ 5953 w 4"/>
                <a:gd name="T5" fmla="*/ 4762 h 3"/>
                <a:gd name="T6" fmla="*/ 0 w 4"/>
                <a:gd name="T7" fmla="*/ 3175 h 3"/>
                <a:gd name="T8" fmla="*/ 1985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1" y="0"/>
                    <a:pt x="2" y="1"/>
                    <a:pt x="3" y="1"/>
                  </a:cubicBezTo>
                  <a:cubicBezTo>
                    <a:pt x="3" y="2"/>
                    <a:pt x="4" y="2"/>
                    <a:pt x="3" y="3"/>
                  </a:cubicBezTo>
                  <a:cubicBezTo>
                    <a:pt x="2" y="3"/>
                    <a:pt x="1"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9" name="Freeform 298"/>
            <p:cNvSpPr>
              <a:spLocks noChangeAspect="1"/>
            </p:cNvSpPr>
            <p:nvPr/>
          </p:nvSpPr>
          <p:spPr bwMode="auto">
            <a:xfrm>
              <a:off x="4286895" y="1370754"/>
              <a:ext cx="6407" cy="7738"/>
            </a:xfrm>
            <a:custGeom>
              <a:avLst/>
              <a:gdLst>
                <a:gd name="T0" fmla="*/ 4233 w 3"/>
                <a:gd name="T1" fmla="*/ 1905 h 5"/>
                <a:gd name="T2" fmla="*/ 6350 w 3"/>
                <a:gd name="T3" fmla="*/ 5715 h 5"/>
                <a:gd name="T4" fmla="*/ 2117 w 3"/>
                <a:gd name="T5" fmla="*/ 9525 h 5"/>
                <a:gd name="T6" fmla="*/ 0 w 3"/>
                <a:gd name="T7" fmla="*/ 3810 h 5"/>
                <a:gd name="T8" fmla="*/ 4233 w 3"/>
                <a:gd name="T9" fmla="*/ 190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0" name="Freeform 299"/>
            <p:cNvSpPr>
              <a:spLocks noChangeAspect="1"/>
            </p:cNvSpPr>
            <p:nvPr/>
          </p:nvSpPr>
          <p:spPr bwMode="auto">
            <a:xfrm>
              <a:off x="4161961" y="1320456"/>
              <a:ext cx="14416" cy="11608"/>
            </a:xfrm>
            <a:custGeom>
              <a:avLst/>
              <a:gdLst>
                <a:gd name="T0" fmla="*/ 0 w 7"/>
                <a:gd name="T1" fmla="*/ 2041 h 7"/>
                <a:gd name="T2" fmla="*/ 10206 w 7"/>
                <a:gd name="T3" fmla="*/ 8165 h 7"/>
                <a:gd name="T4" fmla="*/ 12247 w 7"/>
                <a:gd name="T5" fmla="*/ 14288 h 7"/>
                <a:gd name="T6" fmla="*/ 6123 w 7"/>
                <a:gd name="T7" fmla="*/ 10206 h 7"/>
                <a:gd name="T8" fmla="*/ 0 w 7"/>
                <a:gd name="T9" fmla="*/ 204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1" name="Freeform 300"/>
            <p:cNvSpPr>
              <a:spLocks noChangeAspect="1"/>
            </p:cNvSpPr>
            <p:nvPr/>
          </p:nvSpPr>
          <p:spPr bwMode="auto">
            <a:xfrm>
              <a:off x="4491915" y="1294662"/>
              <a:ext cx="12814" cy="10318"/>
            </a:xfrm>
            <a:custGeom>
              <a:avLst/>
              <a:gdLst>
                <a:gd name="T0" fmla="*/ 1814 w 7"/>
                <a:gd name="T1" fmla="*/ 1814 h 7"/>
                <a:gd name="T2" fmla="*/ 9071 w 7"/>
                <a:gd name="T3" fmla="*/ 7257 h 7"/>
                <a:gd name="T4" fmla="*/ 12700 w 7"/>
                <a:gd name="T5" fmla="*/ 12700 h 7"/>
                <a:gd name="T6" fmla="*/ 5443 w 7"/>
                <a:gd name="T7" fmla="*/ 7257 h 7"/>
                <a:gd name="T8" fmla="*/ 1814 w 7"/>
                <a:gd name="T9" fmla="*/ 1814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2" name="Freeform 301"/>
            <p:cNvSpPr>
              <a:spLocks noChangeAspect="1"/>
            </p:cNvSpPr>
            <p:nvPr/>
          </p:nvSpPr>
          <p:spPr bwMode="auto">
            <a:xfrm>
              <a:off x="4504727" y="1272738"/>
              <a:ext cx="11213" cy="5158"/>
            </a:xfrm>
            <a:custGeom>
              <a:avLst/>
              <a:gdLst>
                <a:gd name="T0" fmla="*/ 0 w 6"/>
                <a:gd name="T1" fmla="*/ 4233 h 3"/>
                <a:gd name="T2" fmla="*/ 5557 w 6"/>
                <a:gd name="T3" fmla="*/ 0 h 3"/>
                <a:gd name="T4" fmla="*/ 11113 w 6"/>
                <a:gd name="T5" fmla="*/ 2117 h 3"/>
                <a:gd name="T6" fmla="*/ 5557 w 6"/>
                <a:gd name="T7" fmla="*/ 4233 h 3"/>
                <a:gd name="T8" fmla="*/ 0 w 6"/>
                <a:gd name="T9" fmla="*/ 423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3" name="Freeform 302"/>
            <p:cNvSpPr>
              <a:spLocks noChangeAspect="1"/>
            </p:cNvSpPr>
            <p:nvPr/>
          </p:nvSpPr>
          <p:spPr bwMode="auto">
            <a:xfrm>
              <a:off x="4589619" y="1200516"/>
              <a:ext cx="8008" cy="9027"/>
            </a:xfrm>
            <a:custGeom>
              <a:avLst/>
              <a:gdLst>
                <a:gd name="T0" fmla="*/ 1984 w 4"/>
                <a:gd name="T1" fmla="*/ 9260 h 6"/>
                <a:gd name="T2" fmla="*/ 3969 w 4"/>
                <a:gd name="T3" fmla="*/ 3704 h 6"/>
                <a:gd name="T4" fmla="*/ 7937 w 4"/>
                <a:gd name="T5" fmla="*/ 1852 h 6"/>
                <a:gd name="T6" fmla="*/ 5953 w 4"/>
                <a:gd name="T7" fmla="*/ 7408 h 6"/>
                <a:gd name="T8" fmla="*/ 1984 w 4"/>
                <a:gd name="T9" fmla="*/ 926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4" name="Freeform 303"/>
            <p:cNvSpPr>
              <a:spLocks noChangeAspect="1"/>
            </p:cNvSpPr>
            <p:nvPr/>
          </p:nvSpPr>
          <p:spPr bwMode="auto">
            <a:xfrm>
              <a:off x="4735375" y="1067679"/>
              <a:ext cx="11213" cy="7738"/>
            </a:xfrm>
            <a:custGeom>
              <a:avLst/>
              <a:gdLst>
                <a:gd name="T0" fmla="*/ 1852 w 6"/>
                <a:gd name="T1" fmla="*/ 1905 h 5"/>
                <a:gd name="T2" fmla="*/ 7409 w 6"/>
                <a:gd name="T3" fmla="*/ 3810 h 5"/>
                <a:gd name="T4" fmla="*/ 9261 w 6"/>
                <a:gd name="T5" fmla="*/ 9525 h 5"/>
                <a:gd name="T6" fmla="*/ 3704 w 6"/>
                <a:gd name="T7" fmla="*/ 5715 h 5"/>
                <a:gd name="T8" fmla="*/ 1852 w 6"/>
                <a:gd name="T9" fmla="*/ 190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1"/>
                  </a:moveTo>
                  <a:cubicBezTo>
                    <a:pt x="2" y="0"/>
                    <a:pt x="3" y="1"/>
                    <a:pt x="4" y="2"/>
                  </a:cubicBezTo>
                  <a:cubicBezTo>
                    <a:pt x="5" y="3"/>
                    <a:pt x="6" y="4"/>
                    <a:pt x="5" y="5"/>
                  </a:cubicBezTo>
                  <a:cubicBezTo>
                    <a:pt x="4" y="5"/>
                    <a:pt x="3" y="4"/>
                    <a:pt x="2" y="3"/>
                  </a:cubicBezTo>
                  <a:cubicBezTo>
                    <a:pt x="2"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5" name="Freeform 304"/>
            <p:cNvSpPr>
              <a:spLocks noChangeAspect="1"/>
            </p:cNvSpPr>
            <p:nvPr/>
          </p:nvSpPr>
          <p:spPr bwMode="auto">
            <a:xfrm>
              <a:off x="4503127" y="1277897"/>
              <a:ext cx="11212" cy="7738"/>
            </a:xfrm>
            <a:custGeom>
              <a:avLst/>
              <a:gdLst>
                <a:gd name="T0" fmla="*/ 1852 w 6"/>
                <a:gd name="T1" fmla="*/ 7620 h 5"/>
                <a:gd name="T2" fmla="*/ 5556 w 6"/>
                <a:gd name="T3" fmla="*/ 1905 h 5"/>
                <a:gd name="T4" fmla="*/ 11112 w 6"/>
                <a:gd name="T5" fmla="*/ 1905 h 5"/>
                <a:gd name="T6" fmla="*/ 7408 w 6"/>
                <a:gd name="T7" fmla="*/ 7620 h 5"/>
                <a:gd name="T8" fmla="*/ 1852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6" name="Freeform 305"/>
            <p:cNvSpPr>
              <a:spLocks noChangeAspect="1"/>
            </p:cNvSpPr>
            <p:nvPr/>
          </p:nvSpPr>
          <p:spPr bwMode="auto">
            <a:xfrm>
              <a:off x="4168368" y="1320456"/>
              <a:ext cx="9610" cy="7738"/>
            </a:xfrm>
            <a:custGeom>
              <a:avLst/>
              <a:gdLst>
                <a:gd name="T0" fmla="*/ 0 w 5"/>
                <a:gd name="T1" fmla="*/ 0 h 5"/>
                <a:gd name="T2" fmla="*/ 7620 w 5"/>
                <a:gd name="T3" fmla="*/ 3810 h 5"/>
                <a:gd name="T4" fmla="*/ 9525 w 5"/>
                <a:gd name="T5" fmla="*/ 9525 h 5"/>
                <a:gd name="T6" fmla="*/ 5715 w 5"/>
                <a:gd name="T7" fmla="*/ 5715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7" name="Freeform 306"/>
            <p:cNvSpPr>
              <a:spLocks noChangeAspect="1"/>
            </p:cNvSpPr>
            <p:nvPr/>
          </p:nvSpPr>
          <p:spPr bwMode="auto">
            <a:xfrm>
              <a:off x="4688925" y="1466190"/>
              <a:ext cx="17618" cy="37400"/>
            </a:xfrm>
            <a:custGeom>
              <a:avLst/>
              <a:gdLst>
                <a:gd name="T0" fmla="*/ 17462 w 9"/>
                <a:gd name="T1" fmla="*/ 1918 h 24"/>
                <a:gd name="T2" fmla="*/ 9701 w 9"/>
                <a:gd name="T3" fmla="*/ 30691 h 24"/>
                <a:gd name="T4" fmla="*/ 1940 w 9"/>
                <a:gd name="T5" fmla="*/ 44119 h 24"/>
                <a:gd name="T6" fmla="*/ 1940 w 9"/>
                <a:gd name="T7" fmla="*/ 36446 h 24"/>
                <a:gd name="T8" fmla="*/ 9701 w 9"/>
                <a:gd name="T9" fmla="*/ 9591 h 24"/>
                <a:gd name="T10" fmla="*/ 13582 w 9"/>
                <a:gd name="T11" fmla="*/ 1918 h 24"/>
                <a:gd name="T12" fmla="*/ 17462 w 9"/>
                <a:gd name="T13" fmla="*/ 1918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8" name="Freeform 307"/>
            <p:cNvSpPr>
              <a:spLocks noChangeAspect="1"/>
            </p:cNvSpPr>
            <p:nvPr/>
          </p:nvSpPr>
          <p:spPr bwMode="auto">
            <a:xfrm>
              <a:off x="4725763" y="1450714"/>
              <a:ext cx="28831" cy="32242"/>
            </a:xfrm>
            <a:custGeom>
              <a:avLst/>
              <a:gdLst>
                <a:gd name="T0" fmla="*/ 28575 w 15"/>
                <a:gd name="T1" fmla="*/ 1890 h 21"/>
                <a:gd name="T2" fmla="*/ 15240 w 15"/>
                <a:gd name="T3" fmla="*/ 11339 h 21"/>
                <a:gd name="T4" fmla="*/ 15240 w 15"/>
                <a:gd name="T5" fmla="*/ 28348 h 21"/>
                <a:gd name="T6" fmla="*/ 7620 w 15"/>
                <a:gd name="T7" fmla="*/ 39687 h 21"/>
                <a:gd name="T8" fmla="*/ 7620 w 15"/>
                <a:gd name="T9" fmla="*/ 28348 h 21"/>
                <a:gd name="T10" fmla="*/ 3810 w 15"/>
                <a:gd name="T11" fmla="*/ 15119 h 21"/>
                <a:gd name="T12" fmla="*/ 20955 w 15"/>
                <a:gd name="T13" fmla="*/ 0 h 21"/>
                <a:gd name="T14" fmla="*/ 28575 w 15"/>
                <a:gd name="T15" fmla="*/ 1890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9" name="Freeform 308"/>
            <p:cNvSpPr>
              <a:spLocks noChangeAspect="1"/>
            </p:cNvSpPr>
            <p:nvPr/>
          </p:nvSpPr>
          <p:spPr bwMode="auto">
            <a:xfrm>
              <a:off x="4754595" y="1378492"/>
              <a:ext cx="20823" cy="11607"/>
            </a:xfrm>
            <a:custGeom>
              <a:avLst/>
              <a:gdLst>
                <a:gd name="T0" fmla="*/ 1876 w 11"/>
                <a:gd name="T1" fmla="*/ 5358 h 8"/>
                <a:gd name="T2" fmla="*/ 9381 w 11"/>
                <a:gd name="T3" fmla="*/ 8929 h 8"/>
                <a:gd name="T4" fmla="*/ 15009 w 11"/>
                <a:gd name="T5" fmla="*/ 1786 h 8"/>
                <a:gd name="T6" fmla="*/ 20638 w 11"/>
                <a:gd name="T7" fmla="*/ 10715 h 8"/>
                <a:gd name="T8" fmla="*/ 13133 w 11"/>
                <a:gd name="T9" fmla="*/ 12501 h 8"/>
                <a:gd name="T10" fmla="*/ 7505 w 11"/>
                <a:gd name="T11" fmla="*/ 10715 h 8"/>
                <a:gd name="T12" fmla="*/ 3752 w 11"/>
                <a:gd name="T13" fmla="*/ 12501 h 8"/>
                <a:gd name="T14" fmla="*/ 1876 w 11"/>
                <a:gd name="T15" fmla="*/ 5358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0" name="Freeform 309"/>
            <p:cNvSpPr>
              <a:spLocks noChangeAspect="1"/>
            </p:cNvSpPr>
            <p:nvPr/>
          </p:nvSpPr>
          <p:spPr bwMode="auto">
            <a:xfrm>
              <a:off x="4812257" y="1382360"/>
              <a:ext cx="16017" cy="11608"/>
            </a:xfrm>
            <a:custGeom>
              <a:avLst/>
              <a:gdLst>
                <a:gd name="T0" fmla="*/ 1984 w 8"/>
                <a:gd name="T1" fmla="*/ 2041 h 7"/>
                <a:gd name="T2" fmla="*/ 13891 w 8"/>
                <a:gd name="T3" fmla="*/ 2041 h 7"/>
                <a:gd name="T4" fmla="*/ 13891 w 8"/>
                <a:gd name="T5" fmla="*/ 12247 h 7"/>
                <a:gd name="T6" fmla="*/ 1984 w 8"/>
                <a:gd name="T7" fmla="*/ 10206 h 7"/>
                <a:gd name="T8" fmla="*/ 3969 w 8"/>
                <a:gd name="T9" fmla="*/ 6123 h 7"/>
                <a:gd name="T10" fmla="*/ 1984 w 8"/>
                <a:gd name="T11" fmla="*/ 204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1" name="Freeform 310"/>
            <p:cNvSpPr>
              <a:spLocks noChangeAspect="1"/>
            </p:cNvSpPr>
            <p:nvPr/>
          </p:nvSpPr>
          <p:spPr bwMode="auto">
            <a:xfrm>
              <a:off x="4591220" y="1134743"/>
              <a:ext cx="11213" cy="15476"/>
            </a:xfrm>
            <a:custGeom>
              <a:avLst/>
              <a:gdLst>
                <a:gd name="T0" fmla="*/ 9261 w 6"/>
                <a:gd name="T1" fmla="*/ 1905 h 10"/>
                <a:gd name="T2" fmla="*/ 9261 w 6"/>
                <a:gd name="T3" fmla="*/ 11430 h 10"/>
                <a:gd name="T4" fmla="*/ 3704 w 6"/>
                <a:gd name="T5" fmla="*/ 17145 h 10"/>
                <a:gd name="T6" fmla="*/ 3704 w 6"/>
                <a:gd name="T7" fmla="*/ 7620 h 10"/>
                <a:gd name="T8" fmla="*/ 9261 w 6"/>
                <a:gd name="T9" fmla="*/ 1905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2" name="Freeform 311"/>
            <p:cNvSpPr>
              <a:spLocks noChangeAspect="1"/>
            </p:cNvSpPr>
            <p:nvPr/>
          </p:nvSpPr>
          <p:spPr bwMode="auto">
            <a:xfrm>
              <a:off x="4608839" y="1127004"/>
              <a:ext cx="11212" cy="12897"/>
            </a:xfrm>
            <a:custGeom>
              <a:avLst/>
              <a:gdLst>
                <a:gd name="T0" fmla="*/ 9260 w 6"/>
                <a:gd name="T1" fmla="*/ 1984 h 8"/>
                <a:gd name="T2" fmla="*/ 11112 w 6"/>
                <a:gd name="T3" fmla="*/ 7938 h 8"/>
                <a:gd name="T4" fmla="*/ 3704 w 6"/>
                <a:gd name="T5" fmla="*/ 13891 h 8"/>
                <a:gd name="T6" fmla="*/ 1852 w 6"/>
                <a:gd name="T7" fmla="*/ 3969 h 8"/>
                <a:gd name="T8" fmla="*/ 9260 w 6"/>
                <a:gd name="T9" fmla="*/ 1984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3" name="Freeform 312"/>
            <p:cNvSpPr>
              <a:spLocks noChangeAspect="1"/>
            </p:cNvSpPr>
            <p:nvPr/>
          </p:nvSpPr>
          <p:spPr bwMode="auto">
            <a:xfrm>
              <a:off x="4626458" y="1123136"/>
              <a:ext cx="14416" cy="14186"/>
            </a:xfrm>
            <a:custGeom>
              <a:avLst/>
              <a:gdLst>
                <a:gd name="T0" fmla="*/ 12502 w 8"/>
                <a:gd name="T1" fmla="*/ 1940 h 9"/>
                <a:gd name="T2" fmla="*/ 5358 w 8"/>
                <a:gd name="T3" fmla="*/ 3880 h 9"/>
                <a:gd name="T4" fmla="*/ 1786 w 8"/>
                <a:gd name="T5" fmla="*/ 13582 h 9"/>
                <a:gd name="T6" fmla="*/ 12502 w 8"/>
                <a:gd name="T7" fmla="*/ 9701 h 9"/>
                <a:gd name="T8" fmla="*/ 12502 w 8"/>
                <a:gd name="T9" fmla="*/ 194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4" name="Freeform 313"/>
            <p:cNvSpPr>
              <a:spLocks noChangeAspect="1"/>
            </p:cNvSpPr>
            <p:nvPr/>
          </p:nvSpPr>
          <p:spPr bwMode="auto">
            <a:xfrm>
              <a:off x="4708146" y="1080576"/>
              <a:ext cx="14415" cy="10318"/>
            </a:xfrm>
            <a:custGeom>
              <a:avLst/>
              <a:gdLst>
                <a:gd name="T0" fmla="*/ 12246 w 7"/>
                <a:gd name="T1" fmla="*/ 0 h 6"/>
                <a:gd name="T2" fmla="*/ 6123 w 7"/>
                <a:gd name="T3" fmla="*/ 2117 h 6"/>
                <a:gd name="T4" fmla="*/ 2041 w 7"/>
                <a:gd name="T5" fmla="*/ 10583 h 6"/>
                <a:gd name="T6" fmla="*/ 12246 w 7"/>
                <a:gd name="T7" fmla="*/ 6350 h 6"/>
                <a:gd name="T8" fmla="*/ 12246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5" name="Freeform 314"/>
            <p:cNvSpPr>
              <a:spLocks noChangeAspect="1"/>
            </p:cNvSpPr>
            <p:nvPr/>
          </p:nvSpPr>
          <p:spPr bwMode="auto">
            <a:xfrm>
              <a:off x="4722561" y="1075417"/>
              <a:ext cx="12814" cy="9029"/>
            </a:xfrm>
            <a:custGeom>
              <a:avLst/>
              <a:gdLst>
                <a:gd name="T0" fmla="*/ 10886 w 7"/>
                <a:gd name="T1" fmla="*/ 0 h 6"/>
                <a:gd name="T2" fmla="*/ 5443 w 7"/>
                <a:gd name="T3" fmla="*/ 1852 h 6"/>
                <a:gd name="T4" fmla="*/ 1814 w 7"/>
                <a:gd name="T5" fmla="*/ 9261 h 6"/>
                <a:gd name="T6" fmla="*/ 10886 w 7"/>
                <a:gd name="T7" fmla="*/ 5557 h 6"/>
                <a:gd name="T8" fmla="*/ 10886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2" y="6"/>
                    <a:pt x="4" y="4"/>
                    <a:pt x="6" y="3"/>
                  </a:cubicBezTo>
                  <a:cubicBezTo>
                    <a:pt x="6" y="2"/>
                    <a:pt x="7" y="1"/>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6" name="Freeform 315"/>
            <p:cNvSpPr>
              <a:spLocks noChangeAspect="1"/>
            </p:cNvSpPr>
            <p:nvPr/>
          </p:nvSpPr>
          <p:spPr bwMode="auto">
            <a:xfrm>
              <a:off x="4648882" y="1094762"/>
              <a:ext cx="19221" cy="20635"/>
            </a:xfrm>
            <a:custGeom>
              <a:avLst/>
              <a:gdLst>
                <a:gd name="T0" fmla="*/ 13335 w 10"/>
                <a:gd name="T1" fmla="*/ 0 h 13"/>
                <a:gd name="T2" fmla="*/ 17145 w 10"/>
                <a:gd name="T3" fmla="*/ 11723 h 13"/>
                <a:gd name="T4" fmla="*/ 1905 w 10"/>
                <a:gd name="T5" fmla="*/ 15631 h 13"/>
                <a:gd name="T6" fmla="*/ 0 w 10"/>
                <a:gd name="T7" fmla="*/ 23446 h 13"/>
                <a:gd name="T8" fmla="*/ 1905 w 10"/>
                <a:gd name="T9" fmla="*/ 9769 h 13"/>
                <a:gd name="T10" fmla="*/ 13335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7" name="Freeform 316"/>
            <p:cNvSpPr>
              <a:spLocks noChangeAspect="1"/>
            </p:cNvSpPr>
            <p:nvPr/>
          </p:nvSpPr>
          <p:spPr bwMode="auto">
            <a:xfrm>
              <a:off x="4629661" y="1102501"/>
              <a:ext cx="16017" cy="19345"/>
            </a:xfrm>
            <a:custGeom>
              <a:avLst/>
              <a:gdLst>
                <a:gd name="T0" fmla="*/ 13891 w 8"/>
                <a:gd name="T1" fmla="*/ 3969 h 12"/>
                <a:gd name="T2" fmla="*/ 15875 w 8"/>
                <a:gd name="T3" fmla="*/ 19843 h 12"/>
                <a:gd name="T4" fmla="*/ 7938 w 8"/>
                <a:gd name="T5" fmla="*/ 23812 h 12"/>
                <a:gd name="T6" fmla="*/ 7938 w 8"/>
                <a:gd name="T7" fmla="*/ 17859 h 12"/>
                <a:gd name="T8" fmla="*/ 1984 w 8"/>
                <a:gd name="T9" fmla="*/ 17859 h 12"/>
                <a:gd name="T10" fmla="*/ 3969 w 8"/>
                <a:gd name="T11" fmla="*/ 11906 h 12"/>
                <a:gd name="T12" fmla="*/ 9922 w 8"/>
                <a:gd name="T13" fmla="*/ 11906 h 12"/>
                <a:gd name="T14" fmla="*/ 13891 w 8"/>
                <a:gd name="T15" fmla="*/ 3969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8" name="Freeform 317"/>
            <p:cNvSpPr>
              <a:spLocks noChangeAspect="1"/>
            </p:cNvSpPr>
            <p:nvPr/>
          </p:nvSpPr>
          <p:spPr bwMode="auto">
            <a:xfrm>
              <a:off x="4682518" y="1088314"/>
              <a:ext cx="20822" cy="20635"/>
            </a:xfrm>
            <a:custGeom>
              <a:avLst/>
              <a:gdLst>
                <a:gd name="T0" fmla="*/ 20637 w 11"/>
                <a:gd name="T1" fmla="*/ 1954 h 13"/>
                <a:gd name="T2" fmla="*/ 16885 w 11"/>
                <a:gd name="T3" fmla="*/ 17585 h 13"/>
                <a:gd name="T4" fmla="*/ 11257 w 11"/>
                <a:gd name="T5" fmla="*/ 19538 h 13"/>
                <a:gd name="T6" fmla="*/ 5628 w 11"/>
                <a:gd name="T7" fmla="*/ 17585 h 13"/>
                <a:gd name="T8" fmla="*/ 3752 w 11"/>
                <a:gd name="T9" fmla="*/ 25400 h 13"/>
                <a:gd name="T10" fmla="*/ 1876 w 11"/>
                <a:gd name="T11" fmla="*/ 15631 h 13"/>
                <a:gd name="T12" fmla="*/ 1876 w 11"/>
                <a:gd name="T13" fmla="*/ 5862 h 13"/>
                <a:gd name="T14" fmla="*/ 15009 w 11"/>
                <a:gd name="T15" fmla="*/ 1954 h 13"/>
                <a:gd name="T16" fmla="*/ 20637 w 11"/>
                <a:gd name="T17" fmla="*/ 1954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9" name="Freeform 318"/>
            <p:cNvSpPr>
              <a:spLocks noChangeAspect="1"/>
            </p:cNvSpPr>
            <p:nvPr/>
          </p:nvSpPr>
          <p:spPr bwMode="auto">
            <a:xfrm>
              <a:off x="4788231" y="1047044"/>
              <a:ext cx="32034" cy="14187"/>
            </a:xfrm>
            <a:custGeom>
              <a:avLst/>
              <a:gdLst>
                <a:gd name="T0" fmla="*/ 29882 w 17"/>
                <a:gd name="T1" fmla="*/ 1940 h 9"/>
                <a:gd name="T2" fmla="*/ 18676 w 17"/>
                <a:gd name="T3" fmla="*/ 13582 h 9"/>
                <a:gd name="T4" fmla="*/ 1868 w 17"/>
                <a:gd name="T5" fmla="*/ 13582 h 9"/>
                <a:gd name="T6" fmla="*/ 11206 w 17"/>
                <a:gd name="T7" fmla="*/ 5821 h 9"/>
                <a:gd name="T8" fmla="*/ 22412 w 17"/>
                <a:gd name="T9" fmla="*/ 3881 h 9"/>
                <a:gd name="T10" fmla="*/ 29882 w 17"/>
                <a:gd name="T11" fmla="*/ 194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0" name="Freeform 319"/>
            <p:cNvSpPr>
              <a:spLocks noChangeAspect="1"/>
            </p:cNvSpPr>
            <p:nvPr/>
          </p:nvSpPr>
          <p:spPr bwMode="auto">
            <a:xfrm>
              <a:off x="4807452" y="1054782"/>
              <a:ext cx="14415" cy="12897"/>
            </a:xfrm>
            <a:custGeom>
              <a:avLst/>
              <a:gdLst>
                <a:gd name="T0" fmla="*/ 5358 w 8"/>
                <a:gd name="T1" fmla="*/ 3969 h 8"/>
                <a:gd name="T2" fmla="*/ 0 w 8"/>
                <a:gd name="T3" fmla="*/ 7938 h 8"/>
                <a:gd name="T4" fmla="*/ 3572 w 8"/>
                <a:gd name="T5" fmla="*/ 15875 h 8"/>
                <a:gd name="T6" fmla="*/ 12501 w 8"/>
                <a:gd name="T7" fmla="*/ 5953 h 8"/>
                <a:gd name="T8" fmla="*/ 12501 w 8"/>
                <a:gd name="T9" fmla="*/ 0 h 8"/>
                <a:gd name="T10" fmla="*/ 5358 w 8"/>
                <a:gd name="T11" fmla="*/ 3969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1" name="Freeform 320"/>
            <p:cNvSpPr>
              <a:spLocks noChangeAspect="1"/>
            </p:cNvSpPr>
            <p:nvPr/>
          </p:nvSpPr>
          <p:spPr bwMode="auto">
            <a:xfrm>
              <a:off x="4653688" y="1800217"/>
              <a:ext cx="4805" cy="20635"/>
            </a:xfrm>
            <a:custGeom>
              <a:avLst/>
              <a:gdLst>
                <a:gd name="T0" fmla="*/ 3175 w 3"/>
                <a:gd name="T1" fmla="*/ 1954 h 13"/>
                <a:gd name="T2" fmla="*/ 3175 w 3"/>
                <a:gd name="T3" fmla="*/ 25400 h 13"/>
                <a:gd name="T4" fmla="*/ 1587 w 3"/>
                <a:gd name="T5" fmla="*/ 13677 h 13"/>
                <a:gd name="T6" fmla="*/ 3175 w 3"/>
                <a:gd name="T7" fmla="*/ 1954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2" name="Freeform 321"/>
            <p:cNvSpPr>
              <a:spLocks noChangeAspect="1"/>
            </p:cNvSpPr>
            <p:nvPr/>
          </p:nvSpPr>
          <p:spPr bwMode="auto">
            <a:xfrm>
              <a:off x="4664899" y="1827301"/>
              <a:ext cx="14416" cy="11607"/>
            </a:xfrm>
            <a:custGeom>
              <a:avLst/>
              <a:gdLst>
                <a:gd name="T0" fmla="*/ 1786 w 8"/>
                <a:gd name="T1" fmla="*/ 1786 h 8"/>
                <a:gd name="T2" fmla="*/ 14288 w 8"/>
                <a:gd name="T3" fmla="*/ 14287 h 8"/>
                <a:gd name="T4" fmla="*/ 7144 w 8"/>
                <a:gd name="T5" fmla="*/ 8929 h 8"/>
                <a:gd name="T6" fmla="*/ 1786 w 8"/>
                <a:gd name="T7" fmla="*/ 1786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3" name="Freeform 322"/>
            <p:cNvSpPr>
              <a:spLocks noChangeAspect="1"/>
            </p:cNvSpPr>
            <p:nvPr/>
          </p:nvSpPr>
          <p:spPr bwMode="auto">
            <a:xfrm>
              <a:off x="4660094" y="1813113"/>
              <a:ext cx="12814" cy="9029"/>
            </a:xfrm>
            <a:custGeom>
              <a:avLst/>
              <a:gdLst>
                <a:gd name="T0" fmla="*/ 2117 w 6"/>
                <a:gd name="T1" fmla="*/ 1852 h 6"/>
                <a:gd name="T2" fmla="*/ 12700 w 6"/>
                <a:gd name="T3" fmla="*/ 11113 h 6"/>
                <a:gd name="T4" fmla="*/ 6350 w 6"/>
                <a:gd name="T5" fmla="*/ 7409 h 6"/>
                <a:gd name="T6" fmla="*/ 2117 w 6"/>
                <a:gd name="T7" fmla="*/ 1852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4" name="Freeform 323"/>
            <p:cNvSpPr>
              <a:spLocks noChangeAspect="1"/>
            </p:cNvSpPr>
            <p:nvPr/>
          </p:nvSpPr>
          <p:spPr bwMode="auto">
            <a:xfrm>
              <a:off x="4704942" y="1853094"/>
              <a:ext cx="16017" cy="3868"/>
            </a:xfrm>
            <a:custGeom>
              <a:avLst/>
              <a:gdLst>
                <a:gd name="T0" fmla="*/ 0 w 8"/>
                <a:gd name="T1" fmla="*/ 0 h 2"/>
                <a:gd name="T2" fmla="*/ 15875 w 8"/>
                <a:gd name="T3" fmla="*/ 4762 h 2"/>
                <a:gd name="T4" fmla="*/ 7938 w 8"/>
                <a:gd name="T5" fmla="*/ 4762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5" name="Freeform 324"/>
            <p:cNvSpPr>
              <a:spLocks noChangeAspect="1"/>
            </p:cNvSpPr>
            <p:nvPr/>
          </p:nvSpPr>
          <p:spPr bwMode="auto">
            <a:xfrm>
              <a:off x="4711349" y="1859542"/>
              <a:ext cx="16017" cy="2579"/>
            </a:xfrm>
            <a:custGeom>
              <a:avLst/>
              <a:gdLst>
                <a:gd name="T0" fmla="*/ 1764 w 9"/>
                <a:gd name="T1" fmla="*/ 1588 h 2"/>
                <a:gd name="T2" fmla="*/ 15875 w 9"/>
                <a:gd name="T3" fmla="*/ 1588 h 2"/>
                <a:gd name="T4" fmla="*/ 8819 w 9"/>
                <a:gd name="T5" fmla="*/ 0 h 2"/>
                <a:gd name="T6" fmla="*/ 1764 w 9"/>
                <a:gd name="T7" fmla="*/ 1588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6" name="Freeform 325"/>
            <p:cNvSpPr>
              <a:spLocks noChangeAspect="1"/>
            </p:cNvSpPr>
            <p:nvPr/>
          </p:nvSpPr>
          <p:spPr bwMode="auto">
            <a:xfrm>
              <a:off x="4791434" y="1524225"/>
              <a:ext cx="8008" cy="10318"/>
            </a:xfrm>
            <a:custGeom>
              <a:avLst/>
              <a:gdLst>
                <a:gd name="T0" fmla="*/ 5953 w 4"/>
                <a:gd name="T1" fmla="*/ 1814 h 7"/>
                <a:gd name="T2" fmla="*/ 1984 w 4"/>
                <a:gd name="T3" fmla="*/ 5443 h 7"/>
                <a:gd name="T4" fmla="*/ 1984 w 4"/>
                <a:gd name="T5" fmla="*/ 10886 h 7"/>
                <a:gd name="T6" fmla="*/ 5953 w 4"/>
                <a:gd name="T7" fmla="*/ 7257 h 7"/>
                <a:gd name="T8" fmla="*/ 5953 w 4"/>
                <a:gd name="T9" fmla="*/ 1814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7" name="Freeform 326"/>
            <p:cNvSpPr>
              <a:spLocks noChangeAspect="1"/>
            </p:cNvSpPr>
            <p:nvPr/>
          </p:nvSpPr>
          <p:spPr bwMode="auto">
            <a:xfrm>
              <a:off x="4861910" y="1960137"/>
              <a:ext cx="41645" cy="29663"/>
            </a:xfrm>
            <a:custGeom>
              <a:avLst/>
              <a:gdLst>
                <a:gd name="T0" fmla="*/ 0 w 21"/>
                <a:gd name="T1" fmla="*/ 3843 h 19"/>
                <a:gd name="T2" fmla="*/ 7862 w 21"/>
                <a:gd name="T3" fmla="*/ 1922 h 19"/>
                <a:gd name="T4" fmla="*/ 17689 w 21"/>
                <a:gd name="T5" fmla="*/ 7687 h 19"/>
                <a:gd name="T6" fmla="*/ 27517 w 21"/>
                <a:gd name="T7" fmla="*/ 13452 h 19"/>
                <a:gd name="T8" fmla="*/ 33413 w 21"/>
                <a:gd name="T9" fmla="*/ 26904 h 19"/>
                <a:gd name="T10" fmla="*/ 39310 w 21"/>
                <a:gd name="T11" fmla="*/ 28826 h 19"/>
                <a:gd name="T12" fmla="*/ 37344 w 21"/>
                <a:gd name="T13" fmla="*/ 34591 h 19"/>
                <a:gd name="T14" fmla="*/ 31448 w 21"/>
                <a:gd name="T15" fmla="*/ 30748 h 19"/>
                <a:gd name="T16" fmla="*/ 29482 w 21"/>
                <a:gd name="T17" fmla="*/ 26904 h 19"/>
                <a:gd name="T18" fmla="*/ 25551 w 21"/>
                <a:gd name="T19" fmla="*/ 21139 h 19"/>
                <a:gd name="T20" fmla="*/ 17689 w 21"/>
                <a:gd name="T21" fmla="*/ 21139 h 19"/>
                <a:gd name="T22" fmla="*/ 13758 w 21"/>
                <a:gd name="T23" fmla="*/ 13452 h 19"/>
                <a:gd name="T24" fmla="*/ 7862 w 21"/>
                <a:gd name="T25" fmla="*/ 7687 h 19"/>
                <a:gd name="T26" fmla="*/ 0 w 21"/>
                <a:gd name="T27" fmla="*/ 384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8" name="Freeform 327"/>
            <p:cNvSpPr>
              <a:spLocks noChangeAspect="1"/>
            </p:cNvSpPr>
            <p:nvPr/>
          </p:nvSpPr>
          <p:spPr bwMode="auto">
            <a:xfrm>
              <a:off x="4801045" y="1974323"/>
              <a:ext cx="11212" cy="12897"/>
            </a:xfrm>
            <a:custGeom>
              <a:avLst/>
              <a:gdLst>
                <a:gd name="T0" fmla="*/ 7408 w 6"/>
                <a:gd name="T1" fmla="*/ 0 h 8"/>
                <a:gd name="T2" fmla="*/ 11112 w 6"/>
                <a:gd name="T3" fmla="*/ 13891 h 8"/>
                <a:gd name="T4" fmla="*/ 0 w 6"/>
                <a:gd name="T5" fmla="*/ 9922 h 8"/>
                <a:gd name="T6" fmla="*/ 7408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9" name="Freeform 328"/>
            <p:cNvSpPr>
              <a:spLocks noChangeAspect="1"/>
            </p:cNvSpPr>
            <p:nvPr/>
          </p:nvSpPr>
          <p:spPr bwMode="auto">
            <a:xfrm>
              <a:off x="4785028" y="1942082"/>
              <a:ext cx="12814" cy="11608"/>
            </a:xfrm>
            <a:custGeom>
              <a:avLst/>
              <a:gdLst>
                <a:gd name="T0" fmla="*/ 4233 w 6"/>
                <a:gd name="T1" fmla="*/ 0 h 8"/>
                <a:gd name="T2" fmla="*/ 6350 w 6"/>
                <a:gd name="T3" fmla="*/ 8930 h 8"/>
                <a:gd name="T4" fmla="*/ 10583 w 6"/>
                <a:gd name="T5" fmla="*/ 12502 h 8"/>
                <a:gd name="T6" fmla="*/ 4233 w 6"/>
                <a:gd name="T7" fmla="*/ 10716 h 8"/>
                <a:gd name="T8" fmla="*/ 0 w 6"/>
                <a:gd name="T9" fmla="*/ 0 h 8"/>
                <a:gd name="T10" fmla="*/ 423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0" name="Freeform 329"/>
            <p:cNvSpPr>
              <a:spLocks noChangeAspect="1"/>
            </p:cNvSpPr>
            <p:nvPr/>
          </p:nvSpPr>
          <p:spPr bwMode="auto">
            <a:xfrm>
              <a:off x="4919572" y="2006565"/>
              <a:ext cx="8008" cy="7738"/>
            </a:xfrm>
            <a:custGeom>
              <a:avLst/>
              <a:gdLst>
                <a:gd name="T0" fmla="*/ 3969 w 4"/>
                <a:gd name="T1" fmla="*/ 0 h 5"/>
                <a:gd name="T2" fmla="*/ 7937 w 4"/>
                <a:gd name="T3" fmla="*/ 5715 h 5"/>
                <a:gd name="T4" fmla="*/ 3969 w 4"/>
                <a:gd name="T5" fmla="*/ 9525 h 5"/>
                <a:gd name="T6" fmla="*/ 0 w 4"/>
                <a:gd name="T7" fmla="*/ 5715 h 5"/>
                <a:gd name="T8" fmla="*/ 3969 w 4"/>
                <a:gd name="T9" fmla="*/ 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0"/>
                  </a:moveTo>
                  <a:cubicBezTo>
                    <a:pt x="3" y="0"/>
                    <a:pt x="4" y="2"/>
                    <a:pt x="4" y="3"/>
                  </a:cubicBezTo>
                  <a:cubicBezTo>
                    <a:pt x="4" y="4"/>
                    <a:pt x="3" y="5"/>
                    <a:pt x="2" y="5"/>
                  </a:cubicBezTo>
                  <a:cubicBezTo>
                    <a:pt x="1" y="5"/>
                    <a:pt x="0" y="4"/>
                    <a:pt x="0" y="3"/>
                  </a:cubicBezTo>
                  <a:cubicBezTo>
                    <a:pt x="1"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1" name="Freeform 330"/>
            <p:cNvSpPr>
              <a:spLocks noChangeAspect="1"/>
            </p:cNvSpPr>
            <p:nvPr/>
          </p:nvSpPr>
          <p:spPr bwMode="auto">
            <a:xfrm>
              <a:off x="4919572" y="2025911"/>
              <a:ext cx="6407" cy="3868"/>
            </a:xfrm>
            <a:custGeom>
              <a:avLst/>
              <a:gdLst>
                <a:gd name="T0" fmla="*/ 4233 w 3"/>
                <a:gd name="T1" fmla="*/ 0 h 3"/>
                <a:gd name="T2" fmla="*/ 6350 w 3"/>
                <a:gd name="T3" fmla="*/ 3175 h 3"/>
                <a:gd name="T4" fmla="*/ 4233 w 3"/>
                <a:gd name="T5" fmla="*/ 4762 h 3"/>
                <a:gd name="T6" fmla="*/ 0 w 3"/>
                <a:gd name="T7" fmla="*/ 1587 h 3"/>
                <a:gd name="T8" fmla="*/ 4233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0"/>
                  </a:moveTo>
                  <a:cubicBezTo>
                    <a:pt x="2" y="0"/>
                    <a:pt x="3" y="1"/>
                    <a:pt x="3" y="2"/>
                  </a:cubicBezTo>
                  <a:cubicBezTo>
                    <a:pt x="3" y="2"/>
                    <a:pt x="2" y="3"/>
                    <a:pt x="2" y="3"/>
                  </a:cubicBezTo>
                  <a:cubicBezTo>
                    <a:pt x="1" y="3"/>
                    <a:pt x="0" y="2"/>
                    <a:pt x="0" y="1"/>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2" name="Oval 331"/>
            <p:cNvSpPr>
              <a:spLocks noChangeAspect="1" noChangeArrowheads="1"/>
            </p:cNvSpPr>
            <p:nvPr/>
          </p:nvSpPr>
          <p:spPr bwMode="auto">
            <a:xfrm>
              <a:off x="4903555" y="2011724"/>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3" name="Freeform 332"/>
            <p:cNvSpPr>
              <a:spLocks noChangeAspect="1"/>
            </p:cNvSpPr>
            <p:nvPr/>
          </p:nvSpPr>
          <p:spPr bwMode="auto">
            <a:xfrm>
              <a:off x="4932386" y="2027200"/>
              <a:ext cx="3203" cy="2579"/>
            </a:xfrm>
            <a:custGeom>
              <a:avLst/>
              <a:gdLst>
                <a:gd name="T0" fmla="*/ 1588 w 2"/>
                <a:gd name="T1" fmla="*/ 0 h 2"/>
                <a:gd name="T2" fmla="*/ 3175 w 2"/>
                <a:gd name="T3" fmla="*/ 1588 h 2"/>
                <a:gd name="T4" fmla="*/ 1588 w 2"/>
                <a:gd name="T5" fmla="*/ 3175 h 2"/>
                <a:gd name="T6" fmla="*/ 0 w 2"/>
                <a:gd name="T7" fmla="*/ 1588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1"/>
                  </a:cubicBezTo>
                  <a:cubicBezTo>
                    <a:pt x="2" y="2"/>
                    <a:pt x="1" y="2"/>
                    <a:pt x="1" y="2"/>
                  </a:cubicBezTo>
                  <a:cubicBezTo>
                    <a:pt x="1" y="2"/>
                    <a:pt x="0" y="1"/>
                    <a:pt x="0" y="1"/>
                  </a:cubicBezTo>
                  <a:cubicBezTo>
                    <a:pt x="0" y="0"/>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4" name="Oval 333"/>
            <p:cNvSpPr>
              <a:spLocks noChangeAspect="1" noChangeArrowheads="1"/>
            </p:cNvSpPr>
            <p:nvPr/>
          </p:nvSpPr>
          <p:spPr bwMode="auto">
            <a:xfrm>
              <a:off x="4897147" y="2006565"/>
              <a:ext cx="3203" cy="386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5" name="Freeform 334"/>
            <p:cNvSpPr>
              <a:spLocks noChangeAspect="1"/>
            </p:cNvSpPr>
            <p:nvPr/>
          </p:nvSpPr>
          <p:spPr bwMode="auto">
            <a:xfrm>
              <a:off x="4914766" y="1996248"/>
              <a:ext cx="3203" cy="2579"/>
            </a:xfrm>
            <a:custGeom>
              <a:avLst/>
              <a:gdLst>
                <a:gd name="T0" fmla="*/ 1588 w 2"/>
                <a:gd name="T1" fmla="*/ 0 h 2"/>
                <a:gd name="T2" fmla="*/ 3175 w 2"/>
                <a:gd name="T3" fmla="*/ 3175 h 2"/>
                <a:gd name="T4" fmla="*/ 1588 w 2"/>
                <a:gd name="T5" fmla="*/ 3175 h 2"/>
                <a:gd name="T6" fmla="*/ 0 w 2"/>
                <a:gd name="T7" fmla="*/ 0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6" name="Freeform 335"/>
            <p:cNvSpPr>
              <a:spLocks noChangeAspect="1"/>
            </p:cNvSpPr>
            <p:nvPr/>
          </p:nvSpPr>
          <p:spPr bwMode="auto">
            <a:xfrm>
              <a:off x="4898749" y="1997538"/>
              <a:ext cx="6407" cy="2579"/>
            </a:xfrm>
            <a:custGeom>
              <a:avLst/>
              <a:gdLst>
                <a:gd name="T0" fmla="*/ 4233 w 3"/>
                <a:gd name="T1" fmla="*/ 0 h 2"/>
                <a:gd name="T2" fmla="*/ 6350 w 3"/>
                <a:gd name="T3" fmla="*/ 1588 h 2"/>
                <a:gd name="T4" fmla="*/ 2117 w 3"/>
                <a:gd name="T5" fmla="*/ 3175 h 2"/>
                <a:gd name="T6" fmla="*/ 2117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2"/>
                  </a:cubicBezTo>
                  <a:cubicBezTo>
                    <a:pt x="1" y="1"/>
                    <a:pt x="0" y="1"/>
                    <a:pt x="1" y="0"/>
                  </a:cubicBezTo>
                  <a:cubicBezTo>
                    <a:pt x="1"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7" name="Freeform 336"/>
            <p:cNvSpPr>
              <a:spLocks noChangeAspect="1"/>
            </p:cNvSpPr>
            <p:nvPr/>
          </p:nvSpPr>
          <p:spPr bwMode="auto">
            <a:xfrm>
              <a:off x="4893944" y="1994959"/>
              <a:ext cx="3203" cy="2579"/>
            </a:xfrm>
            <a:custGeom>
              <a:avLst/>
              <a:gdLst>
                <a:gd name="T0" fmla="*/ 1588 w 2"/>
                <a:gd name="T1" fmla="*/ 0 h 2"/>
                <a:gd name="T2" fmla="*/ 3175 w 2"/>
                <a:gd name="T3" fmla="*/ 3175 h 2"/>
                <a:gd name="T4" fmla="*/ 1588 w 2"/>
                <a:gd name="T5" fmla="*/ 3175 h 2"/>
                <a:gd name="T6" fmla="*/ 0 w 2"/>
                <a:gd name="T7" fmla="*/ 0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8" name="Freeform 337"/>
            <p:cNvSpPr>
              <a:spLocks noChangeAspect="1"/>
            </p:cNvSpPr>
            <p:nvPr/>
          </p:nvSpPr>
          <p:spPr bwMode="auto">
            <a:xfrm>
              <a:off x="4917969" y="2018173"/>
              <a:ext cx="6407" cy="2579"/>
            </a:xfrm>
            <a:custGeom>
              <a:avLst/>
              <a:gdLst>
                <a:gd name="T0" fmla="*/ 4233 w 3"/>
                <a:gd name="T1" fmla="*/ 0 h 2"/>
                <a:gd name="T2" fmla="*/ 6350 w 3"/>
                <a:gd name="T3" fmla="*/ 3175 h 2"/>
                <a:gd name="T4" fmla="*/ 2117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2"/>
                  </a:cubicBezTo>
                  <a:cubicBezTo>
                    <a:pt x="3"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9" name="Freeform 338"/>
            <p:cNvSpPr>
              <a:spLocks noChangeAspect="1"/>
            </p:cNvSpPr>
            <p:nvPr/>
          </p:nvSpPr>
          <p:spPr bwMode="auto">
            <a:xfrm>
              <a:off x="4908360" y="2019462"/>
              <a:ext cx="4806" cy="2579"/>
            </a:xfrm>
            <a:custGeom>
              <a:avLst/>
              <a:gdLst>
                <a:gd name="T0" fmla="*/ 2382 w 2"/>
                <a:gd name="T1" fmla="*/ 1588 h 2"/>
                <a:gd name="T2" fmla="*/ 4763 w 2"/>
                <a:gd name="T3" fmla="*/ 3175 h 2"/>
                <a:gd name="T4" fmla="*/ 2382 w 2"/>
                <a:gd name="T5" fmla="*/ 3175 h 2"/>
                <a:gd name="T6" fmla="*/ 0 w 2"/>
                <a:gd name="T7" fmla="*/ 1588 h 2"/>
                <a:gd name="T8" fmla="*/ 238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1"/>
                    <a:pt x="2" y="2"/>
                  </a:cubicBezTo>
                  <a:cubicBezTo>
                    <a:pt x="2" y="2"/>
                    <a:pt x="1" y="2"/>
                    <a:pt x="1" y="2"/>
                  </a:cubicBezTo>
                  <a:cubicBezTo>
                    <a:pt x="1" y="2"/>
                    <a:pt x="0" y="1"/>
                    <a:pt x="0" y="1"/>
                  </a:cubicBezTo>
                  <a:cubicBezTo>
                    <a:pt x="0" y="0"/>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0" name="Freeform 339"/>
            <p:cNvSpPr>
              <a:spLocks noChangeAspect="1"/>
            </p:cNvSpPr>
            <p:nvPr/>
          </p:nvSpPr>
          <p:spPr bwMode="auto">
            <a:xfrm>
              <a:off x="4922775" y="1998827"/>
              <a:ext cx="3203" cy="1290"/>
            </a:xfrm>
            <a:custGeom>
              <a:avLst/>
              <a:gdLst>
                <a:gd name="T0" fmla="*/ 1588 w 2"/>
                <a:gd name="T1" fmla="*/ 0 h 1"/>
                <a:gd name="T2" fmla="*/ 3175 w 2"/>
                <a:gd name="T3" fmla="*/ 1588 h 1"/>
                <a:gd name="T4" fmla="*/ 1588 w 2"/>
                <a:gd name="T5" fmla="*/ 1588 h 1"/>
                <a:gd name="T6" fmla="*/ 0 w 2"/>
                <a:gd name="T7" fmla="*/ 0 h 1"/>
                <a:gd name="T8" fmla="*/ 1588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2" y="0"/>
                    <a:pt x="2" y="0"/>
                    <a:pt x="2" y="1"/>
                  </a:cubicBezTo>
                  <a:cubicBezTo>
                    <a:pt x="2" y="1"/>
                    <a:pt x="1" y="1"/>
                    <a:pt x="1" y="1"/>
                  </a:cubicBezTo>
                  <a:cubicBezTo>
                    <a:pt x="1" y="1"/>
                    <a:pt x="0" y="0"/>
                    <a:pt x="0" y="0"/>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1" name="Freeform 340"/>
            <p:cNvSpPr>
              <a:spLocks noChangeAspect="1"/>
            </p:cNvSpPr>
            <p:nvPr/>
          </p:nvSpPr>
          <p:spPr bwMode="auto">
            <a:xfrm>
              <a:off x="4913164" y="2007855"/>
              <a:ext cx="6407" cy="5158"/>
            </a:xfrm>
            <a:custGeom>
              <a:avLst/>
              <a:gdLst>
                <a:gd name="T0" fmla="*/ 1588 w 4"/>
                <a:gd name="T1" fmla="*/ 2117 h 3"/>
                <a:gd name="T2" fmla="*/ 4762 w 4"/>
                <a:gd name="T3" fmla="*/ 2117 h 3"/>
                <a:gd name="T4" fmla="*/ 3175 w 4"/>
                <a:gd name="T5" fmla="*/ 4233 h 3"/>
                <a:gd name="T6" fmla="*/ 0 w 4"/>
                <a:gd name="T7" fmla="*/ 6350 h 3"/>
                <a:gd name="T8" fmla="*/ 1588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2" y="0"/>
                    <a:pt x="3" y="0"/>
                    <a:pt x="3" y="1"/>
                  </a:cubicBezTo>
                  <a:cubicBezTo>
                    <a:pt x="4" y="1"/>
                    <a:pt x="3" y="2"/>
                    <a:pt x="2" y="2"/>
                  </a:cubicBezTo>
                  <a:cubicBezTo>
                    <a:pt x="2" y="3"/>
                    <a:pt x="1" y="3"/>
                    <a:pt x="0" y="3"/>
                  </a:cubicBezTo>
                  <a:cubicBezTo>
                    <a:pt x="0" y="2"/>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2" name="Freeform 341"/>
            <p:cNvSpPr>
              <a:spLocks noChangeAspect="1"/>
            </p:cNvSpPr>
            <p:nvPr/>
          </p:nvSpPr>
          <p:spPr bwMode="auto">
            <a:xfrm>
              <a:off x="4941995" y="2020752"/>
              <a:ext cx="4805" cy="5158"/>
            </a:xfrm>
            <a:custGeom>
              <a:avLst/>
              <a:gdLst>
                <a:gd name="T0" fmla="*/ 1587 w 3"/>
                <a:gd name="T1" fmla="*/ 2117 h 3"/>
                <a:gd name="T2" fmla="*/ 4762 w 3"/>
                <a:gd name="T3" fmla="*/ 2117 h 3"/>
                <a:gd name="T4" fmla="*/ 3175 w 3"/>
                <a:gd name="T5" fmla="*/ 4233 h 3"/>
                <a:gd name="T6" fmla="*/ 0 w 3"/>
                <a:gd name="T7" fmla="*/ 4233 h 3"/>
                <a:gd name="T8" fmla="*/ 1587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1"/>
                  </a:moveTo>
                  <a:cubicBezTo>
                    <a:pt x="2" y="1"/>
                    <a:pt x="2" y="0"/>
                    <a:pt x="3" y="1"/>
                  </a:cubicBezTo>
                  <a:cubicBezTo>
                    <a:pt x="3" y="1"/>
                    <a:pt x="3" y="2"/>
                    <a:pt x="2" y="2"/>
                  </a:cubicBezTo>
                  <a:cubicBezTo>
                    <a:pt x="2" y="2"/>
                    <a:pt x="1" y="3"/>
                    <a:pt x="0" y="2"/>
                  </a:cubicBezTo>
                  <a:cubicBezTo>
                    <a:pt x="0" y="2"/>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3" name="Freeform 342"/>
            <p:cNvSpPr>
              <a:spLocks noChangeAspect="1"/>
            </p:cNvSpPr>
            <p:nvPr/>
          </p:nvSpPr>
          <p:spPr bwMode="auto">
            <a:xfrm>
              <a:off x="4958012" y="2015594"/>
              <a:ext cx="6407" cy="3868"/>
            </a:xfrm>
            <a:custGeom>
              <a:avLst/>
              <a:gdLst>
                <a:gd name="T0" fmla="*/ 2117 w 3"/>
                <a:gd name="T1" fmla="*/ 0 h 2"/>
                <a:gd name="T2" fmla="*/ 6350 w 3"/>
                <a:gd name="T3" fmla="*/ 0 h 2"/>
                <a:gd name="T4" fmla="*/ 4233 w 3"/>
                <a:gd name="T5" fmla="*/ 2381 h 2"/>
                <a:gd name="T6" fmla="*/ 0 w 3"/>
                <a:gd name="T7" fmla="*/ 4762 h 2"/>
                <a:gd name="T8" fmla="*/ 2117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1" y="0"/>
                    <a:pt x="2" y="0"/>
                    <a:pt x="3" y="0"/>
                  </a:cubicBezTo>
                  <a:cubicBezTo>
                    <a:pt x="3" y="0"/>
                    <a:pt x="2" y="1"/>
                    <a:pt x="2" y="1"/>
                  </a:cubicBezTo>
                  <a:cubicBezTo>
                    <a:pt x="1" y="2"/>
                    <a:pt x="1"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4" name="Freeform 343"/>
            <p:cNvSpPr>
              <a:spLocks noChangeAspect="1"/>
            </p:cNvSpPr>
            <p:nvPr/>
          </p:nvSpPr>
          <p:spPr bwMode="auto">
            <a:xfrm>
              <a:off x="4929182" y="1951109"/>
              <a:ext cx="17618" cy="10318"/>
            </a:xfrm>
            <a:custGeom>
              <a:avLst/>
              <a:gdLst>
                <a:gd name="T0" fmla="*/ 11641 w 9"/>
                <a:gd name="T1" fmla="*/ 1814 h 7"/>
                <a:gd name="T2" fmla="*/ 17462 w 9"/>
                <a:gd name="T3" fmla="*/ 10886 h 7"/>
                <a:gd name="T4" fmla="*/ 15522 w 9"/>
                <a:gd name="T5" fmla="*/ 12700 h 7"/>
                <a:gd name="T6" fmla="*/ 7761 w 9"/>
                <a:gd name="T7" fmla="*/ 10886 h 7"/>
                <a:gd name="T8" fmla="*/ 9701 w 9"/>
                <a:gd name="T9" fmla="*/ 7257 h 7"/>
                <a:gd name="T10" fmla="*/ 3880 w 9"/>
                <a:gd name="T11" fmla="*/ 9071 h 7"/>
                <a:gd name="T12" fmla="*/ 1940 w 9"/>
                <a:gd name="T13" fmla="*/ 3629 h 7"/>
                <a:gd name="T14" fmla="*/ 11641 w 9"/>
                <a:gd name="T15" fmla="*/ 1814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5" name="Freeform 344"/>
            <p:cNvSpPr>
              <a:spLocks noChangeAspect="1"/>
            </p:cNvSpPr>
            <p:nvPr/>
          </p:nvSpPr>
          <p:spPr bwMode="auto">
            <a:xfrm>
              <a:off x="4929182" y="1969165"/>
              <a:ext cx="9610" cy="15476"/>
            </a:xfrm>
            <a:custGeom>
              <a:avLst/>
              <a:gdLst>
                <a:gd name="T0" fmla="*/ 0 w 5"/>
                <a:gd name="T1" fmla="*/ 1905 h 10"/>
                <a:gd name="T2" fmla="*/ 7620 w 5"/>
                <a:gd name="T3" fmla="*/ 3810 h 10"/>
                <a:gd name="T4" fmla="*/ 7620 w 5"/>
                <a:gd name="T5" fmla="*/ 17145 h 10"/>
                <a:gd name="T6" fmla="*/ 1905 w 5"/>
                <a:gd name="T7" fmla="*/ 13335 h 10"/>
                <a:gd name="T8" fmla="*/ 5715 w 5"/>
                <a:gd name="T9" fmla="*/ 9525 h 10"/>
                <a:gd name="T10" fmla="*/ 0 w 5"/>
                <a:gd name="T11" fmla="*/ 1905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6" name="Freeform 345"/>
            <p:cNvSpPr>
              <a:spLocks noChangeAspect="1"/>
            </p:cNvSpPr>
            <p:nvPr/>
          </p:nvSpPr>
          <p:spPr bwMode="auto">
            <a:xfrm>
              <a:off x="4922775" y="1969165"/>
              <a:ext cx="4805" cy="5158"/>
            </a:xfrm>
            <a:custGeom>
              <a:avLst/>
              <a:gdLst>
                <a:gd name="T0" fmla="*/ 0 w 3"/>
                <a:gd name="T1" fmla="*/ 0 h 3"/>
                <a:gd name="T2" fmla="*/ 3175 w 3"/>
                <a:gd name="T3" fmla="*/ 4233 h 3"/>
                <a:gd name="T4" fmla="*/ 1587 w 3"/>
                <a:gd name="T5" fmla="*/ 6350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7" name="Freeform 346"/>
            <p:cNvSpPr>
              <a:spLocks noChangeAspect="1"/>
            </p:cNvSpPr>
            <p:nvPr/>
          </p:nvSpPr>
          <p:spPr bwMode="auto">
            <a:xfrm>
              <a:off x="4877928" y="2045256"/>
              <a:ext cx="68873" cy="20635"/>
            </a:xfrm>
            <a:custGeom>
              <a:avLst/>
              <a:gdLst>
                <a:gd name="T0" fmla="*/ 5688 w 36"/>
                <a:gd name="T1" fmla="*/ 0 h 13"/>
                <a:gd name="T2" fmla="*/ 1896 w 36"/>
                <a:gd name="T3" fmla="*/ 7815 h 13"/>
                <a:gd name="T4" fmla="*/ 1896 w 36"/>
                <a:gd name="T5" fmla="*/ 13677 h 13"/>
                <a:gd name="T6" fmla="*/ 22754 w 36"/>
                <a:gd name="T7" fmla="*/ 15631 h 13"/>
                <a:gd name="T8" fmla="*/ 30339 w 36"/>
                <a:gd name="T9" fmla="*/ 19538 h 13"/>
                <a:gd name="T10" fmla="*/ 32235 w 36"/>
                <a:gd name="T11" fmla="*/ 25400 h 13"/>
                <a:gd name="T12" fmla="*/ 64470 w 36"/>
                <a:gd name="T13" fmla="*/ 21492 h 13"/>
                <a:gd name="T14" fmla="*/ 66366 w 36"/>
                <a:gd name="T15" fmla="*/ 15631 h 13"/>
                <a:gd name="T16" fmla="*/ 54989 w 36"/>
                <a:gd name="T17" fmla="*/ 17585 h 13"/>
                <a:gd name="T18" fmla="*/ 54989 w 36"/>
                <a:gd name="T19" fmla="*/ 11723 h 13"/>
                <a:gd name="T20" fmla="*/ 41716 w 36"/>
                <a:gd name="T21" fmla="*/ 11723 h 13"/>
                <a:gd name="T22" fmla="*/ 32235 w 36"/>
                <a:gd name="T23" fmla="*/ 7815 h 13"/>
                <a:gd name="T24" fmla="*/ 20858 w 36"/>
                <a:gd name="T25" fmla="*/ 9769 h 13"/>
                <a:gd name="T26" fmla="*/ 13273 w 36"/>
                <a:gd name="T27" fmla="*/ 3908 h 13"/>
                <a:gd name="T28" fmla="*/ 5688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8" name="Freeform 347"/>
            <p:cNvSpPr>
              <a:spLocks noChangeAspect="1"/>
            </p:cNvSpPr>
            <p:nvPr/>
          </p:nvSpPr>
          <p:spPr bwMode="auto">
            <a:xfrm>
              <a:off x="4977233" y="2022042"/>
              <a:ext cx="14415" cy="20635"/>
            </a:xfrm>
            <a:custGeom>
              <a:avLst/>
              <a:gdLst>
                <a:gd name="T0" fmla="*/ 14287 w 7"/>
                <a:gd name="T1" fmla="*/ 3908 h 13"/>
                <a:gd name="T2" fmla="*/ 0 w 7"/>
                <a:gd name="T3" fmla="*/ 23446 h 13"/>
                <a:gd name="T4" fmla="*/ 0 w 7"/>
                <a:gd name="T5" fmla="*/ 17585 h 13"/>
                <a:gd name="T6" fmla="*/ 2041 w 7"/>
                <a:gd name="T7" fmla="*/ 9769 h 13"/>
                <a:gd name="T8" fmla="*/ 14287 w 7"/>
                <a:gd name="T9" fmla="*/ 3908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9" name="Freeform 348"/>
            <p:cNvSpPr>
              <a:spLocks noChangeAspect="1"/>
            </p:cNvSpPr>
            <p:nvPr/>
          </p:nvSpPr>
          <p:spPr bwMode="auto">
            <a:xfrm>
              <a:off x="4962817" y="2043966"/>
              <a:ext cx="9610" cy="10318"/>
            </a:xfrm>
            <a:custGeom>
              <a:avLst/>
              <a:gdLst>
                <a:gd name="T0" fmla="*/ 3810 w 5"/>
                <a:gd name="T1" fmla="*/ 1814 h 7"/>
                <a:gd name="T2" fmla="*/ 9525 w 5"/>
                <a:gd name="T3" fmla="*/ 10886 h 7"/>
                <a:gd name="T4" fmla="*/ 1905 w 5"/>
                <a:gd name="T5" fmla="*/ 9071 h 7"/>
                <a:gd name="T6" fmla="*/ 3810 w 5"/>
                <a:gd name="T7" fmla="*/ 1814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0" name="Freeform 349"/>
            <p:cNvSpPr>
              <a:spLocks noChangeAspect="1"/>
            </p:cNvSpPr>
            <p:nvPr/>
          </p:nvSpPr>
          <p:spPr bwMode="auto">
            <a:xfrm>
              <a:off x="4964419" y="2025911"/>
              <a:ext cx="6407" cy="2579"/>
            </a:xfrm>
            <a:custGeom>
              <a:avLst/>
              <a:gdLst>
                <a:gd name="T0" fmla="*/ 4233 w 3"/>
                <a:gd name="T1" fmla="*/ 0 h 2"/>
                <a:gd name="T2" fmla="*/ 6350 w 3"/>
                <a:gd name="T3" fmla="*/ 1588 h 2"/>
                <a:gd name="T4" fmla="*/ 2117 w 3"/>
                <a:gd name="T5" fmla="*/ 1588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1"/>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1" name="Freeform 350"/>
            <p:cNvSpPr>
              <a:spLocks noChangeAspect="1"/>
            </p:cNvSpPr>
            <p:nvPr/>
          </p:nvSpPr>
          <p:spPr bwMode="auto">
            <a:xfrm>
              <a:off x="4953207" y="2006565"/>
              <a:ext cx="4806" cy="3869"/>
            </a:xfrm>
            <a:custGeom>
              <a:avLst/>
              <a:gdLst>
                <a:gd name="T0" fmla="*/ 3175 w 3"/>
                <a:gd name="T1" fmla="*/ 2382 h 2"/>
                <a:gd name="T2" fmla="*/ 4763 w 3"/>
                <a:gd name="T3" fmla="*/ 4763 h 2"/>
                <a:gd name="T4" fmla="*/ 1588 w 3"/>
                <a:gd name="T5" fmla="*/ 4763 h 2"/>
                <a:gd name="T6" fmla="*/ 0 w 3"/>
                <a:gd name="T7" fmla="*/ 2382 h 2"/>
                <a:gd name="T8" fmla="*/ 3175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1" y="2"/>
                  </a:cubicBezTo>
                  <a:cubicBezTo>
                    <a:pt x="1" y="2"/>
                    <a:pt x="0" y="1"/>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2" name="Freeform 351"/>
            <p:cNvSpPr>
              <a:spLocks noChangeAspect="1"/>
            </p:cNvSpPr>
            <p:nvPr/>
          </p:nvSpPr>
          <p:spPr bwMode="auto">
            <a:xfrm>
              <a:off x="4925978" y="1929185"/>
              <a:ext cx="8008" cy="5158"/>
            </a:xfrm>
            <a:custGeom>
              <a:avLst/>
              <a:gdLst>
                <a:gd name="T0" fmla="*/ 3969 w 4"/>
                <a:gd name="T1" fmla="*/ 2117 h 3"/>
                <a:gd name="T2" fmla="*/ 7937 w 4"/>
                <a:gd name="T3" fmla="*/ 4233 h 3"/>
                <a:gd name="T4" fmla="*/ 3969 w 4"/>
                <a:gd name="T5" fmla="*/ 4233 h 3"/>
                <a:gd name="T6" fmla="*/ 0 w 4"/>
                <a:gd name="T7" fmla="*/ 2117 h 3"/>
                <a:gd name="T8" fmla="*/ 3969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3" y="1"/>
                    <a:pt x="4" y="1"/>
                    <a:pt x="4" y="2"/>
                  </a:cubicBezTo>
                  <a:cubicBezTo>
                    <a:pt x="4" y="3"/>
                    <a:pt x="3" y="3"/>
                    <a:pt x="2" y="2"/>
                  </a:cubicBezTo>
                  <a:cubicBezTo>
                    <a:pt x="1" y="2"/>
                    <a:pt x="0" y="2"/>
                    <a:pt x="0" y="1"/>
                  </a:cubicBezTo>
                  <a:cubicBezTo>
                    <a:pt x="0"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3" name="Freeform 352"/>
            <p:cNvSpPr>
              <a:spLocks noChangeAspect="1"/>
            </p:cNvSpPr>
            <p:nvPr/>
          </p:nvSpPr>
          <p:spPr bwMode="auto">
            <a:xfrm>
              <a:off x="4935588" y="1924026"/>
              <a:ext cx="9610" cy="7738"/>
            </a:xfrm>
            <a:custGeom>
              <a:avLst/>
              <a:gdLst>
                <a:gd name="T0" fmla="*/ 7620 w 5"/>
                <a:gd name="T1" fmla="*/ 0 h 5"/>
                <a:gd name="T2" fmla="*/ 3810 w 5"/>
                <a:gd name="T3" fmla="*/ 1905 h 5"/>
                <a:gd name="T4" fmla="*/ 1905 w 5"/>
                <a:gd name="T5" fmla="*/ 7620 h 5"/>
                <a:gd name="T6" fmla="*/ 5715 w 5"/>
                <a:gd name="T7" fmla="*/ 3810 h 5"/>
                <a:gd name="T8" fmla="*/ 762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4" name="Freeform 353"/>
            <p:cNvSpPr>
              <a:spLocks noChangeAspect="1"/>
            </p:cNvSpPr>
            <p:nvPr/>
          </p:nvSpPr>
          <p:spPr bwMode="auto">
            <a:xfrm>
              <a:off x="4809052" y="1432659"/>
              <a:ext cx="32034" cy="19345"/>
            </a:xfrm>
            <a:custGeom>
              <a:avLst/>
              <a:gdLst>
                <a:gd name="T0" fmla="*/ 29882 w 17"/>
                <a:gd name="T1" fmla="*/ 3663 h 13"/>
                <a:gd name="T2" fmla="*/ 11206 w 17"/>
                <a:gd name="T3" fmla="*/ 14654 h 13"/>
                <a:gd name="T4" fmla="*/ 7471 w 17"/>
                <a:gd name="T5" fmla="*/ 23812 h 13"/>
                <a:gd name="T6" fmla="*/ 3735 w 17"/>
                <a:gd name="T7" fmla="*/ 21980 h 13"/>
                <a:gd name="T8" fmla="*/ 7471 w 17"/>
                <a:gd name="T9" fmla="*/ 14654 h 13"/>
                <a:gd name="T10" fmla="*/ 0 w 17"/>
                <a:gd name="T11" fmla="*/ 9158 h 13"/>
                <a:gd name="T12" fmla="*/ 5603 w 17"/>
                <a:gd name="T13" fmla="*/ 3663 h 13"/>
                <a:gd name="T14" fmla="*/ 22412 w 17"/>
                <a:gd name="T15" fmla="*/ 0 h 13"/>
                <a:gd name="T16" fmla="*/ 29882 w 17"/>
                <a:gd name="T17" fmla="*/ 1832 h 13"/>
                <a:gd name="T18" fmla="*/ 29882 w 17"/>
                <a:gd name="T19" fmla="*/ 366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5" name="Freeform 354"/>
            <p:cNvSpPr>
              <a:spLocks noChangeAspect="1"/>
            </p:cNvSpPr>
            <p:nvPr/>
          </p:nvSpPr>
          <p:spPr bwMode="auto">
            <a:xfrm>
              <a:off x="4810656" y="1417182"/>
              <a:ext cx="22424" cy="11607"/>
            </a:xfrm>
            <a:custGeom>
              <a:avLst/>
              <a:gdLst>
                <a:gd name="T0" fmla="*/ 12965 w 12"/>
                <a:gd name="T1" fmla="*/ 0 h 8"/>
                <a:gd name="T2" fmla="*/ 22225 w 12"/>
                <a:gd name="T3" fmla="*/ 8929 h 8"/>
                <a:gd name="T4" fmla="*/ 14817 w 12"/>
                <a:gd name="T5" fmla="*/ 8929 h 8"/>
                <a:gd name="T6" fmla="*/ 12965 w 12"/>
                <a:gd name="T7" fmla="*/ 14287 h 8"/>
                <a:gd name="T8" fmla="*/ 5556 w 12"/>
                <a:gd name="T9" fmla="*/ 8929 h 8"/>
                <a:gd name="T10" fmla="*/ 1852 w 12"/>
                <a:gd name="T11" fmla="*/ 5358 h 8"/>
                <a:gd name="T12" fmla="*/ 11113 w 12"/>
                <a:gd name="T13" fmla="*/ 3572 h 8"/>
                <a:gd name="T14" fmla="*/ 12965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6" name="Freeform 355"/>
            <p:cNvSpPr>
              <a:spLocks noChangeAspect="1"/>
            </p:cNvSpPr>
            <p:nvPr/>
          </p:nvSpPr>
          <p:spPr bwMode="auto">
            <a:xfrm>
              <a:off x="5082946" y="2045256"/>
              <a:ext cx="60865" cy="29663"/>
            </a:xfrm>
            <a:custGeom>
              <a:avLst/>
              <a:gdLst>
                <a:gd name="T0" fmla="*/ 40865 w 31"/>
                <a:gd name="T1" fmla="*/ 13452 h 19"/>
                <a:gd name="T2" fmla="*/ 58379 w 31"/>
                <a:gd name="T3" fmla="*/ 1922 h 19"/>
                <a:gd name="T4" fmla="*/ 56433 w 31"/>
                <a:gd name="T5" fmla="*/ 0 h 19"/>
                <a:gd name="T6" fmla="*/ 36973 w 31"/>
                <a:gd name="T7" fmla="*/ 9609 h 19"/>
                <a:gd name="T8" fmla="*/ 31135 w 31"/>
                <a:gd name="T9" fmla="*/ 11530 h 19"/>
                <a:gd name="T10" fmla="*/ 19460 w 31"/>
                <a:gd name="T11" fmla="*/ 9609 h 19"/>
                <a:gd name="T12" fmla="*/ 13622 w 31"/>
                <a:gd name="T13" fmla="*/ 7687 h 19"/>
                <a:gd name="T14" fmla="*/ 13622 w 31"/>
                <a:gd name="T15" fmla="*/ 13452 h 19"/>
                <a:gd name="T16" fmla="*/ 1946 w 31"/>
                <a:gd name="T17" fmla="*/ 15374 h 19"/>
                <a:gd name="T18" fmla="*/ 0 w 31"/>
                <a:gd name="T19" fmla="*/ 26904 h 19"/>
                <a:gd name="T20" fmla="*/ 9730 w 31"/>
                <a:gd name="T21" fmla="*/ 30748 h 19"/>
                <a:gd name="T22" fmla="*/ 17514 w 31"/>
                <a:gd name="T23" fmla="*/ 30748 h 19"/>
                <a:gd name="T24" fmla="*/ 23352 w 31"/>
                <a:gd name="T25" fmla="*/ 34591 h 19"/>
                <a:gd name="T26" fmla="*/ 31135 w 31"/>
                <a:gd name="T27" fmla="*/ 26904 h 19"/>
                <a:gd name="T28" fmla="*/ 36973 w 31"/>
                <a:gd name="T29" fmla="*/ 21139 h 19"/>
                <a:gd name="T30" fmla="*/ 44757 w 31"/>
                <a:gd name="T31" fmla="*/ 21139 h 19"/>
                <a:gd name="T32" fmla="*/ 44757 w 31"/>
                <a:gd name="T33" fmla="*/ 19217 h 19"/>
                <a:gd name="T34" fmla="*/ 40865 w 31"/>
                <a:gd name="T35" fmla="*/ 13452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7" name="Freeform 356"/>
            <p:cNvSpPr>
              <a:spLocks noChangeAspect="1"/>
            </p:cNvSpPr>
            <p:nvPr/>
          </p:nvSpPr>
          <p:spPr bwMode="auto">
            <a:xfrm>
              <a:off x="5352034" y="2441187"/>
              <a:ext cx="257876" cy="145734"/>
            </a:xfrm>
            <a:custGeom>
              <a:avLst/>
              <a:gdLst>
                <a:gd name="T0" fmla="*/ 255587 w 134"/>
                <a:gd name="T1" fmla="*/ 66793 h 94"/>
                <a:gd name="T2" fmla="*/ 232699 w 134"/>
                <a:gd name="T3" fmla="*/ 80152 h 94"/>
                <a:gd name="T4" fmla="*/ 232699 w 134"/>
                <a:gd name="T5" fmla="*/ 95419 h 94"/>
                <a:gd name="T6" fmla="*/ 192644 w 134"/>
                <a:gd name="T7" fmla="*/ 110686 h 94"/>
                <a:gd name="T8" fmla="*/ 164033 w 134"/>
                <a:gd name="T9" fmla="*/ 125953 h 94"/>
                <a:gd name="T10" fmla="*/ 150682 w 134"/>
                <a:gd name="T11" fmla="*/ 139311 h 94"/>
                <a:gd name="T12" fmla="*/ 135423 w 134"/>
                <a:gd name="T13" fmla="*/ 139311 h 94"/>
                <a:gd name="T14" fmla="*/ 112535 w 134"/>
                <a:gd name="T15" fmla="*/ 150761 h 94"/>
                <a:gd name="T16" fmla="*/ 91554 w 134"/>
                <a:gd name="T17" fmla="*/ 150761 h 94"/>
                <a:gd name="T18" fmla="*/ 72480 w 134"/>
                <a:gd name="T19" fmla="*/ 158395 h 94"/>
                <a:gd name="T20" fmla="*/ 59128 w 134"/>
                <a:gd name="T21" fmla="*/ 175570 h 94"/>
                <a:gd name="T22" fmla="*/ 26703 w 134"/>
                <a:gd name="T23" fmla="*/ 175570 h 94"/>
                <a:gd name="T24" fmla="*/ 19074 w 134"/>
                <a:gd name="T25" fmla="*/ 160303 h 94"/>
                <a:gd name="T26" fmla="*/ 17166 w 134"/>
                <a:gd name="T27" fmla="*/ 137403 h 94"/>
                <a:gd name="T28" fmla="*/ 7629 w 134"/>
                <a:gd name="T29" fmla="*/ 112594 h 94"/>
                <a:gd name="T30" fmla="*/ 0 w 134"/>
                <a:gd name="T31" fmla="*/ 110686 h 94"/>
                <a:gd name="T32" fmla="*/ 7629 w 134"/>
                <a:gd name="T33" fmla="*/ 103052 h 94"/>
                <a:gd name="T34" fmla="*/ 9537 w 134"/>
                <a:gd name="T35" fmla="*/ 85877 h 94"/>
                <a:gd name="T36" fmla="*/ 7629 w 134"/>
                <a:gd name="T37" fmla="*/ 76335 h 94"/>
                <a:gd name="T38" fmla="*/ 15259 w 134"/>
                <a:gd name="T39" fmla="*/ 66793 h 94"/>
                <a:gd name="T40" fmla="*/ 15259 w 134"/>
                <a:gd name="T41" fmla="*/ 51526 h 94"/>
                <a:gd name="T42" fmla="*/ 20981 w 134"/>
                <a:gd name="T43" fmla="*/ 45801 h 94"/>
                <a:gd name="T44" fmla="*/ 28610 w 134"/>
                <a:gd name="T45" fmla="*/ 49618 h 94"/>
                <a:gd name="T46" fmla="*/ 95368 w 134"/>
                <a:gd name="T47" fmla="*/ 45801 h 94"/>
                <a:gd name="T48" fmla="*/ 108720 w 134"/>
                <a:gd name="T49" fmla="*/ 55343 h 94"/>
                <a:gd name="T50" fmla="*/ 122071 w 134"/>
                <a:gd name="T51" fmla="*/ 53434 h 94"/>
                <a:gd name="T52" fmla="*/ 143052 w 134"/>
                <a:gd name="T53" fmla="*/ 24809 h 94"/>
                <a:gd name="T54" fmla="*/ 223162 w 134"/>
                <a:gd name="T55" fmla="*/ 0 h 94"/>
                <a:gd name="T56" fmla="*/ 255587 w 134"/>
                <a:gd name="T57" fmla="*/ 66793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8" name="Freeform 357"/>
            <p:cNvSpPr>
              <a:spLocks noChangeAspect="1"/>
            </p:cNvSpPr>
            <p:nvPr/>
          </p:nvSpPr>
          <p:spPr bwMode="auto">
            <a:xfrm>
              <a:off x="5670775" y="2265791"/>
              <a:ext cx="12814" cy="27083"/>
            </a:xfrm>
            <a:custGeom>
              <a:avLst/>
              <a:gdLst>
                <a:gd name="T0" fmla="*/ 5443 w 7"/>
                <a:gd name="T1" fmla="*/ 31485 h 18"/>
                <a:gd name="T2" fmla="*/ 9071 w 7"/>
                <a:gd name="T3" fmla="*/ 22225 h 18"/>
                <a:gd name="T4" fmla="*/ 9071 w 7"/>
                <a:gd name="T5" fmla="*/ 3704 h 18"/>
                <a:gd name="T6" fmla="*/ 0 w 7"/>
                <a:gd name="T7" fmla="*/ 12964 h 18"/>
                <a:gd name="T8" fmla="*/ 1814 w 7"/>
                <a:gd name="T9" fmla="*/ 22225 h 18"/>
                <a:gd name="T10" fmla="*/ 1814 w 7"/>
                <a:gd name="T11" fmla="*/ 33337 h 18"/>
                <a:gd name="T12" fmla="*/ 5443 w 7"/>
                <a:gd name="T13" fmla="*/ 31485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9" name="Freeform 358"/>
            <p:cNvSpPr>
              <a:spLocks noChangeAspect="1"/>
            </p:cNvSpPr>
            <p:nvPr/>
          </p:nvSpPr>
          <p:spPr bwMode="auto">
            <a:xfrm>
              <a:off x="5544239" y="2274818"/>
              <a:ext cx="24025" cy="41270"/>
            </a:xfrm>
            <a:custGeom>
              <a:avLst/>
              <a:gdLst>
                <a:gd name="T0" fmla="*/ 9922 w 12"/>
                <a:gd name="T1" fmla="*/ 47037 h 27"/>
                <a:gd name="T2" fmla="*/ 19843 w 12"/>
                <a:gd name="T3" fmla="*/ 43274 h 27"/>
                <a:gd name="T4" fmla="*/ 21828 w 12"/>
                <a:gd name="T5" fmla="*/ 33867 h 27"/>
                <a:gd name="T6" fmla="*/ 13890 w 12"/>
                <a:gd name="T7" fmla="*/ 22578 h 27"/>
                <a:gd name="T8" fmla="*/ 17859 w 12"/>
                <a:gd name="T9" fmla="*/ 13170 h 27"/>
                <a:gd name="T10" fmla="*/ 9922 w 12"/>
                <a:gd name="T11" fmla="*/ 0 h 27"/>
                <a:gd name="T12" fmla="*/ 1984 w 12"/>
                <a:gd name="T13" fmla="*/ 9407 h 27"/>
                <a:gd name="T14" fmla="*/ 1984 w 12"/>
                <a:gd name="T15" fmla="*/ 20696 h 27"/>
                <a:gd name="T16" fmla="*/ 1984 w 12"/>
                <a:gd name="T17" fmla="*/ 30104 h 27"/>
                <a:gd name="T18" fmla="*/ 1984 w 12"/>
                <a:gd name="T19" fmla="*/ 39511 h 27"/>
                <a:gd name="T20" fmla="*/ 0 w 12"/>
                <a:gd name="T21" fmla="*/ 43274 h 27"/>
                <a:gd name="T22" fmla="*/ 3969 w 12"/>
                <a:gd name="T23" fmla="*/ 50800 h 27"/>
                <a:gd name="T24" fmla="*/ 9922 w 12"/>
                <a:gd name="T25" fmla="*/ 4703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0" name="Freeform 359"/>
            <p:cNvSpPr>
              <a:spLocks noChangeAspect="1"/>
            </p:cNvSpPr>
            <p:nvPr/>
          </p:nvSpPr>
          <p:spPr bwMode="auto">
            <a:xfrm>
              <a:off x="5472162" y="2185831"/>
              <a:ext cx="9610" cy="10318"/>
            </a:xfrm>
            <a:custGeom>
              <a:avLst/>
              <a:gdLst>
                <a:gd name="T0" fmla="*/ 0 w 5"/>
                <a:gd name="T1" fmla="*/ 2117 h 6"/>
                <a:gd name="T2" fmla="*/ 1905 w 5"/>
                <a:gd name="T3" fmla="*/ 10583 h 6"/>
                <a:gd name="T4" fmla="*/ 5715 w 5"/>
                <a:gd name="T5" fmla="*/ 10583 h 6"/>
                <a:gd name="T6" fmla="*/ 9525 w 5"/>
                <a:gd name="T7" fmla="*/ 6350 h 6"/>
                <a:gd name="T8" fmla="*/ 5715 w 5"/>
                <a:gd name="T9" fmla="*/ 2117 h 6"/>
                <a:gd name="T10" fmla="*/ 0 w 5"/>
                <a:gd name="T11" fmla="*/ 2117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1" name="Freeform 360"/>
            <p:cNvSpPr>
              <a:spLocks noChangeAspect="1"/>
            </p:cNvSpPr>
            <p:nvPr/>
          </p:nvSpPr>
          <p:spPr bwMode="auto">
            <a:xfrm>
              <a:off x="5329610" y="2491484"/>
              <a:ext cx="17618" cy="15476"/>
            </a:xfrm>
            <a:custGeom>
              <a:avLst/>
              <a:gdLst>
                <a:gd name="T0" fmla="*/ 0 w 9"/>
                <a:gd name="T1" fmla="*/ 3810 h 10"/>
                <a:gd name="T2" fmla="*/ 5821 w 9"/>
                <a:gd name="T3" fmla="*/ 1905 h 10"/>
                <a:gd name="T4" fmla="*/ 7761 w 9"/>
                <a:gd name="T5" fmla="*/ 9525 h 10"/>
                <a:gd name="T6" fmla="*/ 13582 w 9"/>
                <a:gd name="T7" fmla="*/ 7620 h 10"/>
                <a:gd name="T8" fmla="*/ 15522 w 9"/>
                <a:gd name="T9" fmla="*/ 17145 h 10"/>
                <a:gd name="T10" fmla="*/ 7761 w 9"/>
                <a:gd name="T11" fmla="*/ 11430 h 10"/>
                <a:gd name="T12" fmla="*/ 1940 w 9"/>
                <a:gd name="T13" fmla="*/ 9525 h 10"/>
                <a:gd name="T14" fmla="*/ 0 w 9"/>
                <a:gd name="T15" fmla="*/ 3810 h 1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0"/>
                <a:gd name="T26" fmla="*/ 9 w 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0">
                  <a:moveTo>
                    <a:pt x="0" y="2"/>
                  </a:moveTo>
                  <a:cubicBezTo>
                    <a:pt x="0" y="1"/>
                    <a:pt x="2" y="0"/>
                    <a:pt x="3" y="1"/>
                  </a:cubicBezTo>
                  <a:cubicBezTo>
                    <a:pt x="4" y="1"/>
                    <a:pt x="3" y="4"/>
                    <a:pt x="4" y="5"/>
                  </a:cubicBezTo>
                  <a:cubicBezTo>
                    <a:pt x="5" y="6"/>
                    <a:pt x="6" y="3"/>
                    <a:pt x="7" y="4"/>
                  </a:cubicBezTo>
                  <a:cubicBezTo>
                    <a:pt x="8" y="5"/>
                    <a:pt x="9" y="8"/>
                    <a:pt x="8" y="9"/>
                  </a:cubicBezTo>
                  <a:cubicBezTo>
                    <a:pt x="7" y="10"/>
                    <a:pt x="6" y="7"/>
                    <a:pt x="4" y="6"/>
                  </a:cubicBezTo>
                  <a:cubicBezTo>
                    <a:pt x="3" y="6"/>
                    <a:pt x="2" y="6"/>
                    <a:pt x="1" y="5"/>
                  </a:cubicBezTo>
                  <a:cubicBezTo>
                    <a:pt x="0" y="4"/>
                    <a:pt x="0" y="3"/>
                    <a:pt x="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2" name="Freeform 361"/>
            <p:cNvSpPr>
              <a:spLocks noChangeAspect="1"/>
            </p:cNvSpPr>
            <p:nvPr/>
          </p:nvSpPr>
          <p:spPr bwMode="auto">
            <a:xfrm>
              <a:off x="5646748" y="2259342"/>
              <a:ext cx="25627" cy="11608"/>
            </a:xfrm>
            <a:custGeom>
              <a:avLst/>
              <a:gdLst>
                <a:gd name="T0" fmla="*/ 1954 w 13"/>
                <a:gd name="T1" fmla="*/ 10716 h 8"/>
                <a:gd name="T2" fmla="*/ 1954 w 13"/>
                <a:gd name="T3" fmla="*/ 12502 h 8"/>
                <a:gd name="T4" fmla="*/ 13677 w 13"/>
                <a:gd name="T5" fmla="*/ 7144 h 8"/>
                <a:gd name="T6" fmla="*/ 21492 w 13"/>
                <a:gd name="T7" fmla="*/ 7144 h 8"/>
                <a:gd name="T8" fmla="*/ 25400 w 13"/>
                <a:gd name="T9" fmla="*/ 1786 h 8"/>
                <a:gd name="T10" fmla="*/ 21492 w 13"/>
                <a:gd name="T11" fmla="*/ 0 h 8"/>
                <a:gd name="T12" fmla="*/ 11723 w 13"/>
                <a:gd name="T13" fmla="*/ 3572 h 8"/>
                <a:gd name="T14" fmla="*/ 9769 w 13"/>
                <a:gd name="T15" fmla="*/ 7144 h 8"/>
                <a:gd name="T16" fmla="*/ 1954 w 13"/>
                <a:gd name="T17" fmla="*/ 1071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3" name="Freeform 362"/>
            <p:cNvSpPr>
              <a:spLocks noChangeAspect="1"/>
            </p:cNvSpPr>
            <p:nvPr/>
          </p:nvSpPr>
          <p:spPr bwMode="auto">
            <a:xfrm>
              <a:off x="6844830" y="2637219"/>
              <a:ext cx="8008" cy="10318"/>
            </a:xfrm>
            <a:custGeom>
              <a:avLst/>
              <a:gdLst>
                <a:gd name="T0" fmla="*/ 0 w 4"/>
                <a:gd name="T1" fmla="*/ 3629 h 7"/>
                <a:gd name="T2" fmla="*/ 3969 w 4"/>
                <a:gd name="T3" fmla="*/ 0 h 7"/>
                <a:gd name="T4" fmla="*/ 7937 w 4"/>
                <a:gd name="T5" fmla="*/ 5443 h 7"/>
                <a:gd name="T6" fmla="*/ 5953 w 4"/>
                <a:gd name="T7" fmla="*/ 12700 h 7"/>
                <a:gd name="T8" fmla="*/ 3969 w 4"/>
                <a:gd name="T9" fmla="*/ 9071 h 7"/>
                <a:gd name="T10" fmla="*/ 0 w 4"/>
                <a:gd name="T11" fmla="*/ 3629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4" name="Freeform 363"/>
            <p:cNvSpPr>
              <a:spLocks noChangeAspect="1"/>
            </p:cNvSpPr>
            <p:nvPr/>
          </p:nvSpPr>
          <p:spPr bwMode="auto">
            <a:xfrm>
              <a:off x="6940932" y="2416683"/>
              <a:ext cx="59263" cy="47719"/>
            </a:xfrm>
            <a:custGeom>
              <a:avLst/>
              <a:gdLst>
                <a:gd name="T0" fmla="*/ 54948 w 31"/>
                <a:gd name="T1" fmla="*/ 0 h 31"/>
                <a:gd name="T2" fmla="*/ 58737 w 31"/>
                <a:gd name="T3" fmla="*/ 11369 h 31"/>
                <a:gd name="T4" fmla="*/ 53053 w 31"/>
                <a:gd name="T5" fmla="*/ 20843 h 31"/>
                <a:gd name="T6" fmla="*/ 51158 w 31"/>
                <a:gd name="T7" fmla="*/ 39790 h 31"/>
                <a:gd name="T8" fmla="*/ 41684 w 31"/>
                <a:gd name="T9" fmla="*/ 49264 h 31"/>
                <a:gd name="T10" fmla="*/ 30316 w 31"/>
                <a:gd name="T11" fmla="*/ 51159 h 31"/>
                <a:gd name="T12" fmla="*/ 30316 w 31"/>
                <a:gd name="T13" fmla="*/ 56843 h 31"/>
                <a:gd name="T14" fmla="*/ 22737 w 31"/>
                <a:gd name="T15" fmla="*/ 54948 h 31"/>
                <a:gd name="T16" fmla="*/ 7579 w 31"/>
                <a:gd name="T17" fmla="*/ 49264 h 31"/>
                <a:gd name="T18" fmla="*/ 3789 w 31"/>
                <a:gd name="T19" fmla="*/ 37895 h 31"/>
                <a:gd name="T20" fmla="*/ 3789 w 31"/>
                <a:gd name="T21" fmla="*/ 20843 h 31"/>
                <a:gd name="T22" fmla="*/ 17053 w 31"/>
                <a:gd name="T23" fmla="*/ 11369 h 31"/>
                <a:gd name="T24" fmla="*/ 15158 w 31"/>
                <a:gd name="T25" fmla="*/ 9474 h 31"/>
                <a:gd name="T26" fmla="*/ 18947 w 31"/>
                <a:gd name="T27" fmla="*/ 5684 h 31"/>
                <a:gd name="T28" fmla="*/ 20842 w 31"/>
                <a:gd name="T29" fmla="*/ 7579 h 31"/>
                <a:gd name="T30" fmla="*/ 30316 w 31"/>
                <a:gd name="T31" fmla="*/ 5684 h 31"/>
                <a:gd name="T32" fmla="*/ 37895 w 31"/>
                <a:gd name="T33" fmla="*/ 5684 h 31"/>
                <a:gd name="T34" fmla="*/ 45474 w 31"/>
                <a:gd name="T35" fmla="*/ 3790 h 31"/>
                <a:gd name="T36" fmla="*/ 49263 w 31"/>
                <a:gd name="T37" fmla="*/ 5684 h 31"/>
                <a:gd name="T38" fmla="*/ 54948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5" name="Freeform 364"/>
            <p:cNvSpPr>
              <a:spLocks noChangeAspect="1"/>
            </p:cNvSpPr>
            <p:nvPr/>
          </p:nvSpPr>
          <p:spPr bwMode="auto">
            <a:xfrm>
              <a:off x="7210020" y="2298032"/>
              <a:ext cx="40042" cy="78671"/>
            </a:xfrm>
            <a:custGeom>
              <a:avLst/>
              <a:gdLst>
                <a:gd name="T0" fmla="*/ 39687 w 21"/>
                <a:gd name="T1" fmla="*/ 11393 h 51"/>
                <a:gd name="T2" fmla="*/ 34017 w 21"/>
                <a:gd name="T3" fmla="*/ 37976 h 51"/>
                <a:gd name="T4" fmla="*/ 32128 w 21"/>
                <a:gd name="T5" fmla="*/ 62660 h 51"/>
                <a:gd name="T6" fmla="*/ 22678 w 21"/>
                <a:gd name="T7" fmla="*/ 79749 h 51"/>
                <a:gd name="T8" fmla="*/ 22678 w 21"/>
                <a:gd name="T9" fmla="*/ 96838 h 51"/>
                <a:gd name="T10" fmla="*/ 7559 w 21"/>
                <a:gd name="T11" fmla="*/ 77850 h 51"/>
                <a:gd name="T12" fmla="*/ 1890 w 21"/>
                <a:gd name="T13" fmla="*/ 66457 h 51"/>
                <a:gd name="T14" fmla="*/ 5670 w 21"/>
                <a:gd name="T15" fmla="*/ 37976 h 51"/>
                <a:gd name="T16" fmla="*/ 15119 w 21"/>
                <a:gd name="T17" fmla="*/ 15190 h 51"/>
                <a:gd name="T18" fmla="*/ 17009 w 21"/>
                <a:gd name="T19" fmla="*/ 5696 h 51"/>
                <a:gd name="T20" fmla="*/ 26458 w 21"/>
                <a:gd name="T21" fmla="*/ 0 h 51"/>
                <a:gd name="T22" fmla="*/ 37797 w 21"/>
                <a:gd name="T23" fmla="*/ 5696 h 51"/>
                <a:gd name="T24" fmla="*/ 39687 w 21"/>
                <a:gd name="T25" fmla="*/ 11393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6" name="Freeform 365"/>
            <p:cNvSpPr>
              <a:spLocks noChangeAspect="1"/>
            </p:cNvSpPr>
            <p:nvPr/>
          </p:nvSpPr>
          <p:spPr bwMode="auto">
            <a:xfrm>
              <a:off x="7302918" y="2319958"/>
              <a:ext cx="6407" cy="7738"/>
            </a:xfrm>
            <a:custGeom>
              <a:avLst/>
              <a:gdLst>
                <a:gd name="T0" fmla="*/ 4762 w 4"/>
                <a:gd name="T1" fmla="*/ 0 h 5"/>
                <a:gd name="T2" fmla="*/ 4762 w 4"/>
                <a:gd name="T3" fmla="*/ 7620 h 5"/>
                <a:gd name="T4" fmla="*/ 0 w 4"/>
                <a:gd name="T5" fmla="*/ 3810 h 5"/>
                <a:gd name="T6" fmla="*/ 4762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3" y="0"/>
                  </a:moveTo>
                  <a:cubicBezTo>
                    <a:pt x="4" y="1"/>
                    <a:pt x="4" y="4"/>
                    <a:pt x="3" y="4"/>
                  </a:cubicBezTo>
                  <a:cubicBezTo>
                    <a:pt x="2" y="5"/>
                    <a:pt x="0" y="3"/>
                    <a:pt x="0" y="2"/>
                  </a:cubicBezTo>
                  <a:cubicBezTo>
                    <a:pt x="0" y="1"/>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7" name="Freeform 366"/>
            <p:cNvSpPr>
              <a:spLocks noChangeAspect="1"/>
            </p:cNvSpPr>
            <p:nvPr/>
          </p:nvSpPr>
          <p:spPr bwMode="auto">
            <a:xfrm>
              <a:off x="7328546" y="2308350"/>
              <a:ext cx="6407" cy="6449"/>
            </a:xfrm>
            <a:custGeom>
              <a:avLst/>
              <a:gdLst>
                <a:gd name="T0" fmla="*/ 4233 w 3"/>
                <a:gd name="T1" fmla="*/ 0 h 4"/>
                <a:gd name="T2" fmla="*/ 4233 w 3"/>
                <a:gd name="T3" fmla="*/ 7938 h 4"/>
                <a:gd name="T4" fmla="*/ 0 w 3"/>
                <a:gd name="T5" fmla="*/ 3969 h 4"/>
                <a:gd name="T6" fmla="*/ 4233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2" y="0"/>
                  </a:moveTo>
                  <a:cubicBezTo>
                    <a:pt x="3" y="1"/>
                    <a:pt x="3" y="3"/>
                    <a:pt x="2" y="4"/>
                  </a:cubicBezTo>
                  <a:cubicBezTo>
                    <a:pt x="1" y="4"/>
                    <a:pt x="0" y="3"/>
                    <a:pt x="0" y="2"/>
                  </a:cubicBezTo>
                  <a:cubicBezTo>
                    <a:pt x="0" y="1"/>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8" name="Freeform 367"/>
            <p:cNvSpPr>
              <a:spLocks noChangeAspect="1"/>
            </p:cNvSpPr>
            <p:nvPr/>
          </p:nvSpPr>
          <p:spPr bwMode="auto">
            <a:xfrm>
              <a:off x="7288503" y="2319958"/>
              <a:ext cx="8009" cy="7738"/>
            </a:xfrm>
            <a:custGeom>
              <a:avLst/>
              <a:gdLst>
                <a:gd name="T0" fmla="*/ 7938 w 4"/>
                <a:gd name="T1" fmla="*/ 3810 h 5"/>
                <a:gd name="T2" fmla="*/ 1985 w 4"/>
                <a:gd name="T3" fmla="*/ 9525 h 5"/>
                <a:gd name="T4" fmla="*/ 1985 w 4"/>
                <a:gd name="T5" fmla="*/ 1905 h 5"/>
                <a:gd name="T6" fmla="*/ 7938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9" name="Freeform 368"/>
            <p:cNvSpPr>
              <a:spLocks noChangeAspect="1"/>
            </p:cNvSpPr>
            <p:nvPr/>
          </p:nvSpPr>
          <p:spPr bwMode="auto">
            <a:xfrm>
              <a:off x="7288503" y="2319958"/>
              <a:ext cx="8009" cy="7738"/>
            </a:xfrm>
            <a:custGeom>
              <a:avLst/>
              <a:gdLst>
                <a:gd name="T0" fmla="*/ 7938 w 4"/>
                <a:gd name="T1" fmla="*/ 3810 h 5"/>
                <a:gd name="T2" fmla="*/ 1985 w 4"/>
                <a:gd name="T3" fmla="*/ 9525 h 5"/>
                <a:gd name="T4" fmla="*/ 1985 w 4"/>
                <a:gd name="T5" fmla="*/ 1905 h 5"/>
                <a:gd name="T6" fmla="*/ 7938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0" name="Freeform 369"/>
            <p:cNvSpPr>
              <a:spLocks noChangeAspect="1"/>
            </p:cNvSpPr>
            <p:nvPr/>
          </p:nvSpPr>
          <p:spPr bwMode="auto">
            <a:xfrm>
              <a:off x="7317333" y="2100712"/>
              <a:ext cx="19221" cy="10318"/>
            </a:xfrm>
            <a:custGeom>
              <a:avLst/>
              <a:gdLst>
                <a:gd name="T0" fmla="*/ 13335 w 10"/>
                <a:gd name="T1" fmla="*/ 0 h 6"/>
                <a:gd name="T2" fmla="*/ 19050 w 10"/>
                <a:gd name="T3" fmla="*/ 6350 h 6"/>
                <a:gd name="T4" fmla="*/ 11430 w 10"/>
                <a:gd name="T5" fmla="*/ 10583 h 6"/>
                <a:gd name="T6" fmla="*/ 3810 w 10"/>
                <a:gd name="T7" fmla="*/ 12700 h 6"/>
                <a:gd name="T8" fmla="*/ 1905 w 10"/>
                <a:gd name="T9" fmla="*/ 8467 h 6"/>
                <a:gd name="T10" fmla="*/ 13335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1" name="Freeform 370"/>
            <p:cNvSpPr>
              <a:spLocks noChangeAspect="1"/>
            </p:cNvSpPr>
            <p:nvPr/>
          </p:nvSpPr>
          <p:spPr bwMode="auto">
            <a:xfrm>
              <a:off x="4929182" y="800716"/>
              <a:ext cx="3501343" cy="1106545"/>
            </a:xfrm>
            <a:custGeom>
              <a:avLst/>
              <a:gdLst>
                <a:gd name="T0" fmla="*/ 2505992 w 1821"/>
                <a:gd name="T1" fmla="*/ 950595 h 715"/>
                <a:gd name="T2" fmla="*/ 2711808 w 1821"/>
                <a:gd name="T3" fmla="*/ 748665 h 715"/>
                <a:gd name="T4" fmla="*/ 2910000 w 1821"/>
                <a:gd name="T5" fmla="*/ 708660 h 715"/>
                <a:gd name="T6" fmla="*/ 2877603 w 1821"/>
                <a:gd name="T7" fmla="*/ 830580 h 715"/>
                <a:gd name="T8" fmla="*/ 3024342 w 1821"/>
                <a:gd name="T9" fmla="*/ 868680 h 715"/>
                <a:gd name="T10" fmla="*/ 3085324 w 1821"/>
                <a:gd name="T11" fmla="*/ 706755 h 715"/>
                <a:gd name="T12" fmla="*/ 3266365 w 1821"/>
                <a:gd name="T13" fmla="*/ 541020 h 715"/>
                <a:gd name="T14" fmla="*/ 3435972 w 1821"/>
                <a:gd name="T15" fmla="*/ 483870 h 715"/>
                <a:gd name="T16" fmla="*/ 2974794 w 1821"/>
                <a:gd name="T17" fmla="*/ 381000 h 715"/>
                <a:gd name="T18" fmla="*/ 2589843 w 1821"/>
                <a:gd name="T19" fmla="*/ 295275 h 715"/>
                <a:gd name="T20" fmla="*/ 2412613 w 1821"/>
                <a:gd name="T21" fmla="*/ 240030 h 715"/>
                <a:gd name="T22" fmla="*/ 2229666 w 1821"/>
                <a:gd name="T23" fmla="*/ 270510 h 715"/>
                <a:gd name="T24" fmla="*/ 1951435 w 1821"/>
                <a:gd name="T25" fmla="*/ 190500 h 715"/>
                <a:gd name="T26" fmla="*/ 1684637 w 1821"/>
                <a:gd name="T27" fmla="*/ 186690 h 715"/>
                <a:gd name="T28" fmla="*/ 1705599 w 1821"/>
                <a:gd name="T29" fmla="*/ 72390 h 715"/>
                <a:gd name="T30" fmla="*/ 1455953 w 1821"/>
                <a:gd name="T31" fmla="*/ 36195 h 715"/>
                <a:gd name="T32" fmla="*/ 1290157 w 1821"/>
                <a:gd name="T33" fmla="*/ 97155 h 715"/>
                <a:gd name="T34" fmla="*/ 1160570 w 1821"/>
                <a:gd name="T35" fmla="*/ 184785 h 715"/>
                <a:gd name="T36" fmla="*/ 1133890 w 1821"/>
                <a:gd name="T37" fmla="*/ 329565 h 715"/>
                <a:gd name="T38" fmla="*/ 998586 w 1821"/>
                <a:gd name="T39" fmla="*/ 249555 h 715"/>
                <a:gd name="T40" fmla="*/ 949037 w 1821"/>
                <a:gd name="T41" fmla="*/ 259080 h 715"/>
                <a:gd name="T42" fmla="*/ 1080531 w 1821"/>
                <a:gd name="T43" fmla="*/ 436245 h 715"/>
                <a:gd name="T44" fmla="*/ 949037 w 1821"/>
                <a:gd name="T45" fmla="*/ 489585 h 715"/>
                <a:gd name="T46" fmla="*/ 838507 w 1821"/>
                <a:gd name="T47" fmla="*/ 215265 h 715"/>
                <a:gd name="T48" fmla="*/ 687957 w 1821"/>
                <a:gd name="T49" fmla="*/ 388620 h 715"/>
                <a:gd name="T50" fmla="*/ 461179 w 1821"/>
                <a:gd name="T51" fmla="*/ 415290 h 715"/>
                <a:gd name="T52" fmla="*/ 335403 w 1821"/>
                <a:gd name="T53" fmla="*/ 419100 h 715"/>
                <a:gd name="T54" fmla="*/ 209627 w 1821"/>
                <a:gd name="T55" fmla="*/ 542925 h 715"/>
                <a:gd name="T56" fmla="*/ 89568 w 1821"/>
                <a:gd name="T57" fmla="*/ 462915 h 715"/>
                <a:gd name="T58" fmla="*/ 76228 w 1821"/>
                <a:gd name="T59" fmla="*/ 352425 h 715"/>
                <a:gd name="T60" fmla="*/ 1906 w 1821"/>
                <a:gd name="T61" fmla="*/ 400050 h 715"/>
                <a:gd name="T62" fmla="*/ 45737 w 1821"/>
                <a:gd name="T63" fmla="*/ 558165 h 715"/>
                <a:gd name="T64" fmla="*/ 28585 w 1821"/>
                <a:gd name="T65" fmla="*/ 714375 h 715"/>
                <a:gd name="T66" fmla="*/ 13340 w 1821"/>
                <a:gd name="T67" fmla="*/ 758190 h 715"/>
                <a:gd name="T68" fmla="*/ 26680 w 1821"/>
                <a:gd name="T69" fmla="*/ 857250 h 715"/>
                <a:gd name="T70" fmla="*/ 112436 w 1821"/>
                <a:gd name="T71" fmla="*/ 946785 h 715"/>
                <a:gd name="T72" fmla="*/ 165796 w 1821"/>
                <a:gd name="T73" fmla="*/ 994410 h 715"/>
                <a:gd name="T74" fmla="*/ 270609 w 1821"/>
                <a:gd name="T75" fmla="*/ 1070610 h 715"/>
                <a:gd name="T76" fmla="*/ 280138 w 1821"/>
                <a:gd name="T77" fmla="*/ 1144905 h 715"/>
                <a:gd name="T78" fmla="*/ 259175 w 1821"/>
                <a:gd name="T79" fmla="*/ 1219200 h 715"/>
                <a:gd name="T80" fmla="*/ 377328 w 1821"/>
                <a:gd name="T81" fmla="*/ 1293495 h 715"/>
                <a:gd name="T82" fmla="*/ 506916 w 1821"/>
                <a:gd name="T83" fmla="*/ 1360170 h 715"/>
                <a:gd name="T84" fmla="*/ 497387 w 1821"/>
                <a:gd name="T85" fmla="*/ 1215390 h 715"/>
                <a:gd name="T86" fmla="*/ 468802 w 1821"/>
                <a:gd name="T87" fmla="*/ 1146810 h 715"/>
                <a:gd name="T88" fmla="*/ 501199 w 1821"/>
                <a:gd name="T89" fmla="*/ 1068705 h 715"/>
                <a:gd name="T90" fmla="*/ 598389 w 1821"/>
                <a:gd name="T91" fmla="*/ 1021080 h 715"/>
                <a:gd name="T92" fmla="*/ 720354 w 1821"/>
                <a:gd name="T93" fmla="*/ 1047750 h 715"/>
                <a:gd name="T94" fmla="*/ 781336 w 1821"/>
                <a:gd name="T95" fmla="*/ 967740 h 715"/>
                <a:gd name="T96" fmla="*/ 924263 w 1821"/>
                <a:gd name="T97" fmla="*/ 893445 h 715"/>
                <a:gd name="T98" fmla="*/ 1029077 w 1821"/>
                <a:gd name="T99" fmla="*/ 941070 h 715"/>
                <a:gd name="T100" fmla="*/ 1210118 w 1821"/>
                <a:gd name="T101" fmla="*/ 1047750 h 715"/>
                <a:gd name="T102" fmla="*/ 1326366 w 1821"/>
                <a:gd name="T103" fmla="*/ 1070610 h 715"/>
                <a:gd name="T104" fmla="*/ 1469293 w 1821"/>
                <a:gd name="T105" fmla="*/ 1061085 h 715"/>
                <a:gd name="T106" fmla="*/ 1598880 w 1821"/>
                <a:gd name="T107" fmla="*/ 1078230 h 715"/>
                <a:gd name="T108" fmla="*/ 1699882 w 1821"/>
                <a:gd name="T109" fmla="*/ 1022985 h 715"/>
                <a:gd name="T110" fmla="*/ 1852338 w 1821"/>
                <a:gd name="T111" fmla="*/ 1087755 h 715"/>
                <a:gd name="T112" fmla="*/ 2041002 w 1821"/>
                <a:gd name="T113" fmla="*/ 1078230 h 715"/>
                <a:gd name="T114" fmla="*/ 2128664 w 1821"/>
                <a:gd name="T115" fmla="*/ 973455 h 715"/>
                <a:gd name="T116" fmla="*/ 2271592 w 1821"/>
                <a:gd name="T117" fmla="*/ 1043940 h 715"/>
                <a:gd name="T118" fmla="*/ 2384028 w 1821"/>
                <a:gd name="T119" fmla="*/ 1152525 h 715"/>
                <a:gd name="T120" fmla="*/ 2446916 w 1821"/>
                <a:gd name="T121" fmla="*/ 123825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2" name="Freeform 371"/>
            <p:cNvSpPr>
              <a:spLocks noChangeAspect="1"/>
            </p:cNvSpPr>
            <p:nvPr/>
          </p:nvSpPr>
          <p:spPr bwMode="auto">
            <a:xfrm>
              <a:off x="7584820" y="1796348"/>
              <a:ext cx="136145" cy="104464"/>
            </a:xfrm>
            <a:custGeom>
              <a:avLst/>
              <a:gdLst>
                <a:gd name="T0" fmla="*/ 28508 w 71"/>
                <a:gd name="T1" fmla="*/ 1891 h 68"/>
                <a:gd name="T2" fmla="*/ 66518 w 71"/>
                <a:gd name="T3" fmla="*/ 35929 h 68"/>
                <a:gd name="T4" fmla="*/ 91225 w 71"/>
                <a:gd name="T5" fmla="*/ 45384 h 68"/>
                <a:gd name="T6" fmla="*/ 104529 w 71"/>
                <a:gd name="T7" fmla="*/ 49166 h 68"/>
                <a:gd name="T8" fmla="*/ 114031 w 71"/>
                <a:gd name="T9" fmla="*/ 39711 h 68"/>
                <a:gd name="T10" fmla="*/ 112131 w 71"/>
                <a:gd name="T11" fmla="*/ 54839 h 68"/>
                <a:gd name="T12" fmla="*/ 119733 w 71"/>
                <a:gd name="T13" fmla="*/ 71857 h 68"/>
                <a:gd name="T14" fmla="*/ 133036 w 71"/>
                <a:gd name="T15" fmla="*/ 68075 h 68"/>
                <a:gd name="T16" fmla="*/ 115932 w 71"/>
                <a:gd name="T17" fmla="*/ 81312 h 68"/>
                <a:gd name="T18" fmla="*/ 106429 w 71"/>
                <a:gd name="T19" fmla="*/ 83203 h 68"/>
                <a:gd name="T20" fmla="*/ 96927 w 71"/>
                <a:gd name="T21" fmla="*/ 83203 h 68"/>
                <a:gd name="T22" fmla="*/ 85523 w 71"/>
                <a:gd name="T23" fmla="*/ 100222 h 68"/>
                <a:gd name="T24" fmla="*/ 81722 w 71"/>
                <a:gd name="T25" fmla="*/ 115350 h 68"/>
                <a:gd name="T26" fmla="*/ 41811 w 71"/>
                <a:gd name="T27" fmla="*/ 92658 h 68"/>
                <a:gd name="T28" fmla="*/ 30408 w 71"/>
                <a:gd name="T29" fmla="*/ 102113 h 68"/>
                <a:gd name="T30" fmla="*/ 15204 w 71"/>
                <a:gd name="T31" fmla="*/ 94549 h 68"/>
                <a:gd name="T32" fmla="*/ 15204 w 71"/>
                <a:gd name="T33" fmla="*/ 100222 h 68"/>
                <a:gd name="T34" fmla="*/ 28508 w 71"/>
                <a:gd name="T35" fmla="*/ 113459 h 68"/>
                <a:gd name="T36" fmla="*/ 36110 w 71"/>
                <a:gd name="T37" fmla="*/ 119132 h 68"/>
                <a:gd name="T38" fmla="*/ 22806 w 71"/>
                <a:gd name="T39" fmla="*/ 119132 h 68"/>
                <a:gd name="T40" fmla="*/ 17105 w 71"/>
                <a:gd name="T41" fmla="*/ 128587 h 68"/>
                <a:gd name="T42" fmla="*/ 13304 w 71"/>
                <a:gd name="T43" fmla="*/ 122914 h 68"/>
                <a:gd name="T44" fmla="*/ 13304 w 71"/>
                <a:gd name="T45" fmla="*/ 113459 h 68"/>
                <a:gd name="T46" fmla="*/ 3801 w 71"/>
                <a:gd name="T47" fmla="*/ 107786 h 68"/>
                <a:gd name="T48" fmla="*/ 1901 w 71"/>
                <a:gd name="T49" fmla="*/ 92658 h 68"/>
                <a:gd name="T50" fmla="*/ 11403 w 71"/>
                <a:gd name="T51" fmla="*/ 83203 h 68"/>
                <a:gd name="T52" fmla="*/ 3801 w 71"/>
                <a:gd name="T53" fmla="*/ 73748 h 68"/>
                <a:gd name="T54" fmla="*/ 7602 w 71"/>
                <a:gd name="T55" fmla="*/ 69966 h 68"/>
                <a:gd name="T56" fmla="*/ 26607 w 71"/>
                <a:gd name="T57" fmla="*/ 73748 h 68"/>
                <a:gd name="T58" fmla="*/ 22806 w 71"/>
                <a:gd name="T59" fmla="*/ 60512 h 68"/>
                <a:gd name="T60" fmla="*/ 32309 w 71"/>
                <a:gd name="T61" fmla="*/ 47275 h 68"/>
                <a:gd name="T62" fmla="*/ 28508 w 71"/>
                <a:gd name="T63" fmla="*/ 34038 h 68"/>
                <a:gd name="T64" fmla="*/ 28508 w 71"/>
                <a:gd name="T65" fmla="*/ 20801 h 68"/>
                <a:gd name="T66" fmla="*/ 19005 w 71"/>
                <a:gd name="T67" fmla="*/ 9455 h 68"/>
                <a:gd name="T68" fmla="*/ 28508 w 71"/>
                <a:gd name="T69" fmla="*/ 189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3" name="Freeform 372"/>
            <p:cNvSpPr>
              <a:spLocks noChangeAspect="1"/>
            </p:cNvSpPr>
            <p:nvPr/>
          </p:nvSpPr>
          <p:spPr bwMode="auto">
            <a:xfrm>
              <a:off x="7423047" y="1899522"/>
              <a:ext cx="237053" cy="205058"/>
            </a:xfrm>
            <a:custGeom>
              <a:avLst/>
              <a:gdLst>
                <a:gd name="T0" fmla="*/ 194837 w 123"/>
                <a:gd name="T1" fmla="*/ 9561 h 132"/>
                <a:gd name="T2" fmla="*/ 206298 w 123"/>
                <a:gd name="T3" fmla="*/ 22947 h 132"/>
                <a:gd name="T4" fmla="*/ 189106 w 123"/>
                <a:gd name="T5" fmla="*/ 11473 h 132"/>
                <a:gd name="T6" fmla="*/ 183376 w 123"/>
                <a:gd name="T7" fmla="*/ 22947 h 132"/>
                <a:gd name="T8" fmla="*/ 179555 w 123"/>
                <a:gd name="T9" fmla="*/ 43981 h 132"/>
                <a:gd name="T10" fmla="*/ 185286 w 123"/>
                <a:gd name="T11" fmla="*/ 49718 h 132"/>
                <a:gd name="T12" fmla="*/ 183376 w 123"/>
                <a:gd name="T13" fmla="*/ 95611 h 132"/>
                <a:gd name="T14" fmla="*/ 168094 w 123"/>
                <a:gd name="T15" fmla="*/ 120469 h 132"/>
                <a:gd name="T16" fmla="*/ 137532 w 123"/>
                <a:gd name="T17" fmla="*/ 149153 h 132"/>
                <a:gd name="T18" fmla="*/ 135622 w 123"/>
                <a:gd name="T19" fmla="*/ 131943 h 132"/>
                <a:gd name="T20" fmla="*/ 124161 w 123"/>
                <a:gd name="T21" fmla="*/ 137679 h 132"/>
                <a:gd name="T22" fmla="*/ 116520 w 123"/>
                <a:gd name="T23" fmla="*/ 170187 h 132"/>
                <a:gd name="T24" fmla="*/ 105059 w 123"/>
                <a:gd name="T25" fmla="*/ 185485 h 132"/>
                <a:gd name="T26" fmla="*/ 47754 w 123"/>
                <a:gd name="T27" fmla="*/ 189309 h 132"/>
                <a:gd name="T28" fmla="*/ 36293 w 123"/>
                <a:gd name="T29" fmla="*/ 191221 h 132"/>
                <a:gd name="T30" fmla="*/ 19102 w 123"/>
                <a:gd name="T31" fmla="*/ 214168 h 132"/>
                <a:gd name="T32" fmla="*/ 1910 w 123"/>
                <a:gd name="T33" fmla="*/ 229465 h 132"/>
                <a:gd name="T34" fmla="*/ 15281 w 123"/>
                <a:gd name="T35" fmla="*/ 235202 h 132"/>
                <a:gd name="T36" fmla="*/ 34383 w 123"/>
                <a:gd name="T37" fmla="*/ 239026 h 132"/>
                <a:gd name="T38" fmla="*/ 42024 w 123"/>
                <a:gd name="T39" fmla="*/ 229465 h 132"/>
                <a:gd name="T40" fmla="*/ 64946 w 123"/>
                <a:gd name="T41" fmla="*/ 219904 h 132"/>
                <a:gd name="T42" fmla="*/ 74496 w 123"/>
                <a:gd name="T43" fmla="*/ 214168 h 132"/>
                <a:gd name="T44" fmla="*/ 105059 w 123"/>
                <a:gd name="T45" fmla="*/ 212256 h 132"/>
                <a:gd name="T46" fmla="*/ 99328 w 123"/>
                <a:gd name="T47" fmla="*/ 227553 h 132"/>
                <a:gd name="T48" fmla="*/ 116520 w 123"/>
                <a:gd name="T49" fmla="*/ 250500 h 132"/>
                <a:gd name="T50" fmla="*/ 127981 w 123"/>
                <a:gd name="T51" fmla="*/ 227553 h 132"/>
                <a:gd name="T52" fmla="*/ 133711 w 123"/>
                <a:gd name="T53" fmla="*/ 216080 h 132"/>
                <a:gd name="T54" fmla="*/ 137532 w 123"/>
                <a:gd name="T55" fmla="*/ 204607 h 132"/>
                <a:gd name="T56" fmla="*/ 143262 w 123"/>
                <a:gd name="T57" fmla="*/ 210343 h 132"/>
                <a:gd name="T58" fmla="*/ 147083 w 123"/>
                <a:gd name="T59" fmla="*/ 216080 h 132"/>
                <a:gd name="T60" fmla="*/ 164274 w 123"/>
                <a:gd name="T61" fmla="*/ 216080 h 132"/>
                <a:gd name="T62" fmla="*/ 175735 w 123"/>
                <a:gd name="T63" fmla="*/ 202694 h 132"/>
                <a:gd name="T64" fmla="*/ 183376 w 123"/>
                <a:gd name="T65" fmla="*/ 214168 h 132"/>
                <a:gd name="T66" fmla="*/ 194837 w 123"/>
                <a:gd name="T67" fmla="*/ 198870 h 132"/>
                <a:gd name="T68" fmla="*/ 196747 w 123"/>
                <a:gd name="T69" fmla="*/ 187397 h 132"/>
                <a:gd name="T70" fmla="*/ 210118 w 123"/>
                <a:gd name="T71" fmla="*/ 187397 h 132"/>
                <a:gd name="T72" fmla="*/ 208208 w 123"/>
                <a:gd name="T73" fmla="*/ 202694 h 132"/>
                <a:gd name="T74" fmla="*/ 221579 w 123"/>
                <a:gd name="T75" fmla="*/ 200782 h 132"/>
                <a:gd name="T76" fmla="*/ 229220 w 123"/>
                <a:gd name="T77" fmla="*/ 181660 h 132"/>
                <a:gd name="T78" fmla="*/ 219669 w 123"/>
                <a:gd name="T79" fmla="*/ 151065 h 132"/>
                <a:gd name="T80" fmla="*/ 223489 w 123"/>
                <a:gd name="T81" fmla="*/ 130030 h 132"/>
                <a:gd name="T82" fmla="*/ 221579 w 123"/>
                <a:gd name="T83" fmla="*/ 97523 h 132"/>
                <a:gd name="T84" fmla="*/ 229220 w 123"/>
                <a:gd name="T85" fmla="*/ 89874 h 132"/>
                <a:gd name="T86" fmla="*/ 233040 w 123"/>
                <a:gd name="T87" fmla="*/ 66927 h 132"/>
                <a:gd name="T88" fmla="*/ 221579 w 123"/>
                <a:gd name="T89" fmla="*/ 43981 h 132"/>
                <a:gd name="T90" fmla="*/ 212028 w 123"/>
                <a:gd name="T91" fmla="*/ 22947 h 132"/>
                <a:gd name="T92" fmla="*/ 194837 w 123"/>
                <a:gd name="T93" fmla="*/ 1912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4" name="Freeform 373"/>
            <p:cNvSpPr>
              <a:spLocks noChangeAspect="1"/>
            </p:cNvSpPr>
            <p:nvPr/>
          </p:nvSpPr>
          <p:spPr bwMode="auto">
            <a:xfrm>
              <a:off x="7463090" y="2082657"/>
              <a:ext cx="54458" cy="38690"/>
            </a:xfrm>
            <a:custGeom>
              <a:avLst/>
              <a:gdLst>
                <a:gd name="T0" fmla="*/ 0 w 28"/>
                <a:gd name="T1" fmla="*/ 24765 h 25"/>
                <a:gd name="T2" fmla="*/ 3855 w 28"/>
                <a:gd name="T3" fmla="*/ 41910 h 25"/>
                <a:gd name="T4" fmla="*/ 15421 w 28"/>
                <a:gd name="T5" fmla="*/ 45720 h 25"/>
                <a:gd name="T6" fmla="*/ 21204 w 28"/>
                <a:gd name="T7" fmla="*/ 45720 h 25"/>
                <a:gd name="T8" fmla="*/ 21204 w 28"/>
                <a:gd name="T9" fmla="*/ 38100 h 25"/>
                <a:gd name="T10" fmla="*/ 26988 w 28"/>
                <a:gd name="T11" fmla="*/ 26670 h 25"/>
                <a:gd name="T12" fmla="*/ 36626 w 28"/>
                <a:gd name="T13" fmla="*/ 28575 h 25"/>
                <a:gd name="T14" fmla="*/ 42409 w 28"/>
                <a:gd name="T15" fmla="*/ 32385 h 25"/>
                <a:gd name="T16" fmla="*/ 46264 w 28"/>
                <a:gd name="T17" fmla="*/ 20955 h 25"/>
                <a:gd name="T18" fmla="*/ 52047 w 28"/>
                <a:gd name="T19" fmla="*/ 13335 h 25"/>
                <a:gd name="T20" fmla="*/ 50120 w 28"/>
                <a:gd name="T21" fmla="*/ 9525 h 25"/>
                <a:gd name="T22" fmla="*/ 48192 w 28"/>
                <a:gd name="T23" fmla="*/ 1905 h 25"/>
                <a:gd name="T24" fmla="*/ 36626 w 28"/>
                <a:gd name="T25" fmla="*/ 1905 h 25"/>
                <a:gd name="T26" fmla="*/ 30843 w 28"/>
                <a:gd name="T27" fmla="*/ 1905 h 25"/>
                <a:gd name="T28" fmla="*/ 25060 w 28"/>
                <a:gd name="T29" fmla="*/ 13335 h 25"/>
                <a:gd name="T30" fmla="*/ 17349 w 28"/>
                <a:gd name="T31" fmla="*/ 13335 h 25"/>
                <a:gd name="T32" fmla="*/ 11566 w 28"/>
                <a:gd name="T33" fmla="*/ 9525 h 25"/>
                <a:gd name="T34" fmla="*/ 5783 w 28"/>
                <a:gd name="T35" fmla="*/ 15240 h 25"/>
                <a:gd name="T36" fmla="*/ 0 w 28"/>
                <a:gd name="T37" fmla="*/ 2476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5" name="Freeform 374"/>
            <p:cNvSpPr>
              <a:spLocks noChangeAspect="1"/>
            </p:cNvSpPr>
            <p:nvPr/>
          </p:nvSpPr>
          <p:spPr bwMode="auto">
            <a:xfrm>
              <a:off x="7514345" y="2074919"/>
              <a:ext cx="4805" cy="7738"/>
            </a:xfrm>
            <a:custGeom>
              <a:avLst/>
              <a:gdLst>
                <a:gd name="T0" fmla="*/ 0 w 3"/>
                <a:gd name="T1" fmla="*/ 5715 h 5"/>
                <a:gd name="T2" fmla="*/ 3175 w 3"/>
                <a:gd name="T3" fmla="*/ 1905 h 5"/>
                <a:gd name="T4" fmla="*/ 3175 w 3"/>
                <a:gd name="T5" fmla="*/ 9525 h 5"/>
                <a:gd name="T6" fmla="*/ 0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4"/>
                    <a:pt x="2" y="5"/>
                  </a:cubicBezTo>
                  <a:cubicBezTo>
                    <a:pt x="1" y="5"/>
                    <a:pt x="0" y="4"/>
                    <a:pt x="0" y="4"/>
                  </a:cubicBezTo>
                  <a:cubicBezTo>
                    <a:pt x="0" y="4"/>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6" name="Freeform 375"/>
            <p:cNvSpPr>
              <a:spLocks noChangeAspect="1"/>
            </p:cNvSpPr>
            <p:nvPr/>
          </p:nvSpPr>
          <p:spPr bwMode="auto">
            <a:xfrm>
              <a:off x="7469497" y="2034939"/>
              <a:ext cx="6407" cy="3869"/>
            </a:xfrm>
            <a:custGeom>
              <a:avLst/>
              <a:gdLst>
                <a:gd name="T0" fmla="*/ 0 w 3"/>
                <a:gd name="T1" fmla="*/ 3175 h 3"/>
                <a:gd name="T2" fmla="*/ 4233 w 3"/>
                <a:gd name="T3" fmla="*/ 1588 h 3"/>
                <a:gd name="T4" fmla="*/ 4233 w 3"/>
                <a:gd name="T5" fmla="*/ 4763 h 3"/>
                <a:gd name="T6" fmla="*/ 0 w 3"/>
                <a:gd name="T7" fmla="*/ 3175 h 3"/>
                <a:gd name="T8" fmla="*/ 0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0" y="2"/>
                  </a:moveTo>
                  <a:cubicBezTo>
                    <a:pt x="1" y="1"/>
                    <a:pt x="2" y="0"/>
                    <a:pt x="2" y="1"/>
                  </a:cubicBezTo>
                  <a:cubicBezTo>
                    <a:pt x="3" y="1"/>
                    <a:pt x="2" y="2"/>
                    <a:pt x="2" y="3"/>
                  </a:cubicBezTo>
                  <a:cubicBezTo>
                    <a:pt x="1" y="3"/>
                    <a:pt x="1" y="2"/>
                    <a:pt x="0" y="2"/>
                  </a:cubicBezTo>
                  <a:cubicBezTo>
                    <a:pt x="0" y="2"/>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7" name="Freeform 376"/>
            <p:cNvSpPr>
              <a:spLocks noChangeAspect="1"/>
            </p:cNvSpPr>
            <p:nvPr/>
          </p:nvSpPr>
          <p:spPr bwMode="auto">
            <a:xfrm>
              <a:off x="7394217" y="2092975"/>
              <a:ext cx="6407" cy="5158"/>
            </a:xfrm>
            <a:custGeom>
              <a:avLst/>
              <a:gdLst>
                <a:gd name="T0" fmla="*/ 2117 w 3"/>
                <a:gd name="T1" fmla="*/ 4233 h 3"/>
                <a:gd name="T2" fmla="*/ 4233 w 3"/>
                <a:gd name="T3" fmla="*/ 2117 h 3"/>
                <a:gd name="T4" fmla="*/ 4233 w 3"/>
                <a:gd name="T5" fmla="*/ 6350 h 3"/>
                <a:gd name="T6" fmla="*/ 0 w 3"/>
                <a:gd name="T7" fmla="*/ 4233 h 3"/>
                <a:gd name="T8" fmla="*/ 2117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1"/>
                    <a:pt x="2" y="0"/>
                    <a:pt x="2" y="1"/>
                  </a:cubicBezTo>
                  <a:cubicBezTo>
                    <a:pt x="3" y="1"/>
                    <a:pt x="3" y="2"/>
                    <a:pt x="2" y="3"/>
                  </a:cubicBezTo>
                  <a:cubicBezTo>
                    <a:pt x="2" y="3"/>
                    <a:pt x="1" y="2"/>
                    <a:pt x="0" y="2"/>
                  </a:cubicBezTo>
                  <a:cubicBezTo>
                    <a:pt x="0" y="2"/>
                    <a:pt x="0"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8" name="Freeform 377"/>
            <p:cNvSpPr>
              <a:spLocks noChangeAspect="1"/>
            </p:cNvSpPr>
            <p:nvPr/>
          </p:nvSpPr>
          <p:spPr bwMode="auto">
            <a:xfrm>
              <a:off x="7431057" y="2176803"/>
              <a:ext cx="6407" cy="7738"/>
            </a:xfrm>
            <a:custGeom>
              <a:avLst/>
              <a:gdLst>
                <a:gd name="T0" fmla="*/ 0 w 3"/>
                <a:gd name="T1" fmla="*/ 5715 h 5"/>
                <a:gd name="T2" fmla="*/ 4233 w 3"/>
                <a:gd name="T3" fmla="*/ 1905 h 5"/>
                <a:gd name="T4" fmla="*/ 4233 w 3"/>
                <a:gd name="T5" fmla="*/ 7620 h 5"/>
                <a:gd name="T6" fmla="*/ 0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3"/>
                    <a:pt x="2" y="4"/>
                  </a:cubicBezTo>
                  <a:cubicBezTo>
                    <a:pt x="1" y="5"/>
                    <a:pt x="0" y="4"/>
                    <a:pt x="0" y="4"/>
                  </a:cubicBezTo>
                  <a:cubicBezTo>
                    <a:pt x="0" y="3"/>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9" name="Freeform 378"/>
            <p:cNvSpPr>
              <a:spLocks noChangeAspect="1"/>
            </p:cNvSpPr>
            <p:nvPr/>
          </p:nvSpPr>
          <p:spPr bwMode="auto">
            <a:xfrm>
              <a:off x="7376598" y="2118767"/>
              <a:ext cx="8008" cy="7738"/>
            </a:xfrm>
            <a:custGeom>
              <a:avLst/>
              <a:gdLst>
                <a:gd name="T0" fmla="*/ 0 w 4"/>
                <a:gd name="T1" fmla="*/ 3810 h 5"/>
                <a:gd name="T2" fmla="*/ 5953 w 4"/>
                <a:gd name="T3" fmla="*/ 1905 h 5"/>
                <a:gd name="T4" fmla="*/ 3969 w 4"/>
                <a:gd name="T5" fmla="*/ 7620 h 5"/>
                <a:gd name="T6" fmla="*/ 0 w 4"/>
                <a:gd name="T7" fmla="*/ 7620 h 5"/>
                <a:gd name="T8" fmla="*/ 0 w 4"/>
                <a:gd name="T9" fmla="*/ 381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0" y="2"/>
                  </a:moveTo>
                  <a:cubicBezTo>
                    <a:pt x="1" y="2"/>
                    <a:pt x="2" y="0"/>
                    <a:pt x="3" y="1"/>
                  </a:cubicBezTo>
                  <a:cubicBezTo>
                    <a:pt x="4" y="2"/>
                    <a:pt x="3" y="3"/>
                    <a:pt x="2" y="4"/>
                  </a:cubicBezTo>
                  <a:cubicBezTo>
                    <a:pt x="2" y="5"/>
                    <a:pt x="0" y="4"/>
                    <a:pt x="0" y="4"/>
                  </a:cubicBezTo>
                  <a:cubicBezTo>
                    <a:pt x="0" y="3"/>
                    <a:pt x="0" y="3"/>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0" name="Freeform 379"/>
            <p:cNvSpPr>
              <a:spLocks noChangeAspect="1"/>
            </p:cNvSpPr>
            <p:nvPr/>
          </p:nvSpPr>
          <p:spPr bwMode="auto">
            <a:xfrm>
              <a:off x="7384605" y="2112319"/>
              <a:ext cx="6407" cy="7738"/>
            </a:xfrm>
            <a:custGeom>
              <a:avLst/>
              <a:gdLst>
                <a:gd name="T0" fmla="*/ 0 w 3"/>
                <a:gd name="T1" fmla="*/ 5715 h 5"/>
                <a:gd name="T2" fmla="*/ 4233 w 3"/>
                <a:gd name="T3" fmla="*/ 1905 h 5"/>
                <a:gd name="T4" fmla="*/ 4233 w 3"/>
                <a:gd name="T5" fmla="*/ 9525 h 5"/>
                <a:gd name="T6" fmla="*/ 2117 w 3"/>
                <a:gd name="T7" fmla="*/ 7620 h 5"/>
                <a:gd name="T8" fmla="*/ 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1" y="0"/>
                    <a:pt x="2" y="1"/>
                  </a:cubicBezTo>
                  <a:cubicBezTo>
                    <a:pt x="3" y="2"/>
                    <a:pt x="2" y="4"/>
                    <a:pt x="2" y="5"/>
                  </a:cubicBezTo>
                  <a:cubicBezTo>
                    <a:pt x="2" y="5"/>
                    <a:pt x="1" y="5"/>
                    <a:pt x="1" y="4"/>
                  </a:cubicBezTo>
                  <a:cubicBezTo>
                    <a:pt x="0" y="4"/>
                    <a:pt x="0" y="3"/>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1" name="Freeform 380"/>
            <p:cNvSpPr>
              <a:spLocks noChangeAspect="1"/>
            </p:cNvSpPr>
            <p:nvPr/>
          </p:nvSpPr>
          <p:spPr bwMode="auto">
            <a:xfrm>
              <a:off x="7399021" y="2095554"/>
              <a:ext cx="59263" cy="67064"/>
            </a:xfrm>
            <a:custGeom>
              <a:avLst/>
              <a:gdLst>
                <a:gd name="T0" fmla="*/ 51158 w 31"/>
                <a:gd name="T1" fmla="*/ 71293 h 44"/>
                <a:gd name="T2" fmla="*/ 53053 w 31"/>
                <a:gd name="T3" fmla="*/ 60036 h 44"/>
                <a:gd name="T4" fmla="*/ 49263 w 31"/>
                <a:gd name="T5" fmla="*/ 52532 h 44"/>
                <a:gd name="T6" fmla="*/ 53053 w 31"/>
                <a:gd name="T7" fmla="*/ 41275 h 44"/>
                <a:gd name="T8" fmla="*/ 58737 w 31"/>
                <a:gd name="T9" fmla="*/ 31894 h 44"/>
                <a:gd name="T10" fmla="*/ 58737 w 31"/>
                <a:gd name="T11" fmla="*/ 22514 h 44"/>
                <a:gd name="T12" fmla="*/ 53053 w 31"/>
                <a:gd name="T13" fmla="*/ 18761 h 44"/>
                <a:gd name="T14" fmla="*/ 47369 w 31"/>
                <a:gd name="T15" fmla="*/ 18761 h 44"/>
                <a:gd name="T16" fmla="*/ 49263 w 31"/>
                <a:gd name="T17" fmla="*/ 15009 h 44"/>
                <a:gd name="T18" fmla="*/ 51158 w 31"/>
                <a:gd name="T19" fmla="*/ 9381 h 44"/>
                <a:gd name="T20" fmla="*/ 45474 w 31"/>
                <a:gd name="T21" fmla="*/ 7505 h 44"/>
                <a:gd name="T22" fmla="*/ 41684 w 31"/>
                <a:gd name="T23" fmla="*/ 11257 h 44"/>
                <a:gd name="T24" fmla="*/ 34105 w 31"/>
                <a:gd name="T25" fmla="*/ 7505 h 44"/>
                <a:gd name="T26" fmla="*/ 32211 w 31"/>
                <a:gd name="T27" fmla="*/ 1876 h 44"/>
                <a:gd name="T28" fmla="*/ 24632 w 31"/>
                <a:gd name="T29" fmla="*/ 1876 h 44"/>
                <a:gd name="T30" fmla="*/ 20842 w 31"/>
                <a:gd name="T31" fmla="*/ 1876 h 44"/>
                <a:gd name="T32" fmla="*/ 17053 w 31"/>
                <a:gd name="T33" fmla="*/ 9381 h 44"/>
                <a:gd name="T34" fmla="*/ 11368 w 31"/>
                <a:gd name="T35" fmla="*/ 11257 h 44"/>
                <a:gd name="T36" fmla="*/ 7579 w 31"/>
                <a:gd name="T37" fmla="*/ 7505 h 44"/>
                <a:gd name="T38" fmla="*/ 0 w 31"/>
                <a:gd name="T39" fmla="*/ 13133 h 44"/>
                <a:gd name="T40" fmla="*/ 1895 w 31"/>
                <a:gd name="T41" fmla="*/ 18761 h 44"/>
                <a:gd name="T42" fmla="*/ 11368 w 31"/>
                <a:gd name="T43" fmla="*/ 24390 h 44"/>
                <a:gd name="T44" fmla="*/ 11368 w 31"/>
                <a:gd name="T45" fmla="*/ 28142 h 44"/>
                <a:gd name="T46" fmla="*/ 3789 w 31"/>
                <a:gd name="T47" fmla="*/ 24390 h 44"/>
                <a:gd name="T48" fmla="*/ 5684 w 31"/>
                <a:gd name="T49" fmla="*/ 31894 h 44"/>
                <a:gd name="T50" fmla="*/ 9474 w 31"/>
                <a:gd name="T51" fmla="*/ 35647 h 44"/>
                <a:gd name="T52" fmla="*/ 13263 w 31"/>
                <a:gd name="T53" fmla="*/ 33770 h 44"/>
                <a:gd name="T54" fmla="*/ 18947 w 31"/>
                <a:gd name="T55" fmla="*/ 35647 h 44"/>
                <a:gd name="T56" fmla="*/ 15158 w 31"/>
                <a:gd name="T57" fmla="*/ 45027 h 44"/>
                <a:gd name="T58" fmla="*/ 20842 w 31"/>
                <a:gd name="T59" fmla="*/ 41275 h 44"/>
                <a:gd name="T60" fmla="*/ 20842 w 31"/>
                <a:gd name="T61" fmla="*/ 33770 h 44"/>
                <a:gd name="T62" fmla="*/ 17053 w 31"/>
                <a:gd name="T63" fmla="*/ 31894 h 44"/>
                <a:gd name="T64" fmla="*/ 17053 w 31"/>
                <a:gd name="T65" fmla="*/ 28142 h 44"/>
                <a:gd name="T66" fmla="*/ 15158 w 31"/>
                <a:gd name="T67" fmla="*/ 20638 h 44"/>
                <a:gd name="T68" fmla="*/ 22737 w 31"/>
                <a:gd name="T69" fmla="*/ 24390 h 44"/>
                <a:gd name="T70" fmla="*/ 26526 w 31"/>
                <a:gd name="T71" fmla="*/ 35647 h 44"/>
                <a:gd name="T72" fmla="*/ 28421 w 31"/>
                <a:gd name="T73" fmla="*/ 39399 h 44"/>
                <a:gd name="T74" fmla="*/ 22737 w 31"/>
                <a:gd name="T75" fmla="*/ 50656 h 44"/>
                <a:gd name="T76" fmla="*/ 20842 w 31"/>
                <a:gd name="T77" fmla="*/ 61913 h 44"/>
                <a:gd name="T78" fmla="*/ 26526 w 31"/>
                <a:gd name="T79" fmla="*/ 69417 h 44"/>
                <a:gd name="T80" fmla="*/ 24632 w 31"/>
                <a:gd name="T81" fmla="*/ 75045 h 44"/>
                <a:gd name="T82" fmla="*/ 34105 w 31"/>
                <a:gd name="T83" fmla="*/ 76922 h 44"/>
                <a:gd name="T84" fmla="*/ 30316 w 31"/>
                <a:gd name="T85" fmla="*/ 65665 h 44"/>
                <a:gd name="T86" fmla="*/ 37895 w 31"/>
                <a:gd name="T87" fmla="*/ 67541 h 44"/>
                <a:gd name="T88" fmla="*/ 36000 w 31"/>
                <a:gd name="T89" fmla="*/ 76922 h 44"/>
                <a:gd name="T90" fmla="*/ 36000 w 31"/>
                <a:gd name="T91" fmla="*/ 82550 h 44"/>
                <a:gd name="T92" fmla="*/ 45474 w 31"/>
                <a:gd name="T93" fmla="*/ 78798 h 44"/>
                <a:gd name="T94" fmla="*/ 45474 w 31"/>
                <a:gd name="T95" fmla="*/ 71293 h 44"/>
                <a:gd name="T96" fmla="*/ 51158 w 31"/>
                <a:gd name="T97" fmla="*/ 71293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2" name="Freeform 381"/>
            <p:cNvSpPr>
              <a:spLocks noChangeAspect="1"/>
            </p:cNvSpPr>
            <p:nvPr/>
          </p:nvSpPr>
          <p:spPr bwMode="auto">
            <a:xfrm>
              <a:off x="7440666" y="2167775"/>
              <a:ext cx="8008" cy="12897"/>
            </a:xfrm>
            <a:custGeom>
              <a:avLst/>
              <a:gdLst>
                <a:gd name="T0" fmla="*/ 5953 w 4"/>
                <a:gd name="T1" fmla="*/ 0 h 8"/>
                <a:gd name="T2" fmla="*/ 3969 w 4"/>
                <a:gd name="T3" fmla="*/ 15875 h 8"/>
                <a:gd name="T4" fmla="*/ 0 w 4"/>
                <a:gd name="T5" fmla="*/ 13891 h 8"/>
                <a:gd name="T6" fmla="*/ 1984 w 4"/>
                <a:gd name="T7" fmla="*/ 1984 h 8"/>
                <a:gd name="T8" fmla="*/ 5953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0"/>
                  </a:moveTo>
                  <a:cubicBezTo>
                    <a:pt x="4" y="3"/>
                    <a:pt x="3" y="5"/>
                    <a:pt x="2" y="8"/>
                  </a:cubicBezTo>
                  <a:cubicBezTo>
                    <a:pt x="2" y="8"/>
                    <a:pt x="1" y="8"/>
                    <a:pt x="0" y="7"/>
                  </a:cubicBezTo>
                  <a:cubicBezTo>
                    <a:pt x="0" y="5"/>
                    <a:pt x="0" y="3"/>
                    <a:pt x="1" y="1"/>
                  </a:cubicBezTo>
                  <a:cubicBezTo>
                    <a:pt x="1" y="0"/>
                    <a:pt x="3"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3" name="Freeform 382"/>
            <p:cNvSpPr>
              <a:spLocks noChangeAspect="1"/>
            </p:cNvSpPr>
            <p:nvPr/>
          </p:nvSpPr>
          <p:spPr bwMode="auto">
            <a:xfrm>
              <a:off x="7383004" y="2072340"/>
              <a:ext cx="6407" cy="9027"/>
            </a:xfrm>
            <a:custGeom>
              <a:avLst/>
              <a:gdLst>
                <a:gd name="T0" fmla="*/ 6350 w 3"/>
                <a:gd name="T1" fmla="*/ 0 h 6"/>
                <a:gd name="T2" fmla="*/ 4233 w 3"/>
                <a:gd name="T3" fmla="*/ 11112 h 6"/>
                <a:gd name="T4" fmla="*/ 0 w 3"/>
                <a:gd name="T5" fmla="*/ 11112 h 6"/>
                <a:gd name="T6" fmla="*/ 2117 w 3"/>
                <a:gd name="T7" fmla="*/ 1852 h 6"/>
                <a:gd name="T8" fmla="*/ 6350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3" y="0"/>
                  </a:moveTo>
                  <a:cubicBezTo>
                    <a:pt x="3" y="2"/>
                    <a:pt x="3" y="4"/>
                    <a:pt x="2" y="6"/>
                  </a:cubicBezTo>
                  <a:cubicBezTo>
                    <a:pt x="2" y="6"/>
                    <a:pt x="0" y="6"/>
                    <a:pt x="0" y="6"/>
                  </a:cubicBezTo>
                  <a:cubicBezTo>
                    <a:pt x="0" y="4"/>
                    <a:pt x="0" y="2"/>
                    <a:pt x="1" y="1"/>
                  </a:cubicBezTo>
                  <a:cubicBezTo>
                    <a:pt x="1"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4" name="Freeform 383"/>
            <p:cNvSpPr>
              <a:spLocks noChangeAspect="1"/>
            </p:cNvSpPr>
            <p:nvPr/>
          </p:nvSpPr>
          <p:spPr bwMode="auto">
            <a:xfrm>
              <a:off x="7578414" y="1984641"/>
              <a:ext cx="9610" cy="12897"/>
            </a:xfrm>
            <a:custGeom>
              <a:avLst/>
              <a:gdLst>
                <a:gd name="T0" fmla="*/ 3810 w 5"/>
                <a:gd name="T1" fmla="*/ 1984 h 8"/>
                <a:gd name="T2" fmla="*/ 0 w 5"/>
                <a:gd name="T3" fmla="*/ 9922 h 8"/>
                <a:gd name="T4" fmla="*/ 3810 w 5"/>
                <a:gd name="T5" fmla="*/ 9922 h 8"/>
                <a:gd name="T6" fmla="*/ 3810 w 5"/>
                <a:gd name="T7" fmla="*/ 15875 h 8"/>
                <a:gd name="T8" fmla="*/ 9525 w 5"/>
                <a:gd name="T9" fmla="*/ 7938 h 8"/>
                <a:gd name="T10" fmla="*/ 5715 w 5"/>
                <a:gd name="T11" fmla="*/ 7938 h 8"/>
                <a:gd name="T12" fmla="*/ 3810 w 5"/>
                <a:gd name="T13" fmla="*/ 1984 h 8"/>
                <a:gd name="T14" fmla="*/ 0 60000 65536"/>
                <a:gd name="T15" fmla="*/ 0 60000 65536"/>
                <a:gd name="T16" fmla="*/ 0 60000 65536"/>
                <a:gd name="T17" fmla="*/ 0 60000 65536"/>
                <a:gd name="T18" fmla="*/ 0 60000 65536"/>
                <a:gd name="T19" fmla="*/ 0 60000 65536"/>
                <a:gd name="T20" fmla="*/ 0 60000 65536"/>
                <a:gd name="T21" fmla="*/ 0 w 5"/>
                <a:gd name="T22" fmla="*/ 0 h 8"/>
                <a:gd name="T23" fmla="*/ 5 w 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8">
                  <a:moveTo>
                    <a:pt x="2" y="1"/>
                  </a:moveTo>
                  <a:cubicBezTo>
                    <a:pt x="0" y="1"/>
                    <a:pt x="0" y="4"/>
                    <a:pt x="0" y="5"/>
                  </a:cubicBezTo>
                  <a:cubicBezTo>
                    <a:pt x="0" y="6"/>
                    <a:pt x="1" y="5"/>
                    <a:pt x="2" y="5"/>
                  </a:cubicBezTo>
                  <a:cubicBezTo>
                    <a:pt x="2" y="6"/>
                    <a:pt x="1" y="8"/>
                    <a:pt x="2" y="8"/>
                  </a:cubicBezTo>
                  <a:cubicBezTo>
                    <a:pt x="3" y="8"/>
                    <a:pt x="4" y="6"/>
                    <a:pt x="5" y="4"/>
                  </a:cubicBezTo>
                  <a:cubicBezTo>
                    <a:pt x="5" y="4"/>
                    <a:pt x="4" y="4"/>
                    <a:pt x="3" y="4"/>
                  </a:cubicBezTo>
                  <a:cubicBezTo>
                    <a:pt x="3" y="3"/>
                    <a:pt x="3"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5" name="Freeform 384"/>
            <p:cNvSpPr>
              <a:spLocks noChangeAspect="1"/>
            </p:cNvSpPr>
            <p:nvPr/>
          </p:nvSpPr>
          <p:spPr bwMode="auto">
            <a:xfrm>
              <a:off x="6257001" y="2650116"/>
              <a:ext cx="59264" cy="85119"/>
            </a:xfrm>
            <a:custGeom>
              <a:avLst/>
              <a:gdLst>
                <a:gd name="T0" fmla="*/ 18948 w 31"/>
                <a:gd name="T1" fmla="*/ 1905 h 55"/>
                <a:gd name="T2" fmla="*/ 41685 w 31"/>
                <a:gd name="T3" fmla="*/ 38100 h 55"/>
                <a:gd name="T4" fmla="*/ 56843 w 31"/>
                <a:gd name="T5" fmla="*/ 70485 h 55"/>
                <a:gd name="T6" fmla="*/ 51159 w 31"/>
                <a:gd name="T7" fmla="*/ 93345 h 55"/>
                <a:gd name="T8" fmla="*/ 36001 w 31"/>
                <a:gd name="T9" fmla="*/ 100965 h 55"/>
                <a:gd name="T10" fmla="*/ 26527 w 31"/>
                <a:gd name="T11" fmla="*/ 104775 h 55"/>
                <a:gd name="T12" fmla="*/ 11369 w 31"/>
                <a:gd name="T13" fmla="*/ 89535 h 55"/>
                <a:gd name="T14" fmla="*/ 9474 w 31"/>
                <a:gd name="T15" fmla="*/ 74295 h 55"/>
                <a:gd name="T16" fmla="*/ 5684 w 31"/>
                <a:gd name="T17" fmla="*/ 59055 h 55"/>
                <a:gd name="T18" fmla="*/ 3790 w 31"/>
                <a:gd name="T19" fmla="*/ 49530 h 55"/>
                <a:gd name="T20" fmla="*/ 1895 w 31"/>
                <a:gd name="T21" fmla="*/ 38100 h 55"/>
                <a:gd name="T22" fmla="*/ 7579 w 31"/>
                <a:gd name="T23" fmla="*/ 49530 h 55"/>
                <a:gd name="T24" fmla="*/ 9474 w 31"/>
                <a:gd name="T25" fmla="*/ 30480 h 55"/>
                <a:gd name="T26" fmla="*/ 11369 w 31"/>
                <a:gd name="T27" fmla="*/ 15240 h 55"/>
                <a:gd name="T28" fmla="*/ 13263 w 31"/>
                <a:gd name="T29" fmla="*/ 9525 h 55"/>
                <a:gd name="T30" fmla="*/ 20843 w 31"/>
                <a:gd name="T31" fmla="*/ 13335 h 55"/>
                <a:gd name="T32" fmla="*/ 17053 w 31"/>
                <a:gd name="T33" fmla="*/ 5715 h 55"/>
                <a:gd name="T34" fmla="*/ 7579 w 31"/>
                <a:gd name="T35" fmla="*/ 1905 h 55"/>
                <a:gd name="T36" fmla="*/ 18948 w 31"/>
                <a:gd name="T37" fmla="*/ 1905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6" name="Freeform 385"/>
            <p:cNvSpPr>
              <a:spLocks noChangeAspect="1"/>
            </p:cNvSpPr>
            <p:nvPr/>
          </p:nvSpPr>
          <p:spPr bwMode="auto">
            <a:xfrm>
              <a:off x="6598165" y="2709440"/>
              <a:ext cx="9610" cy="12897"/>
            </a:xfrm>
            <a:custGeom>
              <a:avLst/>
              <a:gdLst>
                <a:gd name="T0" fmla="*/ 0 w 5"/>
                <a:gd name="T1" fmla="*/ 1984 h 8"/>
                <a:gd name="T2" fmla="*/ 5715 w 5"/>
                <a:gd name="T3" fmla="*/ 1984 h 8"/>
                <a:gd name="T4" fmla="*/ 7620 w 5"/>
                <a:gd name="T5" fmla="*/ 13891 h 8"/>
                <a:gd name="T6" fmla="*/ 0 w 5"/>
                <a:gd name="T7" fmla="*/ 9922 h 8"/>
                <a:gd name="T8" fmla="*/ 0 w 5"/>
                <a:gd name="T9" fmla="*/ 1984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7" name="Freeform 386"/>
            <p:cNvSpPr>
              <a:spLocks noChangeAspect="1"/>
            </p:cNvSpPr>
            <p:nvPr/>
          </p:nvSpPr>
          <p:spPr bwMode="auto">
            <a:xfrm>
              <a:off x="6636607" y="2740393"/>
              <a:ext cx="275494" cy="260515"/>
            </a:xfrm>
            <a:custGeom>
              <a:avLst/>
              <a:gdLst>
                <a:gd name="T0" fmla="*/ 17185 w 143"/>
                <a:gd name="T1" fmla="*/ 1909 h 168"/>
                <a:gd name="T2" fmla="*/ 59193 w 143"/>
                <a:gd name="T3" fmla="*/ 17179 h 168"/>
                <a:gd name="T4" fmla="*/ 70649 w 143"/>
                <a:gd name="T5" fmla="*/ 34358 h 168"/>
                <a:gd name="T6" fmla="*/ 76378 w 143"/>
                <a:gd name="T7" fmla="*/ 45811 h 168"/>
                <a:gd name="T8" fmla="*/ 93563 w 143"/>
                <a:gd name="T9" fmla="*/ 57263 h 168"/>
                <a:gd name="T10" fmla="*/ 126023 w 143"/>
                <a:gd name="T11" fmla="*/ 87804 h 168"/>
                <a:gd name="T12" fmla="*/ 139389 w 143"/>
                <a:gd name="T13" fmla="*/ 97348 h 168"/>
                <a:gd name="T14" fmla="*/ 143208 w 143"/>
                <a:gd name="T15" fmla="*/ 93530 h 168"/>
                <a:gd name="T16" fmla="*/ 158484 w 143"/>
                <a:gd name="T17" fmla="*/ 103074 h 168"/>
                <a:gd name="T18" fmla="*/ 169940 w 143"/>
                <a:gd name="T19" fmla="*/ 114527 h 168"/>
                <a:gd name="T20" fmla="*/ 179487 w 143"/>
                <a:gd name="T21" fmla="*/ 129797 h 168"/>
                <a:gd name="T22" fmla="*/ 196672 w 143"/>
                <a:gd name="T23" fmla="*/ 143158 h 168"/>
                <a:gd name="T24" fmla="*/ 217676 w 143"/>
                <a:gd name="T25" fmla="*/ 154611 h 168"/>
                <a:gd name="T26" fmla="*/ 215767 w 143"/>
                <a:gd name="T27" fmla="*/ 164155 h 168"/>
                <a:gd name="T28" fmla="*/ 215767 w 143"/>
                <a:gd name="T29" fmla="*/ 183243 h 168"/>
                <a:gd name="T30" fmla="*/ 234861 w 143"/>
                <a:gd name="T31" fmla="*/ 206148 h 168"/>
                <a:gd name="T32" fmla="*/ 238680 w 143"/>
                <a:gd name="T33" fmla="*/ 221418 h 168"/>
                <a:gd name="T34" fmla="*/ 271141 w 143"/>
                <a:gd name="T35" fmla="*/ 240506 h 168"/>
                <a:gd name="T36" fmla="*/ 263503 w 143"/>
                <a:gd name="T37" fmla="*/ 293952 h 168"/>
                <a:gd name="T38" fmla="*/ 250137 w 143"/>
                <a:gd name="T39" fmla="*/ 305405 h 168"/>
                <a:gd name="T40" fmla="*/ 234861 w 143"/>
                <a:gd name="T41" fmla="*/ 307314 h 168"/>
                <a:gd name="T42" fmla="*/ 223405 w 143"/>
                <a:gd name="T43" fmla="*/ 307314 h 168"/>
                <a:gd name="T44" fmla="*/ 173759 w 143"/>
                <a:gd name="T45" fmla="*/ 253868 h 168"/>
                <a:gd name="T46" fmla="*/ 152755 w 143"/>
                <a:gd name="T47" fmla="*/ 229054 h 168"/>
                <a:gd name="T48" fmla="*/ 143208 w 143"/>
                <a:gd name="T49" fmla="*/ 208057 h 168"/>
                <a:gd name="T50" fmla="*/ 124114 w 143"/>
                <a:gd name="T51" fmla="*/ 167973 h 168"/>
                <a:gd name="T52" fmla="*/ 118385 w 143"/>
                <a:gd name="T53" fmla="*/ 156520 h 168"/>
                <a:gd name="T54" fmla="*/ 103110 w 143"/>
                <a:gd name="T55" fmla="*/ 150794 h 168"/>
                <a:gd name="T56" fmla="*/ 91653 w 143"/>
                <a:gd name="T57" fmla="*/ 114527 h 168"/>
                <a:gd name="T58" fmla="*/ 87834 w 143"/>
                <a:gd name="T59" fmla="*/ 106892 h 168"/>
                <a:gd name="T60" fmla="*/ 68740 w 143"/>
                <a:gd name="T61" fmla="*/ 93530 h 168"/>
                <a:gd name="T62" fmla="*/ 47736 w 143"/>
                <a:gd name="T63" fmla="*/ 57263 h 168"/>
                <a:gd name="T64" fmla="*/ 11457 w 143"/>
                <a:gd name="T65" fmla="*/ 28632 h 168"/>
                <a:gd name="T66" fmla="*/ 1909 w 143"/>
                <a:gd name="T67" fmla="*/ 1909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8" name="Freeform 387"/>
            <p:cNvSpPr>
              <a:spLocks noChangeAspect="1"/>
            </p:cNvSpPr>
            <p:nvPr/>
          </p:nvSpPr>
          <p:spPr bwMode="auto">
            <a:xfrm>
              <a:off x="6806389" y="2826801"/>
              <a:ext cx="32034" cy="20635"/>
            </a:xfrm>
            <a:custGeom>
              <a:avLst/>
              <a:gdLst>
                <a:gd name="T0" fmla="*/ 3735 w 17"/>
                <a:gd name="T1" fmla="*/ 1954 h 13"/>
                <a:gd name="T2" fmla="*/ 20544 w 17"/>
                <a:gd name="T3" fmla="*/ 7815 h 13"/>
                <a:gd name="T4" fmla="*/ 20544 w 17"/>
                <a:gd name="T5" fmla="*/ 17585 h 13"/>
                <a:gd name="T6" fmla="*/ 31750 w 17"/>
                <a:gd name="T7" fmla="*/ 21492 h 13"/>
                <a:gd name="T8" fmla="*/ 28015 w 17"/>
                <a:gd name="T9" fmla="*/ 25400 h 13"/>
                <a:gd name="T10" fmla="*/ 13074 w 17"/>
                <a:gd name="T11" fmla="*/ 21492 h 13"/>
                <a:gd name="T12" fmla="*/ 11206 w 17"/>
                <a:gd name="T13" fmla="*/ 9769 h 13"/>
                <a:gd name="T14" fmla="*/ 3735 w 17"/>
                <a:gd name="T15" fmla="*/ 1954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9" name="Freeform 388"/>
            <p:cNvSpPr>
              <a:spLocks noChangeAspect="1"/>
            </p:cNvSpPr>
            <p:nvPr/>
          </p:nvSpPr>
          <p:spPr bwMode="auto">
            <a:xfrm>
              <a:off x="6798379" y="2820353"/>
              <a:ext cx="8009" cy="10318"/>
            </a:xfrm>
            <a:custGeom>
              <a:avLst/>
              <a:gdLst>
                <a:gd name="T0" fmla="*/ 3969 w 4"/>
                <a:gd name="T1" fmla="*/ 0 h 6"/>
                <a:gd name="T2" fmla="*/ 7938 w 4"/>
                <a:gd name="T3" fmla="*/ 4233 h 6"/>
                <a:gd name="T4" fmla="*/ 3969 w 4"/>
                <a:gd name="T5" fmla="*/ 10583 h 6"/>
                <a:gd name="T6" fmla="*/ 0 w 4"/>
                <a:gd name="T7" fmla="*/ 6350 h 6"/>
                <a:gd name="T8" fmla="*/ 3969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0" name="Freeform 389"/>
            <p:cNvSpPr>
              <a:spLocks noChangeAspect="1"/>
            </p:cNvSpPr>
            <p:nvPr/>
          </p:nvSpPr>
          <p:spPr bwMode="auto">
            <a:xfrm>
              <a:off x="6886473" y="2897734"/>
              <a:ext cx="44848" cy="37400"/>
            </a:xfrm>
            <a:custGeom>
              <a:avLst/>
              <a:gdLst>
                <a:gd name="T0" fmla="*/ 21259 w 23"/>
                <a:gd name="T1" fmla="*/ 1918 h 24"/>
                <a:gd name="T2" fmla="*/ 28989 w 23"/>
                <a:gd name="T3" fmla="*/ 26855 h 24"/>
                <a:gd name="T4" fmla="*/ 38652 w 23"/>
                <a:gd name="T5" fmla="*/ 32610 h 24"/>
                <a:gd name="T6" fmla="*/ 40585 w 23"/>
                <a:gd name="T7" fmla="*/ 46037 h 24"/>
                <a:gd name="T8" fmla="*/ 19326 w 23"/>
                <a:gd name="T9" fmla="*/ 32610 h 24"/>
                <a:gd name="T10" fmla="*/ 15461 w 23"/>
                <a:gd name="T11" fmla="*/ 19182 h 24"/>
                <a:gd name="T12" fmla="*/ 0 w 23"/>
                <a:gd name="T13" fmla="*/ 17264 h 24"/>
                <a:gd name="T14" fmla="*/ 9663 w 23"/>
                <a:gd name="T15" fmla="*/ 5755 h 24"/>
                <a:gd name="T16" fmla="*/ 17393 w 23"/>
                <a:gd name="T17" fmla="*/ 5755 h 24"/>
                <a:gd name="T18" fmla="*/ 21259 w 23"/>
                <a:gd name="T19" fmla="*/ 191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1" name="Freeform 390"/>
            <p:cNvSpPr>
              <a:spLocks noChangeAspect="1"/>
            </p:cNvSpPr>
            <p:nvPr/>
          </p:nvSpPr>
          <p:spPr bwMode="auto">
            <a:xfrm>
              <a:off x="6947340" y="2919658"/>
              <a:ext cx="20822" cy="20635"/>
            </a:xfrm>
            <a:custGeom>
              <a:avLst/>
              <a:gdLst>
                <a:gd name="T0" fmla="*/ 5628 w 11"/>
                <a:gd name="T1" fmla="*/ 3908 h 13"/>
                <a:gd name="T2" fmla="*/ 18761 w 11"/>
                <a:gd name="T3" fmla="*/ 11723 h 13"/>
                <a:gd name="T4" fmla="*/ 9380 w 11"/>
                <a:gd name="T5" fmla="*/ 23446 h 13"/>
                <a:gd name="T6" fmla="*/ 7504 w 11"/>
                <a:gd name="T7" fmla="*/ 17585 h 13"/>
                <a:gd name="T8" fmla="*/ 1876 w 11"/>
                <a:gd name="T9" fmla="*/ 23446 h 13"/>
                <a:gd name="T10" fmla="*/ 5628 w 11"/>
                <a:gd name="T11" fmla="*/ 3908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2" name="Freeform 391"/>
            <p:cNvSpPr>
              <a:spLocks noChangeAspect="1"/>
            </p:cNvSpPr>
            <p:nvPr/>
          </p:nvSpPr>
          <p:spPr bwMode="auto">
            <a:xfrm>
              <a:off x="6651022" y="2802298"/>
              <a:ext cx="24026" cy="14186"/>
            </a:xfrm>
            <a:custGeom>
              <a:avLst/>
              <a:gdLst>
                <a:gd name="T0" fmla="*/ 7327 w 13"/>
                <a:gd name="T1" fmla="*/ 0 h 9"/>
                <a:gd name="T2" fmla="*/ 16486 w 13"/>
                <a:gd name="T3" fmla="*/ 9701 h 9"/>
                <a:gd name="T4" fmla="*/ 23813 w 13"/>
                <a:gd name="T5" fmla="*/ 11641 h 9"/>
                <a:gd name="T6" fmla="*/ 18318 w 13"/>
                <a:gd name="T7" fmla="*/ 17462 h 9"/>
                <a:gd name="T8" fmla="*/ 10991 w 13"/>
                <a:gd name="T9" fmla="*/ 11641 h 9"/>
                <a:gd name="T10" fmla="*/ 0 w 13"/>
                <a:gd name="T11" fmla="*/ 7761 h 9"/>
                <a:gd name="T12" fmla="*/ 7327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3" name="Freeform 392"/>
            <p:cNvSpPr>
              <a:spLocks noChangeAspect="1"/>
            </p:cNvSpPr>
            <p:nvPr/>
          </p:nvSpPr>
          <p:spPr bwMode="auto">
            <a:xfrm>
              <a:off x="6686259" y="2831960"/>
              <a:ext cx="25627" cy="25793"/>
            </a:xfrm>
            <a:custGeom>
              <a:avLst/>
              <a:gdLst>
                <a:gd name="T0" fmla="*/ 11723 w 13"/>
                <a:gd name="T1" fmla="*/ 1868 h 17"/>
                <a:gd name="T2" fmla="*/ 21492 w 13"/>
                <a:gd name="T3" fmla="*/ 14941 h 17"/>
                <a:gd name="T4" fmla="*/ 19538 w 13"/>
                <a:gd name="T5" fmla="*/ 29882 h 17"/>
                <a:gd name="T6" fmla="*/ 11723 w 13"/>
                <a:gd name="T7" fmla="*/ 18676 h 17"/>
                <a:gd name="T8" fmla="*/ 0 w 13"/>
                <a:gd name="T9" fmla="*/ 3735 h 17"/>
                <a:gd name="T10" fmla="*/ 9769 w 13"/>
                <a:gd name="T11" fmla="*/ 3735 h 17"/>
                <a:gd name="T12" fmla="*/ 11723 w 13"/>
                <a:gd name="T13" fmla="*/ 1868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4" name="Freeform 393"/>
            <p:cNvSpPr>
              <a:spLocks noChangeAspect="1"/>
            </p:cNvSpPr>
            <p:nvPr/>
          </p:nvSpPr>
          <p:spPr bwMode="auto">
            <a:xfrm>
              <a:off x="6727904" y="2887416"/>
              <a:ext cx="16017" cy="20635"/>
            </a:xfrm>
            <a:custGeom>
              <a:avLst/>
              <a:gdLst>
                <a:gd name="T0" fmla="*/ 1764 w 9"/>
                <a:gd name="T1" fmla="*/ 1954 h 13"/>
                <a:gd name="T2" fmla="*/ 14111 w 9"/>
                <a:gd name="T3" fmla="*/ 19538 h 13"/>
                <a:gd name="T4" fmla="*/ 12347 w 9"/>
                <a:gd name="T5" fmla="*/ 23446 h 13"/>
                <a:gd name="T6" fmla="*/ 3528 w 9"/>
                <a:gd name="T7" fmla="*/ 15631 h 13"/>
                <a:gd name="T8" fmla="*/ 1764 w 9"/>
                <a:gd name="T9" fmla="*/ 5862 h 13"/>
                <a:gd name="T10" fmla="*/ 1764 w 9"/>
                <a:gd name="T11" fmla="*/ 1954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5" name="Oval 394"/>
            <p:cNvSpPr>
              <a:spLocks noChangeAspect="1" noChangeArrowheads="1"/>
            </p:cNvSpPr>
            <p:nvPr/>
          </p:nvSpPr>
          <p:spPr bwMode="auto">
            <a:xfrm>
              <a:off x="6867254" y="2874520"/>
              <a:ext cx="8008" cy="644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6" name="Freeform 395"/>
            <p:cNvSpPr>
              <a:spLocks noChangeAspect="1"/>
            </p:cNvSpPr>
            <p:nvPr/>
          </p:nvSpPr>
          <p:spPr bwMode="auto">
            <a:xfrm>
              <a:off x="6766345" y="2931266"/>
              <a:ext cx="9610" cy="10318"/>
            </a:xfrm>
            <a:custGeom>
              <a:avLst/>
              <a:gdLst>
                <a:gd name="T0" fmla="*/ 7620 w 5"/>
                <a:gd name="T1" fmla="*/ 5443 h 7"/>
                <a:gd name="T2" fmla="*/ 7620 w 5"/>
                <a:gd name="T3" fmla="*/ 10886 h 7"/>
                <a:gd name="T4" fmla="*/ 1905 w 5"/>
                <a:gd name="T5" fmla="*/ 7257 h 7"/>
                <a:gd name="T6" fmla="*/ 1905 w 5"/>
                <a:gd name="T7" fmla="*/ 0 h 7"/>
                <a:gd name="T8" fmla="*/ 7620 w 5"/>
                <a:gd name="T9" fmla="*/ 544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7" name="Freeform 396"/>
            <p:cNvSpPr>
              <a:spLocks noChangeAspect="1"/>
            </p:cNvSpPr>
            <p:nvPr/>
          </p:nvSpPr>
          <p:spPr bwMode="auto">
            <a:xfrm>
              <a:off x="6756735" y="2919658"/>
              <a:ext cx="9610" cy="9029"/>
            </a:xfrm>
            <a:custGeom>
              <a:avLst/>
              <a:gdLst>
                <a:gd name="T0" fmla="*/ 7620 w 5"/>
                <a:gd name="T1" fmla="*/ 5557 h 6"/>
                <a:gd name="T2" fmla="*/ 7620 w 5"/>
                <a:gd name="T3" fmla="*/ 11113 h 6"/>
                <a:gd name="T4" fmla="*/ 3810 w 5"/>
                <a:gd name="T5" fmla="*/ 7409 h 6"/>
                <a:gd name="T6" fmla="*/ 1905 w 5"/>
                <a:gd name="T7" fmla="*/ 1852 h 6"/>
                <a:gd name="T8" fmla="*/ 7620 w 5"/>
                <a:gd name="T9" fmla="*/ 555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8" name="Freeform 397"/>
            <p:cNvSpPr>
              <a:spLocks noChangeAspect="1"/>
            </p:cNvSpPr>
            <p:nvPr/>
          </p:nvSpPr>
          <p:spPr bwMode="auto">
            <a:xfrm>
              <a:off x="6748727" y="2913210"/>
              <a:ext cx="8008" cy="6448"/>
            </a:xfrm>
            <a:custGeom>
              <a:avLst/>
              <a:gdLst>
                <a:gd name="T0" fmla="*/ 5953 w 4"/>
                <a:gd name="T1" fmla="*/ 3969 h 4"/>
                <a:gd name="T2" fmla="*/ 5953 w 4"/>
                <a:gd name="T3" fmla="*/ 7937 h 4"/>
                <a:gd name="T4" fmla="*/ 1984 w 4"/>
                <a:gd name="T5" fmla="*/ 5953 h 4"/>
                <a:gd name="T6" fmla="*/ 1984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9" name="Freeform 398"/>
            <p:cNvSpPr>
              <a:spLocks noChangeAspect="1"/>
            </p:cNvSpPr>
            <p:nvPr/>
          </p:nvSpPr>
          <p:spPr bwMode="auto">
            <a:xfrm>
              <a:off x="6692666" y="2816483"/>
              <a:ext cx="6407" cy="3869"/>
            </a:xfrm>
            <a:custGeom>
              <a:avLst/>
              <a:gdLst>
                <a:gd name="T0" fmla="*/ 4233 w 3"/>
                <a:gd name="T1" fmla="*/ 1588 h 3"/>
                <a:gd name="T2" fmla="*/ 6350 w 3"/>
                <a:gd name="T3" fmla="*/ 4763 h 3"/>
                <a:gd name="T4" fmla="*/ 2117 w 3"/>
                <a:gd name="T5" fmla="*/ 3175 h 3"/>
                <a:gd name="T6" fmla="*/ 0 w 3"/>
                <a:gd name="T7" fmla="*/ 0 h 3"/>
                <a:gd name="T8" fmla="*/ 4233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3"/>
                    <a:pt x="3" y="3"/>
                  </a:cubicBezTo>
                  <a:cubicBezTo>
                    <a:pt x="2" y="3"/>
                    <a:pt x="1" y="3"/>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0" name="Freeform 399"/>
            <p:cNvSpPr>
              <a:spLocks noChangeAspect="1"/>
            </p:cNvSpPr>
            <p:nvPr/>
          </p:nvSpPr>
          <p:spPr bwMode="auto">
            <a:xfrm>
              <a:off x="6875262" y="2865491"/>
              <a:ext cx="1602" cy="5158"/>
            </a:xfrm>
            <a:custGeom>
              <a:avLst/>
              <a:gdLst>
                <a:gd name="T0" fmla="*/ 1588 w 1"/>
                <a:gd name="T1" fmla="*/ 4233 h 3"/>
                <a:gd name="T2" fmla="*/ 0 w 1"/>
                <a:gd name="T3" fmla="*/ 6350 h 3"/>
                <a:gd name="T4" fmla="*/ 0 w 1"/>
                <a:gd name="T5" fmla="*/ 4233 h 3"/>
                <a:gd name="T6" fmla="*/ 1588 w 1"/>
                <a:gd name="T7" fmla="*/ 2117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1" name="Freeform 400"/>
            <p:cNvSpPr>
              <a:spLocks noChangeAspect="1"/>
            </p:cNvSpPr>
            <p:nvPr/>
          </p:nvSpPr>
          <p:spPr bwMode="auto">
            <a:xfrm>
              <a:off x="6873660" y="2842277"/>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2" name="Freeform 401"/>
            <p:cNvSpPr>
              <a:spLocks noChangeAspect="1"/>
            </p:cNvSpPr>
            <p:nvPr/>
          </p:nvSpPr>
          <p:spPr bwMode="auto">
            <a:xfrm>
              <a:off x="6864049" y="2839698"/>
              <a:ext cx="4805" cy="2579"/>
            </a:xfrm>
            <a:custGeom>
              <a:avLst/>
              <a:gdLst>
                <a:gd name="T0" fmla="*/ 1587 w 3"/>
                <a:gd name="T1" fmla="*/ 3175 h 2"/>
                <a:gd name="T2" fmla="*/ 0 w 3"/>
                <a:gd name="T3" fmla="*/ 3175 h 2"/>
                <a:gd name="T4" fmla="*/ 1587 w 3"/>
                <a:gd name="T5" fmla="*/ 1588 h 2"/>
                <a:gd name="T6" fmla="*/ 3175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1" y="2"/>
                    <a:pt x="0" y="2"/>
                  </a:cubicBezTo>
                  <a:cubicBezTo>
                    <a:pt x="0" y="1"/>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3" name="Freeform 402"/>
            <p:cNvSpPr>
              <a:spLocks noChangeAspect="1"/>
            </p:cNvSpPr>
            <p:nvPr/>
          </p:nvSpPr>
          <p:spPr bwMode="auto">
            <a:xfrm>
              <a:off x="6862447" y="2846147"/>
              <a:ext cx="4806" cy="2579"/>
            </a:xfrm>
            <a:custGeom>
              <a:avLst/>
              <a:gdLst>
                <a:gd name="T0" fmla="*/ 3175 w 3"/>
                <a:gd name="T1" fmla="*/ 3175 h 2"/>
                <a:gd name="T2" fmla="*/ 1588 w 3"/>
                <a:gd name="T3" fmla="*/ 3175 h 2"/>
                <a:gd name="T4" fmla="*/ 1588 w 3"/>
                <a:gd name="T5" fmla="*/ 1588 h 2"/>
                <a:gd name="T6" fmla="*/ 4763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2" y="0"/>
                    <a:pt x="3"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4" name="Freeform 403"/>
            <p:cNvSpPr>
              <a:spLocks noChangeAspect="1"/>
            </p:cNvSpPr>
            <p:nvPr/>
          </p:nvSpPr>
          <p:spPr bwMode="auto">
            <a:xfrm>
              <a:off x="6721497" y="2828091"/>
              <a:ext cx="3203" cy="5158"/>
            </a:xfrm>
            <a:custGeom>
              <a:avLst/>
              <a:gdLst>
                <a:gd name="T0" fmla="*/ 3175 w 2"/>
                <a:gd name="T1" fmla="*/ 2117 h 3"/>
                <a:gd name="T2" fmla="*/ 3175 w 2"/>
                <a:gd name="T3" fmla="*/ 6350 h 3"/>
                <a:gd name="T4" fmla="*/ 1588 w 2"/>
                <a:gd name="T5" fmla="*/ 4233 h 3"/>
                <a:gd name="T6" fmla="*/ 0 w 2"/>
                <a:gd name="T7" fmla="*/ 2117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2"/>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5" name="Freeform 404"/>
            <p:cNvSpPr>
              <a:spLocks noChangeAspect="1"/>
            </p:cNvSpPr>
            <p:nvPr/>
          </p:nvSpPr>
          <p:spPr bwMode="auto">
            <a:xfrm>
              <a:off x="6689463" y="2817774"/>
              <a:ext cx="1602" cy="2579"/>
            </a:xfrm>
            <a:custGeom>
              <a:avLst/>
              <a:gdLst>
                <a:gd name="T0" fmla="*/ 1588 w 1"/>
                <a:gd name="T1" fmla="*/ 1588 h 2"/>
                <a:gd name="T2" fmla="*/ 1588 w 1"/>
                <a:gd name="T3" fmla="*/ 3175 h 2"/>
                <a:gd name="T4" fmla="*/ 0 w 1"/>
                <a:gd name="T5" fmla="*/ 3175 h 2"/>
                <a:gd name="T6" fmla="*/ 0 w 1"/>
                <a:gd name="T7" fmla="*/ 1588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1" y="2"/>
                    <a:pt x="0" y="2"/>
                    <a:pt x="0" y="2"/>
                  </a:cubicBezTo>
                  <a:cubicBezTo>
                    <a:pt x="0" y="1"/>
                    <a:pt x="0" y="1"/>
                    <a:pt x="0" y="1"/>
                  </a:cubicBezTo>
                  <a:cubicBezTo>
                    <a:pt x="0"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6" name="Freeform 405"/>
            <p:cNvSpPr>
              <a:spLocks noChangeAspect="1"/>
            </p:cNvSpPr>
            <p:nvPr/>
          </p:nvSpPr>
          <p:spPr bwMode="auto">
            <a:xfrm>
              <a:off x="6675048" y="2819063"/>
              <a:ext cx="4805" cy="3869"/>
            </a:xfrm>
            <a:custGeom>
              <a:avLst/>
              <a:gdLst>
                <a:gd name="T0" fmla="*/ 2381 w 2"/>
                <a:gd name="T1" fmla="*/ 2382 h 2"/>
                <a:gd name="T2" fmla="*/ 2381 w 2"/>
                <a:gd name="T3" fmla="*/ 4763 h 2"/>
                <a:gd name="T4" fmla="*/ 0 w 2"/>
                <a:gd name="T5" fmla="*/ 4763 h 2"/>
                <a:gd name="T6" fmla="*/ 0 w 2"/>
                <a:gd name="T7" fmla="*/ 2382 h 2"/>
                <a:gd name="T8" fmla="*/ 2381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1"/>
                    <a:pt x="2" y="2"/>
                    <a:pt x="1" y="2"/>
                  </a:cubicBezTo>
                  <a:cubicBezTo>
                    <a:pt x="1" y="2"/>
                    <a:pt x="1" y="2"/>
                    <a:pt x="0" y="2"/>
                  </a:cubicBezTo>
                  <a:cubicBezTo>
                    <a:pt x="0" y="1"/>
                    <a:pt x="0" y="1"/>
                    <a:pt x="0" y="1"/>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7" name="Freeform 406"/>
            <p:cNvSpPr>
              <a:spLocks noChangeAspect="1"/>
            </p:cNvSpPr>
            <p:nvPr/>
          </p:nvSpPr>
          <p:spPr bwMode="auto">
            <a:xfrm>
              <a:off x="6721497" y="2874520"/>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1" y="1"/>
                    <a:pt x="1"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8" name="Freeform 407"/>
            <p:cNvSpPr>
              <a:spLocks noChangeAspect="1"/>
            </p:cNvSpPr>
            <p:nvPr/>
          </p:nvSpPr>
          <p:spPr bwMode="auto">
            <a:xfrm>
              <a:off x="6723099" y="2869361"/>
              <a:ext cx="6407" cy="3868"/>
            </a:xfrm>
            <a:custGeom>
              <a:avLst/>
              <a:gdLst>
                <a:gd name="T0" fmla="*/ 4233 w 3"/>
                <a:gd name="T1" fmla="*/ 1587 h 3"/>
                <a:gd name="T2" fmla="*/ 4233 w 3"/>
                <a:gd name="T3" fmla="*/ 3175 h 3"/>
                <a:gd name="T4" fmla="*/ 2117 w 3"/>
                <a:gd name="T5" fmla="*/ 3175 h 3"/>
                <a:gd name="T6" fmla="*/ 0 w 3"/>
                <a:gd name="T7" fmla="*/ 1587 h 3"/>
                <a:gd name="T8" fmla="*/ 4233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9" name="Freeform 408"/>
            <p:cNvSpPr>
              <a:spLocks noChangeAspect="1"/>
            </p:cNvSpPr>
            <p:nvPr/>
          </p:nvSpPr>
          <p:spPr bwMode="auto">
            <a:xfrm>
              <a:off x="6723099" y="2862912"/>
              <a:ext cx="8008" cy="2579"/>
            </a:xfrm>
            <a:custGeom>
              <a:avLst/>
              <a:gdLst>
                <a:gd name="T0" fmla="*/ 5953 w 4"/>
                <a:gd name="T1" fmla="*/ 1588 h 2"/>
                <a:gd name="T2" fmla="*/ 7937 w 4"/>
                <a:gd name="T3" fmla="*/ 1588 h 2"/>
                <a:gd name="T4" fmla="*/ 3969 w 4"/>
                <a:gd name="T5" fmla="*/ 3175 h 2"/>
                <a:gd name="T6" fmla="*/ 1984 w 4"/>
                <a:gd name="T7" fmla="*/ 1588 h 2"/>
                <a:gd name="T8" fmla="*/ 5953 w 4"/>
                <a:gd name="T9" fmla="*/ 1588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3" y="1"/>
                  </a:moveTo>
                  <a:cubicBezTo>
                    <a:pt x="3" y="1"/>
                    <a:pt x="4" y="1"/>
                    <a:pt x="4" y="1"/>
                  </a:cubicBezTo>
                  <a:cubicBezTo>
                    <a:pt x="4" y="2"/>
                    <a:pt x="3" y="2"/>
                    <a:pt x="2" y="2"/>
                  </a:cubicBezTo>
                  <a:cubicBezTo>
                    <a:pt x="2" y="2"/>
                    <a:pt x="0" y="2"/>
                    <a:pt x="1" y="1"/>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0" name="Freeform 409"/>
            <p:cNvSpPr>
              <a:spLocks noChangeAspect="1"/>
            </p:cNvSpPr>
            <p:nvPr/>
          </p:nvSpPr>
          <p:spPr bwMode="auto">
            <a:xfrm>
              <a:off x="6848032" y="2831960"/>
              <a:ext cx="16017" cy="6449"/>
            </a:xfrm>
            <a:custGeom>
              <a:avLst/>
              <a:gdLst>
                <a:gd name="T0" fmla="*/ 7938 w 8"/>
                <a:gd name="T1" fmla="*/ 7938 h 4"/>
                <a:gd name="T2" fmla="*/ 0 w 8"/>
                <a:gd name="T3" fmla="*/ 3969 h 4"/>
                <a:gd name="T4" fmla="*/ 9922 w 8"/>
                <a:gd name="T5" fmla="*/ 0 h 4"/>
                <a:gd name="T6" fmla="*/ 15875 w 8"/>
                <a:gd name="T7" fmla="*/ 3969 h 4"/>
                <a:gd name="T8" fmla="*/ 7938 w 8"/>
                <a:gd name="T9" fmla="*/ 7938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1" name="Freeform 410"/>
            <p:cNvSpPr>
              <a:spLocks noChangeAspect="1"/>
            </p:cNvSpPr>
            <p:nvPr/>
          </p:nvSpPr>
          <p:spPr bwMode="auto">
            <a:xfrm>
              <a:off x="6886473" y="2997038"/>
              <a:ext cx="229044" cy="67064"/>
            </a:xfrm>
            <a:custGeom>
              <a:avLst/>
              <a:gdLst>
                <a:gd name="T0" fmla="*/ 17169 w 119"/>
                <a:gd name="T1" fmla="*/ 3840 h 43"/>
                <a:gd name="T2" fmla="*/ 40061 w 119"/>
                <a:gd name="T3" fmla="*/ 5759 h 43"/>
                <a:gd name="T4" fmla="*/ 40061 w 119"/>
                <a:gd name="T5" fmla="*/ 1920 h 43"/>
                <a:gd name="T6" fmla="*/ 51507 w 119"/>
                <a:gd name="T7" fmla="*/ 3840 h 43"/>
                <a:gd name="T8" fmla="*/ 61045 w 119"/>
                <a:gd name="T9" fmla="*/ 11519 h 43"/>
                <a:gd name="T10" fmla="*/ 76307 w 119"/>
                <a:gd name="T11" fmla="*/ 13438 h 43"/>
                <a:gd name="T12" fmla="*/ 83937 w 119"/>
                <a:gd name="T13" fmla="*/ 26877 h 43"/>
                <a:gd name="T14" fmla="*/ 131629 w 119"/>
                <a:gd name="T15" fmla="*/ 30716 h 43"/>
                <a:gd name="T16" fmla="*/ 135444 w 119"/>
                <a:gd name="T17" fmla="*/ 19198 h 43"/>
                <a:gd name="T18" fmla="*/ 154521 w 119"/>
                <a:gd name="T19" fmla="*/ 24957 h 43"/>
                <a:gd name="T20" fmla="*/ 175505 w 119"/>
                <a:gd name="T21" fmla="*/ 32636 h 43"/>
                <a:gd name="T22" fmla="*/ 179320 w 119"/>
                <a:gd name="T23" fmla="*/ 47994 h 43"/>
                <a:gd name="T24" fmla="*/ 200305 w 119"/>
                <a:gd name="T25" fmla="*/ 53753 h 43"/>
                <a:gd name="T26" fmla="*/ 217474 w 119"/>
                <a:gd name="T27" fmla="*/ 53753 h 43"/>
                <a:gd name="T28" fmla="*/ 217474 w 119"/>
                <a:gd name="T29" fmla="*/ 72951 h 43"/>
                <a:gd name="T30" fmla="*/ 223197 w 119"/>
                <a:gd name="T31" fmla="*/ 82550 h 43"/>
                <a:gd name="T32" fmla="*/ 190766 w 119"/>
                <a:gd name="T33" fmla="*/ 72951 h 43"/>
                <a:gd name="T34" fmla="*/ 179320 w 119"/>
                <a:gd name="T35" fmla="*/ 74871 h 43"/>
                <a:gd name="T36" fmla="*/ 148798 w 119"/>
                <a:gd name="T37" fmla="*/ 69112 h 43"/>
                <a:gd name="T38" fmla="*/ 141167 w 119"/>
                <a:gd name="T39" fmla="*/ 71031 h 43"/>
                <a:gd name="T40" fmla="*/ 112552 w 119"/>
                <a:gd name="T41" fmla="*/ 57593 h 43"/>
                <a:gd name="T42" fmla="*/ 89660 w 119"/>
                <a:gd name="T43" fmla="*/ 53753 h 43"/>
                <a:gd name="T44" fmla="*/ 66768 w 119"/>
                <a:gd name="T45" fmla="*/ 55673 h 43"/>
                <a:gd name="T46" fmla="*/ 43876 w 119"/>
                <a:gd name="T47" fmla="*/ 44155 h 43"/>
                <a:gd name="T48" fmla="*/ 26707 w 119"/>
                <a:gd name="T49" fmla="*/ 42235 h 43"/>
                <a:gd name="T50" fmla="*/ 26707 w 119"/>
                <a:gd name="T51" fmla="*/ 32636 h 43"/>
                <a:gd name="T52" fmla="*/ 1908 w 119"/>
                <a:gd name="T53" fmla="*/ 23037 h 43"/>
                <a:gd name="T54" fmla="*/ 15261 w 119"/>
                <a:gd name="T55" fmla="*/ 9599 h 43"/>
                <a:gd name="T56" fmla="*/ 17169 w 119"/>
                <a:gd name="T57" fmla="*/ 3840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2" name="Freeform 411"/>
            <p:cNvSpPr>
              <a:spLocks noChangeAspect="1"/>
            </p:cNvSpPr>
            <p:nvPr/>
          </p:nvSpPr>
          <p:spPr bwMode="auto">
            <a:xfrm>
              <a:off x="6976170" y="2771345"/>
              <a:ext cx="254671" cy="188293"/>
            </a:xfrm>
            <a:custGeom>
              <a:avLst/>
              <a:gdLst>
                <a:gd name="T0" fmla="*/ 216353 w 133"/>
                <a:gd name="T1" fmla="*/ 17098 h 122"/>
                <a:gd name="T2" fmla="*/ 214455 w 133"/>
                <a:gd name="T3" fmla="*/ 30397 h 122"/>
                <a:gd name="T4" fmla="*/ 212557 w 133"/>
                <a:gd name="T5" fmla="*/ 56994 h 122"/>
                <a:gd name="T6" fmla="*/ 242923 w 133"/>
                <a:gd name="T7" fmla="*/ 85491 h 122"/>
                <a:gd name="T8" fmla="*/ 239127 w 133"/>
                <a:gd name="T9" fmla="*/ 94990 h 122"/>
                <a:gd name="T10" fmla="*/ 222047 w 133"/>
                <a:gd name="T11" fmla="*/ 96890 h 122"/>
                <a:gd name="T12" fmla="*/ 210660 w 133"/>
                <a:gd name="T13" fmla="*/ 110188 h 122"/>
                <a:gd name="T14" fmla="*/ 208762 w 133"/>
                <a:gd name="T15" fmla="*/ 138685 h 122"/>
                <a:gd name="T16" fmla="*/ 182192 w 133"/>
                <a:gd name="T17" fmla="*/ 161483 h 122"/>
                <a:gd name="T18" fmla="*/ 187886 w 133"/>
                <a:gd name="T19" fmla="*/ 188080 h 122"/>
                <a:gd name="T20" fmla="*/ 182192 w 133"/>
                <a:gd name="T21" fmla="*/ 199478 h 122"/>
                <a:gd name="T22" fmla="*/ 168907 w 133"/>
                <a:gd name="T23" fmla="*/ 216577 h 122"/>
                <a:gd name="T24" fmla="*/ 138542 w 133"/>
                <a:gd name="T25" fmla="*/ 212777 h 122"/>
                <a:gd name="T26" fmla="*/ 117666 w 133"/>
                <a:gd name="T27" fmla="*/ 212777 h 122"/>
                <a:gd name="T28" fmla="*/ 110074 w 133"/>
                <a:gd name="T29" fmla="*/ 208977 h 122"/>
                <a:gd name="T30" fmla="*/ 100585 w 133"/>
                <a:gd name="T31" fmla="*/ 208977 h 122"/>
                <a:gd name="T32" fmla="*/ 72118 w 133"/>
                <a:gd name="T33" fmla="*/ 214677 h 122"/>
                <a:gd name="T34" fmla="*/ 72118 w 133"/>
                <a:gd name="T35" fmla="*/ 195679 h 122"/>
                <a:gd name="T36" fmla="*/ 45548 w 133"/>
                <a:gd name="T37" fmla="*/ 197579 h 122"/>
                <a:gd name="T38" fmla="*/ 34161 w 133"/>
                <a:gd name="T39" fmla="*/ 178581 h 122"/>
                <a:gd name="T40" fmla="*/ 28468 w 133"/>
                <a:gd name="T41" fmla="*/ 151984 h 122"/>
                <a:gd name="T42" fmla="*/ 18978 w 133"/>
                <a:gd name="T43" fmla="*/ 138685 h 122"/>
                <a:gd name="T44" fmla="*/ 11387 w 133"/>
                <a:gd name="T45" fmla="*/ 125387 h 122"/>
                <a:gd name="T46" fmla="*/ 1898 w 133"/>
                <a:gd name="T47" fmla="*/ 104489 h 122"/>
                <a:gd name="T48" fmla="*/ 15183 w 133"/>
                <a:gd name="T49" fmla="*/ 60793 h 122"/>
                <a:gd name="T50" fmla="*/ 26570 w 133"/>
                <a:gd name="T51" fmla="*/ 75992 h 122"/>
                <a:gd name="T52" fmla="*/ 47446 w 133"/>
                <a:gd name="T53" fmla="*/ 93090 h 122"/>
                <a:gd name="T54" fmla="*/ 75913 w 133"/>
                <a:gd name="T55" fmla="*/ 91190 h 122"/>
                <a:gd name="T56" fmla="*/ 85403 w 133"/>
                <a:gd name="T57" fmla="*/ 77892 h 122"/>
                <a:gd name="T58" fmla="*/ 100585 w 133"/>
                <a:gd name="T59" fmla="*/ 79791 h 122"/>
                <a:gd name="T60" fmla="*/ 117666 w 133"/>
                <a:gd name="T61" fmla="*/ 85491 h 122"/>
                <a:gd name="T62" fmla="*/ 140440 w 133"/>
                <a:gd name="T63" fmla="*/ 77892 h 122"/>
                <a:gd name="T64" fmla="*/ 153725 w 133"/>
                <a:gd name="T65" fmla="*/ 45595 h 122"/>
                <a:gd name="T66" fmla="*/ 165112 w 133"/>
                <a:gd name="T67" fmla="*/ 7599 h 122"/>
                <a:gd name="T68" fmla="*/ 191681 w 133"/>
                <a:gd name="T69" fmla="*/ 7599 h 122"/>
                <a:gd name="T70" fmla="*/ 218251 w 133"/>
                <a:gd name="T71" fmla="*/ 9499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3" name="Freeform 412"/>
            <p:cNvSpPr>
              <a:spLocks noChangeAspect="1"/>
            </p:cNvSpPr>
            <p:nvPr/>
          </p:nvSpPr>
          <p:spPr bwMode="auto">
            <a:xfrm>
              <a:off x="7072272" y="3020253"/>
              <a:ext cx="30432" cy="10318"/>
            </a:xfrm>
            <a:custGeom>
              <a:avLst/>
              <a:gdLst>
                <a:gd name="T0" fmla="*/ 1885 w 16"/>
                <a:gd name="T1" fmla="*/ 2117 h 6"/>
                <a:gd name="T2" fmla="*/ 28277 w 16"/>
                <a:gd name="T3" fmla="*/ 2117 h 6"/>
                <a:gd name="T4" fmla="*/ 22621 w 16"/>
                <a:gd name="T5" fmla="*/ 8467 h 6"/>
                <a:gd name="T6" fmla="*/ 5655 w 16"/>
                <a:gd name="T7" fmla="*/ 10583 h 6"/>
                <a:gd name="T8" fmla="*/ 1885 w 16"/>
                <a:gd name="T9" fmla="*/ 2117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4" name="Freeform 413"/>
            <p:cNvSpPr>
              <a:spLocks noChangeAspect="1"/>
            </p:cNvSpPr>
            <p:nvPr/>
          </p:nvSpPr>
          <p:spPr bwMode="auto">
            <a:xfrm>
              <a:off x="7216427" y="2830670"/>
              <a:ext cx="163375" cy="163788"/>
            </a:xfrm>
            <a:custGeom>
              <a:avLst/>
              <a:gdLst>
                <a:gd name="T0" fmla="*/ 154305 w 85"/>
                <a:gd name="T1" fmla="*/ 5706 h 106"/>
                <a:gd name="T2" fmla="*/ 140970 w 85"/>
                <a:gd name="T3" fmla="*/ 26628 h 106"/>
                <a:gd name="T4" fmla="*/ 114300 w 85"/>
                <a:gd name="T5" fmla="*/ 38040 h 106"/>
                <a:gd name="T6" fmla="*/ 76200 w 85"/>
                <a:gd name="T7" fmla="*/ 34236 h 106"/>
                <a:gd name="T8" fmla="*/ 55245 w 85"/>
                <a:gd name="T9" fmla="*/ 36138 h 106"/>
                <a:gd name="T10" fmla="*/ 36195 w 85"/>
                <a:gd name="T11" fmla="*/ 36138 h 106"/>
                <a:gd name="T12" fmla="*/ 49530 w 85"/>
                <a:gd name="T13" fmla="*/ 85590 h 106"/>
                <a:gd name="T14" fmla="*/ 70485 w 85"/>
                <a:gd name="T15" fmla="*/ 68472 h 106"/>
                <a:gd name="T16" fmla="*/ 100965 w 85"/>
                <a:gd name="T17" fmla="*/ 62766 h 106"/>
                <a:gd name="T18" fmla="*/ 110490 w 85"/>
                <a:gd name="T19" fmla="*/ 72276 h 106"/>
                <a:gd name="T20" fmla="*/ 87630 w 85"/>
                <a:gd name="T21" fmla="*/ 87492 h 106"/>
                <a:gd name="T22" fmla="*/ 62865 w 85"/>
                <a:gd name="T23" fmla="*/ 95100 h 106"/>
                <a:gd name="T24" fmla="*/ 85725 w 85"/>
                <a:gd name="T25" fmla="*/ 125532 h 106"/>
                <a:gd name="T26" fmla="*/ 89535 w 85"/>
                <a:gd name="T27" fmla="*/ 150258 h 106"/>
                <a:gd name="T28" fmla="*/ 80010 w 85"/>
                <a:gd name="T29" fmla="*/ 165474 h 106"/>
                <a:gd name="T30" fmla="*/ 64770 w 85"/>
                <a:gd name="T31" fmla="*/ 178788 h 106"/>
                <a:gd name="T32" fmla="*/ 55245 w 85"/>
                <a:gd name="T33" fmla="*/ 148356 h 106"/>
                <a:gd name="T34" fmla="*/ 59055 w 85"/>
                <a:gd name="T35" fmla="*/ 125532 h 106"/>
                <a:gd name="T36" fmla="*/ 36195 w 85"/>
                <a:gd name="T37" fmla="*/ 125532 h 106"/>
                <a:gd name="T38" fmla="*/ 38100 w 85"/>
                <a:gd name="T39" fmla="*/ 155964 h 106"/>
                <a:gd name="T40" fmla="*/ 34290 w 85"/>
                <a:gd name="T41" fmla="*/ 178788 h 106"/>
                <a:gd name="T42" fmla="*/ 34290 w 85"/>
                <a:gd name="T43" fmla="*/ 201612 h 106"/>
                <a:gd name="T44" fmla="*/ 11430 w 85"/>
                <a:gd name="T45" fmla="*/ 190200 h 106"/>
                <a:gd name="T46" fmla="*/ 17145 w 85"/>
                <a:gd name="T47" fmla="*/ 138846 h 106"/>
                <a:gd name="T48" fmla="*/ 3810 w 85"/>
                <a:gd name="T49" fmla="*/ 136944 h 106"/>
                <a:gd name="T50" fmla="*/ 15240 w 85"/>
                <a:gd name="T51" fmla="*/ 106512 h 106"/>
                <a:gd name="T52" fmla="*/ 22860 w 85"/>
                <a:gd name="T53" fmla="*/ 64668 h 106"/>
                <a:gd name="T54" fmla="*/ 26670 w 85"/>
                <a:gd name="T55" fmla="*/ 47550 h 106"/>
                <a:gd name="T56" fmla="*/ 38100 w 85"/>
                <a:gd name="T57" fmla="*/ 19020 h 106"/>
                <a:gd name="T58" fmla="*/ 47625 w 85"/>
                <a:gd name="T59" fmla="*/ 9510 h 106"/>
                <a:gd name="T60" fmla="*/ 68580 w 85"/>
                <a:gd name="T61" fmla="*/ 15216 h 106"/>
                <a:gd name="T62" fmla="*/ 99060 w 85"/>
                <a:gd name="T63" fmla="*/ 20922 h 106"/>
                <a:gd name="T64" fmla="*/ 133350 w 85"/>
                <a:gd name="T65" fmla="*/ 17118 h 106"/>
                <a:gd name="T66" fmla="*/ 152400 w 85"/>
                <a:gd name="T67" fmla="*/ 1902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5" name="Freeform 414"/>
            <p:cNvSpPr>
              <a:spLocks noChangeAspect="1"/>
            </p:cNvSpPr>
            <p:nvPr/>
          </p:nvSpPr>
          <p:spPr bwMode="auto">
            <a:xfrm>
              <a:off x="7150756" y="2941583"/>
              <a:ext cx="9610" cy="16766"/>
            </a:xfrm>
            <a:custGeom>
              <a:avLst/>
              <a:gdLst>
                <a:gd name="T0" fmla="*/ 7620 w 5"/>
                <a:gd name="T1" fmla="*/ 0 h 11"/>
                <a:gd name="T2" fmla="*/ 9525 w 5"/>
                <a:gd name="T3" fmla="*/ 3752 h 11"/>
                <a:gd name="T4" fmla="*/ 7620 w 5"/>
                <a:gd name="T5" fmla="*/ 18761 h 11"/>
                <a:gd name="T6" fmla="*/ 1905 w 5"/>
                <a:gd name="T7" fmla="*/ 18761 h 11"/>
                <a:gd name="T8" fmla="*/ 3810 w 5"/>
                <a:gd name="T9" fmla="*/ 3752 h 11"/>
                <a:gd name="T10" fmla="*/ 7620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6" name="Freeform 415"/>
            <p:cNvSpPr>
              <a:spLocks noChangeAspect="1"/>
            </p:cNvSpPr>
            <p:nvPr/>
          </p:nvSpPr>
          <p:spPr bwMode="auto">
            <a:xfrm>
              <a:off x="7110714" y="3048625"/>
              <a:ext cx="30432" cy="18056"/>
            </a:xfrm>
            <a:custGeom>
              <a:avLst/>
              <a:gdLst>
                <a:gd name="T0" fmla="*/ 1885 w 16"/>
                <a:gd name="T1" fmla="*/ 1852 h 12"/>
                <a:gd name="T2" fmla="*/ 13196 w 16"/>
                <a:gd name="T3" fmla="*/ 3704 h 12"/>
                <a:gd name="T4" fmla="*/ 22621 w 16"/>
                <a:gd name="T5" fmla="*/ 3704 h 12"/>
                <a:gd name="T6" fmla="*/ 30162 w 16"/>
                <a:gd name="T7" fmla="*/ 9260 h 12"/>
                <a:gd name="T8" fmla="*/ 16966 w 16"/>
                <a:gd name="T9" fmla="*/ 16669 h 12"/>
                <a:gd name="T10" fmla="*/ 15081 w 16"/>
                <a:gd name="T11" fmla="*/ 22225 h 12"/>
                <a:gd name="T12" fmla="*/ 11311 w 16"/>
                <a:gd name="T13" fmla="*/ 11113 h 12"/>
                <a:gd name="T14" fmla="*/ 1885 w 16"/>
                <a:gd name="T15" fmla="*/ 9260 h 12"/>
                <a:gd name="T16" fmla="*/ 1885 w 16"/>
                <a:gd name="T17" fmla="*/ 185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7" name="Freeform 416"/>
            <p:cNvSpPr>
              <a:spLocks noChangeAspect="1"/>
            </p:cNvSpPr>
            <p:nvPr/>
          </p:nvSpPr>
          <p:spPr bwMode="auto">
            <a:xfrm>
              <a:off x="7136341" y="3051205"/>
              <a:ext cx="27229" cy="18056"/>
            </a:xfrm>
            <a:custGeom>
              <a:avLst/>
              <a:gdLst>
                <a:gd name="T0" fmla="*/ 15421 w 14"/>
                <a:gd name="T1" fmla="*/ 0 h 11"/>
                <a:gd name="T2" fmla="*/ 25059 w 14"/>
                <a:gd name="T3" fmla="*/ 6061 h 11"/>
                <a:gd name="T4" fmla="*/ 21204 w 14"/>
                <a:gd name="T5" fmla="*/ 22225 h 11"/>
                <a:gd name="T6" fmla="*/ 1928 w 14"/>
                <a:gd name="T7" fmla="*/ 16164 h 11"/>
                <a:gd name="T8" fmla="*/ 9638 w 14"/>
                <a:gd name="T9" fmla="*/ 14143 h 11"/>
                <a:gd name="T10" fmla="*/ 9638 w 14"/>
                <a:gd name="T11" fmla="*/ 6061 h 11"/>
                <a:gd name="T12" fmla="*/ 15421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8" name="Freeform 417"/>
            <p:cNvSpPr>
              <a:spLocks noChangeAspect="1"/>
            </p:cNvSpPr>
            <p:nvPr/>
          </p:nvSpPr>
          <p:spPr bwMode="auto">
            <a:xfrm>
              <a:off x="7161968" y="3048625"/>
              <a:ext cx="60865" cy="23214"/>
            </a:xfrm>
            <a:custGeom>
              <a:avLst/>
              <a:gdLst>
                <a:gd name="T0" fmla="*/ 3770 w 32"/>
                <a:gd name="T1" fmla="*/ 13335 h 15"/>
                <a:gd name="T2" fmla="*/ 1885 w 32"/>
                <a:gd name="T3" fmla="*/ 26670 h 15"/>
                <a:gd name="T4" fmla="*/ 11311 w 32"/>
                <a:gd name="T5" fmla="*/ 26670 h 15"/>
                <a:gd name="T6" fmla="*/ 30163 w 32"/>
                <a:gd name="T7" fmla="*/ 22860 h 15"/>
                <a:gd name="T8" fmla="*/ 45244 w 32"/>
                <a:gd name="T9" fmla="*/ 20955 h 15"/>
                <a:gd name="T10" fmla="*/ 56555 w 32"/>
                <a:gd name="T11" fmla="*/ 17145 h 15"/>
                <a:gd name="T12" fmla="*/ 60325 w 32"/>
                <a:gd name="T13" fmla="*/ 17145 h 15"/>
                <a:gd name="T14" fmla="*/ 54670 w 32"/>
                <a:gd name="T15" fmla="*/ 5715 h 15"/>
                <a:gd name="T16" fmla="*/ 41473 w 32"/>
                <a:gd name="T17" fmla="*/ 5715 h 15"/>
                <a:gd name="T18" fmla="*/ 33933 w 32"/>
                <a:gd name="T19" fmla="*/ 0 h 15"/>
                <a:gd name="T20" fmla="*/ 26392 w 32"/>
                <a:gd name="T21" fmla="*/ 1905 h 15"/>
                <a:gd name="T22" fmla="*/ 30163 w 32"/>
                <a:gd name="T23" fmla="*/ 9525 h 15"/>
                <a:gd name="T24" fmla="*/ 35818 w 32"/>
                <a:gd name="T25" fmla="*/ 13335 h 15"/>
                <a:gd name="T26" fmla="*/ 28277 w 32"/>
                <a:gd name="T27" fmla="*/ 15240 h 15"/>
                <a:gd name="T28" fmla="*/ 18852 w 32"/>
                <a:gd name="T29" fmla="*/ 9525 h 15"/>
                <a:gd name="T30" fmla="*/ 11311 w 32"/>
                <a:gd name="T31" fmla="*/ 9525 h 15"/>
                <a:gd name="T32" fmla="*/ 3770 w 32"/>
                <a:gd name="T33" fmla="*/ 13335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9" name="Freeform 418"/>
            <p:cNvSpPr>
              <a:spLocks noChangeAspect="1"/>
            </p:cNvSpPr>
            <p:nvPr/>
          </p:nvSpPr>
          <p:spPr bwMode="auto">
            <a:xfrm>
              <a:off x="7211620" y="3076999"/>
              <a:ext cx="52857" cy="24504"/>
            </a:xfrm>
            <a:custGeom>
              <a:avLst/>
              <a:gdLst>
                <a:gd name="T0" fmla="*/ 5821 w 27"/>
                <a:gd name="T1" fmla="*/ 3770 h 16"/>
                <a:gd name="T2" fmla="*/ 25224 w 27"/>
                <a:gd name="T3" fmla="*/ 1885 h 16"/>
                <a:gd name="T4" fmla="*/ 40746 w 27"/>
                <a:gd name="T5" fmla="*/ 11311 h 16"/>
                <a:gd name="T6" fmla="*/ 52388 w 27"/>
                <a:gd name="T7" fmla="*/ 22622 h 16"/>
                <a:gd name="T8" fmla="*/ 42687 w 27"/>
                <a:gd name="T9" fmla="*/ 30163 h 16"/>
                <a:gd name="T10" fmla="*/ 29104 w 27"/>
                <a:gd name="T11" fmla="*/ 22622 h 16"/>
                <a:gd name="T12" fmla="*/ 13582 w 27"/>
                <a:gd name="T13" fmla="*/ 15082 h 16"/>
                <a:gd name="T14" fmla="*/ 1940 w 27"/>
                <a:gd name="T15" fmla="*/ 11311 h 16"/>
                <a:gd name="T16" fmla="*/ 5821 w 27"/>
                <a:gd name="T17" fmla="*/ 377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0" name="Freeform 419"/>
            <p:cNvSpPr>
              <a:spLocks noChangeAspect="1"/>
            </p:cNvSpPr>
            <p:nvPr/>
          </p:nvSpPr>
          <p:spPr bwMode="auto">
            <a:xfrm>
              <a:off x="7235646" y="3051205"/>
              <a:ext cx="89695" cy="19346"/>
            </a:xfrm>
            <a:custGeom>
              <a:avLst/>
              <a:gdLst>
                <a:gd name="T0" fmla="*/ 18915 w 47"/>
                <a:gd name="T1" fmla="*/ 0 h 12"/>
                <a:gd name="T2" fmla="*/ 35938 w 47"/>
                <a:gd name="T3" fmla="*/ 5953 h 12"/>
                <a:gd name="T4" fmla="*/ 43504 w 47"/>
                <a:gd name="T5" fmla="*/ 11907 h 12"/>
                <a:gd name="T6" fmla="*/ 52962 w 47"/>
                <a:gd name="T7" fmla="*/ 5953 h 12"/>
                <a:gd name="T8" fmla="*/ 64311 w 47"/>
                <a:gd name="T9" fmla="*/ 11907 h 12"/>
                <a:gd name="T10" fmla="*/ 71877 w 47"/>
                <a:gd name="T11" fmla="*/ 5953 h 12"/>
                <a:gd name="T12" fmla="*/ 79443 w 47"/>
                <a:gd name="T13" fmla="*/ 1984 h 12"/>
                <a:gd name="T14" fmla="*/ 83226 w 47"/>
                <a:gd name="T15" fmla="*/ 3969 h 12"/>
                <a:gd name="T16" fmla="*/ 88900 w 47"/>
                <a:gd name="T17" fmla="*/ 1984 h 12"/>
                <a:gd name="T18" fmla="*/ 81334 w 47"/>
                <a:gd name="T19" fmla="*/ 7938 h 12"/>
                <a:gd name="T20" fmla="*/ 73768 w 47"/>
                <a:gd name="T21" fmla="*/ 9922 h 12"/>
                <a:gd name="T22" fmla="*/ 66202 w 47"/>
                <a:gd name="T23" fmla="*/ 13891 h 12"/>
                <a:gd name="T24" fmla="*/ 51070 w 47"/>
                <a:gd name="T25" fmla="*/ 17860 h 12"/>
                <a:gd name="T26" fmla="*/ 43504 w 47"/>
                <a:gd name="T27" fmla="*/ 17860 h 12"/>
                <a:gd name="T28" fmla="*/ 30264 w 47"/>
                <a:gd name="T29" fmla="*/ 23813 h 12"/>
                <a:gd name="T30" fmla="*/ 1891 w 47"/>
                <a:gd name="T31" fmla="*/ 13891 h 12"/>
                <a:gd name="T32" fmla="*/ 7566 w 47"/>
                <a:gd name="T33" fmla="*/ 5953 h 12"/>
                <a:gd name="T34" fmla="*/ 18915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1" name="Freeform 420"/>
            <p:cNvSpPr>
              <a:spLocks noChangeAspect="1"/>
            </p:cNvSpPr>
            <p:nvPr/>
          </p:nvSpPr>
          <p:spPr bwMode="auto">
            <a:xfrm>
              <a:off x="7696941" y="3239499"/>
              <a:ext cx="9610" cy="7738"/>
            </a:xfrm>
            <a:custGeom>
              <a:avLst/>
              <a:gdLst>
                <a:gd name="T0" fmla="*/ 7620 w 5"/>
                <a:gd name="T1" fmla="*/ 7620 h 5"/>
                <a:gd name="T2" fmla="*/ 1905 w 5"/>
                <a:gd name="T3" fmla="*/ 7620 h 5"/>
                <a:gd name="T4" fmla="*/ 0 w 5"/>
                <a:gd name="T5" fmla="*/ 3810 h 5"/>
                <a:gd name="T6" fmla="*/ 5715 w 5"/>
                <a:gd name="T7" fmla="*/ 0 h 5"/>
                <a:gd name="T8" fmla="*/ 7620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2" name="Freeform 421"/>
            <p:cNvSpPr>
              <a:spLocks noChangeAspect="1"/>
            </p:cNvSpPr>
            <p:nvPr/>
          </p:nvSpPr>
          <p:spPr bwMode="auto">
            <a:xfrm>
              <a:off x="7037035" y="3449717"/>
              <a:ext cx="6407" cy="14186"/>
            </a:xfrm>
            <a:custGeom>
              <a:avLst/>
              <a:gdLst>
                <a:gd name="T0" fmla="*/ 6350 w 3"/>
                <a:gd name="T1" fmla="*/ 9701 h 9"/>
                <a:gd name="T2" fmla="*/ 4233 w 3"/>
                <a:gd name="T3" fmla="*/ 17462 h 9"/>
                <a:gd name="T4" fmla="*/ 2117 w 3"/>
                <a:gd name="T5" fmla="*/ 9701 h 9"/>
                <a:gd name="T6" fmla="*/ 2117 w 3"/>
                <a:gd name="T7" fmla="*/ 0 h 9"/>
                <a:gd name="T8" fmla="*/ 6350 w 3"/>
                <a:gd name="T9" fmla="*/ 9701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3" name="Freeform 422"/>
            <p:cNvSpPr>
              <a:spLocks noChangeAspect="1"/>
            </p:cNvSpPr>
            <p:nvPr/>
          </p:nvSpPr>
          <p:spPr bwMode="auto">
            <a:xfrm>
              <a:off x="7048246" y="3448427"/>
              <a:ext cx="6407" cy="15476"/>
            </a:xfrm>
            <a:custGeom>
              <a:avLst/>
              <a:gdLst>
                <a:gd name="T0" fmla="*/ 6350 w 3"/>
                <a:gd name="T1" fmla="*/ 11430 h 10"/>
                <a:gd name="T2" fmla="*/ 6350 w 3"/>
                <a:gd name="T3" fmla="*/ 19050 h 10"/>
                <a:gd name="T4" fmla="*/ 2117 w 3"/>
                <a:gd name="T5" fmla="*/ 11430 h 10"/>
                <a:gd name="T6" fmla="*/ 2117 w 3"/>
                <a:gd name="T7" fmla="*/ 1905 h 10"/>
                <a:gd name="T8" fmla="*/ 6350 w 3"/>
                <a:gd name="T9" fmla="*/ 11430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4" name="Freeform 423"/>
            <p:cNvSpPr>
              <a:spLocks noChangeAspect="1"/>
            </p:cNvSpPr>
            <p:nvPr/>
          </p:nvSpPr>
          <p:spPr bwMode="auto">
            <a:xfrm>
              <a:off x="7794645" y="3809536"/>
              <a:ext cx="9610" cy="3869"/>
            </a:xfrm>
            <a:custGeom>
              <a:avLst/>
              <a:gdLst>
                <a:gd name="T0" fmla="*/ 3810 w 5"/>
                <a:gd name="T1" fmla="*/ 4763 h 2"/>
                <a:gd name="T2" fmla="*/ 1905 w 5"/>
                <a:gd name="T3" fmla="*/ 2382 h 2"/>
                <a:gd name="T4" fmla="*/ 5715 w 5"/>
                <a:gd name="T5" fmla="*/ 0 h 2"/>
                <a:gd name="T6" fmla="*/ 9525 w 5"/>
                <a:gd name="T7" fmla="*/ 2382 h 2"/>
                <a:gd name="T8" fmla="*/ 3810 w 5"/>
                <a:gd name="T9" fmla="*/ 476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5" name="Freeform 424"/>
            <p:cNvSpPr>
              <a:spLocks noChangeAspect="1"/>
            </p:cNvSpPr>
            <p:nvPr/>
          </p:nvSpPr>
          <p:spPr bwMode="auto">
            <a:xfrm>
              <a:off x="7698542" y="3790191"/>
              <a:ext cx="11213" cy="14186"/>
            </a:xfrm>
            <a:custGeom>
              <a:avLst/>
              <a:gdLst>
                <a:gd name="T0" fmla="*/ 7409 w 6"/>
                <a:gd name="T1" fmla="*/ 11641 h 9"/>
                <a:gd name="T2" fmla="*/ 1852 w 6"/>
                <a:gd name="T3" fmla="*/ 17462 h 9"/>
                <a:gd name="T4" fmla="*/ 1852 w 6"/>
                <a:gd name="T5" fmla="*/ 7761 h 9"/>
                <a:gd name="T6" fmla="*/ 7409 w 6"/>
                <a:gd name="T7" fmla="*/ 1940 h 9"/>
                <a:gd name="T8" fmla="*/ 7409 w 6"/>
                <a:gd name="T9" fmla="*/ 1164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6" name="Freeform 425"/>
            <p:cNvSpPr>
              <a:spLocks noChangeAspect="1"/>
            </p:cNvSpPr>
            <p:nvPr/>
          </p:nvSpPr>
          <p:spPr bwMode="auto">
            <a:xfrm>
              <a:off x="7996460" y="3490986"/>
              <a:ext cx="4806" cy="9027"/>
            </a:xfrm>
            <a:custGeom>
              <a:avLst/>
              <a:gdLst>
                <a:gd name="T0" fmla="*/ 3175 w 3"/>
                <a:gd name="T1" fmla="*/ 7408 h 6"/>
                <a:gd name="T2" fmla="*/ 1588 w 3"/>
                <a:gd name="T3" fmla="*/ 11112 h 6"/>
                <a:gd name="T4" fmla="*/ 1588 w 3"/>
                <a:gd name="T5" fmla="*/ 5556 h 6"/>
                <a:gd name="T6" fmla="*/ 3175 w 3"/>
                <a:gd name="T7" fmla="*/ 1852 h 6"/>
                <a:gd name="T8" fmla="*/ 3175 w 3"/>
                <a:gd name="T9" fmla="*/ 7408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4"/>
                  </a:moveTo>
                  <a:cubicBezTo>
                    <a:pt x="2" y="5"/>
                    <a:pt x="1" y="6"/>
                    <a:pt x="1" y="6"/>
                  </a:cubicBezTo>
                  <a:cubicBezTo>
                    <a:pt x="0" y="6"/>
                    <a:pt x="0" y="4"/>
                    <a:pt x="1" y="3"/>
                  </a:cubicBezTo>
                  <a:cubicBezTo>
                    <a:pt x="1" y="2"/>
                    <a:pt x="2" y="0"/>
                    <a:pt x="2"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7" name="Freeform 426"/>
            <p:cNvSpPr>
              <a:spLocks noChangeAspect="1"/>
            </p:cNvSpPr>
            <p:nvPr/>
          </p:nvSpPr>
          <p:spPr bwMode="auto">
            <a:xfrm>
              <a:off x="7639279" y="3119558"/>
              <a:ext cx="6407" cy="6448"/>
            </a:xfrm>
            <a:custGeom>
              <a:avLst/>
              <a:gdLst>
                <a:gd name="T0" fmla="*/ 3175 w 4"/>
                <a:gd name="T1" fmla="*/ 5953 h 4"/>
                <a:gd name="T2" fmla="*/ 0 w 4"/>
                <a:gd name="T3" fmla="*/ 7937 h 4"/>
                <a:gd name="T4" fmla="*/ 1588 w 4"/>
                <a:gd name="T5" fmla="*/ 3969 h 4"/>
                <a:gd name="T6" fmla="*/ 4762 w 4"/>
                <a:gd name="T7" fmla="*/ 0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4"/>
                  </a:cubicBezTo>
                  <a:cubicBezTo>
                    <a:pt x="0" y="3"/>
                    <a:pt x="0" y="2"/>
                    <a:pt x="1" y="2"/>
                  </a:cubicBezTo>
                  <a:cubicBezTo>
                    <a:pt x="2" y="1"/>
                    <a:pt x="3" y="0"/>
                    <a:pt x="3"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8" name="Freeform 427"/>
            <p:cNvSpPr>
              <a:spLocks noChangeAspect="1"/>
            </p:cNvSpPr>
            <p:nvPr/>
          </p:nvSpPr>
          <p:spPr bwMode="auto">
            <a:xfrm>
              <a:off x="7629668" y="3127297"/>
              <a:ext cx="6407" cy="6448"/>
            </a:xfrm>
            <a:custGeom>
              <a:avLst/>
              <a:gdLst>
                <a:gd name="T0" fmla="*/ 3175 w 4"/>
                <a:gd name="T1" fmla="*/ 5953 h 4"/>
                <a:gd name="T2" fmla="*/ 0 w 4"/>
                <a:gd name="T3" fmla="*/ 7937 h 4"/>
                <a:gd name="T4" fmla="*/ 1588 w 4"/>
                <a:gd name="T5" fmla="*/ 3969 h 4"/>
                <a:gd name="T6" fmla="*/ 4762 w 4"/>
                <a:gd name="T7" fmla="*/ 0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2" y="3"/>
                    <a:pt x="1" y="4"/>
                    <a:pt x="0" y="4"/>
                  </a:cubicBezTo>
                  <a:cubicBezTo>
                    <a:pt x="0" y="3"/>
                    <a:pt x="1" y="2"/>
                    <a:pt x="1" y="2"/>
                  </a:cubicBezTo>
                  <a:cubicBezTo>
                    <a:pt x="2" y="1"/>
                    <a:pt x="3" y="0"/>
                    <a:pt x="3" y="0"/>
                  </a:cubicBezTo>
                  <a:cubicBezTo>
                    <a:pt x="4"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9" name="Freeform 428"/>
            <p:cNvSpPr>
              <a:spLocks noChangeAspect="1"/>
            </p:cNvSpPr>
            <p:nvPr/>
          </p:nvSpPr>
          <p:spPr bwMode="auto">
            <a:xfrm>
              <a:off x="7612048" y="3133745"/>
              <a:ext cx="8009" cy="7738"/>
            </a:xfrm>
            <a:custGeom>
              <a:avLst/>
              <a:gdLst>
                <a:gd name="T0" fmla="*/ 3969 w 4"/>
                <a:gd name="T1" fmla="*/ 7620 h 5"/>
                <a:gd name="T2" fmla="*/ 1985 w 4"/>
                <a:gd name="T3" fmla="*/ 7620 h 5"/>
                <a:gd name="T4" fmla="*/ 3969 w 4"/>
                <a:gd name="T5" fmla="*/ 3810 h 5"/>
                <a:gd name="T6" fmla="*/ 7938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4"/>
                  </a:cubicBezTo>
                  <a:cubicBezTo>
                    <a:pt x="0" y="4"/>
                    <a:pt x="1" y="3"/>
                    <a:pt x="2" y="2"/>
                  </a:cubicBezTo>
                  <a:cubicBezTo>
                    <a:pt x="2" y="2"/>
                    <a:pt x="3" y="0"/>
                    <a:pt x="4"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0" name="Freeform 429"/>
            <p:cNvSpPr>
              <a:spLocks noChangeAspect="1"/>
            </p:cNvSpPr>
            <p:nvPr/>
          </p:nvSpPr>
          <p:spPr bwMode="auto">
            <a:xfrm>
              <a:off x="8340828" y="3329776"/>
              <a:ext cx="3203" cy="7738"/>
            </a:xfrm>
            <a:custGeom>
              <a:avLst/>
              <a:gdLst>
                <a:gd name="T0" fmla="*/ 3175 w 2"/>
                <a:gd name="T1" fmla="*/ 5715 h 5"/>
                <a:gd name="T2" fmla="*/ 1588 w 2"/>
                <a:gd name="T3" fmla="*/ 9525 h 5"/>
                <a:gd name="T4" fmla="*/ 0 w 2"/>
                <a:gd name="T5" fmla="*/ 3810 h 5"/>
                <a:gd name="T6" fmla="*/ 3175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4"/>
                    <a:pt x="0" y="3"/>
                    <a:pt x="0" y="2"/>
                  </a:cubicBezTo>
                  <a:cubicBezTo>
                    <a:pt x="1" y="2"/>
                    <a:pt x="1" y="0"/>
                    <a:pt x="2"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1" name="Freeform 430"/>
            <p:cNvSpPr>
              <a:spLocks noChangeAspect="1"/>
            </p:cNvSpPr>
            <p:nvPr/>
          </p:nvSpPr>
          <p:spPr bwMode="auto">
            <a:xfrm>
              <a:off x="8396888" y="3205967"/>
              <a:ext cx="3203" cy="12897"/>
            </a:xfrm>
            <a:custGeom>
              <a:avLst/>
              <a:gdLst>
                <a:gd name="T0" fmla="*/ 3175 w 2"/>
                <a:gd name="T1" fmla="*/ 9922 h 8"/>
                <a:gd name="T2" fmla="*/ 1588 w 2"/>
                <a:gd name="T3" fmla="*/ 13891 h 8"/>
                <a:gd name="T4" fmla="*/ 0 w 2"/>
                <a:gd name="T5" fmla="*/ 7938 h 8"/>
                <a:gd name="T6" fmla="*/ 1588 w 2"/>
                <a:gd name="T7" fmla="*/ 0 h 8"/>
                <a:gd name="T8" fmla="*/ 3175 w 2"/>
                <a:gd name="T9" fmla="*/ 9922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2" name="Freeform 431"/>
            <p:cNvSpPr>
              <a:spLocks noChangeAspect="1"/>
            </p:cNvSpPr>
            <p:nvPr/>
          </p:nvSpPr>
          <p:spPr bwMode="auto">
            <a:xfrm>
              <a:off x="8396888" y="3221443"/>
              <a:ext cx="3203" cy="10318"/>
            </a:xfrm>
            <a:custGeom>
              <a:avLst/>
              <a:gdLst>
                <a:gd name="T0" fmla="*/ 3175 w 2"/>
                <a:gd name="T1" fmla="*/ 8467 h 6"/>
                <a:gd name="T2" fmla="*/ 1588 w 2"/>
                <a:gd name="T3" fmla="*/ 12700 h 6"/>
                <a:gd name="T4" fmla="*/ 0 w 2"/>
                <a:gd name="T5" fmla="*/ 6350 h 6"/>
                <a:gd name="T6" fmla="*/ 1588 w 2"/>
                <a:gd name="T7" fmla="*/ 0 h 6"/>
                <a:gd name="T8" fmla="*/ 3175 w 2"/>
                <a:gd name="T9" fmla="*/ 8467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3" name="Freeform 432"/>
            <p:cNvSpPr>
              <a:spLocks noChangeAspect="1"/>
            </p:cNvSpPr>
            <p:nvPr/>
          </p:nvSpPr>
          <p:spPr bwMode="auto">
            <a:xfrm>
              <a:off x="8622730" y="3296244"/>
              <a:ext cx="8008" cy="7738"/>
            </a:xfrm>
            <a:custGeom>
              <a:avLst/>
              <a:gdLst>
                <a:gd name="T0" fmla="*/ 3969 w 4"/>
                <a:gd name="T1" fmla="*/ 5715 h 5"/>
                <a:gd name="T2" fmla="*/ 1984 w 4"/>
                <a:gd name="T3" fmla="*/ 7620 h 5"/>
                <a:gd name="T4" fmla="*/ 3969 w 4"/>
                <a:gd name="T5" fmla="*/ 3810 h 5"/>
                <a:gd name="T6" fmla="*/ 7937 w 4"/>
                <a:gd name="T7" fmla="*/ 1905 h 5"/>
                <a:gd name="T8" fmla="*/ 3969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1" y="4"/>
                  </a:cubicBezTo>
                  <a:cubicBezTo>
                    <a:pt x="0" y="4"/>
                    <a:pt x="1" y="3"/>
                    <a:pt x="2" y="2"/>
                  </a:cubicBezTo>
                  <a:cubicBezTo>
                    <a:pt x="2" y="2"/>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4" name="Freeform 433"/>
            <p:cNvSpPr>
              <a:spLocks noChangeAspect="1"/>
            </p:cNvSpPr>
            <p:nvPr/>
          </p:nvSpPr>
          <p:spPr bwMode="auto">
            <a:xfrm>
              <a:off x="7374995" y="2637219"/>
              <a:ext cx="4806" cy="12897"/>
            </a:xfrm>
            <a:custGeom>
              <a:avLst/>
              <a:gdLst>
                <a:gd name="T0" fmla="*/ 4763 w 2"/>
                <a:gd name="T1" fmla="*/ 10583 h 9"/>
                <a:gd name="T2" fmla="*/ 2382 w 2"/>
                <a:gd name="T3" fmla="*/ 15875 h 9"/>
                <a:gd name="T4" fmla="*/ 0 w 2"/>
                <a:gd name="T5" fmla="*/ 8819 h 9"/>
                <a:gd name="T6" fmla="*/ 2382 w 2"/>
                <a:gd name="T7" fmla="*/ 1764 h 9"/>
                <a:gd name="T8" fmla="*/ 4763 w 2"/>
                <a:gd name="T9" fmla="*/ 10583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2" y="6"/>
                  </a:moveTo>
                  <a:cubicBezTo>
                    <a:pt x="2" y="7"/>
                    <a:pt x="2" y="9"/>
                    <a:pt x="1" y="9"/>
                  </a:cubicBezTo>
                  <a:cubicBezTo>
                    <a:pt x="0" y="8"/>
                    <a:pt x="0" y="6"/>
                    <a:pt x="0" y="5"/>
                  </a:cubicBezTo>
                  <a:cubicBezTo>
                    <a:pt x="0" y="3"/>
                    <a:pt x="0" y="0"/>
                    <a:pt x="1" y="1"/>
                  </a:cubicBezTo>
                  <a:cubicBezTo>
                    <a:pt x="2" y="1"/>
                    <a:pt x="2" y="4"/>
                    <a:pt x="2"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5" name="Freeform 434"/>
            <p:cNvSpPr>
              <a:spLocks noChangeAspect="1"/>
            </p:cNvSpPr>
            <p:nvPr/>
          </p:nvSpPr>
          <p:spPr bwMode="auto">
            <a:xfrm>
              <a:off x="7306122" y="2577894"/>
              <a:ext cx="6407" cy="6448"/>
            </a:xfrm>
            <a:custGeom>
              <a:avLst/>
              <a:gdLst>
                <a:gd name="T0" fmla="*/ 6350 w 3"/>
                <a:gd name="T1" fmla="*/ 3969 h 4"/>
                <a:gd name="T2" fmla="*/ 6350 w 3"/>
                <a:gd name="T3" fmla="*/ 7937 h 4"/>
                <a:gd name="T4" fmla="*/ 2117 w 3"/>
                <a:gd name="T5" fmla="*/ 3969 h 4"/>
                <a:gd name="T6" fmla="*/ 2117 w 3"/>
                <a:gd name="T7" fmla="*/ 0 h 4"/>
                <a:gd name="T8" fmla="*/ 6350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4"/>
                  </a:cubicBezTo>
                  <a:cubicBezTo>
                    <a:pt x="2" y="4"/>
                    <a:pt x="2" y="3"/>
                    <a:pt x="1" y="2"/>
                  </a:cubicBezTo>
                  <a:cubicBezTo>
                    <a:pt x="1" y="1"/>
                    <a:pt x="0" y="0"/>
                    <a:pt x="1"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6" name="Freeform 435"/>
            <p:cNvSpPr>
              <a:spLocks noChangeAspect="1"/>
            </p:cNvSpPr>
            <p:nvPr/>
          </p:nvSpPr>
          <p:spPr bwMode="auto">
            <a:xfrm>
              <a:off x="7283699" y="2590791"/>
              <a:ext cx="3203" cy="7738"/>
            </a:xfrm>
            <a:custGeom>
              <a:avLst/>
              <a:gdLst>
                <a:gd name="T0" fmla="*/ 1588 w 2"/>
                <a:gd name="T1" fmla="*/ 7620 h 5"/>
                <a:gd name="T2" fmla="*/ 0 w 2"/>
                <a:gd name="T3" fmla="*/ 9525 h 5"/>
                <a:gd name="T4" fmla="*/ 0 w 2"/>
                <a:gd name="T5" fmla="*/ 5715 h 5"/>
                <a:gd name="T6" fmla="*/ 1588 w 2"/>
                <a:gd name="T7" fmla="*/ 1905 h 5"/>
                <a:gd name="T8" fmla="*/ 1588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7" name="Freeform 436"/>
            <p:cNvSpPr>
              <a:spLocks noChangeAspect="1"/>
            </p:cNvSpPr>
            <p:nvPr/>
          </p:nvSpPr>
          <p:spPr bwMode="auto">
            <a:xfrm>
              <a:off x="8028494" y="3069261"/>
              <a:ext cx="9610" cy="5158"/>
            </a:xfrm>
            <a:custGeom>
              <a:avLst/>
              <a:gdLst>
                <a:gd name="T0" fmla="*/ 5715 w 5"/>
                <a:gd name="T1" fmla="*/ 3175 h 4"/>
                <a:gd name="T2" fmla="*/ 7620 w 5"/>
                <a:gd name="T3" fmla="*/ 4762 h 4"/>
                <a:gd name="T4" fmla="*/ 3810 w 5"/>
                <a:gd name="T5" fmla="*/ 3175 h 4"/>
                <a:gd name="T6" fmla="*/ 1905 w 5"/>
                <a:gd name="T7" fmla="*/ 0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8" name="Freeform 437"/>
            <p:cNvSpPr>
              <a:spLocks noChangeAspect="1"/>
            </p:cNvSpPr>
            <p:nvPr/>
          </p:nvSpPr>
          <p:spPr bwMode="auto">
            <a:xfrm>
              <a:off x="8028494" y="3069261"/>
              <a:ext cx="9610" cy="5158"/>
            </a:xfrm>
            <a:custGeom>
              <a:avLst/>
              <a:gdLst>
                <a:gd name="T0" fmla="*/ 5715 w 5"/>
                <a:gd name="T1" fmla="*/ 3175 h 4"/>
                <a:gd name="T2" fmla="*/ 7620 w 5"/>
                <a:gd name="T3" fmla="*/ 4762 h 4"/>
                <a:gd name="T4" fmla="*/ 3810 w 5"/>
                <a:gd name="T5" fmla="*/ 3175 h 4"/>
                <a:gd name="T6" fmla="*/ 1905 w 5"/>
                <a:gd name="T7" fmla="*/ 0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9" name="Freeform 438"/>
            <p:cNvSpPr>
              <a:spLocks noChangeAspect="1"/>
            </p:cNvSpPr>
            <p:nvPr/>
          </p:nvSpPr>
          <p:spPr bwMode="auto">
            <a:xfrm>
              <a:off x="8047715" y="3124718"/>
              <a:ext cx="9610" cy="3868"/>
            </a:xfrm>
            <a:custGeom>
              <a:avLst/>
              <a:gdLst>
                <a:gd name="T0" fmla="*/ 5715 w 5"/>
                <a:gd name="T1" fmla="*/ 1587 h 3"/>
                <a:gd name="T2" fmla="*/ 7620 w 5"/>
                <a:gd name="T3" fmla="*/ 4762 h 3"/>
                <a:gd name="T4" fmla="*/ 3810 w 5"/>
                <a:gd name="T5" fmla="*/ 3175 h 3"/>
                <a:gd name="T6" fmla="*/ 0 w 5"/>
                <a:gd name="T7" fmla="*/ 1587 h 3"/>
                <a:gd name="T8" fmla="*/ 5715 w 5"/>
                <a:gd name="T9" fmla="*/ 158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1"/>
                    <a:pt x="5" y="2"/>
                    <a:pt x="4" y="3"/>
                  </a:cubicBezTo>
                  <a:cubicBezTo>
                    <a:pt x="4" y="3"/>
                    <a:pt x="3" y="3"/>
                    <a:pt x="2" y="2"/>
                  </a:cubicBezTo>
                  <a:cubicBezTo>
                    <a:pt x="1" y="2"/>
                    <a:pt x="0" y="1"/>
                    <a:pt x="0" y="1"/>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0" name="Freeform 439"/>
            <p:cNvSpPr>
              <a:spLocks noChangeAspect="1"/>
            </p:cNvSpPr>
            <p:nvPr/>
          </p:nvSpPr>
          <p:spPr bwMode="auto">
            <a:xfrm>
              <a:off x="7986850" y="3088607"/>
              <a:ext cx="8009" cy="6448"/>
            </a:xfrm>
            <a:custGeom>
              <a:avLst/>
              <a:gdLst>
                <a:gd name="T0" fmla="*/ 5953 w 4"/>
                <a:gd name="T1" fmla="*/ 3969 h 4"/>
                <a:gd name="T2" fmla="*/ 7938 w 4"/>
                <a:gd name="T3" fmla="*/ 5953 h 4"/>
                <a:gd name="T4" fmla="*/ 1985 w 4"/>
                <a:gd name="T5" fmla="*/ 3969 h 4"/>
                <a:gd name="T6" fmla="*/ 0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4" y="3"/>
                  </a:cubicBezTo>
                  <a:cubicBezTo>
                    <a:pt x="3" y="4"/>
                    <a:pt x="2" y="3"/>
                    <a:pt x="1" y="2"/>
                  </a:cubicBezTo>
                  <a:cubicBezTo>
                    <a:pt x="1" y="2"/>
                    <a:pt x="0" y="0"/>
                    <a:pt x="0"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1" name="Freeform 440"/>
            <p:cNvSpPr>
              <a:spLocks noChangeAspect="1"/>
            </p:cNvSpPr>
            <p:nvPr/>
          </p:nvSpPr>
          <p:spPr bwMode="auto">
            <a:xfrm>
              <a:off x="8086156" y="2980273"/>
              <a:ext cx="4806" cy="7738"/>
            </a:xfrm>
            <a:custGeom>
              <a:avLst/>
              <a:gdLst>
                <a:gd name="T0" fmla="*/ 4763 w 2"/>
                <a:gd name="T1" fmla="*/ 7620 h 5"/>
                <a:gd name="T2" fmla="*/ 2382 w 2"/>
                <a:gd name="T3" fmla="*/ 9525 h 5"/>
                <a:gd name="T4" fmla="*/ 0 w 2"/>
                <a:gd name="T5" fmla="*/ 5715 h 5"/>
                <a:gd name="T6" fmla="*/ 2382 w 2"/>
                <a:gd name="T7" fmla="*/ 1905 h 5"/>
                <a:gd name="T8" fmla="*/ 4763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4"/>
                  </a:moveTo>
                  <a:cubicBezTo>
                    <a:pt x="2" y="4"/>
                    <a:pt x="1" y="5"/>
                    <a:pt x="1" y="5"/>
                  </a:cubicBezTo>
                  <a:cubicBezTo>
                    <a:pt x="0" y="5"/>
                    <a:pt x="0" y="4"/>
                    <a:pt x="0" y="3"/>
                  </a:cubicBezTo>
                  <a:cubicBezTo>
                    <a:pt x="0" y="2"/>
                    <a:pt x="0" y="0"/>
                    <a:pt x="1" y="1"/>
                  </a:cubicBezTo>
                  <a:cubicBezTo>
                    <a:pt x="2"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2" name="Freeform 441"/>
            <p:cNvSpPr>
              <a:spLocks noChangeAspect="1"/>
            </p:cNvSpPr>
            <p:nvPr/>
          </p:nvSpPr>
          <p:spPr bwMode="auto">
            <a:xfrm>
              <a:off x="7506336" y="3049915"/>
              <a:ext cx="8009" cy="7738"/>
            </a:xfrm>
            <a:custGeom>
              <a:avLst/>
              <a:gdLst>
                <a:gd name="T0" fmla="*/ 3969 w 4"/>
                <a:gd name="T1" fmla="*/ 7620 h 5"/>
                <a:gd name="T2" fmla="*/ 0 w 4"/>
                <a:gd name="T3" fmla="*/ 7620 h 5"/>
                <a:gd name="T4" fmla="*/ 1985 w 4"/>
                <a:gd name="T5" fmla="*/ 3810 h 5"/>
                <a:gd name="T6" fmla="*/ 5953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3" name="Freeform 442"/>
            <p:cNvSpPr>
              <a:spLocks noChangeAspect="1"/>
            </p:cNvSpPr>
            <p:nvPr/>
          </p:nvSpPr>
          <p:spPr bwMode="auto">
            <a:xfrm>
              <a:off x="7562396" y="2985432"/>
              <a:ext cx="4805" cy="10318"/>
            </a:xfrm>
            <a:custGeom>
              <a:avLst/>
              <a:gdLst>
                <a:gd name="T0" fmla="*/ 3175 w 3"/>
                <a:gd name="T1" fmla="*/ 9071 h 7"/>
                <a:gd name="T2" fmla="*/ 1587 w 3"/>
                <a:gd name="T3" fmla="*/ 12700 h 7"/>
                <a:gd name="T4" fmla="*/ 1587 w 3"/>
                <a:gd name="T5" fmla="*/ 7257 h 7"/>
                <a:gd name="T6" fmla="*/ 4762 w 3"/>
                <a:gd name="T7" fmla="*/ 1814 h 7"/>
                <a:gd name="T8" fmla="*/ 3175 w 3"/>
                <a:gd name="T9" fmla="*/ 9071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5"/>
                  </a:moveTo>
                  <a:cubicBezTo>
                    <a:pt x="2" y="6"/>
                    <a:pt x="1" y="7"/>
                    <a:pt x="1" y="7"/>
                  </a:cubicBezTo>
                  <a:cubicBezTo>
                    <a:pt x="0" y="7"/>
                    <a:pt x="1" y="5"/>
                    <a:pt x="1" y="4"/>
                  </a:cubicBezTo>
                  <a:cubicBezTo>
                    <a:pt x="1" y="3"/>
                    <a:pt x="2" y="0"/>
                    <a:pt x="3" y="1"/>
                  </a:cubicBezTo>
                  <a:cubicBezTo>
                    <a:pt x="3" y="1"/>
                    <a:pt x="3" y="4"/>
                    <a:pt x="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4" name="Freeform 443"/>
            <p:cNvSpPr>
              <a:spLocks noChangeAspect="1"/>
            </p:cNvSpPr>
            <p:nvPr/>
          </p:nvSpPr>
          <p:spPr bwMode="auto">
            <a:xfrm>
              <a:off x="7439064" y="2944162"/>
              <a:ext cx="8009" cy="6448"/>
            </a:xfrm>
            <a:custGeom>
              <a:avLst/>
              <a:gdLst>
                <a:gd name="T0" fmla="*/ 3969 w 4"/>
                <a:gd name="T1" fmla="*/ 5953 h 4"/>
                <a:gd name="T2" fmla="*/ 0 w 4"/>
                <a:gd name="T3" fmla="*/ 7937 h 4"/>
                <a:gd name="T4" fmla="*/ 1985 w 4"/>
                <a:gd name="T5" fmla="*/ 3969 h 4"/>
                <a:gd name="T6" fmla="*/ 7938 w 4"/>
                <a:gd name="T7" fmla="*/ 1984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1" y="2"/>
                    <a:pt x="1" y="2"/>
                  </a:cubicBezTo>
                  <a:cubicBezTo>
                    <a:pt x="2" y="1"/>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5" name="Freeform 444"/>
            <p:cNvSpPr>
              <a:spLocks noChangeAspect="1"/>
            </p:cNvSpPr>
            <p:nvPr/>
          </p:nvSpPr>
          <p:spPr bwMode="auto">
            <a:xfrm>
              <a:off x="7472700" y="2866781"/>
              <a:ext cx="9610" cy="5158"/>
            </a:xfrm>
            <a:custGeom>
              <a:avLst/>
              <a:gdLst>
                <a:gd name="T0" fmla="*/ 5715 w 5"/>
                <a:gd name="T1" fmla="*/ 2117 h 3"/>
                <a:gd name="T2" fmla="*/ 7620 w 5"/>
                <a:gd name="T3" fmla="*/ 6350 h 3"/>
                <a:gd name="T4" fmla="*/ 3810 w 5"/>
                <a:gd name="T5" fmla="*/ 4233 h 3"/>
                <a:gd name="T6" fmla="*/ 0 w 5"/>
                <a:gd name="T7" fmla="*/ 0 h 3"/>
                <a:gd name="T8" fmla="*/ 5715 w 5"/>
                <a:gd name="T9" fmla="*/ 211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2"/>
                    <a:pt x="5" y="2"/>
                    <a:pt x="4" y="3"/>
                  </a:cubicBezTo>
                  <a:cubicBezTo>
                    <a:pt x="4" y="3"/>
                    <a:pt x="3" y="3"/>
                    <a:pt x="2" y="2"/>
                  </a:cubicBezTo>
                  <a:cubicBezTo>
                    <a:pt x="1" y="2"/>
                    <a:pt x="0" y="1"/>
                    <a:pt x="0" y="0"/>
                  </a:cubicBezTo>
                  <a:cubicBezTo>
                    <a:pt x="1" y="0"/>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6" name="Freeform 445"/>
            <p:cNvSpPr>
              <a:spLocks noChangeAspect="1"/>
            </p:cNvSpPr>
            <p:nvPr/>
          </p:nvSpPr>
          <p:spPr bwMode="auto">
            <a:xfrm>
              <a:off x="7389412" y="2911920"/>
              <a:ext cx="3203" cy="7738"/>
            </a:xfrm>
            <a:custGeom>
              <a:avLst/>
              <a:gdLst>
                <a:gd name="T0" fmla="*/ 3175 w 2"/>
                <a:gd name="T1" fmla="*/ 5715 h 5"/>
                <a:gd name="T2" fmla="*/ 3175 w 2"/>
                <a:gd name="T3" fmla="*/ 9525 h 5"/>
                <a:gd name="T4" fmla="*/ 1588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1" y="3"/>
                    <a:pt x="1" y="3"/>
                  </a:cubicBezTo>
                  <a:cubicBezTo>
                    <a:pt x="0"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7" name="Freeform 446"/>
            <p:cNvSpPr>
              <a:spLocks noChangeAspect="1"/>
            </p:cNvSpPr>
            <p:nvPr/>
          </p:nvSpPr>
          <p:spPr bwMode="auto">
            <a:xfrm>
              <a:off x="7314131" y="3107951"/>
              <a:ext cx="8009" cy="5158"/>
            </a:xfrm>
            <a:custGeom>
              <a:avLst/>
              <a:gdLst>
                <a:gd name="T0" fmla="*/ 3969 w 4"/>
                <a:gd name="T1" fmla="*/ 4762 h 4"/>
                <a:gd name="T2" fmla="*/ 0 w 4"/>
                <a:gd name="T3" fmla="*/ 6350 h 4"/>
                <a:gd name="T4" fmla="*/ 1985 w 4"/>
                <a:gd name="T5" fmla="*/ 3175 h 4"/>
                <a:gd name="T6" fmla="*/ 7938 w 4"/>
                <a:gd name="T7" fmla="*/ 0 h 4"/>
                <a:gd name="T8" fmla="*/ 3969 w 4"/>
                <a:gd name="T9" fmla="*/ 476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0" y="2"/>
                    <a:pt x="1" y="2"/>
                  </a:cubicBezTo>
                  <a:cubicBezTo>
                    <a:pt x="2" y="1"/>
                    <a:pt x="3" y="0"/>
                    <a:pt x="4" y="0"/>
                  </a:cubicBezTo>
                  <a:cubicBezTo>
                    <a:pt x="4"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8" name="Freeform 447"/>
            <p:cNvSpPr>
              <a:spLocks noChangeAspect="1"/>
            </p:cNvSpPr>
            <p:nvPr/>
          </p:nvSpPr>
          <p:spPr bwMode="auto">
            <a:xfrm>
              <a:off x="8388880" y="3233050"/>
              <a:ext cx="8008" cy="3868"/>
            </a:xfrm>
            <a:custGeom>
              <a:avLst/>
              <a:gdLst>
                <a:gd name="T0" fmla="*/ 3969 w 4"/>
                <a:gd name="T1" fmla="*/ 4762 h 3"/>
                <a:gd name="T2" fmla="*/ 0 w 4"/>
                <a:gd name="T3" fmla="*/ 3175 h 3"/>
                <a:gd name="T4" fmla="*/ 3969 w 4"/>
                <a:gd name="T5" fmla="*/ 1587 h 3"/>
                <a:gd name="T6" fmla="*/ 5953 w 4"/>
                <a:gd name="T7" fmla="*/ 1587 h 3"/>
                <a:gd name="T8" fmla="*/ 3969 w 4"/>
                <a:gd name="T9" fmla="*/ 476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1" y="3"/>
                    <a:pt x="0" y="2"/>
                  </a:cubicBezTo>
                  <a:cubicBezTo>
                    <a:pt x="0" y="2"/>
                    <a:pt x="1" y="1"/>
                    <a:pt x="2" y="1"/>
                  </a:cubicBezTo>
                  <a:cubicBezTo>
                    <a:pt x="2" y="1"/>
                    <a:pt x="3" y="0"/>
                    <a:pt x="3"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9" name="Freeform 448"/>
            <p:cNvSpPr>
              <a:spLocks noChangeAspect="1"/>
            </p:cNvSpPr>
            <p:nvPr/>
          </p:nvSpPr>
          <p:spPr bwMode="auto">
            <a:xfrm>
              <a:off x="8406498" y="3288506"/>
              <a:ext cx="6407" cy="6449"/>
            </a:xfrm>
            <a:custGeom>
              <a:avLst/>
              <a:gdLst>
                <a:gd name="T0" fmla="*/ 3175 w 4"/>
                <a:gd name="T1" fmla="*/ 5953 h 4"/>
                <a:gd name="T2" fmla="*/ 0 w 4"/>
                <a:gd name="T3" fmla="*/ 5953 h 4"/>
                <a:gd name="T4" fmla="*/ 1588 w 4"/>
                <a:gd name="T5" fmla="*/ 0 h 4"/>
                <a:gd name="T6" fmla="*/ 4762 w 4"/>
                <a:gd name="T7" fmla="*/ 1985 h 4"/>
                <a:gd name="T8" fmla="*/ 3175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3"/>
                  </a:cubicBezTo>
                  <a:cubicBezTo>
                    <a:pt x="0" y="2"/>
                    <a:pt x="1" y="1"/>
                    <a:pt x="1" y="0"/>
                  </a:cubicBezTo>
                  <a:cubicBezTo>
                    <a:pt x="2" y="0"/>
                    <a:pt x="3" y="0"/>
                    <a:pt x="3" y="1"/>
                  </a:cubicBezTo>
                  <a:cubicBezTo>
                    <a:pt x="4" y="3"/>
                    <a:pt x="2"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0" name="Freeform 449"/>
            <p:cNvSpPr>
              <a:spLocks noChangeAspect="1"/>
            </p:cNvSpPr>
            <p:nvPr/>
          </p:nvSpPr>
          <p:spPr bwMode="auto">
            <a:xfrm>
              <a:off x="8393684" y="3243367"/>
              <a:ext cx="6407" cy="5158"/>
            </a:xfrm>
            <a:custGeom>
              <a:avLst/>
              <a:gdLst>
                <a:gd name="T0" fmla="*/ 2117 w 3"/>
                <a:gd name="T1" fmla="*/ 6350 h 3"/>
                <a:gd name="T2" fmla="*/ 0 w 3"/>
                <a:gd name="T3" fmla="*/ 4233 h 3"/>
                <a:gd name="T4" fmla="*/ 2117 w 3"/>
                <a:gd name="T5" fmla="*/ 2117 h 3"/>
                <a:gd name="T6" fmla="*/ 6350 w 3"/>
                <a:gd name="T7" fmla="*/ 2117 h 3"/>
                <a:gd name="T8" fmla="*/ 2117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0" y="3"/>
                    <a:pt x="0" y="2"/>
                  </a:cubicBezTo>
                  <a:cubicBezTo>
                    <a:pt x="0" y="1"/>
                    <a:pt x="0" y="1"/>
                    <a:pt x="1" y="1"/>
                  </a:cubicBezTo>
                  <a:cubicBezTo>
                    <a:pt x="1" y="1"/>
                    <a:pt x="3" y="0"/>
                    <a:pt x="3" y="1"/>
                  </a:cubicBezTo>
                  <a:cubicBezTo>
                    <a:pt x="3" y="2"/>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1" name="Freeform 450"/>
            <p:cNvSpPr>
              <a:spLocks noChangeAspect="1"/>
            </p:cNvSpPr>
            <p:nvPr/>
          </p:nvSpPr>
          <p:spPr bwMode="auto">
            <a:xfrm>
              <a:off x="8393684" y="3266582"/>
              <a:ext cx="6407" cy="5158"/>
            </a:xfrm>
            <a:custGeom>
              <a:avLst/>
              <a:gdLst>
                <a:gd name="T0" fmla="*/ 2117 w 3"/>
                <a:gd name="T1" fmla="*/ 4233 h 3"/>
                <a:gd name="T2" fmla="*/ 0 w 3"/>
                <a:gd name="T3" fmla="*/ 4233 h 3"/>
                <a:gd name="T4" fmla="*/ 2117 w 3"/>
                <a:gd name="T5" fmla="*/ 0 h 3"/>
                <a:gd name="T6" fmla="*/ 6350 w 3"/>
                <a:gd name="T7" fmla="*/ 2117 h 3"/>
                <a:gd name="T8" fmla="*/ 2117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1"/>
                    <a:pt x="0" y="1"/>
                    <a:pt x="1" y="0"/>
                  </a:cubicBezTo>
                  <a:cubicBezTo>
                    <a:pt x="1"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2" name="Freeform 451"/>
            <p:cNvSpPr>
              <a:spLocks noChangeAspect="1"/>
            </p:cNvSpPr>
            <p:nvPr/>
          </p:nvSpPr>
          <p:spPr bwMode="auto">
            <a:xfrm>
              <a:off x="7264477" y="2445056"/>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3" name="Freeform 452"/>
            <p:cNvSpPr>
              <a:spLocks noChangeAspect="1"/>
            </p:cNvSpPr>
            <p:nvPr/>
          </p:nvSpPr>
          <p:spPr bwMode="auto">
            <a:xfrm>
              <a:off x="7325343" y="2663013"/>
              <a:ext cx="6407" cy="5158"/>
            </a:xfrm>
            <a:custGeom>
              <a:avLst/>
              <a:gdLst>
                <a:gd name="T0" fmla="*/ 6350 w 3"/>
                <a:gd name="T1" fmla="*/ 4233 h 3"/>
                <a:gd name="T2" fmla="*/ 2117 w 3"/>
                <a:gd name="T3" fmla="*/ 6350 h 3"/>
                <a:gd name="T4" fmla="*/ 0 w 3"/>
                <a:gd name="T5" fmla="*/ 2117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4" name="Freeform 453"/>
            <p:cNvSpPr>
              <a:spLocks noChangeAspect="1"/>
            </p:cNvSpPr>
            <p:nvPr/>
          </p:nvSpPr>
          <p:spPr bwMode="auto">
            <a:xfrm>
              <a:off x="7278892" y="2570156"/>
              <a:ext cx="8009" cy="6448"/>
            </a:xfrm>
            <a:custGeom>
              <a:avLst/>
              <a:gdLst>
                <a:gd name="T0" fmla="*/ 7938 w 4"/>
                <a:gd name="T1" fmla="*/ 3969 h 4"/>
                <a:gd name="T2" fmla="*/ 3969 w 4"/>
                <a:gd name="T3" fmla="*/ 7937 h 4"/>
                <a:gd name="T4" fmla="*/ 0 w 4"/>
                <a:gd name="T5" fmla="*/ 3969 h 4"/>
                <a:gd name="T6" fmla="*/ 3969 w 4"/>
                <a:gd name="T7" fmla="*/ 0 h 4"/>
                <a:gd name="T8" fmla="*/ 7938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2"/>
                  </a:moveTo>
                  <a:cubicBezTo>
                    <a:pt x="4" y="3"/>
                    <a:pt x="3" y="4"/>
                    <a:pt x="2" y="4"/>
                  </a:cubicBezTo>
                  <a:cubicBezTo>
                    <a:pt x="0" y="3"/>
                    <a:pt x="0" y="3"/>
                    <a:pt x="0" y="2"/>
                  </a:cubicBezTo>
                  <a:cubicBezTo>
                    <a:pt x="0" y="1"/>
                    <a:pt x="0" y="0"/>
                    <a:pt x="2" y="0"/>
                  </a:cubicBezTo>
                  <a:cubicBezTo>
                    <a:pt x="4" y="1"/>
                    <a:pt x="4" y="2"/>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5" name="Freeform 454"/>
            <p:cNvSpPr>
              <a:spLocks noChangeAspect="1"/>
            </p:cNvSpPr>
            <p:nvPr/>
          </p:nvSpPr>
          <p:spPr bwMode="auto">
            <a:xfrm>
              <a:off x="8350439" y="3109241"/>
              <a:ext cx="8008" cy="3868"/>
            </a:xfrm>
            <a:custGeom>
              <a:avLst/>
              <a:gdLst>
                <a:gd name="T0" fmla="*/ 3969 w 4"/>
                <a:gd name="T1" fmla="*/ 3175 h 3"/>
                <a:gd name="T2" fmla="*/ 1984 w 4"/>
                <a:gd name="T3" fmla="*/ 3175 h 3"/>
                <a:gd name="T4" fmla="*/ 1984 w 4"/>
                <a:gd name="T5" fmla="*/ 1587 h 3"/>
                <a:gd name="T6" fmla="*/ 5953 w 4"/>
                <a:gd name="T7" fmla="*/ 0 h 3"/>
                <a:gd name="T8" fmla="*/ 3969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2"/>
                  </a:cubicBezTo>
                  <a:cubicBezTo>
                    <a:pt x="0" y="2"/>
                    <a:pt x="1" y="1"/>
                    <a:pt x="1" y="1"/>
                  </a:cubicBezTo>
                  <a:cubicBezTo>
                    <a:pt x="2" y="0"/>
                    <a:pt x="3" y="0"/>
                    <a:pt x="3" y="0"/>
                  </a:cubicBezTo>
                  <a:cubicBezTo>
                    <a:pt x="4" y="1"/>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6" name="Freeform 455"/>
            <p:cNvSpPr>
              <a:spLocks noChangeAspect="1"/>
            </p:cNvSpPr>
            <p:nvPr/>
          </p:nvSpPr>
          <p:spPr bwMode="auto">
            <a:xfrm>
              <a:off x="7982045" y="3079578"/>
              <a:ext cx="6407" cy="6449"/>
            </a:xfrm>
            <a:custGeom>
              <a:avLst/>
              <a:gdLst>
                <a:gd name="T0" fmla="*/ 4233 w 3"/>
                <a:gd name="T1" fmla="*/ 3969 h 4"/>
                <a:gd name="T2" fmla="*/ 6350 w 3"/>
                <a:gd name="T3" fmla="*/ 5953 h 4"/>
                <a:gd name="T4" fmla="*/ 2117 w 3"/>
                <a:gd name="T5" fmla="*/ 5953 h 4"/>
                <a:gd name="T6" fmla="*/ 0 w 3"/>
                <a:gd name="T7" fmla="*/ 1985 h 4"/>
                <a:gd name="T8" fmla="*/ 423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3" y="2"/>
                    <a:pt x="3" y="3"/>
                    <a:pt x="3" y="3"/>
                  </a:cubicBezTo>
                  <a:cubicBezTo>
                    <a:pt x="2" y="4"/>
                    <a:pt x="1" y="3"/>
                    <a:pt x="1" y="3"/>
                  </a:cubicBezTo>
                  <a:cubicBezTo>
                    <a:pt x="0" y="3"/>
                    <a:pt x="0" y="2"/>
                    <a:pt x="0" y="1"/>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7" name="Freeform 456"/>
            <p:cNvSpPr>
              <a:spLocks noChangeAspect="1"/>
            </p:cNvSpPr>
            <p:nvPr/>
          </p:nvSpPr>
          <p:spPr bwMode="auto">
            <a:xfrm>
              <a:off x="7975638" y="2919658"/>
              <a:ext cx="6407" cy="5158"/>
            </a:xfrm>
            <a:custGeom>
              <a:avLst/>
              <a:gdLst>
                <a:gd name="T0" fmla="*/ 3175 w 4"/>
                <a:gd name="T1" fmla="*/ 4233 h 3"/>
                <a:gd name="T2" fmla="*/ 0 w 4"/>
                <a:gd name="T3" fmla="*/ 4233 h 3"/>
                <a:gd name="T4" fmla="*/ 3175 w 4"/>
                <a:gd name="T5" fmla="*/ 0 h 3"/>
                <a:gd name="T6" fmla="*/ 6350 w 4"/>
                <a:gd name="T7" fmla="*/ 2117 h 3"/>
                <a:gd name="T8" fmla="*/ 3175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3"/>
                    <a:pt x="0" y="2"/>
                    <a:pt x="0" y="2"/>
                  </a:cubicBezTo>
                  <a:cubicBezTo>
                    <a:pt x="0" y="1"/>
                    <a:pt x="1" y="0"/>
                    <a:pt x="2" y="0"/>
                  </a:cubicBezTo>
                  <a:cubicBezTo>
                    <a:pt x="3" y="0"/>
                    <a:pt x="4" y="0"/>
                    <a:pt x="4" y="1"/>
                  </a:cubicBezTo>
                  <a:cubicBezTo>
                    <a:pt x="4"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8" name="Oval 457"/>
            <p:cNvSpPr>
              <a:spLocks noChangeAspect="1" noChangeArrowheads="1"/>
            </p:cNvSpPr>
            <p:nvPr/>
          </p:nvSpPr>
          <p:spPr bwMode="auto">
            <a:xfrm>
              <a:off x="7509539" y="2887416"/>
              <a:ext cx="6407" cy="773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9" name="Freeform 458"/>
            <p:cNvSpPr>
              <a:spLocks noChangeAspect="1"/>
            </p:cNvSpPr>
            <p:nvPr/>
          </p:nvSpPr>
          <p:spPr bwMode="auto">
            <a:xfrm>
              <a:off x="7318936" y="2957058"/>
              <a:ext cx="6407" cy="5158"/>
            </a:xfrm>
            <a:custGeom>
              <a:avLst/>
              <a:gdLst>
                <a:gd name="T0" fmla="*/ 4233 w 3"/>
                <a:gd name="T1" fmla="*/ 2117 h 3"/>
                <a:gd name="T2" fmla="*/ 6350 w 3"/>
                <a:gd name="T3" fmla="*/ 6350 h 3"/>
                <a:gd name="T4" fmla="*/ 2117 w 3"/>
                <a:gd name="T5" fmla="*/ 4233 h 3"/>
                <a:gd name="T6" fmla="*/ 0 w 3"/>
                <a:gd name="T7" fmla="*/ 0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1" y="3"/>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0" name="Freeform 459"/>
            <p:cNvSpPr>
              <a:spLocks noChangeAspect="1"/>
            </p:cNvSpPr>
            <p:nvPr/>
          </p:nvSpPr>
          <p:spPr bwMode="auto">
            <a:xfrm>
              <a:off x="7102704" y="3334934"/>
              <a:ext cx="3203" cy="6449"/>
            </a:xfrm>
            <a:custGeom>
              <a:avLst/>
              <a:gdLst>
                <a:gd name="T0" fmla="*/ 3175 w 2"/>
                <a:gd name="T1" fmla="*/ 3969 h 4"/>
                <a:gd name="T2" fmla="*/ 1588 w 2"/>
                <a:gd name="T3" fmla="*/ 5953 h 4"/>
                <a:gd name="T4" fmla="*/ 0 w 2"/>
                <a:gd name="T5" fmla="*/ 3969 h 4"/>
                <a:gd name="T6" fmla="*/ 3175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2"/>
                    <a:pt x="0" y="2"/>
                  </a:cubicBezTo>
                  <a:cubicBezTo>
                    <a:pt x="1" y="1"/>
                    <a:pt x="1" y="0"/>
                    <a:pt x="2" y="0"/>
                  </a:cubicBezTo>
                  <a:cubicBezTo>
                    <a:pt x="2" y="0"/>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1" name="Freeform 460"/>
            <p:cNvSpPr>
              <a:spLocks noChangeAspect="1"/>
            </p:cNvSpPr>
            <p:nvPr/>
          </p:nvSpPr>
          <p:spPr bwMode="auto">
            <a:xfrm>
              <a:off x="7765814" y="3773426"/>
              <a:ext cx="1602" cy="3869"/>
            </a:xfrm>
            <a:custGeom>
              <a:avLst/>
              <a:gdLst>
                <a:gd name="T0" fmla="*/ 1588 w 1"/>
                <a:gd name="T1" fmla="*/ 3175 h 3"/>
                <a:gd name="T2" fmla="*/ 0 w 1"/>
                <a:gd name="T3" fmla="*/ 3175 h 3"/>
                <a:gd name="T4" fmla="*/ 0 w 1"/>
                <a:gd name="T5" fmla="*/ 1588 h 3"/>
                <a:gd name="T6" fmla="*/ 0 w 1"/>
                <a:gd name="T7" fmla="*/ 0 h 3"/>
                <a:gd name="T8" fmla="*/ 1588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2" name="Freeform 461"/>
            <p:cNvSpPr>
              <a:spLocks noChangeAspect="1"/>
            </p:cNvSpPr>
            <p:nvPr/>
          </p:nvSpPr>
          <p:spPr bwMode="auto">
            <a:xfrm>
              <a:off x="7756203" y="3884338"/>
              <a:ext cx="3203" cy="5158"/>
            </a:xfrm>
            <a:custGeom>
              <a:avLst/>
              <a:gdLst>
                <a:gd name="T0" fmla="*/ 3175 w 2"/>
                <a:gd name="T1" fmla="*/ 4233 h 3"/>
                <a:gd name="T2" fmla="*/ 1588 w 2"/>
                <a:gd name="T3" fmla="*/ 4233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3" name="Freeform 462"/>
            <p:cNvSpPr>
              <a:spLocks noChangeAspect="1"/>
            </p:cNvSpPr>
            <p:nvPr/>
          </p:nvSpPr>
          <p:spPr bwMode="auto">
            <a:xfrm>
              <a:off x="7543176" y="3118268"/>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4" name="Freeform 463"/>
            <p:cNvSpPr>
              <a:spLocks noChangeAspect="1"/>
            </p:cNvSpPr>
            <p:nvPr/>
          </p:nvSpPr>
          <p:spPr bwMode="auto">
            <a:xfrm>
              <a:off x="8417711" y="3324617"/>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5" name="Freeform 464"/>
            <p:cNvSpPr>
              <a:spLocks noChangeAspect="1"/>
            </p:cNvSpPr>
            <p:nvPr/>
          </p:nvSpPr>
          <p:spPr bwMode="auto">
            <a:xfrm>
              <a:off x="8353642" y="3381363"/>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6" name="Oval 465"/>
            <p:cNvSpPr>
              <a:spLocks noChangeAspect="1" noChangeArrowheads="1"/>
            </p:cNvSpPr>
            <p:nvPr/>
          </p:nvSpPr>
          <p:spPr bwMode="auto">
            <a:xfrm>
              <a:off x="8382473" y="3180174"/>
              <a:ext cx="1601"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7" name="Freeform 466"/>
            <p:cNvSpPr>
              <a:spLocks noChangeAspect="1"/>
            </p:cNvSpPr>
            <p:nvPr/>
          </p:nvSpPr>
          <p:spPr bwMode="auto">
            <a:xfrm>
              <a:off x="8380871" y="3189201"/>
              <a:ext cx="1602" cy="5158"/>
            </a:xfrm>
            <a:custGeom>
              <a:avLst/>
              <a:gdLst>
                <a:gd name="T0" fmla="*/ 1588 w 1"/>
                <a:gd name="T1" fmla="*/ 4233 h 3"/>
                <a:gd name="T2" fmla="*/ 0 w 1"/>
                <a:gd name="T3" fmla="*/ 6350 h 3"/>
                <a:gd name="T4" fmla="*/ 0 w 1"/>
                <a:gd name="T5" fmla="*/ 4233 h 3"/>
                <a:gd name="T6" fmla="*/ 0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0" y="0"/>
                  </a:cubicBezTo>
                  <a:cubicBezTo>
                    <a:pt x="1" y="1"/>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8" name="Freeform 467"/>
            <p:cNvSpPr>
              <a:spLocks noChangeAspect="1"/>
            </p:cNvSpPr>
            <p:nvPr/>
          </p:nvSpPr>
          <p:spPr bwMode="auto">
            <a:xfrm>
              <a:off x="8408100" y="3306562"/>
              <a:ext cx="4805" cy="6449"/>
            </a:xfrm>
            <a:custGeom>
              <a:avLst/>
              <a:gdLst>
                <a:gd name="T0" fmla="*/ 3175 w 3"/>
                <a:gd name="T1" fmla="*/ 3969 h 4"/>
                <a:gd name="T2" fmla="*/ 1587 w 3"/>
                <a:gd name="T3" fmla="*/ 7938 h 4"/>
                <a:gd name="T4" fmla="*/ 0 w 3"/>
                <a:gd name="T5" fmla="*/ 3969 h 4"/>
                <a:gd name="T6" fmla="*/ 1587 w 3"/>
                <a:gd name="T7" fmla="*/ 0 h 4"/>
                <a:gd name="T8" fmla="*/ 3175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2" y="3"/>
                    <a:pt x="2" y="4"/>
                    <a:pt x="1" y="4"/>
                  </a:cubicBezTo>
                  <a:cubicBezTo>
                    <a:pt x="0" y="4"/>
                    <a:pt x="0" y="3"/>
                    <a:pt x="0" y="2"/>
                  </a:cubicBezTo>
                  <a:cubicBezTo>
                    <a:pt x="0" y="1"/>
                    <a:pt x="0" y="0"/>
                    <a:pt x="1"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9" name="Freeform 468"/>
            <p:cNvSpPr>
              <a:spLocks noChangeAspect="1"/>
            </p:cNvSpPr>
            <p:nvPr/>
          </p:nvSpPr>
          <p:spPr bwMode="auto">
            <a:xfrm>
              <a:off x="8387277" y="3216285"/>
              <a:ext cx="3203" cy="3869"/>
            </a:xfrm>
            <a:custGeom>
              <a:avLst/>
              <a:gdLst>
                <a:gd name="T0" fmla="*/ 1588 w 2"/>
                <a:gd name="T1" fmla="*/ 3175 h 3"/>
                <a:gd name="T2" fmla="*/ 0 w 2"/>
                <a:gd name="T3" fmla="*/ 3175 h 3"/>
                <a:gd name="T4" fmla="*/ 0 w 2"/>
                <a:gd name="T5" fmla="*/ 1588 h 3"/>
                <a:gd name="T6" fmla="*/ 3175 w 2"/>
                <a:gd name="T7" fmla="*/ 1588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2"/>
                  </a:cubicBezTo>
                  <a:cubicBezTo>
                    <a:pt x="0" y="2"/>
                    <a:pt x="0" y="1"/>
                    <a:pt x="0" y="1"/>
                  </a:cubicBezTo>
                  <a:cubicBezTo>
                    <a:pt x="1" y="1"/>
                    <a:pt x="2" y="0"/>
                    <a:pt x="2"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0" name="Freeform 469"/>
            <p:cNvSpPr>
              <a:spLocks noChangeAspect="1"/>
            </p:cNvSpPr>
            <p:nvPr/>
          </p:nvSpPr>
          <p:spPr bwMode="auto">
            <a:xfrm>
              <a:off x="8656365" y="3275609"/>
              <a:ext cx="1602" cy="3869"/>
            </a:xfrm>
            <a:custGeom>
              <a:avLst/>
              <a:gdLst>
                <a:gd name="T0" fmla="*/ 0 w 1"/>
                <a:gd name="T1" fmla="*/ 2382 h 2"/>
                <a:gd name="T2" fmla="*/ 0 w 1"/>
                <a:gd name="T3" fmla="*/ 4763 h 2"/>
                <a:gd name="T4" fmla="*/ 1588 w 1"/>
                <a:gd name="T5" fmla="*/ 2382 h 2"/>
                <a:gd name="T6" fmla="*/ 0 w 1"/>
                <a:gd name="T7" fmla="*/ 0 h 2"/>
                <a:gd name="T8" fmla="*/ 0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2"/>
                    <a:pt x="0" y="2"/>
                    <a:pt x="0" y="2"/>
                  </a:cubicBezTo>
                  <a:cubicBezTo>
                    <a:pt x="1" y="2"/>
                    <a:pt x="1" y="1"/>
                    <a:pt x="1" y="1"/>
                  </a:cubicBezTo>
                  <a:cubicBezTo>
                    <a:pt x="1" y="1"/>
                    <a:pt x="1" y="0"/>
                    <a:pt x="0" y="0"/>
                  </a:cubicBezTo>
                  <a:cubicBezTo>
                    <a:pt x="0" y="1"/>
                    <a:pt x="0"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1" name="Freeform 470"/>
            <p:cNvSpPr>
              <a:spLocks noChangeAspect="1"/>
            </p:cNvSpPr>
            <p:nvPr/>
          </p:nvSpPr>
          <p:spPr bwMode="auto">
            <a:xfrm>
              <a:off x="8661171" y="3257553"/>
              <a:ext cx="4805" cy="5158"/>
            </a:xfrm>
            <a:custGeom>
              <a:avLst/>
              <a:gdLst>
                <a:gd name="T0" fmla="*/ 4762 w 2"/>
                <a:gd name="T1" fmla="*/ 4233 h 3"/>
                <a:gd name="T2" fmla="*/ 2381 w 2"/>
                <a:gd name="T3" fmla="*/ 6350 h 3"/>
                <a:gd name="T4" fmla="*/ 0 w 2"/>
                <a:gd name="T5" fmla="*/ 4233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2" name="Freeform 471"/>
            <p:cNvSpPr>
              <a:spLocks noChangeAspect="1"/>
            </p:cNvSpPr>
            <p:nvPr/>
          </p:nvSpPr>
          <p:spPr bwMode="auto">
            <a:xfrm>
              <a:off x="8677189" y="3248526"/>
              <a:ext cx="3203" cy="2579"/>
            </a:xfrm>
            <a:custGeom>
              <a:avLst/>
              <a:gdLst>
                <a:gd name="T0" fmla="*/ 1588 w 2"/>
                <a:gd name="T1" fmla="*/ 3175 h 2"/>
                <a:gd name="T2" fmla="*/ 0 w 2"/>
                <a:gd name="T3" fmla="*/ 3175 h 2"/>
                <a:gd name="T4" fmla="*/ 0 w 2"/>
                <a:gd name="T5" fmla="*/ 1588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1" y="0"/>
                    <a:pt x="2" y="0"/>
                  </a:cubicBezTo>
                  <a:cubicBezTo>
                    <a:pt x="2" y="1"/>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3" name="Freeform 472"/>
            <p:cNvSpPr>
              <a:spLocks noChangeAspect="1"/>
            </p:cNvSpPr>
            <p:nvPr/>
          </p:nvSpPr>
          <p:spPr bwMode="auto">
            <a:xfrm>
              <a:off x="8670781" y="3243367"/>
              <a:ext cx="4805" cy="5158"/>
            </a:xfrm>
            <a:custGeom>
              <a:avLst/>
              <a:gdLst>
                <a:gd name="T0" fmla="*/ 2381 w 2"/>
                <a:gd name="T1" fmla="*/ 4233 h 3"/>
                <a:gd name="T2" fmla="*/ 0 w 2"/>
                <a:gd name="T3" fmla="*/ 4233 h 3"/>
                <a:gd name="T4" fmla="*/ 0 w 2"/>
                <a:gd name="T5" fmla="*/ 2117 h 3"/>
                <a:gd name="T6" fmla="*/ 4762 w 2"/>
                <a:gd name="T7" fmla="*/ 2117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2"/>
                    <a:pt x="0" y="1"/>
                    <a:pt x="0" y="1"/>
                  </a:cubicBezTo>
                  <a:cubicBezTo>
                    <a:pt x="1" y="1"/>
                    <a:pt x="1"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4" name="Freeform 473"/>
            <p:cNvSpPr>
              <a:spLocks noChangeAspect="1"/>
            </p:cNvSpPr>
            <p:nvPr/>
          </p:nvSpPr>
          <p:spPr bwMode="auto">
            <a:xfrm>
              <a:off x="7405429" y="2238707"/>
              <a:ext cx="3203" cy="5158"/>
            </a:xfrm>
            <a:custGeom>
              <a:avLst/>
              <a:gdLst>
                <a:gd name="T0" fmla="*/ 3175 w 1"/>
                <a:gd name="T1" fmla="*/ 4233 h 3"/>
                <a:gd name="T2" fmla="*/ 0 w 1"/>
                <a:gd name="T3" fmla="*/ 6350 h 3"/>
                <a:gd name="T4" fmla="*/ 0 w 1"/>
                <a:gd name="T5" fmla="*/ 4233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5" name="Freeform 474"/>
            <p:cNvSpPr>
              <a:spLocks noChangeAspect="1"/>
            </p:cNvSpPr>
            <p:nvPr/>
          </p:nvSpPr>
          <p:spPr bwMode="auto">
            <a:xfrm>
              <a:off x="7251665" y="2433449"/>
              <a:ext cx="4805" cy="3868"/>
            </a:xfrm>
            <a:custGeom>
              <a:avLst/>
              <a:gdLst>
                <a:gd name="T0" fmla="*/ 4762 w 2"/>
                <a:gd name="T1" fmla="*/ 4762 h 2"/>
                <a:gd name="T2" fmla="*/ 2381 w 2"/>
                <a:gd name="T3" fmla="*/ 4762 h 2"/>
                <a:gd name="T4" fmla="*/ 0 w 2"/>
                <a:gd name="T5" fmla="*/ 2381 h 2"/>
                <a:gd name="T6" fmla="*/ 2381 w 2"/>
                <a:gd name="T7" fmla="*/ 0 h 2"/>
                <a:gd name="T8" fmla="*/ 4762 w 2"/>
                <a:gd name="T9" fmla="*/ 476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1" y="2"/>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6" name="Freeform 475"/>
            <p:cNvSpPr>
              <a:spLocks noChangeAspect="1"/>
            </p:cNvSpPr>
            <p:nvPr/>
          </p:nvSpPr>
          <p:spPr bwMode="auto">
            <a:xfrm>
              <a:off x="7232444" y="2633349"/>
              <a:ext cx="4805" cy="5158"/>
            </a:xfrm>
            <a:custGeom>
              <a:avLst/>
              <a:gdLst>
                <a:gd name="T0" fmla="*/ 2381 w 2"/>
                <a:gd name="T1" fmla="*/ 6350 h 3"/>
                <a:gd name="T2" fmla="*/ 0 w 2"/>
                <a:gd name="T3" fmla="*/ 6350 h 3"/>
                <a:gd name="T4" fmla="*/ 0 w 2"/>
                <a:gd name="T5" fmla="*/ 4233 h 3"/>
                <a:gd name="T6" fmla="*/ 4762 w 2"/>
                <a:gd name="T7" fmla="*/ 2117 h 3"/>
                <a:gd name="T8" fmla="*/ 2381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3"/>
                    <a:pt x="0" y="2"/>
                    <a:pt x="0" y="2"/>
                  </a:cubicBezTo>
                  <a:cubicBezTo>
                    <a:pt x="1" y="1"/>
                    <a:pt x="1" y="0"/>
                    <a:pt x="2" y="1"/>
                  </a:cubicBezTo>
                  <a:cubicBezTo>
                    <a:pt x="2" y="1"/>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7" name="Freeform 476"/>
            <p:cNvSpPr>
              <a:spLocks noChangeAspect="1"/>
            </p:cNvSpPr>
            <p:nvPr/>
          </p:nvSpPr>
          <p:spPr bwMode="auto">
            <a:xfrm>
              <a:off x="7309326" y="2555969"/>
              <a:ext cx="6407" cy="3869"/>
            </a:xfrm>
            <a:custGeom>
              <a:avLst/>
              <a:gdLst>
                <a:gd name="T0" fmla="*/ 4233 w 3"/>
                <a:gd name="T1" fmla="*/ 2382 h 2"/>
                <a:gd name="T2" fmla="*/ 4233 w 3"/>
                <a:gd name="T3" fmla="*/ 4763 h 2"/>
                <a:gd name="T4" fmla="*/ 2117 w 3"/>
                <a:gd name="T5" fmla="*/ 4763 h 2"/>
                <a:gd name="T6" fmla="*/ 0 w 3"/>
                <a:gd name="T7" fmla="*/ 0 h 2"/>
                <a:gd name="T8" fmla="*/ 4233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1" y="2"/>
                    <a:pt x="1" y="2"/>
                  </a:cubicBezTo>
                  <a:cubicBezTo>
                    <a:pt x="1" y="1"/>
                    <a:pt x="0" y="1"/>
                    <a:pt x="0"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8" name="Freeform 477"/>
            <p:cNvSpPr>
              <a:spLocks noChangeAspect="1"/>
            </p:cNvSpPr>
            <p:nvPr/>
          </p:nvSpPr>
          <p:spPr bwMode="auto">
            <a:xfrm>
              <a:off x="7384606" y="2648826"/>
              <a:ext cx="4806" cy="6449"/>
            </a:xfrm>
            <a:custGeom>
              <a:avLst/>
              <a:gdLst>
                <a:gd name="T0" fmla="*/ 4763 w 2"/>
                <a:gd name="T1" fmla="*/ 3969 h 4"/>
                <a:gd name="T2" fmla="*/ 2382 w 2"/>
                <a:gd name="T3" fmla="*/ 5953 h 4"/>
                <a:gd name="T4" fmla="*/ 0 w 2"/>
                <a:gd name="T5" fmla="*/ 3969 h 4"/>
                <a:gd name="T6" fmla="*/ 2382 w 2"/>
                <a:gd name="T7" fmla="*/ 1985 h 4"/>
                <a:gd name="T8" fmla="*/ 4763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3"/>
                    <a:pt x="0" y="2"/>
                  </a:cubicBezTo>
                  <a:cubicBezTo>
                    <a:pt x="0" y="2"/>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9" name="Freeform 478"/>
            <p:cNvSpPr>
              <a:spLocks noChangeAspect="1"/>
            </p:cNvSpPr>
            <p:nvPr/>
          </p:nvSpPr>
          <p:spPr bwMode="auto">
            <a:xfrm>
              <a:off x="7318936" y="2586921"/>
              <a:ext cx="6407" cy="5158"/>
            </a:xfrm>
            <a:custGeom>
              <a:avLst/>
              <a:gdLst>
                <a:gd name="T0" fmla="*/ 4233 w 3"/>
                <a:gd name="T1" fmla="*/ 4233 h 3"/>
                <a:gd name="T2" fmla="*/ 4233 w 3"/>
                <a:gd name="T3" fmla="*/ 6350 h 3"/>
                <a:gd name="T4" fmla="*/ 2117 w 3"/>
                <a:gd name="T5" fmla="*/ 4233 h 3"/>
                <a:gd name="T6" fmla="*/ 2117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3"/>
                    <a:pt x="2" y="3"/>
                  </a:cubicBezTo>
                  <a:cubicBezTo>
                    <a:pt x="2" y="3"/>
                    <a:pt x="1" y="3"/>
                    <a:pt x="1" y="2"/>
                  </a:cubicBezTo>
                  <a:cubicBezTo>
                    <a:pt x="1" y="2"/>
                    <a:pt x="0" y="1"/>
                    <a:pt x="1" y="1"/>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0" name="Freeform 479"/>
            <p:cNvSpPr>
              <a:spLocks noChangeAspect="1"/>
            </p:cNvSpPr>
            <p:nvPr/>
          </p:nvSpPr>
          <p:spPr bwMode="auto">
            <a:xfrm>
              <a:off x="7235647" y="2561127"/>
              <a:ext cx="4805" cy="3869"/>
            </a:xfrm>
            <a:custGeom>
              <a:avLst/>
              <a:gdLst>
                <a:gd name="T0" fmla="*/ 3175 w 3"/>
                <a:gd name="T1" fmla="*/ 1588 h 3"/>
                <a:gd name="T2" fmla="*/ 4762 w 3"/>
                <a:gd name="T3" fmla="*/ 4763 h 3"/>
                <a:gd name="T4" fmla="*/ 1587 w 3"/>
                <a:gd name="T5" fmla="*/ 3175 h 3"/>
                <a:gd name="T6" fmla="*/ 1587 w 3"/>
                <a:gd name="T7" fmla="*/ 1588 h 3"/>
                <a:gd name="T8" fmla="*/ 3175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2" y="3"/>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1" name="Freeform 480"/>
            <p:cNvSpPr>
              <a:spLocks noChangeAspect="1"/>
            </p:cNvSpPr>
            <p:nvPr/>
          </p:nvSpPr>
          <p:spPr bwMode="auto">
            <a:xfrm>
              <a:off x="7347767" y="2663013"/>
              <a:ext cx="4805" cy="5158"/>
            </a:xfrm>
            <a:custGeom>
              <a:avLst/>
              <a:gdLst>
                <a:gd name="T0" fmla="*/ 4762 w 2"/>
                <a:gd name="T1" fmla="*/ 2117 h 3"/>
                <a:gd name="T2" fmla="*/ 4762 w 2"/>
                <a:gd name="T3" fmla="*/ 4233 h 3"/>
                <a:gd name="T4" fmla="*/ 2381 w 2"/>
                <a:gd name="T5" fmla="*/ 4233 h 3"/>
                <a:gd name="T6" fmla="*/ 0 w 2"/>
                <a:gd name="T7" fmla="*/ 0 h 3"/>
                <a:gd name="T8" fmla="*/ 4762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2" y="3"/>
                    <a:pt x="1" y="2"/>
                    <a:pt x="1" y="2"/>
                  </a:cubicBezTo>
                  <a:cubicBezTo>
                    <a:pt x="0" y="2"/>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2" name="Freeform 481"/>
            <p:cNvSpPr>
              <a:spLocks noChangeAspect="1"/>
            </p:cNvSpPr>
            <p:nvPr/>
          </p:nvSpPr>
          <p:spPr bwMode="auto">
            <a:xfrm>
              <a:off x="7227638" y="2610135"/>
              <a:ext cx="3203" cy="5158"/>
            </a:xfrm>
            <a:custGeom>
              <a:avLst/>
              <a:gdLst>
                <a:gd name="T0" fmla="*/ 3175 w 2"/>
                <a:gd name="T1" fmla="*/ 4233 h 3"/>
                <a:gd name="T2" fmla="*/ 1588 w 2"/>
                <a:gd name="T3" fmla="*/ 6350 h 3"/>
                <a:gd name="T4" fmla="*/ 0 w 2"/>
                <a:gd name="T5" fmla="*/ 2117 h 3"/>
                <a:gd name="T6" fmla="*/ 3175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2"/>
                    <a:pt x="0" y="2"/>
                    <a:pt x="0" y="1"/>
                  </a:cubicBezTo>
                  <a:cubicBezTo>
                    <a:pt x="1" y="1"/>
                    <a:pt x="1" y="0"/>
                    <a:pt x="2"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3" name="Freeform 482"/>
            <p:cNvSpPr>
              <a:spLocks noChangeAspect="1"/>
            </p:cNvSpPr>
            <p:nvPr/>
          </p:nvSpPr>
          <p:spPr bwMode="auto">
            <a:xfrm>
              <a:off x="7259673" y="2626902"/>
              <a:ext cx="4806" cy="5158"/>
            </a:xfrm>
            <a:custGeom>
              <a:avLst/>
              <a:gdLst>
                <a:gd name="T0" fmla="*/ 2382 w 2"/>
                <a:gd name="T1" fmla="*/ 4233 h 3"/>
                <a:gd name="T2" fmla="*/ 2382 w 2"/>
                <a:gd name="T3" fmla="*/ 6350 h 3"/>
                <a:gd name="T4" fmla="*/ 0 w 2"/>
                <a:gd name="T5" fmla="*/ 4233 h 3"/>
                <a:gd name="T6" fmla="*/ 2382 w 2"/>
                <a:gd name="T7" fmla="*/ 2117 h 3"/>
                <a:gd name="T8" fmla="*/ 238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4" name="Freeform 483"/>
            <p:cNvSpPr>
              <a:spLocks noChangeAspect="1"/>
            </p:cNvSpPr>
            <p:nvPr/>
          </p:nvSpPr>
          <p:spPr bwMode="auto">
            <a:xfrm>
              <a:off x="8369659" y="3131165"/>
              <a:ext cx="4805" cy="3869"/>
            </a:xfrm>
            <a:custGeom>
              <a:avLst/>
              <a:gdLst>
                <a:gd name="T0" fmla="*/ 3175 w 3"/>
                <a:gd name="T1" fmla="*/ 1588 h 3"/>
                <a:gd name="T2" fmla="*/ 3175 w 3"/>
                <a:gd name="T3" fmla="*/ 3175 h 3"/>
                <a:gd name="T4" fmla="*/ 1587 w 3"/>
                <a:gd name="T5" fmla="*/ 3175 h 3"/>
                <a:gd name="T6" fmla="*/ 1587 w 3"/>
                <a:gd name="T7" fmla="*/ 1588 h 3"/>
                <a:gd name="T8" fmla="*/ 3175 w 3"/>
                <a:gd name="T9" fmla="*/ 1588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2" y="2"/>
                  </a:cubicBezTo>
                  <a:cubicBezTo>
                    <a:pt x="2" y="3"/>
                    <a:pt x="1" y="2"/>
                    <a:pt x="1" y="2"/>
                  </a:cubicBezTo>
                  <a:cubicBezTo>
                    <a:pt x="1" y="2"/>
                    <a:pt x="0" y="1"/>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5" name="Freeform 484"/>
            <p:cNvSpPr>
              <a:spLocks noChangeAspect="1"/>
            </p:cNvSpPr>
            <p:nvPr/>
          </p:nvSpPr>
          <p:spPr bwMode="auto">
            <a:xfrm>
              <a:off x="8363252" y="3120848"/>
              <a:ext cx="4805" cy="3869"/>
            </a:xfrm>
            <a:custGeom>
              <a:avLst/>
              <a:gdLst>
                <a:gd name="T0" fmla="*/ 4762 w 2"/>
                <a:gd name="T1" fmla="*/ 2382 h 2"/>
                <a:gd name="T2" fmla="*/ 2381 w 2"/>
                <a:gd name="T3" fmla="*/ 4763 h 2"/>
                <a:gd name="T4" fmla="*/ 0 w 2"/>
                <a:gd name="T5" fmla="*/ 2382 h 2"/>
                <a:gd name="T6" fmla="*/ 2381 w 2"/>
                <a:gd name="T7" fmla="*/ 0 h 2"/>
                <a:gd name="T8" fmla="*/ 4762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6" name="Freeform 485"/>
            <p:cNvSpPr>
              <a:spLocks noChangeAspect="1"/>
            </p:cNvSpPr>
            <p:nvPr/>
          </p:nvSpPr>
          <p:spPr bwMode="auto">
            <a:xfrm>
              <a:off x="8247930" y="3084737"/>
              <a:ext cx="4805" cy="3869"/>
            </a:xfrm>
            <a:custGeom>
              <a:avLst/>
              <a:gdLst>
                <a:gd name="T0" fmla="*/ 4762 w 2"/>
                <a:gd name="T1" fmla="*/ 3175 h 3"/>
                <a:gd name="T2" fmla="*/ 2381 w 2"/>
                <a:gd name="T3" fmla="*/ 4763 h 3"/>
                <a:gd name="T4" fmla="*/ 0 w 2"/>
                <a:gd name="T5" fmla="*/ 3175 h 3"/>
                <a:gd name="T6" fmla="*/ 2381 w 2"/>
                <a:gd name="T7" fmla="*/ 0 h 3"/>
                <a:gd name="T8" fmla="*/ 476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7" name="Freeform 486"/>
            <p:cNvSpPr>
              <a:spLocks noChangeAspect="1"/>
            </p:cNvSpPr>
            <p:nvPr/>
          </p:nvSpPr>
          <p:spPr bwMode="auto">
            <a:xfrm>
              <a:off x="8161436" y="3058943"/>
              <a:ext cx="4805" cy="5158"/>
            </a:xfrm>
            <a:custGeom>
              <a:avLst/>
              <a:gdLst>
                <a:gd name="T0" fmla="*/ 4762 w 2"/>
                <a:gd name="T1" fmla="*/ 4233 h 3"/>
                <a:gd name="T2" fmla="*/ 2381 w 2"/>
                <a:gd name="T3" fmla="*/ 6350 h 3"/>
                <a:gd name="T4" fmla="*/ 0 w 2"/>
                <a:gd name="T5" fmla="*/ 4233 h 3"/>
                <a:gd name="T6" fmla="*/ 4762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1" y="1"/>
                    <a:pt x="1" y="0"/>
                    <a:pt x="2"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8" name="Freeform 487"/>
            <p:cNvSpPr>
              <a:spLocks noChangeAspect="1"/>
            </p:cNvSpPr>
            <p:nvPr/>
          </p:nvSpPr>
          <p:spPr bwMode="auto">
            <a:xfrm>
              <a:off x="8142216" y="3061522"/>
              <a:ext cx="3203" cy="3869"/>
            </a:xfrm>
            <a:custGeom>
              <a:avLst/>
              <a:gdLst>
                <a:gd name="T0" fmla="*/ 3175 w 2"/>
                <a:gd name="T1" fmla="*/ 3175 h 3"/>
                <a:gd name="T2" fmla="*/ 1588 w 2"/>
                <a:gd name="T3" fmla="*/ 3175 h 3"/>
                <a:gd name="T4" fmla="*/ 0 w 2"/>
                <a:gd name="T5" fmla="*/ 1588 h 3"/>
                <a:gd name="T6" fmla="*/ 3175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1" y="1"/>
                    <a:pt x="1" y="0"/>
                    <a:pt x="2"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9" name="Freeform 488"/>
            <p:cNvSpPr>
              <a:spLocks noChangeAspect="1"/>
            </p:cNvSpPr>
            <p:nvPr/>
          </p:nvSpPr>
          <p:spPr bwMode="auto">
            <a:xfrm>
              <a:off x="8119792" y="3018964"/>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3"/>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0" name="Freeform 489"/>
            <p:cNvSpPr>
              <a:spLocks noChangeAspect="1"/>
            </p:cNvSpPr>
            <p:nvPr/>
          </p:nvSpPr>
          <p:spPr bwMode="auto">
            <a:xfrm>
              <a:off x="8106979" y="3025411"/>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1"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1" name="Freeform 490"/>
            <p:cNvSpPr>
              <a:spLocks noChangeAspect="1"/>
            </p:cNvSpPr>
            <p:nvPr/>
          </p:nvSpPr>
          <p:spPr bwMode="auto">
            <a:xfrm>
              <a:off x="8199878" y="3058943"/>
              <a:ext cx="6407" cy="5158"/>
            </a:xfrm>
            <a:custGeom>
              <a:avLst/>
              <a:gdLst>
                <a:gd name="T0" fmla="*/ 4233 w 3"/>
                <a:gd name="T1" fmla="*/ 2117 h 3"/>
                <a:gd name="T2" fmla="*/ 4233 w 3"/>
                <a:gd name="T3" fmla="*/ 4233 h 3"/>
                <a:gd name="T4" fmla="*/ 2117 w 3"/>
                <a:gd name="T5" fmla="*/ 4233 h 3"/>
                <a:gd name="T6" fmla="*/ 0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1"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2" name="Freeform 491"/>
            <p:cNvSpPr>
              <a:spLocks noChangeAspect="1"/>
            </p:cNvSpPr>
            <p:nvPr/>
          </p:nvSpPr>
          <p:spPr bwMode="auto">
            <a:xfrm>
              <a:off x="8150224" y="3062812"/>
              <a:ext cx="4806" cy="3868"/>
            </a:xfrm>
            <a:custGeom>
              <a:avLst/>
              <a:gdLst>
                <a:gd name="T0" fmla="*/ 3175 w 3"/>
                <a:gd name="T1" fmla="*/ 1587 h 3"/>
                <a:gd name="T2" fmla="*/ 4763 w 3"/>
                <a:gd name="T3" fmla="*/ 3175 h 3"/>
                <a:gd name="T4" fmla="*/ 1588 w 3"/>
                <a:gd name="T5" fmla="*/ 3175 h 3"/>
                <a:gd name="T6" fmla="*/ 1588 w 3"/>
                <a:gd name="T7" fmla="*/ 1587 h 3"/>
                <a:gd name="T8" fmla="*/ 3175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2"/>
                  </a:cubicBezTo>
                  <a:cubicBezTo>
                    <a:pt x="2" y="3"/>
                    <a:pt x="2" y="3"/>
                    <a:pt x="1" y="2"/>
                  </a:cubicBezTo>
                  <a:cubicBezTo>
                    <a:pt x="1" y="2"/>
                    <a:pt x="0" y="2"/>
                    <a:pt x="1" y="1"/>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3" name="Freeform 492"/>
            <p:cNvSpPr>
              <a:spLocks noChangeAspect="1"/>
            </p:cNvSpPr>
            <p:nvPr/>
          </p:nvSpPr>
          <p:spPr bwMode="auto">
            <a:xfrm>
              <a:off x="8131004" y="3040888"/>
              <a:ext cx="3203" cy="5158"/>
            </a:xfrm>
            <a:custGeom>
              <a:avLst/>
              <a:gdLst>
                <a:gd name="T0" fmla="*/ 1588 w 2"/>
                <a:gd name="T1" fmla="*/ 4233 h 3"/>
                <a:gd name="T2" fmla="*/ 1588 w 2"/>
                <a:gd name="T3" fmla="*/ 6350 h 3"/>
                <a:gd name="T4" fmla="*/ 0 w 2"/>
                <a:gd name="T5" fmla="*/ 4233 h 3"/>
                <a:gd name="T6" fmla="*/ 0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2" y="2"/>
                    <a:pt x="2" y="3"/>
                    <a:pt x="1" y="3"/>
                  </a:cubicBezTo>
                  <a:cubicBezTo>
                    <a:pt x="0" y="3"/>
                    <a:pt x="0" y="2"/>
                    <a:pt x="0" y="2"/>
                  </a:cubicBezTo>
                  <a:cubicBezTo>
                    <a:pt x="0" y="2"/>
                    <a:pt x="0" y="1"/>
                    <a:pt x="0" y="1"/>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4" name="Freeform 493"/>
            <p:cNvSpPr>
              <a:spLocks noChangeAspect="1"/>
            </p:cNvSpPr>
            <p:nvPr/>
          </p:nvSpPr>
          <p:spPr bwMode="auto">
            <a:xfrm>
              <a:off x="7975638" y="307442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5" name="Freeform 494"/>
            <p:cNvSpPr>
              <a:spLocks noChangeAspect="1"/>
            </p:cNvSpPr>
            <p:nvPr/>
          </p:nvSpPr>
          <p:spPr bwMode="auto">
            <a:xfrm>
              <a:off x="7966028" y="2893865"/>
              <a:ext cx="4805" cy="1290"/>
            </a:xfrm>
            <a:custGeom>
              <a:avLst/>
              <a:gdLst>
                <a:gd name="T0" fmla="*/ 1587 w 3"/>
                <a:gd name="T1" fmla="*/ 1588 h 1"/>
                <a:gd name="T2" fmla="*/ 0 w 3"/>
                <a:gd name="T3" fmla="*/ 1588 h 1"/>
                <a:gd name="T4" fmla="*/ 1587 w 3"/>
                <a:gd name="T5" fmla="*/ 0 h 1"/>
                <a:gd name="T6" fmla="*/ 4762 w 3"/>
                <a:gd name="T7" fmla="*/ 1588 h 1"/>
                <a:gd name="T8" fmla="*/ 1587 w 3"/>
                <a:gd name="T9" fmla="*/ 1588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1"/>
                  </a:cubicBezTo>
                  <a:cubicBezTo>
                    <a:pt x="2" y="1"/>
                    <a:pt x="2"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6" name="Freeform 495"/>
            <p:cNvSpPr>
              <a:spLocks noChangeAspect="1"/>
            </p:cNvSpPr>
            <p:nvPr/>
          </p:nvSpPr>
          <p:spPr bwMode="auto">
            <a:xfrm>
              <a:off x="8078148" y="2964797"/>
              <a:ext cx="3203" cy="2579"/>
            </a:xfrm>
            <a:custGeom>
              <a:avLst/>
              <a:gdLst>
                <a:gd name="T0" fmla="*/ 0 w 1"/>
                <a:gd name="T1" fmla="*/ 1588 h 2"/>
                <a:gd name="T2" fmla="*/ 0 w 1"/>
                <a:gd name="T3" fmla="*/ 0 h 2"/>
                <a:gd name="T4" fmla="*/ 3175 w 1"/>
                <a:gd name="T5" fmla="*/ 1588 h 2"/>
                <a:gd name="T6" fmla="*/ 3175 w 1"/>
                <a:gd name="T7" fmla="*/ 3175 h 2"/>
                <a:gd name="T8" fmla="*/ 0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1"/>
                    <a:pt x="0" y="0"/>
                    <a:pt x="0" y="0"/>
                  </a:cubicBezTo>
                  <a:cubicBezTo>
                    <a:pt x="1" y="0"/>
                    <a:pt x="1" y="1"/>
                    <a:pt x="1" y="1"/>
                  </a:cubicBezTo>
                  <a:cubicBezTo>
                    <a:pt x="1" y="1"/>
                    <a:pt x="1" y="2"/>
                    <a:pt x="1" y="2"/>
                  </a:cubicBezTo>
                  <a:cubicBezTo>
                    <a:pt x="0" y="2"/>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7" name="Freeform 496"/>
            <p:cNvSpPr>
              <a:spLocks noChangeAspect="1"/>
            </p:cNvSpPr>
            <p:nvPr/>
          </p:nvSpPr>
          <p:spPr bwMode="auto">
            <a:xfrm>
              <a:off x="7696941" y="3055075"/>
              <a:ext cx="3203" cy="2579"/>
            </a:xfrm>
            <a:custGeom>
              <a:avLst/>
              <a:gdLst>
                <a:gd name="T0" fmla="*/ 1588 w 2"/>
                <a:gd name="T1" fmla="*/ 3175 h 2"/>
                <a:gd name="T2" fmla="*/ 0 w 2"/>
                <a:gd name="T3" fmla="*/ 1588 h 2"/>
                <a:gd name="T4" fmla="*/ 1588 w 2"/>
                <a:gd name="T5" fmla="*/ 0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8" name="Freeform 497"/>
            <p:cNvSpPr>
              <a:spLocks noChangeAspect="1"/>
            </p:cNvSpPr>
            <p:nvPr/>
          </p:nvSpPr>
          <p:spPr bwMode="auto">
            <a:xfrm>
              <a:off x="7607244" y="2888706"/>
              <a:ext cx="4805" cy="5158"/>
            </a:xfrm>
            <a:custGeom>
              <a:avLst/>
              <a:gdLst>
                <a:gd name="T0" fmla="*/ 2381 w 2"/>
                <a:gd name="T1" fmla="*/ 4233 h 3"/>
                <a:gd name="T2" fmla="*/ 2381 w 2"/>
                <a:gd name="T3" fmla="*/ 6350 h 3"/>
                <a:gd name="T4" fmla="*/ 0 w 2"/>
                <a:gd name="T5" fmla="*/ 4233 h 3"/>
                <a:gd name="T6" fmla="*/ 2381 w 2"/>
                <a:gd name="T7" fmla="*/ 0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9" name="Freeform 498"/>
            <p:cNvSpPr>
              <a:spLocks noChangeAspect="1"/>
            </p:cNvSpPr>
            <p:nvPr/>
          </p:nvSpPr>
          <p:spPr bwMode="auto">
            <a:xfrm>
              <a:off x="7572007" y="2962218"/>
              <a:ext cx="4805" cy="2579"/>
            </a:xfrm>
            <a:custGeom>
              <a:avLst/>
              <a:gdLst>
                <a:gd name="T0" fmla="*/ 3175 w 3"/>
                <a:gd name="T1" fmla="*/ 0 h 2"/>
                <a:gd name="T2" fmla="*/ 3175 w 3"/>
                <a:gd name="T3" fmla="*/ 1588 h 2"/>
                <a:gd name="T4" fmla="*/ 1587 w 3"/>
                <a:gd name="T5" fmla="*/ 3175 h 2"/>
                <a:gd name="T6" fmla="*/ 0 w 3"/>
                <a:gd name="T7" fmla="*/ 0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0" name="Oval 499"/>
            <p:cNvSpPr>
              <a:spLocks noChangeAspect="1" noChangeArrowheads="1"/>
            </p:cNvSpPr>
            <p:nvPr/>
          </p:nvSpPr>
          <p:spPr bwMode="auto">
            <a:xfrm>
              <a:off x="7450277" y="3026701"/>
              <a:ext cx="3203"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1" name="Freeform 500"/>
            <p:cNvSpPr>
              <a:spLocks noChangeAspect="1"/>
            </p:cNvSpPr>
            <p:nvPr/>
          </p:nvSpPr>
          <p:spPr bwMode="auto">
            <a:xfrm>
              <a:off x="7418243" y="3048625"/>
              <a:ext cx="1601" cy="2579"/>
            </a:xfrm>
            <a:custGeom>
              <a:avLst/>
              <a:gdLst>
                <a:gd name="T0" fmla="*/ 1587 w 1"/>
                <a:gd name="T1" fmla="*/ 1588 h 2"/>
                <a:gd name="T2" fmla="*/ 0 w 1"/>
                <a:gd name="T3" fmla="*/ 3175 h 2"/>
                <a:gd name="T4" fmla="*/ 0 w 1"/>
                <a:gd name="T5" fmla="*/ 1588 h 2"/>
                <a:gd name="T6" fmla="*/ 0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0"/>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2" name="Freeform 501"/>
            <p:cNvSpPr>
              <a:spLocks noChangeAspect="1"/>
            </p:cNvSpPr>
            <p:nvPr/>
          </p:nvSpPr>
          <p:spPr bwMode="auto">
            <a:xfrm>
              <a:off x="7477506" y="3043467"/>
              <a:ext cx="3203" cy="5158"/>
            </a:xfrm>
            <a:custGeom>
              <a:avLst/>
              <a:gdLst>
                <a:gd name="T0" fmla="*/ 1588 w 2"/>
                <a:gd name="T1" fmla="*/ 4233 h 3"/>
                <a:gd name="T2" fmla="*/ 0 w 2"/>
                <a:gd name="T3" fmla="*/ 6350 h 3"/>
                <a:gd name="T4" fmla="*/ 0 w 2"/>
                <a:gd name="T5" fmla="*/ 2117 h 3"/>
                <a:gd name="T6" fmla="*/ 1588 w 2"/>
                <a:gd name="T7" fmla="*/ 2117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3"/>
                  </a:cubicBezTo>
                  <a:cubicBezTo>
                    <a:pt x="0" y="2"/>
                    <a:pt x="0" y="2"/>
                    <a:pt x="0" y="1"/>
                  </a:cubicBezTo>
                  <a:cubicBezTo>
                    <a:pt x="0" y="1"/>
                    <a:pt x="1" y="0"/>
                    <a:pt x="1" y="1"/>
                  </a:cubicBezTo>
                  <a:cubicBezTo>
                    <a:pt x="2"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3" name="Freeform 502"/>
            <p:cNvSpPr>
              <a:spLocks noChangeAspect="1"/>
            </p:cNvSpPr>
            <p:nvPr/>
          </p:nvSpPr>
          <p:spPr bwMode="auto">
            <a:xfrm>
              <a:off x="7479107" y="3048625"/>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4" name="Freeform 503"/>
            <p:cNvSpPr>
              <a:spLocks noChangeAspect="1"/>
            </p:cNvSpPr>
            <p:nvPr/>
          </p:nvSpPr>
          <p:spPr bwMode="auto">
            <a:xfrm>
              <a:off x="7434260" y="2931266"/>
              <a:ext cx="6407" cy="3868"/>
            </a:xfrm>
            <a:custGeom>
              <a:avLst/>
              <a:gdLst>
                <a:gd name="T0" fmla="*/ 4233 w 3"/>
                <a:gd name="T1" fmla="*/ 3175 h 3"/>
                <a:gd name="T2" fmla="*/ 2117 w 3"/>
                <a:gd name="T3" fmla="*/ 4762 h 3"/>
                <a:gd name="T4" fmla="*/ 2117 w 3"/>
                <a:gd name="T5" fmla="*/ 1587 h 3"/>
                <a:gd name="T6" fmla="*/ 4233 w 3"/>
                <a:gd name="T7" fmla="*/ 1587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1" y="3"/>
                  </a:cubicBezTo>
                  <a:cubicBezTo>
                    <a:pt x="0" y="2"/>
                    <a:pt x="0" y="2"/>
                    <a:pt x="1" y="1"/>
                  </a:cubicBezTo>
                  <a:cubicBezTo>
                    <a:pt x="1" y="1"/>
                    <a:pt x="1" y="0"/>
                    <a:pt x="2"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5" name="Freeform 504"/>
            <p:cNvSpPr>
              <a:spLocks noChangeAspect="1"/>
            </p:cNvSpPr>
            <p:nvPr/>
          </p:nvSpPr>
          <p:spPr bwMode="auto">
            <a:xfrm>
              <a:off x="7487115" y="287452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6" name="Freeform 505"/>
            <p:cNvSpPr>
              <a:spLocks noChangeAspect="1"/>
            </p:cNvSpPr>
            <p:nvPr/>
          </p:nvSpPr>
          <p:spPr bwMode="auto">
            <a:xfrm>
              <a:off x="7341361" y="2997038"/>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7" name="Freeform 506"/>
            <p:cNvSpPr>
              <a:spLocks noChangeAspect="1"/>
            </p:cNvSpPr>
            <p:nvPr/>
          </p:nvSpPr>
          <p:spPr bwMode="auto">
            <a:xfrm>
              <a:off x="7333352" y="2986721"/>
              <a:ext cx="3203" cy="2579"/>
            </a:xfrm>
            <a:custGeom>
              <a:avLst/>
              <a:gdLst>
                <a:gd name="T0" fmla="*/ 1588 w 2"/>
                <a:gd name="T1" fmla="*/ 1588 h 2"/>
                <a:gd name="T2" fmla="*/ 1588 w 2"/>
                <a:gd name="T3" fmla="*/ 3175 h 2"/>
                <a:gd name="T4" fmla="*/ 0 w 2"/>
                <a:gd name="T5" fmla="*/ 1588 h 2"/>
                <a:gd name="T6" fmla="*/ 0 w 2"/>
                <a:gd name="T7" fmla="*/ 0 h 2"/>
                <a:gd name="T8" fmla="*/ 1588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2"/>
                    <a:pt x="1" y="2"/>
                  </a:cubicBezTo>
                  <a:cubicBezTo>
                    <a:pt x="0" y="2"/>
                    <a:pt x="0" y="2"/>
                    <a:pt x="0" y="1"/>
                  </a:cubicBezTo>
                  <a:cubicBezTo>
                    <a:pt x="0" y="1"/>
                    <a:pt x="0" y="0"/>
                    <a:pt x="0" y="0"/>
                  </a:cubicBezTo>
                  <a:cubicBezTo>
                    <a:pt x="1" y="0"/>
                    <a:pt x="1"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8" name="Freeform 507"/>
            <p:cNvSpPr>
              <a:spLocks noChangeAspect="1"/>
            </p:cNvSpPr>
            <p:nvPr/>
          </p:nvSpPr>
          <p:spPr bwMode="auto">
            <a:xfrm>
              <a:off x="7423048" y="2855174"/>
              <a:ext cx="4806" cy="3869"/>
            </a:xfrm>
            <a:custGeom>
              <a:avLst/>
              <a:gdLst>
                <a:gd name="T0" fmla="*/ 4763 w 2"/>
                <a:gd name="T1" fmla="*/ 3175 h 3"/>
                <a:gd name="T2" fmla="*/ 2382 w 2"/>
                <a:gd name="T3" fmla="*/ 4763 h 3"/>
                <a:gd name="T4" fmla="*/ 0 w 2"/>
                <a:gd name="T5" fmla="*/ 3175 h 3"/>
                <a:gd name="T6" fmla="*/ 2382 w 2"/>
                <a:gd name="T7" fmla="*/ 1588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9" name="Freeform 508"/>
            <p:cNvSpPr>
              <a:spLocks noChangeAspect="1"/>
            </p:cNvSpPr>
            <p:nvPr/>
          </p:nvSpPr>
          <p:spPr bwMode="auto">
            <a:xfrm>
              <a:off x="7421446" y="2848726"/>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0"/>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0" name="Freeform 509"/>
            <p:cNvSpPr>
              <a:spLocks noChangeAspect="1"/>
            </p:cNvSpPr>
            <p:nvPr/>
          </p:nvSpPr>
          <p:spPr bwMode="auto">
            <a:xfrm>
              <a:off x="7427852" y="2865491"/>
              <a:ext cx="3203" cy="5158"/>
            </a:xfrm>
            <a:custGeom>
              <a:avLst/>
              <a:gdLst>
                <a:gd name="T0" fmla="*/ 1588 w 2"/>
                <a:gd name="T1" fmla="*/ 4233 h 3"/>
                <a:gd name="T2" fmla="*/ 1588 w 2"/>
                <a:gd name="T3" fmla="*/ 6350 h 3"/>
                <a:gd name="T4" fmla="*/ 0 w 2"/>
                <a:gd name="T5" fmla="*/ 4233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1" name="Freeform 510"/>
            <p:cNvSpPr>
              <a:spLocks noChangeAspect="1"/>
            </p:cNvSpPr>
            <p:nvPr/>
          </p:nvSpPr>
          <p:spPr bwMode="auto">
            <a:xfrm>
              <a:off x="7322140" y="2905472"/>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2" name="Freeform 511"/>
            <p:cNvSpPr>
              <a:spLocks noChangeAspect="1"/>
            </p:cNvSpPr>
            <p:nvPr/>
          </p:nvSpPr>
          <p:spPr bwMode="auto">
            <a:xfrm>
              <a:off x="7336555" y="2908052"/>
              <a:ext cx="4806" cy="2579"/>
            </a:xfrm>
            <a:custGeom>
              <a:avLst/>
              <a:gdLst>
                <a:gd name="T0" fmla="*/ 4763 w 2"/>
                <a:gd name="T1" fmla="*/ 1588 h 2"/>
                <a:gd name="T2" fmla="*/ 2382 w 2"/>
                <a:gd name="T3" fmla="*/ 3175 h 2"/>
                <a:gd name="T4" fmla="*/ 2382 w 2"/>
                <a:gd name="T5" fmla="*/ 1588 h 2"/>
                <a:gd name="T6" fmla="*/ 2382 w 2"/>
                <a:gd name="T7" fmla="*/ 0 h 2"/>
                <a:gd name="T8" fmla="*/ 4763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1" y="2"/>
                    <a:pt x="0" y="1"/>
                    <a:pt x="1" y="1"/>
                  </a:cubicBezTo>
                  <a:cubicBezTo>
                    <a:pt x="1" y="1"/>
                    <a:pt x="1"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3" name="Freeform 512"/>
            <p:cNvSpPr>
              <a:spLocks noChangeAspect="1"/>
            </p:cNvSpPr>
            <p:nvPr/>
          </p:nvSpPr>
          <p:spPr bwMode="auto">
            <a:xfrm>
              <a:off x="7423048" y="2873230"/>
              <a:ext cx="1602" cy="3869"/>
            </a:xfrm>
            <a:custGeom>
              <a:avLst/>
              <a:gdLst>
                <a:gd name="T0" fmla="*/ 1588 w 1"/>
                <a:gd name="T1" fmla="*/ 2382 h 2"/>
                <a:gd name="T2" fmla="*/ 0 w 1"/>
                <a:gd name="T3" fmla="*/ 4763 h 2"/>
                <a:gd name="T4" fmla="*/ 0 w 1"/>
                <a:gd name="T5" fmla="*/ 2382 h 2"/>
                <a:gd name="T6" fmla="*/ 1588 w 1"/>
                <a:gd name="T7" fmla="*/ 0 h 2"/>
                <a:gd name="T8" fmla="*/ 1588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4" name="Freeform 513"/>
            <p:cNvSpPr>
              <a:spLocks noChangeAspect="1"/>
            </p:cNvSpPr>
            <p:nvPr/>
          </p:nvSpPr>
          <p:spPr bwMode="auto">
            <a:xfrm>
              <a:off x="7421446" y="2880968"/>
              <a:ext cx="3203" cy="5158"/>
            </a:xfrm>
            <a:custGeom>
              <a:avLst/>
              <a:gdLst>
                <a:gd name="T0" fmla="*/ 1588 w 2"/>
                <a:gd name="T1" fmla="*/ 4233 h 3"/>
                <a:gd name="T2" fmla="*/ 0 w 2"/>
                <a:gd name="T3" fmla="*/ 6350 h 3"/>
                <a:gd name="T4" fmla="*/ 0 w 2"/>
                <a:gd name="T5" fmla="*/ 2117 h 3"/>
                <a:gd name="T6" fmla="*/ 1588 w 2"/>
                <a:gd name="T7" fmla="*/ 0 h 3"/>
                <a:gd name="T8" fmla="*/ 1588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5" name="Oval 514"/>
            <p:cNvSpPr>
              <a:spLocks noChangeAspect="1" noChangeArrowheads="1"/>
            </p:cNvSpPr>
            <p:nvPr/>
          </p:nvSpPr>
          <p:spPr bwMode="auto">
            <a:xfrm>
              <a:off x="7318936" y="2944162"/>
              <a:ext cx="4805"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6" name="Freeform 515"/>
            <p:cNvSpPr>
              <a:spLocks noChangeAspect="1"/>
            </p:cNvSpPr>
            <p:nvPr/>
          </p:nvSpPr>
          <p:spPr bwMode="auto">
            <a:xfrm>
              <a:off x="7341361" y="3055075"/>
              <a:ext cx="3203" cy="3868"/>
            </a:xfrm>
            <a:custGeom>
              <a:avLst/>
              <a:gdLst>
                <a:gd name="T0" fmla="*/ 3175 w 2"/>
                <a:gd name="T1" fmla="*/ 3175 h 3"/>
                <a:gd name="T2" fmla="*/ 1588 w 2"/>
                <a:gd name="T3" fmla="*/ 4762 h 3"/>
                <a:gd name="T4" fmla="*/ 0 w 2"/>
                <a:gd name="T5" fmla="*/ 3175 h 3"/>
                <a:gd name="T6" fmla="*/ 1588 w 2"/>
                <a:gd name="T7" fmla="*/ 1587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7" name="Freeform 516"/>
            <p:cNvSpPr>
              <a:spLocks noChangeAspect="1"/>
            </p:cNvSpPr>
            <p:nvPr/>
          </p:nvSpPr>
          <p:spPr bwMode="auto">
            <a:xfrm>
              <a:off x="7283699" y="3102792"/>
              <a:ext cx="3203" cy="5158"/>
            </a:xfrm>
            <a:custGeom>
              <a:avLst/>
              <a:gdLst>
                <a:gd name="T0" fmla="*/ 3175 w 2"/>
                <a:gd name="T1" fmla="*/ 4233 h 3"/>
                <a:gd name="T2" fmla="*/ 0 w 2"/>
                <a:gd name="T3" fmla="*/ 6350 h 3"/>
                <a:gd name="T4" fmla="*/ 0 w 2"/>
                <a:gd name="T5" fmla="*/ 2117 h 3"/>
                <a:gd name="T6" fmla="*/ 3175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3"/>
                    <a:pt x="1" y="3"/>
                    <a:pt x="0" y="3"/>
                  </a:cubicBezTo>
                  <a:cubicBezTo>
                    <a:pt x="0" y="2"/>
                    <a:pt x="0" y="2"/>
                    <a:pt x="0" y="1"/>
                  </a:cubicBezTo>
                  <a:cubicBezTo>
                    <a:pt x="1" y="1"/>
                    <a:pt x="1" y="0"/>
                    <a:pt x="2"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8" name="Freeform 517"/>
            <p:cNvSpPr>
              <a:spLocks noChangeAspect="1"/>
            </p:cNvSpPr>
            <p:nvPr/>
          </p:nvSpPr>
          <p:spPr bwMode="auto">
            <a:xfrm>
              <a:off x="7323741" y="3051205"/>
              <a:ext cx="12814" cy="10318"/>
            </a:xfrm>
            <a:custGeom>
              <a:avLst/>
              <a:gdLst>
                <a:gd name="T0" fmla="*/ 10886 w 7"/>
                <a:gd name="T1" fmla="*/ 2117 h 6"/>
                <a:gd name="T2" fmla="*/ 7257 w 7"/>
                <a:gd name="T3" fmla="*/ 10583 h 6"/>
                <a:gd name="T4" fmla="*/ 1814 w 7"/>
                <a:gd name="T5" fmla="*/ 10583 h 6"/>
                <a:gd name="T6" fmla="*/ 5443 w 7"/>
                <a:gd name="T7" fmla="*/ 2117 h 6"/>
                <a:gd name="T8" fmla="*/ 10886 w 7"/>
                <a:gd name="T9" fmla="*/ 2117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9" name="Freeform 518"/>
            <p:cNvSpPr>
              <a:spLocks noChangeAspect="1"/>
            </p:cNvSpPr>
            <p:nvPr/>
          </p:nvSpPr>
          <p:spPr bwMode="auto">
            <a:xfrm>
              <a:off x="7350971" y="3049915"/>
              <a:ext cx="20822" cy="7738"/>
            </a:xfrm>
            <a:custGeom>
              <a:avLst/>
              <a:gdLst>
                <a:gd name="T0" fmla="*/ 1876 w 11"/>
                <a:gd name="T1" fmla="*/ 1905 h 5"/>
                <a:gd name="T2" fmla="*/ 18761 w 11"/>
                <a:gd name="T3" fmla="*/ 1905 h 5"/>
                <a:gd name="T4" fmla="*/ 18761 w 11"/>
                <a:gd name="T5" fmla="*/ 7620 h 5"/>
                <a:gd name="T6" fmla="*/ 3752 w 11"/>
                <a:gd name="T7" fmla="*/ 5715 h 5"/>
                <a:gd name="T8" fmla="*/ 1876 w 11"/>
                <a:gd name="T9" fmla="*/ 1905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0" name="Freeform 519"/>
            <p:cNvSpPr>
              <a:spLocks noChangeAspect="1"/>
            </p:cNvSpPr>
            <p:nvPr/>
          </p:nvSpPr>
          <p:spPr bwMode="auto">
            <a:xfrm>
              <a:off x="7381403" y="3038308"/>
              <a:ext cx="28831" cy="10318"/>
            </a:xfrm>
            <a:custGeom>
              <a:avLst/>
              <a:gdLst>
                <a:gd name="T0" fmla="*/ 5715 w 15"/>
                <a:gd name="T1" fmla="*/ 1814 h 7"/>
                <a:gd name="T2" fmla="*/ 1905 w 15"/>
                <a:gd name="T3" fmla="*/ 10886 h 7"/>
                <a:gd name="T4" fmla="*/ 9525 w 15"/>
                <a:gd name="T5" fmla="*/ 9071 h 7"/>
                <a:gd name="T6" fmla="*/ 20955 w 15"/>
                <a:gd name="T7" fmla="*/ 10886 h 7"/>
                <a:gd name="T8" fmla="*/ 28575 w 15"/>
                <a:gd name="T9" fmla="*/ 3629 h 7"/>
                <a:gd name="T10" fmla="*/ 20955 w 15"/>
                <a:gd name="T11" fmla="*/ 1814 h 7"/>
                <a:gd name="T12" fmla="*/ 11430 w 15"/>
                <a:gd name="T13" fmla="*/ 3629 h 7"/>
                <a:gd name="T14" fmla="*/ 5715 w 15"/>
                <a:gd name="T15" fmla="*/ 1814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1" name="Freeform 520"/>
            <p:cNvSpPr>
              <a:spLocks noChangeAspect="1"/>
            </p:cNvSpPr>
            <p:nvPr/>
          </p:nvSpPr>
          <p:spPr bwMode="auto">
            <a:xfrm>
              <a:off x="7299716" y="2969955"/>
              <a:ext cx="14415" cy="19345"/>
            </a:xfrm>
            <a:custGeom>
              <a:avLst/>
              <a:gdLst>
                <a:gd name="T0" fmla="*/ 10205 w 7"/>
                <a:gd name="T1" fmla="*/ 1832 h 13"/>
                <a:gd name="T2" fmla="*/ 12246 w 7"/>
                <a:gd name="T3" fmla="*/ 9158 h 13"/>
                <a:gd name="T4" fmla="*/ 8164 w 7"/>
                <a:gd name="T5" fmla="*/ 21980 h 13"/>
                <a:gd name="T6" fmla="*/ 2041 w 7"/>
                <a:gd name="T7" fmla="*/ 20149 h 13"/>
                <a:gd name="T8" fmla="*/ 2041 w 7"/>
                <a:gd name="T9" fmla="*/ 7327 h 13"/>
                <a:gd name="T10" fmla="*/ 10205 w 7"/>
                <a:gd name="T11" fmla="*/ 1832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2" name="Freeform 521"/>
            <p:cNvSpPr>
              <a:spLocks noChangeAspect="1"/>
            </p:cNvSpPr>
            <p:nvPr/>
          </p:nvSpPr>
          <p:spPr bwMode="auto">
            <a:xfrm>
              <a:off x="7288503" y="2982853"/>
              <a:ext cx="9610" cy="6448"/>
            </a:xfrm>
            <a:custGeom>
              <a:avLst/>
              <a:gdLst>
                <a:gd name="T0" fmla="*/ 5715 w 5"/>
                <a:gd name="T1" fmla="*/ 0 h 4"/>
                <a:gd name="T2" fmla="*/ 7620 w 5"/>
                <a:gd name="T3" fmla="*/ 5953 h 4"/>
                <a:gd name="T4" fmla="*/ 1905 w 5"/>
                <a:gd name="T5" fmla="*/ 7937 h 4"/>
                <a:gd name="T6" fmla="*/ 5715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3" name="Freeform 522"/>
            <p:cNvSpPr>
              <a:spLocks noChangeAspect="1"/>
            </p:cNvSpPr>
            <p:nvPr/>
          </p:nvSpPr>
          <p:spPr bwMode="auto">
            <a:xfrm>
              <a:off x="7309326" y="2964797"/>
              <a:ext cx="17618" cy="30953"/>
            </a:xfrm>
            <a:custGeom>
              <a:avLst/>
              <a:gdLst>
                <a:gd name="T0" fmla="*/ 15522 w 9"/>
                <a:gd name="T1" fmla="*/ 1905 h 20"/>
                <a:gd name="T2" fmla="*/ 15522 w 9"/>
                <a:gd name="T3" fmla="*/ 7620 h 20"/>
                <a:gd name="T4" fmla="*/ 9701 w 9"/>
                <a:gd name="T5" fmla="*/ 7620 h 20"/>
                <a:gd name="T6" fmla="*/ 7761 w 9"/>
                <a:gd name="T7" fmla="*/ 22860 h 20"/>
                <a:gd name="T8" fmla="*/ 13582 w 9"/>
                <a:gd name="T9" fmla="*/ 24765 h 20"/>
                <a:gd name="T10" fmla="*/ 11641 w 9"/>
                <a:gd name="T11" fmla="*/ 30480 h 20"/>
                <a:gd name="T12" fmla="*/ 5821 w 9"/>
                <a:gd name="T13" fmla="*/ 30480 h 20"/>
                <a:gd name="T14" fmla="*/ 1940 w 9"/>
                <a:gd name="T15" fmla="*/ 36195 h 20"/>
                <a:gd name="T16" fmla="*/ 1940 w 9"/>
                <a:gd name="T17" fmla="*/ 26670 h 20"/>
                <a:gd name="T18" fmla="*/ 5821 w 9"/>
                <a:gd name="T19" fmla="*/ 9525 h 20"/>
                <a:gd name="T20" fmla="*/ 7761 w 9"/>
                <a:gd name="T21" fmla="*/ 1905 h 20"/>
                <a:gd name="T22" fmla="*/ 15522 w 9"/>
                <a:gd name="T23" fmla="*/ 190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4" name="Freeform 523"/>
            <p:cNvSpPr>
              <a:spLocks noChangeAspect="1"/>
            </p:cNvSpPr>
            <p:nvPr/>
          </p:nvSpPr>
          <p:spPr bwMode="auto">
            <a:xfrm>
              <a:off x="7362181" y="3055075"/>
              <a:ext cx="56061" cy="25793"/>
            </a:xfrm>
            <a:custGeom>
              <a:avLst/>
              <a:gdLst>
                <a:gd name="T0" fmla="*/ 5748 w 29"/>
                <a:gd name="T1" fmla="*/ 31750 h 17"/>
                <a:gd name="T2" fmla="*/ 15328 w 29"/>
                <a:gd name="T3" fmla="*/ 28015 h 17"/>
                <a:gd name="T4" fmla="*/ 24908 w 29"/>
                <a:gd name="T5" fmla="*/ 22412 h 17"/>
                <a:gd name="T6" fmla="*/ 38319 w 29"/>
                <a:gd name="T7" fmla="*/ 16809 h 17"/>
                <a:gd name="T8" fmla="*/ 44067 w 29"/>
                <a:gd name="T9" fmla="*/ 13074 h 17"/>
                <a:gd name="T10" fmla="*/ 53647 w 29"/>
                <a:gd name="T11" fmla="*/ 5603 h 17"/>
                <a:gd name="T12" fmla="*/ 55563 w 29"/>
                <a:gd name="T13" fmla="*/ 1868 h 17"/>
                <a:gd name="T14" fmla="*/ 45983 w 29"/>
                <a:gd name="T15" fmla="*/ 1868 h 17"/>
                <a:gd name="T16" fmla="*/ 26824 w 29"/>
                <a:gd name="T17" fmla="*/ 3735 h 17"/>
                <a:gd name="T18" fmla="*/ 7664 w 29"/>
                <a:gd name="T19" fmla="*/ 7471 h 17"/>
                <a:gd name="T20" fmla="*/ 0 w 29"/>
                <a:gd name="T21" fmla="*/ 16809 h 17"/>
                <a:gd name="T22" fmla="*/ 5748 w 29"/>
                <a:gd name="T23" fmla="*/ 22412 h 17"/>
                <a:gd name="T24" fmla="*/ 5748 w 29"/>
                <a:gd name="T25" fmla="*/ 3175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5" name="Freeform 524"/>
            <p:cNvSpPr>
              <a:spLocks noChangeAspect="1"/>
            </p:cNvSpPr>
            <p:nvPr/>
          </p:nvSpPr>
          <p:spPr bwMode="auto">
            <a:xfrm>
              <a:off x="7352572" y="2902893"/>
              <a:ext cx="27230" cy="10318"/>
            </a:xfrm>
            <a:custGeom>
              <a:avLst/>
              <a:gdLst>
                <a:gd name="T0" fmla="*/ 5783 w 14"/>
                <a:gd name="T1" fmla="*/ 1814 h 7"/>
                <a:gd name="T2" fmla="*/ 21205 w 14"/>
                <a:gd name="T3" fmla="*/ 1814 h 7"/>
                <a:gd name="T4" fmla="*/ 26988 w 14"/>
                <a:gd name="T5" fmla="*/ 5443 h 7"/>
                <a:gd name="T6" fmla="*/ 21205 w 14"/>
                <a:gd name="T7" fmla="*/ 9071 h 7"/>
                <a:gd name="T8" fmla="*/ 9639 w 14"/>
                <a:gd name="T9" fmla="*/ 9071 h 7"/>
                <a:gd name="T10" fmla="*/ 1928 w 14"/>
                <a:gd name="T11" fmla="*/ 10886 h 7"/>
                <a:gd name="T12" fmla="*/ 5783 w 14"/>
                <a:gd name="T13" fmla="*/ 1814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6" name="Freeform 525"/>
            <p:cNvSpPr>
              <a:spLocks noChangeAspect="1"/>
            </p:cNvSpPr>
            <p:nvPr/>
          </p:nvSpPr>
          <p:spPr bwMode="auto">
            <a:xfrm>
              <a:off x="7315733" y="2892576"/>
              <a:ext cx="25627" cy="11607"/>
            </a:xfrm>
            <a:custGeom>
              <a:avLst/>
              <a:gdLst>
                <a:gd name="T0" fmla="*/ 13677 w 13"/>
                <a:gd name="T1" fmla="*/ 5358 h 8"/>
                <a:gd name="T2" fmla="*/ 19538 w 13"/>
                <a:gd name="T3" fmla="*/ 1786 h 8"/>
                <a:gd name="T4" fmla="*/ 23446 w 13"/>
                <a:gd name="T5" fmla="*/ 10715 h 8"/>
                <a:gd name="T6" fmla="*/ 15631 w 13"/>
                <a:gd name="T7" fmla="*/ 8929 h 8"/>
                <a:gd name="T8" fmla="*/ 9769 w 13"/>
                <a:gd name="T9" fmla="*/ 10715 h 8"/>
                <a:gd name="T10" fmla="*/ 7815 w 13"/>
                <a:gd name="T11" fmla="*/ 8929 h 8"/>
                <a:gd name="T12" fmla="*/ 1954 w 13"/>
                <a:gd name="T13" fmla="*/ 10715 h 8"/>
                <a:gd name="T14" fmla="*/ 1954 w 13"/>
                <a:gd name="T15" fmla="*/ 3572 h 8"/>
                <a:gd name="T16" fmla="*/ 13677 w 13"/>
                <a:gd name="T17" fmla="*/ 535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7" name="Freeform 526"/>
            <p:cNvSpPr>
              <a:spLocks noChangeAspect="1"/>
            </p:cNvSpPr>
            <p:nvPr/>
          </p:nvSpPr>
          <p:spPr bwMode="auto">
            <a:xfrm>
              <a:off x="7381403" y="2905472"/>
              <a:ext cx="24026" cy="3868"/>
            </a:xfrm>
            <a:custGeom>
              <a:avLst/>
              <a:gdLst>
                <a:gd name="T0" fmla="*/ 0 w 13"/>
                <a:gd name="T1" fmla="*/ 0 h 2"/>
                <a:gd name="T2" fmla="*/ 0 w 13"/>
                <a:gd name="T3" fmla="*/ 4762 h 2"/>
                <a:gd name="T4" fmla="*/ 23813 w 13"/>
                <a:gd name="T5" fmla="*/ 2381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8" name="Freeform 527"/>
            <p:cNvSpPr>
              <a:spLocks noChangeAspect="1"/>
            </p:cNvSpPr>
            <p:nvPr/>
          </p:nvSpPr>
          <p:spPr bwMode="auto">
            <a:xfrm>
              <a:off x="7392616" y="2935134"/>
              <a:ext cx="32034" cy="19346"/>
            </a:xfrm>
            <a:custGeom>
              <a:avLst/>
              <a:gdLst>
                <a:gd name="T0" fmla="*/ 3735 w 17"/>
                <a:gd name="T1" fmla="*/ 3969 h 12"/>
                <a:gd name="T2" fmla="*/ 20544 w 17"/>
                <a:gd name="T3" fmla="*/ 1984 h 12"/>
                <a:gd name="T4" fmla="*/ 28015 w 17"/>
                <a:gd name="T5" fmla="*/ 5953 h 12"/>
                <a:gd name="T6" fmla="*/ 24279 w 17"/>
                <a:gd name="T7" fmla="*/ 9922 h 12"/>
                <a:gd name="T8" fmla="*/ 29882 w 17"/>
                <a:gd name="T9" fmla="*/ 17860 h 12"/>
                <a:gd name="T10" fmla="*/ 18676 w 17"/>
                <a:gd name="T11" fmla="*/ 23813 h 12"/>
                <a:gd name="T12" fmla="*/ 1868 w 17"/>
                <a:gd name="T13" fmla="*/ 13891 h 12"/>
                <a:gd name="T14" fmla="*/ 3735 w 17"/>
                <a:gd name="T15" fmla="*/ 3969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9" name="Freeform 528"/>
            <p:cNvSpPr>
              <a:spLocks noChangeAspect="1"/>
            </p:cNvSpPr>
            <p:nvPr/>
          </p:nvSpPr>
          <p:spPr bwMode="auto">
            <a:xfrm>
              <a:off x="7424649" y="2896444"/>
              <a:ext cx="22424" cy="9029"/>
            </a:xfrm>
            <a:custGeom>
              <a:avLst/>
              <a:gdLst>
                <a:gd name="T0" fmla="*/ 10102 w 11"/>
                <a:gd name="T1" fmla="*/ 0 h 6"/>
                <a:gd name="T2" fmla="*/ 22225 w 11"/>
                <a:gd name="T3" fmla="*/ 7409 h 6"/>
                <a:gd name="T4" fmla="*/ 18184 w 11"/>
                <a:gd name="T5" fmla="*/ 11113 h 6"/>
                <a:gd name="T6" fmla="*/ 8082 w 11"/>
                <a:gd name="T7" fmla="*/ 11113 h 6"/>
                <a:gd name="T8" fmla="*/ 0 w 11"/>
                <a:gd name="T9" fmla="*/ 7409 h 6"/>
                <a:gd name="T10" fmla="*/ 10102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0" name="Freeform 529"/>
            <p:cNvSpPr>
              <a:spLocks noChangeAspect="1"/>
            </p:cNvSpPr>
            <p:nvPr/>
          </p:nvSpPr>
          <p:spPr bwMode="auto">
            <a:xfrm>
              <a:off x="7427852" y="2817774"/>
              <a:ext cx="35238" cy="68353"/>
            </a:xfrm>
            <a:custGeom>
              <a:avLst/>
              <a:gdLst>
                <a:gd name="T0" fmla="*/ 14705 w 19"/>
                <a:gd name="T1" fmla="*/ 1912 h 44"/>
                <a:gd name="T2" fmla="*/ 9191 w 19"/>
                <a:gd name="T3" fmla="*/ 9561 h 44"/>
                <a:gd name="T4" fmla="*/ 12867 w 19"/>
                <a:gd name="T5" fmla="*/ 21034 h 44"/>
                <a:gd name="T6" fmla="*/ 5514 w 19"/>
                <a:gd name="T7" fmla="*/ 34420 h 44"/>
                <a:gd name="T8" fmla="*/ 12867 w 19"/>
                <a:gd name="T9" fmla="*/ 38244 h 44"/>
                <a:gd name="T10" fmla="*/ 18382 w 19"/>
                <a:gd name="T11" fmla="*/ 26771 h 44"/>
                <a:gd name="T12" fmla="*/ 29411 w 19"/>
                <a:gd name="T13" fmla="*/ 19122 h 44"/>
                <a:gd name="T14" fmla="*/ 31249 w 19"/>
                <a:gd name="T15" fmla="*/ 32507 h 44"/>
                <a:gd name="T16" fmla="*/ 20220 w 19"/>
                <a:gd name="T17" fmla="*/ 36332 h 44"/>
                <a:gd name="T18" fmla="*/ 20220 w 19"/>
                <a:gd name="T19" fmla="*/ 40156 h 44"/>
                <a:gd name="T20" fmla="*/ 33087 w 19"/>
                <a:gd name="T21" fmla="*/ 49717 h 44"/>
                <a:gd name="T22" fmla="*/ 29411 w 19"/>
                <a:gd name="T23" fmla="*/ 49717 h 44"/>
                <a:gd name="T24" fmla="*/ 12867 w 19"/>
                <a:gd name="T25" fmla="*/ 47805 h 44"/>
                <a:gd name="T26" fmla="*/ 12867 w 19"/>
                <a:gd name="T27" fmla="*/ 55454 h 44"/>
                <a:gd name="T28" fmla="*/ 11029 w 19"/>
                <a:gd name="T29" fmla="*/ 66927 h 44"/>
                <a:gd name="T30" fmla="*/ 23896 w 19"/>
                <a:gd name="T31" fmla="*/ 84137 h 44"/>
                <a:gd name="T32" fmla="*/ 12867 w 19"/>
                <a:gd name="T33" fmla="*/ 80313 h 44"/>
                <a:gd name="T34" fmla="*/ 7353 w 19"/>
                <a:gd name="T35" fmla="*/ 63103 h 44"/>
                <a:gd name="T36" fmla="*/ 5514 w 19"/>
                <a:gd name="T37" fmla="*/ 51630 h 44"/>
                <a:gd name="T38" fmla="*/ 1838 w 19"/>
                <a:gd name="T39" fmla="*/ 36332 h 44"/>
                <a:gd name="T40" fmla="*/ 1838 w 19"/>
                <a:gd name="T41" fmla="*/ 13385 h 44"/>
                <a:gd name="T42" fmla="*/ 11029 w 19"/>
                <a:gd name="T43" fmla="*/ 0 h 44"/>
                <a:gd name="T44" fmla="*/ 14705 w 19"/>
                <a:gd name="T45" fmla="*/ 1912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1" name="Freeform 530"/>
            <p:cNvSpPr>
              <a:spLocks noChangeAspect="1"/>
            </p:cNvSpPr>
            <p:nvPr/>
          </p:nvSpPr>
          <p:spPr bwMode="auto">
            <a:xfrm>
              <a:off x="7447074" y="2808746"/>
              <a:ext cx="12814" cy="14187"/>
            </a:xfrm>
            <a:custGeom>
              <a:avLst/>
              <a:gdLst>
                <a:gd name="T0" fmla="*/ 9071 w 7"/>
                <a:gd name="T1" fmla="*/ 1940 h 9"/>
                <a:gd name="T2" fmla="*/ 10886 w 7"/>
                <a:gd name="T3" fmla="*/ 13582 h 9"/>
                <a:gd name="T4" fmla="*/ 3629 w 7"/>
                <a:gd name="T5" fmla="*/ 15523 h 9"/>
                <a:gd name="T6" fmla="*/ 3629 w 7"/>
                <a:gd name="T7" fmla="*/ 5821 h 9"/>
                <a:gd name="T8" fmla="*/ 9071 w 7"/>
                <a:gd name="T9" fmla="*/ 1940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2" name="Freeform 531"/>
            <p:cNvSpPr>
              <a:spLocks noChangeAspect="1"/>
            </p:cNvSpPr>
            <p:nvPr/>
          </p:nvSpPr>
          <p:spPr bwMode="auto">
            <a:xfrm>
              <a:off x="7427852" y="2874520"/>
              <a:ext cx="6407" cy="10318"/>
            </a:xfrm>
            <a:custGeom>
              <a:avLst/>
              <a:gdLst>
                <a:gd name="T0" fmla="*/ 6350 w 4"/>
                <a:gd name="T1" fmla="*/ 4233 h 6"/>
                <a:gd name="T2" fmla="*/ 6350 w 4"/>
                <a:gd name="T3" fmla="*/ 10583 h 6"/>
                <a:gd name="T4" fmla="*/ 1588 w 4"/>
                <a:gd name="T5" fmla="*/ 10583 h 6"/>
                <a:gd name="T6" fmla="*/ 1588 w 4"/>
                <a:gd name="T7" fmla="*/ 2117 h 6"/>
                <a:gd name="T8" fmla="*/ 6350 w 4"/>
                <a:gd name="T9" fmla="*/ 4233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2"/>
                  </a:moveTo>
                  <a:cubicBezTo>
                    <a:pt x="4" y="2"/>
                    <a:pt x="4" y="4"/>
                    <a:pt x="4" y="5"/>
                  </a:cubicBezTo>
                  <a:cubicBezTo>
                    <a:pt x="3" y="6"/>
                    <a:pt x="1" y="6"/>
                    <a:pt x="1" y="5"/>
                  </a:cubicBezTo>
                  <a:cubicBezTo>
                    <a:pt x="0" y="4"/>
                    <a:pt x="0" y="2"/>
                    <a:pt x="1" y="1"/>
                  </a:cubicBezTo>
                  <a:cubicBezTo>
                    <a:pt x="1"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3" name="Freeform 532"/>
            <p:cNvSpPr>
              <a:spLocks noChangeAspect="1"/>
            </p:cNvSpPr>
            <p:nvPr/>
          </p:nvSpPr>
          <p:spPr bwMode="auto">
            <a:xfrm>
              <a:off x="7443869" y="2927397"/>
              <a:ext cx="67272" cy="24504"/>
            </a:xfrm>
            <a:custGeom>
              <a:avLst/>
              <a:gdLst>
                <a:gd name="T0" fmla="*/ 1905 w 35"/>
                <a:gd name="T1" fmla="*/ 1885 h 16"/>
                <a:gd name="T2" fmla="*/ 20955 w 35"/>
                <a:gd name="T3" fmla="*/ 3770 h 16"/>
                <a:gd name="T4" fmla="*/ 28575 w 35"/>
                <a:gd name="T5" fmla="*/ 5656 h 16"/>
                <a:gd name="T6" fmla="*/ 34290 w 35"/>
                <a:gd name="T7" fmla="*/ 1885 h 16"/>
                <a:gd name="T8" fmla="*/ 49530 w 35"/>
                <a:gd name="T9" fmla="*/ 9426 h 16"/>
                <a:gd name="T10" fmla="*/ 59055 w 35"/>
                <a:gd name="T11" fmla="*/ 9426 h 16"/>
                <a:gd name="T12" fmla="*/ 64770 w 35"/>
                <a:gd name="T13" fmla="*/ 22622 h 16"/>
                <a:gd name="T14" fmla="*/ 62865 w 35"/>
                <a:gd name="T15" fmla="*/ 28278 h 16"/>
                <a:gd name="T16" fmla="*/ 53340 w 35"/>
                <a:gd name="T17" fmla="*/ 24507 h 16"/>
                <a:gd name="T18" fmla="*/ 38100 w 35"/>
                <a:gd name="T19" fmla="*/ 16967 h 16"/>
                <a:gd name="T20" fmla="*/ 30480 w 35"/>
                <a:gd name="T21" fmla="*/ 18852 h 16"/>
                <a:gd name="T22" fmla="*/ 17145 w 35"/>
                <a:gd name="T23" fmla="*/ 16967 h 16"/>
                <a:gd name="T24" fmla="*/ 11430 w 35"/>
                <a:gd name="T25" fmla="*/ 18852 h 16"/>
                <a:gd name="T26" fmla="*/ 0 w 35"/>
                <a:gd name="T27" fmla="*/ 9426 h 16"/>
                <a:gd name="T28" fmla="*/ 1905 w 35"/>
                <a:gd name="T29" fmla="*/ 1885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4" name="Freeform 533"/>
            <p:cNvSpPr>
              <a:spLocks noChangeAspect="1"/>
            </p:cNvSpPr>
            <p:nvPr/>
          </p:nvSpPr>
          <p:spPr bwMode="auto">
            <a:xfrm>
              <a:off x="7482311" y="2904182"/>
              <a:ext cx="19221" cy="7738"/>
            </a:xfrm>
            <a:custGeom>
              <a:avLst/>
              <a:gdLst>
                <a:gd name="T0" fmla="*/ 5715 w 10"/>
                <a:gd name="T1" fmla="*/ 1905 h 5"/>
                <a:gd name="T2" fmla="*/ 1905 w 10"/>
                <a:gd name="T3" fmla="*/ 3810 h 5"/>
                <a:gd name="T4" fmla="*/ 9525 w 10"/>
                <a:gd name="T5" fmla="*/ 7620 h 5"/>
                <a:gd name="T6" fmla="*/ 17145 w 10"/>
                <a:gd name="T7" fmla="*/ 7620 h 5"/>
                <a:gd name="T8" fmla="*/ 17145 w 10"/>
                <a:gd name="T9" fmla="*/ 1905 h 5"/>
                <a:gd name="T10" fmla="*/ 5715 w 10"/>
                <a:gd name="T11" fmla="*/ 1905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5" name="Freeform 534"/>
            <p:cNvSpPr>
              <a:spLocks noChangeAspect="1"/>
            </p:cNvSpPr>
            <p:nvPr/>
          </p:nvSpPr>
          <p:spPr bwMode="auto">
            <a:xfrm>
              <a:off x="7498328" y="2866781"/>
              <a:ext cx="28831" cy="11607"/>
            </a:xfrm>
            <a:custGeom>
              <a:avLst/>
              <a:gdLst>
                <a:gd name="T0" fmla="*/ 3810 w 15"/>
                <a:gd name="T1" fmla="*/ 0 h 7"/>
                <a:gd name="T2" fmla="*/ 24765 w 15"/>
                <a:gd name="T3" fmla="*/ 2041 h 7"/>
                <a:gd name="T4" fmla="*/ 26670 w 15"/>
                <a:gd name="T5" fmla="*/ 12246 h 7"/>
                <a:gd name="T6" fmla="*/ 5715 w 15"/>
                <a:gd name="T7" fmla="*/ 8164 h 7"/>
                <a:gd name="T8" fmla="*/ 1905 w 15"/>
                <a:gd name="T9" fmla="*/ 2041 h 7"/>
                <a:gd name="T10" fmla="*/ 3810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6" name="Freeform 535"/>
            <p:cNvSpPr>
              <a:spLocks noChangeAspect="1"/>
            </p:cNvSpPr>
            <p:nvPr/>
          </p:nvSpPr>
          <p:spPr bwMode="auto">
            <a:xfrm>
              <a:off x="7434260" y="2936424"/>
              <a:ext cx="9610" cy="10318"/>
            </a:xfrm>
            <a:custGeom>
              <a:avLst/>
              <a:gdLst>
                <a:gd name="T0" fmla="*/ 1905 w 5"/>
                <a:gd name="T1" fmla="*/ 2117 h 6"/>
                <a:gd name="T2" fmla="*/ 1905 w 5"/>
                <a:gd name="T3" fmla="*/ 12700 h 6"/>
                <a:gd name="T4" fmla="*/ 5715 w 5"/>
                <a:gd name="T5" fmla="*/ 10583 h 6"/>
                <a:gd name="T6" fmla="*/ 9525 w 5"/>
                <a:gd name="T7" fmla="*/ 2117 h 6"/>
                <a:gd name="T8" fmla="*/ 1905 w 5"/>
                <a:gd name="T9" fmla="*/ 211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2"/>
                    <a:pt x="1" y="4"/>
                    <a:pt x="1" y="6"/>
                  </a:cubicBezTo>
                  <a:cubicBezTo>
                    <a:pt x="1" y="6"/>
                    <a:pt x="3" y="5"/>
                    <a:pt x="3" y="5"/>
                  </a:cubicBezTo>
                  <a:cubicBezTo>
                    <a:pt x="4" y="4"/>
                    <a:pt x="5" y="3"/>
                    <a:pt x="5" y="1"/>
                  </a:cubicBezTo>
                  <a:cubicBezTo>
                    <a:pt x="4" y="0"/>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7" name="Freeform 536"/>
            <p:cNvSpPr>
              <a:spLocks noChangeAspect="1"/>
            </p:cNvSpPr>
            <p:nvPr/>
          </p:nvSpPr>
          <p:spPr bwMode="auto">
            <a:xfrm>
              <a:off x="7514346" y="3030570"/>
              <a:ext cx="14415" cy="19346"/>
            </a:xfrm>
            <a:custGeom>
              <a:avLst/>
              <a:gdLst>
                <a:gd name="T0" fmla="*/ 12501 w 8"/>
                <a:gd name="T1" fmla="*/ 1832 h 13"/>
                <a:gd name="T2" fmla="*/ 12501 w 8"/>
                <a:gd name="T3" fmla="*/ 10991 h 13"/>
                <a:gd name="T4" fmla="*/ 5358 w 8"/>
                <a:gd name="T5" fmla="*/ 21981 h 13"/>
                <a:gd name="T6" fmla="*/ 0 w 8"/>
                <a:gd name="T7" fmla="*/ 20149 h 13"/>
                <a:gd name="T8" fmla="*/ 5358 w 8"/>
                <a:gd name="T9" fmla="*/ 7327 h 13"/>
                <a:gd name="T10" fmla="*/ 12501 w 8"/>
                <a:gd name="T11" fmla="*/ 1832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8" name="Freeform 537"/>
            <p:cNvSpPr>
              <a:spLocks noChangeAspect="1"/>
            </p:cNvSpPr>
            <p:nvPr/>
          </p:nvSpPr>
          <p:spPr bwMode="auto">
            <a:xfrm>
              <a:off x="7623262" y="2880968"/>
              <a:ext cx="27229" cy="14187"/>
            </a:xfrm>
            <a:custGeom>
              <a:avLst/>
              <a:gdLst>
                <a:gd name="T0" fmla="*/ 3855 w 14"/>
                <a:gd name="T1" fmla="*/ 0 h 9"/>
                <a:gd name="T2" fmla="*/ 25059 w 14"/>
                <a:gd name="T3" fmla="*/ 13582 h 9"/>
                <a:gd name="T4" fmla="*/ 9638 w 14"/>
                <a:gd name="T5" fmla="*/ 15523 h 9"/>
                <a:gd name="T6" fmla="*/ 7711 w 14"/>
                <a:gd name="T7" fmla="*/ 5821 h 9"/>
                <a:gd name="T8" fmla="*/ 0 w 14"/>
                <a:gd name="T9" fmla="*/ 3881 h 9"/>
                <a:gd name="T10" fmla="*/ 3855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9" name="Freeform 538"/>
            <p:cNvSpPr>
              <a:spLocks noChangeAspect="1"/>
            </p:cNvSpPr>
            <p:nvPr/>
          </p:nvSpPr>
          <p:spPr bwMode="auto">
            <a:xfrm>
              <a:off x="7624863" y="2904182"/>
              <a:ext cx="27230" cy="5158"/>
            </a:xfrm>
            <a:custGeom>
              <a:avLst/>
              <a:gdLst>
                <a:gd name="T0" fmla="*/ 13494 w 14"/>
                <a:gd name="T1" fmla="*/ 0 h 3"/>
                <a:gd name="T2" fmla="*/ 26988 w 14"/>
                <a:gd name="T3" fmla="*/ 4233 h 3"/>
                <a:gd name="T4" fmla="*/ 13494 w 14"/>
                <a:gd name="T5" fmla="*/ 6350 h 3"/>
                <a:gd name="T6" fmla="*/ 0 w 14"/>
                <a:gd name="T7" fmla="*/ 2117 h 3"/>
                <a:gd name="T8" fmla="*/ 13494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0" name="Freeform 539"/>
            <p:cNvSpPr>
              <a:spLocks noChangeAspect="1"/>
            </p:cNvSpPr>
            <p:nvPr/>
          </p:nvSpPr>
          <p:spPr bwMode="auto">
            <a:xfrm>
              <a:off x="7671313" y="3033149"/>
              <a:ext cx="35238" cy="25793"/>
            </a:xfrm>
            <a:custGeom>
              <a:avLst/>
              <a:gdLst>
                <a:gd name="T0" fmla="*/ 19403 w 18"/>
                <a:gd name="T1" fmla="*/ 1868 h 17"/>
                <a:gd name="T2" fmla="*/ 31044 w 18"/>
                <a:gd name="T3" fmla="*/ 1868 h 17"/>
                <a:gd name="T4" fmla="*/ 32985 w 18"/>
                <a:gd name="T5" fmla="*/ 9338 h 17"/>
                <a:gd name="T6" fmla="*/ 25224 w 18"/>
                <a:gd name="T7" fmla="*/ 22412 h 17"/>
                <a:gd name="T8" fmla="*/ 19403 w 18"/>
                <a:gd name="T9" fmla="*/ 29882 h 17"/>
                <a:gd name="T10" fmla="*/ 5821 w 18"/>
                <a:gd name="T11" fmla="*/ 29882 h 17"/>
                <a:gd name="T12" fmla="*/ 0 w 18"/>
                <a:gd name="T13" fmla="*/ 28015 h 17"/>
                <a:gd name="T14" fmla="*/ 11642 w 18"/>
                <a:gd name="T15" fmla="*/ 9338 h 17"/>
                <a:gd name="T16" fmla="*/ 19403 w 18"/>
                <a:gd name="T17" fmla="*/ 1868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1" name="Freeform 540"/>
            <p:cNvSpPr>
              <a:spLocks noChangeAspect="1"/>
            </p:cNvSpPr>
            <p:nvPr/>
          </p:nvSpPr>
          <p:spPr bwMode="auto">
            <a:xfrm>
              <a:off x="7591227" y="2994459"/>
              <a:ext cx="14415" cy="9029"/>
            </a:xfrm>
            <a:custGeom>
              <a:avLst/>
              <a:gdLst>
                <a:gd name="T0" fmla="*/ 7144 w 8"/>
                <a:gd name="T1" fmla="*/ 0 h 6"/>
                <a:gd name="T2" fmla="*/ 12501 w 8"/>
                <a:gd name="T3" fmla="*/ 7409 h 6"/>
                <a:gd name="T4" fmla="*/ 1786 w 8"/>
                <a:gd name="T5" fmla="*/ 7409 h 6"/>
                <a:gd name="T6" fmla="*/ 7144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2" name="Freeform 541"/>
            <p:cNvSpPr>
              <a:spLocks noChangeAspect="1"/>
            </p:cNvSpPr>
            <p:nvPr/>
          </p:nvSpPr>
          <p:spPr bwMode="auto">
            <a:xfrm>
              <a:off x="7594431" y="3002197"/>
              <a:ext cx="9610" cy="7738"/>
            </a:xfrm>
            <a:custGeom>
              <a:avLst/>
              <a:gdLst>
                <a:gd name="T0" fmla="*/ 7620 w 5"/>
                <a:gd name="T1" fmla="*/ 9525 h 5"/>
                <a:gd name="T2" fmla="*/ 9525 w 5"/>
                <a:gd name="T3" fmla="*/ 5715 h 5"/>
                <a:gd name="T4" fmla="*/ 3810 w 5"/>
                <a:gd name="T5" fmla="*/ 0 h 5"/>
                <a:gd name="T6" fmla="*/ 0 w 5"/>
                <a:gd name="T7" fmla="*/ 5715 h 5"/>
                <a:gd name="T8" fmla="*/ 7620 w 5"/>
                <a:gd name="T9" fmla="*/ 952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3" name="Freeform 542"/>
            <p:cNvSpPr>
              <a:spLocks noChangeAspect="1"/>
            </p:cNvSpPr>
            <p:nvPr/>
          </p:nvSpPr>
          <p:spPr bwMode="auto">
            <a:xfrm>
              <a:off x="7586422" y="3003487"/>
              <a:ext cx="14416" cy="20635"/>
            </a:xfrm>
            <a:custGeom>
              <a:avLst/>
              <a:gdLst>
                <a:gd name="T0" fmla="*/ 2041 w 7"/>
                <a:gd name="T1" fmla="*/ 0 h 13"/>
                <a:gd name="T2" fmla="*/ 12247 w 7"/>
                <a:gd name="T3" fmla="*/ 9769 h 13"/>
                <a:gd name="T4" fmla="*/ 12247 w 7"/>
                <a:gd name="T5" fmla="*/ 13677 h 13"/>
                <a:gd name="T6" fmla="*/ 4082 w 7"/>
                <a:gd name="T7" fmla="*/ 23446 h 13"/>
                <a:gd name="T8" fmla="*/ 0 w 7"/>
                <a:gd name="T9" fmla="*/ 21492 h 13"/>
                <a:gd name="T10" fmla="*/ 204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4" name="Freeform 543"/>
            <p:cNvSpPr>
              <a:spLocks noChangeAspect="1"/>
            </p:cNvSpPr>
            <p:nvPr/>
          </p:nvSpPr>
          <p:spPr bwMode="auto">
            <a:xfrm>
              <a:off x="7751399" y="2926107"/>
              <a:ext cx="233850" cy="177975"/>
            </a:xfrm>
            <a:custGeom>
              <a:avLst/>
              <a:gdLst>
                <a:gd name="T0" fmla="*/ 0 w 121"/>
                <a:gd name="T1" fmla="*/ 180975 h 115"/>
                <a:gd name="T2" fmla="*/ 11493 w 121"/>
                <a:gd name="T3" fmla="*/ 184785 h 115"/>
                <a:gd name="T4" fmla="*/ 24901 w 121"/>
                <a:gd name="T5" fmla="*/ 182880 h 115"/>
                <a:gd name="T6" fmla="*/ 40225 w 121"/>
                <a:gd name="T7" fmla="*/ 184785 h 115"/>
                <a:gd name="T8" fmla="*/ 55549 w 121"/>
                <a:gd name="T9" fmla="*/ 180975 h 115"/>
                <a:gd name="T10" fmla="*/ 63211 w 121"/>
                <a:gd name="T11" fmla="*/ 171450 h 115"/>
                <a:gd name="T12" fmla="*/ 44056 w 121"/>
                <a:gd name="T13" fmla="*/ 161925 h 115"/>
                <a:gd name="T14" fmla="*/ 42141 w 121"/>
                <a:gd name="T15" fmla="*/ 158115 h 115"/>
                <a:gd name="T16" fmla="*/ 65127 w 121"/>
                <a:gd name="T17" fmla="*/ 156210 h 115"/>
                <a:gd name="T18" fmla="*/ 70873 w 121"/>
                <a:gd name="T19" fmla="*/ 142875 h 115"/>
                <a:gd name="T20" fmla="*/ 86197 w 121"/>
                <a:gd name="T21" fmla="*/ 137160 h 115"/>
                <a:gd name="T22" fmla="*/ 103437 w 121"/>
                <a:gd name="T23" fmla="*/ 144780 h 115"/>
                <a:gd name="T24" fmla="*/ 126423 w 121"/>
                <a:gd name="T25" fmla="*/ 160020 h 115"/>
                <a:gd name="T26" fmla="*/ 134085 w 121"/>
                <a:gd name="T27" fmla="*/ 177165 h 115"/>
                <a:gd name="T28" fmla="*/ 139831 w 121"/>
                <a:gd name="T29" fmla="*/ 182880 h 115"/>
                <a:gd name="T30" fmla="*/ 158986 w 121"/>
                <a:gd name="T31" fmla="*/ 205740 h 115"/>
                <a:gd name="T32" fmla="*/ 166648 w 121"/>
                <a:gd name="T33" fmla="*/ 209550 h 115"/>
                <a:gd name="T34" fmla="*/ 185803 w 121"/>
                <a:gd name="T35" fmla="*/ 211455 h 115"/>
                <a:gd name="T36" fmla="*/ 210705 w 121"/>
                <a:gd name="T37" fmla="*/ 215265 h 115"/>
                <a:gd name="T38" fmla="*/ 224113 w 121"/>
                <a:gd name="T39" fmla="*/ 217170 h 115"/>
                <a:gd name="T40" fmla="*/ 229860 w 121"/>
                <a:gd name="T41" fmla="*/ 211455 h 115"/>
                <a:gd name="T42" fmla="*/ 212620 w 121"/>
                <a:gd name="T43" fmla="*/ 203835 h 115"/>
                <a:gd name="T44" fmla="*/ 220282 w 121"/>
                <a:gd name="T45" fmla="*/ 196215 h 115"/>
                <a:gd name="T46" fmla="*/ 206874 w 121"/>
                <a:gd name="T47" fmla="*/ 196215 h 115"/>
                <a:gd name="T48" fmla="*/ 199212 w 121"/>
                <a:gd name="T49" fmla="*/ 188595 h 115"/>
                <a:gd name="T50" fmla="*/ 204958 w 121"/>
                <a:gd name="T51" fmla="*/ 180975 h 115"/>
                <a:gd name="T52" fmla="*/ 199212 w 121"/>
                <a:gd name="T53" fmla="*/ 179070 h 115"/>
                <a:gd name="T54" fmla="*/ 183888 w 121"/>
                <a:gd name="T55" fmla="*/ 179070 h 115"/>
                <a:gd name="T56" fmla="*/ 174310 w 121"/>
                <a:gd name="T57" fmla="*/ 169545 h 115"/>
                <a:gd name="T58" fmla="*/ 174310 w 121"/>
                <a:gd name="T59" fmla="*/ 150495 h 115"/>
                <a:gd name="T60" fmla="*/ 166648 w 121"/>
                <a:gd name="T61" fmla="*/ 148590 h 115"/>
                <a:gd name="T62" fmla="*/ 153240 w 121"/>
                <a:gd name="T63" fmla="*/ 135255 h 115"/>
                <a:gd name="T64" fmla="*/ 153240 w 121"/>
                <a:gd name="T65" fmla="*/ 125730 h 115"/>
                <a:gd name="T66" fmla="*/ 147493 w 121"/>
                <a:gd name="T67" fmla="*/ 118110 h 115"/>
                <a:gd name="T68" fmla="*/ 158986 w 121"/>
                <a:gd name="T69" fmla="*/ 112395 h 115"/>
                <a:gd name="T70" fmla="*/ 172395 w 121"/>
                <a:gd name="T71" fmla="*/ 112395 h 115"/>
                <a:gd name="T72" fmla="*/ 162817 w 121"/>
                <a:gd name="T73" fmla="*/ 93345 h 115"/>
                <a:gd name="T74" fmla="*/ 153240 w 121"/>
                <a:gd name="T75" fmla="*/ 93345 h 115"/>
                <a:gd name="T76" fmla="*/ 137916 w 121"/>
                <a:gd name="T77" fmla="*/ 85725 h 115"/>
                <a:gd name="T78" fmla="*/ 118761 w 121"/>
                <a:gd name="T79" fmla="*/ 78105 h 115"/>
                <a:gd name="T80" fmla="*/ 118761 w 121"/>
                <a:gd name="T81" fmla="*/ 68580 h 115"/>
                <a:gd name="T82" fmla="*/ 114930 w 121"/>
                <a:gd name="T83" fmla="*/ 55245 h 115"/>
                <a:gd name="T84" fmla="*/ 99606 w 121"/>
                <a:gd name="T85" fmla="*/ 45720 h 115"/>
                <a:gd name="T86" fmla="*/ 93859 w 121"/>
                <a:gd name="T87" fmla="*/ 34290 h 115"/>
                <a:gd name="T88" fmla="*/ 78535 w 121"/>
                <a:gd name="T89" fmla="*/ 32385 h 115"/>
                <a:gd name="T90" fmla="*/ 61296 w 121"/>
                <a:gd name="T91" fmla="*/ 22860 h 115"/>
                <a:gd name="T92" fmla="*/ 30648 w 121"/>
                <a:gd name="T93" fmla="*/ 11430 h 115"/>
                <a:gd name="T94" fmla="*/ 13408 w 121"/>
                <a:gd name="T95" fmla="*/ 1905 h 115"/>
                <a:gd name="T96" fmla="*/ 5746 w 121"/>
                <a:gd name="T97" fmla="*/ 1905 h 115"/>
                <a:gd name="T98" fmla="*/ 5746 w 121"/>
                <a:gd name="T99" fmla="*/ 102870 h 115"/>
                <a:gd name="T100" fmla="*/ 0 w 121"/>
                <a:gd name="T101" fmla="*/ 112395 h 115"/>
                <a:gd name="T102" fmla="*/ 3831 w 121"/>
                <a:gd name="T103" fmla="*/ 120015 h 115"/>
                <a:gd name="T104" fmla="*/ 0 w 121"/>
                <a:gd name="T105" fmla="*/ 180975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5" name="Freeform 544"/>
            <p:cNvSpPr>
              <a:spLocks noChangeAspect="1"/>
            </p:cNvSpPr>
            <p:nvPr/>
          </p:nvSpPr>
          <p:spPr bwMode="auto">
            <a:xfrm>
              <a:off x="7893951" y="2909341"/>
              <a:ext cx="19221" cy="9029"/>
            </a:xfrm>
            <a:custGeom>
              <a:avLst/>
              <a:gdLst>
                <a:gd name="T0" fmla="*/ 1905 w 10"/>
                <a:gd name="T1" fmla="*/ 1852 h 6"/>
                <a:gd name="T2" fmla="*/ 17145 w 10"/>
                <a:gd name="T3" fmla="*/ 1852 h 6"/>
                <a:gd name="T4" fmla="*/ 17145 w 10"/>
                <a:gd name="T5" fmla="*/ 7409 h 6"/>
                <a:gd name="T6" fmla="*/ 1905 w 10"/>
                <a:gd name="T7" fmla="*/ 9261 h 6"/>
                <a:gd name="T8" fmla="*/ 1905 w 10"/>
                <a:gd name="T9" fmla="*/ 1852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6" name="Freeform 545"/>
            <p:cNvSpPr>
              <a:spLocks noChangeAspect="1"/>
            </p:cNvSpPr>
            <p:nvPr/>
          </p:nvSpPr>
          <p:spPr bwMode="auto">
            <a:xfrm>
              <a:off x="7933993" y="2959638"/>
              <a:ext cx="99306" cy="49008"/>
            </a:xfrm>
            <a:custGeom>
              <a:avLst/>
              <a:gdLst>
                <a:gd name="T0" fmla="*/ 5790 w 51"/>
                <a:gd name="T1" fmla="*/ 36973 h 31"/>
                <a:gd name="T2" fmla="*/ 28949 w 51"/>
                <a:gd name="T3" fmla="*/ 38919 h 31"/>
                <a:gd name="T4" fmla="*/ 40528 w 51"/>
                <a:gd name="T5" fmla="*/ 36973 h 31"/>
                <a:gd name="T6" fmla="*/ 40528 w 51"/>
                <a:gd name="T7" fmla="*/ 29190 h 31"/>
                <a:gd name="T8" fmla="*/ 48248 w 51"/>
                <a:gd name="T9" fmla="*/ 36973 h 31"/>
                <a:gd name="T10" fmla="*/ 61757 w 51"/>
                <a:gd name="T11" fmla="*/ 35027 h 31"/>
                <a:gd name="T12" fmla="*/ 69476 w 51"/>
                <a:gd name="T13" fmla="*/ 21406 h 31"/>
                <a:gd name="T14" fmla="*/ 81056 w 51"/>
                <a:gd name="T15" fmla="*/ 21406 h 31"/>
                <a:gd name="T16" fmla="*/ 79126 w 51"/>
                <a:gd name="T17" fmla="*/ 5838 h 31"/>
                <a:gd name="T18" fmla="*/ 88775 w 51"/>
                <a:gd name="T19" fmla="*/ 3892 h 31"/>
                <a:gd name="T20" fmla="*/ 96495 w 51"/>
                <a:gd name="T21" fmla="*/ 1946 h 31"/>
                <a:gd name="T22" fmla="*/ 96495 w 51"/>
                <a:gd name="T23" fmla="*/ 17514 h 31"/>
                <a:gd name="T24" fmla="*/ 90705 w 51"/>
                <a:gd name="T25" fmla="*/ 23352 h 31"/>
                <a:gd name="T26" fmla="*/ 90705 w 51"/>
                <a:gd name="T27" fmla="*/ 33081 h 31"/>
                <a:gd name="T28" fmla="*/ 81056 w 51"/>
                <a:gd name="T29" fmla="*/ 42811 h 31"/>
                <a:gd name="T30" fmla="*/ 75266 w 51"/>
                <a:gd name="T31" fmla="*/ 42811 h 31"/>
                <a:gd name="T32" fmla="*/ 67547 w 51"/>
                <a:gd name="T33" fmla="*/ 50595 h 31"/>
                <a:gd name="T34" fmla="*/ 42458 w 51"/>
                <a:gd name="T35" fmla="*/ 58379 h 31"/>
                <a:gd name="T36" fmla="*/ 25089 w 51"/>
                <a:gd name="T37" fmla="*/ 58379 h 31"/>
                <a:gd name="T38" fmla="*/ 3860 w 51"/>
                <a:gd name="T39" fmla="*/ 46703 h 31"/>
                <a:gd name="T40" fmla="*/ 1930 w 51"/>
                <a:gd name="T41" fmla="*/ 40865 h 31"/>
                <a:gd name="T42" fmla="*/ 5790 w 51"/>
                <a:gd name="T43" fmla="*/ 3697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7" name="Freeform 546"/>
            <p:cNvSpPr>
              <a:spLocks noChangeAspect="1"/>
            </p:cNvSpPr>
            <p:nvPr/>
          </p:nvSpPr>
          <p:spPr bwMode="auto">
            <a:xfrm>
              <a:off x="7994859" y="2920948"/>
              <a:ext cx="54458" cy="54167"/>
            </a:xfrm>
            <a:custGeom>
              <a:avLst/>
              <a:gdLst>
                <a:gd name="T0" fmla="*/ 53975 w 29"/>
                <a:gd name="T1" fmla="*/ 55245 h 35"/>
                <a:gd name="T2" fmla="*/ 50253 w 29"/>
                <a:gd name="T3" fmla="*/ 66675 h 35"/>
                <a:gd name="T4" fmla="*/ 44669 w 29"/>
                <a:gd name="T5" fmla="*/ 64770 h 35"/>
                <a:gd name="T6" fmla="*/ 42808 w 29"/>
                <a:gd name="T7" fmla="*/ 47625 h 35"/>
                <a:gd name="T8" fmla="*/ 31641 w 29"/>
                <a:gd name="T9" fmla="*/ 32385 h 35"/>
                <a:gd name="T10" fmla="*/ 16751 w 29"/>
                <a:gd name="T11" fmla="*/ 20955 h 35"/>
                <a:gd name="T12" fmla="*/ 1861 w 29"/>
                <a:gd name="T13" fmla="*/ 5715 h 35"/>
                <a:gd name="T14" fmla="*/ 3722 w 29"/>
                <a:gd name="T15" fmla="*/ 1905 h 35"/>
                <a:gd name="T16" fmla="*/ 20473 w 29"/>
                <a:gd name="T17" fmla="*/ 15240 h 35"/>
                <a:gd name="T18" fmla="*/ 31641 w 29"/>
                <a:gd name="T19" fmla="*/ 26670 h 35"/>
                <a:gd name="T20" fmla="*/ 40947 w 29"/>
                <a:gd name="T21" fmla="*/ 41910 h 35"/>
                <a:gd name="T22" fmla="*/ 48391 w 29"/>
                <a:gd name="T23" fmla="*/ 43815 h 35"/>
                <a:gd name="T24" fmla="*/ 53975 w 29"/>
                <a:gd name="T25" fmla="*/ 5524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8" name="Freeform 547"/>
            <p:cNvSpPr>
              <a:spLocks noChangeAspect="1"/>
            </p:cNvSpPr>
            <p:nvPr/>
          </p:nvSpPr>
          <p:spPr bwMode="auto">
            <a:xfrm>
              <a:off x="8087758" y="2989300"/>
              <a:ext cx="28831" cy="30953"/>
            </a:xfrm>
            <a:custGeom>
              <a:avLst/>
              <a:gdLst>
                <a:gd name="T0" fmla="*/ 1905 w 15"/>
                <a:gd name="T1" fmla="*/ 3810 h 20"/>
                <a:gd name="T2" fmla="*/ 1905 w 15"/>
                <a:gd name="T3" fmla="*/ 13335 h 20"/>
                <a:gd name="T4" fmla="*/ 11430 w 15"/>
                <a:gd name="T5" fmla="*/ 24765 h 20"/>
                <a:gd name="T6" fmla="*/ 11430 w 15"/>
                <a:gd name="T7" fmla="*/ 34290 h 20"/>
                <a:gd name="T8" fmla="*/ 22860 w 15"/>
                <a:gd name="T9" fmla="*/ 36195 h 20"/>
                <a:gd name="T10" fmla="*/ 26670 w 15"/>
                <a:gd name="T11" fmla="*/ 26670 h 20"/>
                <a:gd name="T12" fmla="*/ 15240 w 15"/>
                <a:gd name="T13" fmla="*/ 17145 h 20"/>
                <a:gd name="T14" fmla="*/ 9525 w 15"/>
                <a:gd name="T15" fmla="*/ 7620 h 20"/>
                <a:gd name="T16" fmla="*/ 1905 w 15"/>
                <a:gd name="T17" fmla="*/ 381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9" name="Freeform 548"/>
            <p:cNvSpPr>
              <a:spLocks noChangeAspect="1"/>
            </p:cNvSpPr>
            <p:nvPr/>
          </p:nvSpPr>
          <p:spPr bwMode="auto">
            <a:xfrm>
              <a:off x="8129403" y="3017674"/>
              <a:ext cx="22424" cy="18056"/>
            </a:xfrm>
            <a:custGeom>
              <a:avLst/>
              <a:gdLst>
                <a:gd name="T0" fmla="*/ 3704 w 12"/>
                <a:gd name="T1" fmla="*/ 0 h 12"/>
                <a:gd name="T2" fmla="*/ 1852 w 12"/>
                <a:gd name="T3" fmla="*/ 1852 h 12"/>
                <a:gd name="T4" fmla="*/ 11113 w 12"/>
                <a:gd name="T5" fmla="*/ 16669 h 12"/>
                <a:gd name="T6" fmla="*/ 20373 w 12"/>
                <a:gd name="T7" fmla="*/ 20373 h 12"/>
                <a:gd name="T8" fmla="*/ 16669 w 12"/>
                <a:gd name="T9" fmla="*/ 9260 h 12"/>
                <a:gd name="T10" fmla="*/ 3704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0" name="Freeform 549"/>
            <p:cNvSpPr>
              <a:spLocks noChangeAspect="1"/>
            </p:cNvSpPr>
            <p:nvPr/>
          </p:nvSpPr>
          <p:spPr bwMode="auto">
            <a:xfrm>
              <a:off x="8175852" y="3039598"/>
              <a:ext cx="35238" cy="19345"/>
            </a:xfrm>
            <a:custGeom>
              <a:avLst/>
              <a:gdLst>
                <a:gd name="T0" fmla="*/ 5514 w 19"/>
                <a:gd name="T1" fmla="*/ 0 h 13"/>
                <a:gd name="T2" fmla="*/ 0 w 19"/>
                <a:gd name="T3" fmla="*/ 1832 h 13"/>
                <a:gd name="T4" fmla="*/ 5514 w 19"/>
                <a:gd name="T5" fmla="*/ 10990 h 13"/>
                <a:gd name="T6" fmla="*/ 20220 w 19"/>
                <a:gd name="T7" fmla="*/ 20149 h 13"/>
                <a:gd name="T8" fmla="*/ 31249 w 19"/>
                <a:gd name="T9" fmla="*/ 23812 h 13"/>
                <a:gd name="T10" fmla="*/ 33087 w 19"/>
                <a:gd name="T11" fmla="*/ 18317 h 13"/>
                <a:gd name="T12" fmla="*/ 23896 w 19"/>
                <a:gd name="T13" fmla="*/ 10990 h 13"/>
                <a:gd name="T14" fmla="*/ 11029 w 19"/>
                <a:gd name="T15" fmla="*/ 7327 h 13"/>
                <a:gd name="T16" fmla="*/ 5514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1" name="Freeform 550"/>
            <p:cNvSpPr>
              <a:spLocks noChangeAspect="1"/>
            </p:cNvSpPr>
            <p:nvPr/>
          </p:nvSpPr>
          <p:spPr bwMode="auto">
            <a:xfrm>
              <a:off x="8227107" y="3053785"/>
              <a:ext cx="20823" cy="32243"/>
            </a:xfrm>
            <a:custGeom>
              <a:avLst/>
              <a:gdLst>
                <a:gd name="T0" fmla="*/ 7505 w 11"/>
                <a:gd name="T1" fmla="*/ 1890 h 21"/>
                <a:gd name="T2" fmla="*/ 1876 w 11"/>
                <a:gd name="T3" fmla="*/ 1890 h 21"/>
                <a:gd name="T4" fmla="*/ 3752 w 11"/>
                <a:gd name="T5" fmla="*/ 9450 h 21"/>
                <a:gd name="T6" fmla="*/ 5629 w 11"/>
                <a:gd name="T7" fmla="*/ 24569 h 21"/>
                <a:gd name="T8" fmla="*/ 16886 w 11"/>
                <a:gd name="T9" fmla="*/ 39688 h 21"/>
                <a:gd name="T10" fmla="*/ 16886 w 11"/>
                <a:gd name="T11" fmla="*/ 26459 h 21"/>
                <a:gd name="T12" fmla="*/ 9381 w 11"/>
                <a:gd name="T13" fmla="*/ 15119 h 21"/>
                <a:gd name="T14" fmla="*/ 9381 w 11"/>
                <a:gd name="T15" fmla="*/ 7560 h 21"/>
                <a:gd name="T16" fmla="*/ 7505 w 11"/>
                <a:gd name="T17" fmla="*/ 189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2" name="Freeform 551"/>
            <p:cNvSpPr>
              <a:spLocks noChangeAspect="1"/>
            </p:cNvSpPr>
            <p:nvPr/>
          </p:nvSpPr>
          <p:spPr bwMode="auto">
            <a:xfrm>
              <a:off x="8243123" y="3100213"/>
              <a:ext cx="24026" cy="12897"/>
            </a:xfrm>
            <a:custGeom>
              <a:avLst/>
              <a:gdLst>
                <a:gd name="T0" fmla="*/ 5495 w 13"/>
                <a:gd name="T1" fmla="*/ 0 h 9"/>
                <a:gd name="T2" fmla="*/ 0 w 13"/>
                <a:gd name="T3" fmla="*/ 3528 h 9"/>
                <a:gd name="T4" fmla="*/ 5495 w 13"/>
                <a:gd name="T5" fmla="*/ 7056 h 9"/>
                <a:gd name="T6" fmla="*/ 12822 w 13"/>
                <a:gd name="T7" fmla="*/ 14111 h 9"/>
                <a:gd name="T8" fmla="*/ 20149 w 13"/>
                <a:gd name="T9" fmla="*/ 15875 h 9"/>
                <a:gd name="T10" fmla="*/ 23813 w 13"/>
                <a:gd name="T11" fmla="*/ 12347 h 9"/>
                <a:gd name="T12" fmla="*/ 20149 w 13"/>
                <a:gd name="T13" fmla="*/ 7056 h 9"/>
                <a:gd name="T14" fmla="*/ 10991 w 13"/>
                <a:gd name="T15" fmla="*/ 3528 h 9"/>
                <a:gd name="T16" fmla="*/ 5495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3" name="Freeform 552"/>
            <p:cNvSpPr>
              <a:spLocks noChangeAspect="1"/>
            </p:cNvSpPr>
            <p:nvPr/>
          </p:nvSpPr>
          <p:spPr bwMode="auto">
            <a:xfrm>
              <a:off x="8143818" y="3047336"/>
              <a:ext cx="16017" cy="11607"/>
            </a:xfrm>
            <a:custGeom>
              <a:avLst/>
              <a:gdLst>
                <a:gd name="T0" fmla="*/ 11906 w 8"/>
                <a:gd name="T1" fmla="*/ 1786 h 8"/>
                <a:gd name="T2" fmla="*/ 5953 w 8"/>
                <a:gd name="T3" fmla="*/ 1786 h 8"/>
                <a:gd name="T4" fmla="*/ 1984 w 8"/>
                <a:gd name="T5" fmla="*/ 8929 h 8"/>
                <a:gd name="T6" fmla="*/ 11906 w 8"/>
                <a:gd name="T7" fmla="*/ 14287 h 8"/>
                <a:gd name="T8" fmla="*/ 15875 w 8"/>
                <a:gd name="T9" fmla="*/ 12501 h 8"/>
                <a:gd name="T10" fmla="*/ 11906 w 8"/>
                <a:gd name="T11" fmla="*/ 5358 h 8"/>
                <a:gd name="T12" fmla="*/ 11906 w 8"/>
                <a:gd name="T13" fmla="*/ 1786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4" name="Freeform 553"/>
            <p:cNvSpPr>
              <a:spLocks noChangeAspect="1"/>
            </p:cNvSpPr>
            <p:nvPr/>
          </p:nvSpPr>
          <p:spPr bwMode="auto">
            <a:xfrm>
              <a:off x="8201479" y="3079578"/>
              <a:ext cx="32034" cy="14187"/>
            </a:xfrm>
            <a:custGeom>
              <a:avLst/>
              <a:gdLst>
                <a:gd name="T0" fmla="*/ 5953 w 16"/>
                <a:gd name="T1" fmla="*/ 0 h 9"/>
                <a:gd name="T2" fmla="*/ 0 w 16"/>
                <a:gd name="T3" fmla="*/ 1940 h 9"/>
                <a:gd name="T4" fmla="*/ 1984 w 16"/>
                <a:gd name="T5" fmla="*/ 11642 h 9"/>
                <a:gd name="T6" fmla="*/ 21828 w 16"/>
                <a:gd name="T7" fmla="*/ 15523 h 9"/>
                <a:gd name="T8" fmla="*/ 29766 w 16"/>
                <a:gd name="T9" fmla="*/ 15523 h 9"/>
                <a:gd name="T10" fmla="*/ 27781 w 16"/>
                <a:gd name="T11" fmla="*/ 9702 h 9"/>
                <a:gd name="T12" fmla="*/ 21828 w 16"/>
                <a:gd name="T13" fmla="*/ 1940 h 9"/>
                <a:gd name="T14" fmla="*/ 11906 w 16"/>
                <a:gd name="T15" fmla="*/ 1940 h 9"/>
                <a:gd name="T16" fmla="*/ 5953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5" name="Freeform 554"/>
            <p:cNvSpPr>
              <a:spLocks noChangeAspect="1"/>
            </p:cNvSpPr>
            <p:nvPr/>
          </p:nvSpPr>
          <p:spPr bwMode="auto">
            <a:xfrm>
              <a:off x="8204682" y="3131165"/>
              <a:ext cx="20823" cy="5158"/>
            </a:xfrm>
            <a:custGeom>
              <a:avLst/>
              <a:gdLst>
                <a:gd name="T0" fmla="*/ 3752 w 11"/>
                <a:gd name="T1" fmla="*/ 0 h 4"/>
                <a:gd name="T2" fmla="*/ 1876 w 11"/>
                <a:gd name="T3" fmla="*/ 3175 h 4"/>
                <a:gd name="T4" fmla="*/ 18762 w 11"/>
                <a:gd name="T5" fmla="*/ 6350 h 4"/>
                <a:gd name="T6" fmla="*/ 18762 w 11"/>
                <a:gd name="T7" fmla="*/ 3175 h 4"/>
                <a:gd name="T8" fmla="*/ 375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6" name="Freeform 555"/>
            <p:cNvSpPr>
              <a:spLocks noChangeAspect="1"/>
            </p:cNvSpPr>
            <p:nvPr/>
          </p:nvSpPr>
          <p:spPr bwMode="auto">
            <a:xfrm>
              <a:off x="7219630" y="2451505"/>
              <a:ext cx="115323" cy="135417"/>
            </a:xfrm>
            <a:custGeom>
              <a:avLst/>
              <a:gdLst>
                <a:gd name="T0" fmla="*/ 55245 w 60"/>
                <a:gd name="T1" fmla="*/ 1894 h 88"/>
                <a:gd name="T2" fmla="*/ 60960 w 60"/>
                <a:gd name="T3" fmla="*/ 9471 h 88"/>
                <a:gd name="T4" fmla="*/ 55245 w 60"/>
                <a:gd name="T5" fmla="*/ 26518 h 88"/>
                <a:gd name="T6" fmla="*/ 66675 w 60"/>
                <a:gd name="T7" fmla="*/ 43566 h 88"/>
                <a:gd name="T8" fmla="*/ 60960 w 60"/>
                <a:gd name="T9" fmla="*/ 68190 h 88"/>
                <a:gd name="T10" fmla="*/ 45720 w 60"/>
                <a:gd name="T11" fmla="*/ 85238 h 88"/>
                <a:gd name="T12" fmla="*/ 45720 w 60"/>
                <a:gd name="T13" fmla="*/ 96603 h 88"/>
                <a:gd name="T14" fmla="*/ 53340 w 60"/>
                <a:gd name="T15" fmla="*/ 111756 h 88"/>
                <a:gd name="T16" fmla="*/ 45720 w 60"/>
                <a:gd name="T17" fmla="*/ 121227 h 88"/>
                <a:gd name="T18" fmla="*/ 68580 w 60"/>
                <a:gd name="T19" fmla="*/ 134486 h 88"/>
                <a:gd name="T20" fmla="*/ 76200 w 60"/>
                <a:gd name="T21" fmla="*/ 125015 h 88"/>
                <a:gd name="T22" fmla="*/ 91440 w 60"/>
                <a:gd name="T23" fmla="*/ 142063 h 88"/>
                <a:gd name="T24" fmla="*/ 95250 w 60"/>
                <a:gd name="T25" fmla="*/ 130698 h 88"/>
                <a:gd name="T26" fmla="*/ 112395 w 60"/>
                <a:gd name="T27" fmla="*/ 136380 h 88"/>
                <a:gd name="T28" fmla="*/ 99060 w 60"/>
                <a:gd name="T29" fmla="*/ 142063 h 88"/>
                <a:gd name="T30" fmla="*/ 110490 w 60"/>
                <a:gd name="T31" fmla="*/ 157216 h 88"/>
                <a:gd name="T32" fmla="*/ 110490 w 60"/>
                <a:gd name="T33" fmla="*/ 166687 h 88"/>
                <a:gd name="T34" fmla="*/ 97155 w 60"/>
                <a:gd name="T35" fmla="*/ 157216 h 88"/>
                <a:gd name="T36" fmla="*/ 81915 w 60"/>
                <a:gd name="T37" fmla="*/ 143957 h 88"/>
                <a:gd name="T38" fmla="*/ 74295 w 60"/>
                <a:gd name="T39" fmla="*/ 136380 h 88"/>
                <a:gd name="T40" fmla="*/ 72390 w 60"/>
                <a:gd name="T41" fmla="*/ 140169 h 88"/>
                <a:gd name="T42" fmla="*/ 74295 w 60"/>
                <a:gd name="T43" fmla="*/ 149639 h 88"/>
                <a:gd name="T44" fmla="*/ 64770 w 60"/>
                <a:gd name="T45" fmla="*/ 140169 h 88"/>
                <a:gd name="T46" fmla="*/ 49530 w 60"/>
                <a:gd name="T47" fmla="*/ 134486 h 88"/>
                <a:gd name="T48" fmla="*/ 47625 w 60"/>
                <a:gd name="T49" fmla="*/ 138274 h 88"/>
                <a:gd name="T50" fmla="*/ 30480 w 60"/>
                <a:gd name="T51" fmla="*/ 134486 h 88"/>
                <a:gd name="T52" fmla="*/ 24765 w 60"/>
                <a:gd name="T53" fmla="*/ 126909 h 88"/>
                <a:gd name="T54" fmla="*/ 32385 w 60"/>
                <a:gd name="T55" fmla="*/ 123121 h 88"/>
                <a:gd name="T56" fmla="*/ 43815 w 60"/>
                <a:gd name="T57" fmla="*/ 123121 h 88"/>
                <a:gd name="T58" fmla="*/ 30480 w 60"/>
                <a:gd name="T59" fmla="*/ 113650 h 88"/>
                <a:gd name="T60" fmla="*/ 22860 w 60"/>
                <a:gd name="T61" fmla="*/ 111756 h 88"/>
                <a:gd name="T62" fmla="*/ 22860 w 60"/>
                <a:gd name="T63" fmla="*/ 121227 h 88"/>
                <a:gd name="T64" fmla="*/ 13335 w 60"/>
                <a:gd name="T65" fmla="*/ 113650 h 88"/>
                <a:gd name="T66" fmla="*/ 9525 w 60"/>
                <a:gd name="T67" fmla="*/ 100391 h 88"/>
                <a:gd name="T68" fmla="*/ 5715 w 60"/>
                <a:gd name="T69" fmla="*/ 92814 h 88"/>
                <a:gd name="T70" fmla="*/ 7620 w 60"/>
                <a:gd name="T71" fmla="*/ 81449 h 88"/>
                <a:gd name="T72" fmla="*/ 0 w 60"/>
                <a:gd name="T73" fmla="*/ 71978 h 88"/>
                <a:gd name="T74" fmla="*/ 3810 w 60"/>
                <a:gd name="T75" fmla="*/ 62508 h 88"/>
                <a:gd name="T76" fmla="*/ 13335 w 60"/>
                <a:gd name="T77" fmla="*/ 73873 h 88"/>
                <a:gd name="T78" fmla="*/ 13335 w 60"/>
                <a:gd name="T79" fmla="*/ 53037 h 88"/>
                <a:gd name="T80" fmla="*/ 7620 w 60"/>
                <a:gd name="T81" fmla="*/ 30307 h 88"/>
                <a:gd name="T82" fmla="*/ 15240 w 60"/>
                <a:gd name="T83" fmla="*/ 3788 h 88"/>
                <a:gd name="T84" fmla="*/ 32385 w 60"/>
                <a:gd name="T85" fmla="*/ 5683 h 88"/>
                <a:gd name="T86" fmla="*/ 49530 w 60"/>
                <a:gd name="T87" fmla="*/ 11365 h 88"/>
                <a:gd name="T88" fmla="*/ 55245 w 60"/>
                <a:gd name="T89" fmla="*/ 1894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7" name="Freeform 556"/>
            <p:cNvSpPr>
              <a:spLocks noChangeAspect="1"/>
            </p:cNvSpPr>
            <p:nvPr/>
          </p:nvSpPr>
          <p:spPr bwMode="auto">
            <a:xfrm>
              <a:off x="7237249" y="2567577"/>
              <a:ext cx="40043" cy="32242"/>
            </a:xfrm>
            <a:custGeom>
              <a:avLst/>
              <a:gdLst>
                <a:gd name="T0" fmla="*/ 17009 w 21"/>
                <a:gd name="T1" fmla="*/ 1890 h 21"/>
                <a:gd name="T2" fmla="*/ 35908 w 21"/>
                <a:gd name="T3" fmla="*/ 9449 h 21"/>
                <a:gd name="T4" fmla="*/ 35908 w 21"/>
                <a:gd name="T5" fmla="*/ 15119 h 21"/>
                <a:gd name="T6" fmla="*/ 35908 w 21"/>
                <a:gd name="T7" fmla="*/ 35907 h 21"/>
                <a:gd name="T8" fmla="*/ 22679 w 21"/>
                <a:gd name="T9" fmla="*/ 35907 h 21"/>
                <a:gd name="T10" fmla="*/ 13229 w 21"/>
                <a:gd name="T11" fmla="*/ 13229 h 21"/>
                <a:gd name="T12" fmla="*/ 0 w 21"/>
                <a:gd name="T13" fmla="*/ 7559 h 21"/>
                <a:gd name="T14" fmla="*/ 5670 w 21"/>
                <a:gd name="T15" fmla="*/ 1890 h 21"/>
                <a:gd name="T16" fmla="*/ 17009 w 21"/>
                <a:gd name="T17" fmla="*/ 189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8" name="Freeform 557"/>
            <p:cNvSpPr>
              <a:spLocks noChangeAspect="1"/>
            </p:cNvSpPr>
            <p:nvPr/>
          </p:nvSpPr>
          <p:spPr bwMode="auto">
            <a:xfrm>
              <a:off x="7338157" y="2590791"/>
              <a:ext cx="38441" cy="33532"/>
            </a:xfrm>
            <a:custGeom>
              <a:avLst/>
              <a:gdLst>
                <a:gd name="T0" fmla="*/ 3810 w 20"/>
                <a:gd name="T1" fmla="*/ 0 h 22"/>
                <a:gd name="T2" fmla="*/ 0 w 20"/>
                <a:gd name="T3" fmla="*/ 3752 h 22"/>
                <a:gd name="T4" fmla="*/ 9525 w 20"/>
                <a:gd name="T5" fmla="*/ 18761 h 22"/>
                <a:gd name="T6" fmla="*/ 15240 w 20"/>
                <a:gd name="T7" fmla="*/ 20638 h 22"/>
                <a:gd name="T8" fmla="*/ 17145 w 20"/>
                <a:gd name="T9" fmla="*/ 31894 h 22"/>
                <a:gd name="T10" fmla="*/ 28575 w 20"/>
                <a:gd name="T11" fmla="*/ 37523 h 22"/>
                <a:gd name="T12" fmla="*/ 36195 w 20"/>
                <a:gd name="T13" fmla="*/ 39399 h 22"/>
                <a:gd name="T14" fmla="*/ 32385 w 20"/>
                <a:gd name="T15" fmla="*/ 31894 h 22"/>
                <a:gd name="T16" fmla="*/ 36195 w 20"/>
                <a:gd name="T17" fmla="*/ 28142 h 22"/>
                <a:gd name="T18" fmla="*/ 30480 w 20"/>
                <a:gd name="T19" fmla="*/ 18761 h 22"/>
                <a:gd name="T20" fmla="*/ 30480 w 20"/>
                <a:gd name="T21" fmla="*/ 7505 h 22"/>
                <a:gd name="T22" fmla="*/ 22860 w 20"/>
                <a:gd name="T23" fmla="*/ 0 h 22"/>
                <a:gd name="T24" fmla="*/ 9525 w 20"/>
                <a:gd name="T25" fmla="*/ 0 h 22"/>
                <a:gd name="T26" fmla="*/ 3810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9" name="Freeform 558"/>
            <p:cNvSpPr>
              <a:spLocks noChangeAspect="1"/>
            </p:cNvSpPr>
            <p:nvPr/>
          </p:nvSpPr>
          <p:spPr bwMode="auto">
            <a:xfrm>
              <a:off x="7278893" y="2602397"/>
              <a:ext cx="36840" cy="36111"/>
            </a:xfrm>
            <a:custGeom>
              <a:avLst/>
              <a:gdLst>
                <a:gd name="T0" fmla="*/ 5765 w 19"/>
                <a:gd name="T1" fmla="*/ 1933 h 23"/>
                <a:gd name="T2" fmla="*/ 1922 w 19"/>
                <a:gd name="T3" fmla="*/ 5798 h 23"/>
                <a:gd name="T4" fmla="*/ 11530 w 19"/>
                <a:gd name="T5" fmla="*/ 15461 h 23"/>
                <a:gd name="T6" fmla="*/ 3843 w 19"/>
                <a:gd name="T7" fmla="*/ 36720 h 23"/>
                <a:gd name="T8" fmla="*/ 3843 w 19"/>
                <a:gd name="T9" fmla="*/ 44450 h 23"/>
                <a:gd name="T10" fmla="*/ 13452 w 19"/>
                <a:gd name="T11" fmla="*/ 36720 h 23"/>
                <a:gd name="T12" fmla="*/ 23061 w 19"/>
                <a:gd name="T13" fmla="*/ 32854 h 23"/>
                <a:gd name="T14" fmla="*/ 24983 w 19"/>
                <a:gd name="T15" fmla="*/ 28989 h 23"/>
                <a:gd name="T16" fmla="*/ 34591 w 19"/>
                <a:gd name="T17" fmla="*/ 13528 h 23"/>
                <a:gd name="T18" fmla="*/ 30748 w 19"/>
                <a:gd name="T19" fmla="*/ 7730 h 23"/>
                <a:gd name="T20" fmla="*/ 23061 w 19"/>
                <a:gd name="T21" fmla="*/ 11596 h 23"/>
                <a:gd name="T22" fmla="*/ 13452 w 19"/>
                <a:gd name="T23" fmla="*/ 5798 h 23"/>
                <a:gd name="T24" fmla="*/ 5765 w 19"/>
                <a:gd name="T25" fmla="*/ 1933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0" name="Freeform 559"/>
            <p:cNvSpPr>
              <a:spLocks noChangeAspect="1"/>
            </p:cNvSpPr>
            <p:nvPr/>
          </p:nvSpPr>
          <p:spPr bwMode="auto">
            <a:xfrm>
              <a:off x="7307723" y="2593370"/>
              <a:ext cx="27230" cy="14186"/>
            </a:xfrm>
            <a:custGeom>
              <a:avLst/>
              <a:gdLst>
                <a:gd name="T0" fmla="*/ 7711 w 14"/>
                <a:gd name="T1" fmla="*/ 3880 h 9"/>
                <a:gd name="T2" fmla="*/ 7711 w 14"/>
                <a:gd name="T3" fmla="*/ 3880 h 9"/>
                <a:gd name="T4" fmla="*/ 13494 w 14"/>
                <a:gd name="T5" fmla="*/ 7761 h 9"/>
                <a:gd name="T6" fmla="*/ 25060 w 14"/>
                <a:gd name="T7" fmla="*/ 17462 h 9"/>
                <a:gd name="T8" fmla="*/ 26988 w 14"/>
                <a:gd name="T9" fmla="*/ 15522 h 9"/>
                <a:gd name="T10" fmla="*/ 23133 w 14"/>
                <a:gd name="T11" fmla="*/ 5821 h 9"/>
                <a:gd name="T12" fmla="*/ 11566 w 14"/>
                <a:gd name="T13" fmla="*/ 0 h 9"/>
                <a:gd name="T14" fmla="*/ 5783 w 14"/>
                <a:gd name="T15" fmla="*/ 1940 h 9"/>
                <a:gd name="T16" fmla="*/ 1928 w 14"/>
                <a:gd name="T17" fmla="*/ 5821 h 9"/>
                <a:gd name="T18" fmla="*/ 7711 w 14"/>
                <a:gd name="T19" fmla="*/ 388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9"/>
                <a:gd name="T32" fmla="*/ 14 w 14"/>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9">
                  <a:moveTo>
                    <a:pt x="4" y="2"/>
                  </a:moveTo>
                  <a:cubicBezTo>
                    <a:pt x="4" y="2"/>
                    <a:pt x="4" y="2"/>
                    <a:pt x="4" y="2"/>
                  </a:cubicBezTo>
                  <a:cubicBezTo>
                    <a:pt x="5" y="3"/>
                    <a:pt x="6" y="3"/>
                    <a:pt x="7" y="4"/>
                  </a:cubicBezTo>
                  <a:cubicBezTo>
                    <a:pt x="9" y="6"/>
                    <a:pt x="10" y="8"/>
                    <a:pt x="13" y="9"/>
                  </a:cubicBezTo>
                  <a:cubicBezTo>
                    <a:pt x="13" y="9"/>
                    <a:pt x="14" y="8"/>
                    <a:pt x="14" y="8"/>
                  </a:cubicBezTo>
                  <a:cubicBezTo>
                    <a:pt x="13" y="6"/>
                    <a:pt x="13" y="5"/>
                    <a:pt x="12" y="3"/>
                  </a:cubicBezTo>
                  <a:cubicBezTo>
                    <a:pt x="10" y="2"/>
                    <a:pt x="8" y="1"/>
                    <a:pt x="6" y="0"/>
                  </a:cubicBezTo>
                  <a:cubicBezTo>
                    <a:pt x="5" y="0"/>
                    <a:pt x="4" y="0"/>
                    <a:pt x="3" y="1"/>
                  </a:cubicBezTo>
                  <a:cubicBezTo>
                    <a:pt x="2" y="1"/>
                    <a:pt x="0" y="2"/>
                    <a:pt x="1" y="3"/>
                  </a:cubicBezTo>
                  <a:cubicBezTo>
                    <a:pt x="1" y="4"/>
                    <a:pt x="3" y="3"/>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1" name="Freeform 560"/>
            <p:cNvSpPr>
              <a:spLocks noChangeAspect="1"/>
            </p:cNvSpPr>
            <p:nvPr/>
          </p:nvSpPr>
          <p:spPr bwMode="auto">
            <a:xfrm>
              <a:off x="7294910" y="2624322"/>
              <a:ext cx="27230" cy="43849"/>
            </a:xfrm>
            <a:custGeom>
              <a:avLst/>
              <a:gdLst>
                <a:gd name="T0" fmla="*/ 25060 w 14"/>
                <a:gd name="T1" fmla="*/ 3855 h 28"/>
                <a:gd name="T2" fmla="*/ 19277 w 14"/>
                <a:gd name="T3" fmla="*/ 0 h 28"/>
                <a:gd name="T4" fmla="*/ 13494 w 14"/>
                <a:gd name="T5" fmla="*/ 5783 h 28"/>
                <a:gd name="T6" fmla="*/ 13494 w 14"/>
                <a:gd name="T7" fmla="*/ 26988 h 28"/>
                <a:gd name="T8" fmla="*/ 1928 w 14"/>
                <a:gd name="T9" fmla="*/ 30843 h 28"/>
                <a:gd name="T10" fmla="*/ 5783 w 14"/>
                <a:gd name="T11" fmla="*/ 44337 h 28"/>
                <a:gd name="T12" fmla="*/ 15422 w 14"/>
                <a:gd name="T13" fmla="*/ 53975 h 28"/>
                <a:gd name="T14" fmla="*/ 23133 w 14"/>
                <a:gd name="T15" fmla="*/ 48192 h 28"/>
                <a:gd name="T16" fmla="*/ 17349 w 14"/>
                <a:gd name="T17" fmla="*/ 34698 h 28"/>
                <a:gd name="T18" fmla="*/ 25060 w 14"/>
                <a:gd name="T19" fmla="*/ 7711 h 28"/>
                <a:gd name="T20" fmla="*/ 25060 w 14"/>
                <a:gd name="T21" fmla="*/ 385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2" name="Freeform 561"/>
            <p:cNvSpPr>
              <a:spLocks noChangeAspect="1"/>
            </p:cNvSpPr>
            <p:nvPr/>
          </p:nvSpPr>
          <p:spPr bwMode="auto">
            <a:xfrm>
              <a:off x="7318936" y="2616584"/>
              <a:ext cx="17618" cy="43849"/>
            </a:xfrm>
            <a:custGeom>
              <a:avLst/>
              <a:gdLst>
                <a:gd name="T0" fmla="*/ 11641 w 9"/>
                <a:gd name="T1" fmla="*/ 1928 h 28"/>
                <a:gd name="T2" fmla="*/ 15522 w 9"/>
                <a:gd name="T3" fmla="*/ 3855 h 28"/>
                <a:gd name="T4" fmla="*/ 15522 w 9"/>
                <a:gd name="T5" fmla="*/ 28915 h 28"/>
                <a:gd name="T6" fmla="*/ 7761 w 9"/>
                <a:gd name="T7" fmla="*/ 36626 h 28"/>
                <a:gd name="T8" fmla="*/ 3880 w 9"/>
                <a:gd name="T9" fmla="*/ 52047 h 28"/>
                <a:gd name="T10" fmla="*/ 0 w 9"/>
                <a:gd name="T11" fmla="*/ 50120 h 28"/>
                <a:gd name="T12" fmla="*/ 9701 w 9"/>
                <a:gd name="T13" fmla="*/ 23132 h 28"/>
                <a:gd name="T14" fmla="*/ 11641 w 9"/>
                <a:gd name="T15" fmla="*/ 1928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3" name="Freeform 562"/>
            <p:cNvSpPr>
              <a:spLocks noChangeAspect="1"/>
            </p:cNvSpPr>
            <p:nvPr/>
          </p:nvSpPr>
          <p:spPr bwMode="auto">
            <a:xfrm>
              <a:off x="7338157" y="2615294"/>
              <a:ext cx="27229" cy="33532"/>
            </a:xfrm>
            <a:custGeom>
              <a:avLst/>
              <a:gdLst>
                <a:gd name="T0" fmla="*/ 3855 w 14"/>
                <a:gd name="T1" fmla="*/ 0 h 22"/>
                <a:gd name="T2" fmla="*/ 1928 w 14"/>
                <a:gd name="T3" fmla="*/ 1876 h 22"/>
                <a:gd name="T4" fmla="*/ 1928 w 14"/>
                <a:gd name="T5" fmla="*/ 15009 h 22"/>
                <a:gd name="T6" fmla="*/ 7711 w 14"/>
                <a:gd name="T7" fmla="*/ 16885 h 22"/>
                <a:gd name="T8" fmla="*/ 9638 w 14"/>
                <a:gd name="T9" fmla="*/ 11257 h 22"/>
                <a:gd name="T10" fmla="*/ 11566 w 14"/>
                <a:gd name="T11" fmla="*/ 15009 h 22"/>
                <a:gd name="T12" fmla="*/ 13494 w 14"/>
                <a:gd name="T13" fmla="*/ 33770 h 22"/>
                <a:gd name="T14" fmla="*/ 23132 w 14"/>
                <a:gd name="T15" fmla="*/ 39399 h 22"/>
                <a:gd name="T16" fmla="*/ 23132 w 14"/>
                <a:gd name="T17" fmla="*/ 30018 h 22"/>
                <a:gd name="T18" fmla="*/ 26987 w 14"/>
                <a:gd name="T19" fmla="*/ 28142 h 22"/>
                <a:gd name="T20" fmla="*/ 19276 w 14"/>
                <a:gd name="T21" fmla="*/ 18761 h 22"/>
                <a:gd name="T22" fmla="*/ 17349 w 14"/>
                <a:gd name="T23" fmla="*/ 5628 h 22"/>
                <a:gd name="T24" fmla="*/ 15421 w 14"/>
                <a:gd name="T25" fmla="*/ 0 h 22"/>
                <a:gd name="T26" fmla="*/ 3855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4" name="Freeform 563"/>
            <p:cNvSpPr>
              <a:spLocks noChangeAspect="1"/>
            </p:cNvSpPr>
            <p:nvPr/>
          </p:nvSpPr>
          <p:spPr bwMode="auto">
            <a:xfrm>
              <a:off x="7331749" y="2642378"/>
              <a:ext cx="16017" cy="14186"/>
            </a:xfrm>
            <a:custGeom>
              <a:avLst/>
              <a:gdLst>
                <a:gd name="T0" fmla="*/ 8819 w 9"/>
                <a:gd name="T1" fmla="*/ 1940 h 9"/>
                <a:gd name="T2" fmla="*/ 14111 w 9"/>
                <a:gd name="T3" fmla="*/ 3880 h 9"/>
                <a:gd name="T4" fmla="*/ 14111 w 9"/>
                <a:gd name="T5" fmla="*/ 13582 h 9"/>
                <a:gd name="T6" fmla="*/ 1764 w 9"/>
                <a:gd name="T7" fmla="*/ 17462 h 9"/>
                <a:gd name="T8" fmla="*/ 1764 w 9"/>
                <a:gd name="T9" fmla="*/ 13582 h 9"/>
                <a:gd name="T10" fmla="*/ 8819 w 9"/>
                <a:gd name="T11" fmla="*/ 1940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5" name="Freeform 564"/>
            <p:cNvSpPr>
              <a:spLocks noChangeAspect="1"/>
            </p:cNvSpPr>
            <p:nvPr/>
          </p:nvSpPr>
          <p:spPr bwMode="auto">
            <a:xfrm>
              <a:off x="7171579" y="2615294"/>
              <a:ext cx="59263" cy="69643"/>
            </a:xfrm>
            <a:custGeom>
              <a:avLst/>
              <a:gdLst>
                <a:gd name="T0" fmla="*/ 53053 w 31"/>
                <a:gd name="T1" fmla="*/ 1905 h 45"/>
                <a:gd name="T2" fmla="*/ 47369 w 31"/>
                <a:gd name="T3" fmla="*/ 1905 h 45"/>
                <a:gd name="T4" fmla="*/ 47369 w 31"/>
                <a:gd name="T5" fmla="*/ 11430 h 45"/>
                <a:gd name="T6" fmla="*/ 49263 w 31"/>
                <a:gd name="T7" fmla="*/ 20955 h 45"/>
                <a:gd name="T8" fmla="*/ 45474 w 31"/>
                <a:gd name="T9" fmla="*/ 19050 h 45"/>
                <a:gd name="T10" fmla="*/ 45474 w 31"/>
                <a:gd name="T11" fmla="*/ 24765 h 45"/>
                <a:gd name="T12" fmla="*/ 37895 w 31"/>
                <a:gd name="T13" fmla="*/ 32385 h 45"/>
                <a:gd name="T14" fmla="*/ 34105 w 31"/>
                <a:gd name="T15" fmla="*/ 36195 h 45"/>
                <a:gd name="T16" fmla="*/ 26526 w 31"/>
                <a:gd name="T17" fmla="*/ 49530 h 45"/>
                <a:gd name="T18" fmla="*/ 15158 w 31"/>
                <a:gd name="T19" fmla="*/ 60960 h 45"/>
                <a:gd name="T20" fmla="*/ 1895 w 31"/>
                <a:gd name="T21" fmla="*/ 78105 h 45"/>
                <a:gd name="T22" fmla="*/ 1895 w 31"/>
                <a:gd name="T23" fmla="*/ 83820 h 45"/>
                <a:gd name="T24" fmla="*/ 9474 w 31"/>
                <a:gd name="T25" fmla="*/ 80010 h 45"/>
                <a:gd name="T26" fmla="*/ 24632 w 31"/>
                <a:gd name="T27" fmla="*/ 64770 h 45"/>
                <a:gd name="T28" fmla="*/ 30316 w 31"/>
                <a:gd name="T29" fmla="*/ 51435 h 45"/>
                <a:gd name="T30" fmla="*/ 34105 w 31"/>
                <a:gd name="T31" fmla="*/ 43815 h 45"/>
                <a:gd name="T32" fmla="*/ 45474 w 31"/>
                <a:gd name="T33" fmla="*/ 38100 h 45"/>
                <a:gd name="T34" fmla="*/ 49263 w 31"/>
                <a:gd name="T35" fmla="*/ 32385 h 45"/>
                <a:gd name="T36" fmla="*/ 56842 w 31"/>
                <a:gd name="T37" fmla="*/ 32385 h 45"/>
                <a:gd name="T38" fmla="*/ 56842 w 31"/>
                <a:gd name="T39" fmla="*/ 24765 h 45"/>
                <a:gd name="T40" fmla="*/ 51158 w 31"/>
                <a:gd name="T41" fmla="*/ 15240 h 45"/>
                <a:gd name="T42" fmla="*/ 53053 w 31"/>
                <a:gd name="T43" fmla="*/ 7620 h 45"/>
                <a:gd name="T44" fmla="*/ 53053 w 31"/>
                <a:gd name="T45" fmla="*/ 1905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6" name="Freeform 565"/>
            <p:cNvSpPr>
              <a:spLocks noChangeAspect="1"/>
            </p:cNvSpPr>
            <p:nvPr/>
          </p:nvSpPr>
          <p:spPr bwMode="auto">
            <a:xfrm>
              <a:off x="7229240" y="2593370"/>
              <a:ext cx="16017" cy="10318"/>
            </a:xfrm>
            <a:custGeom>
              <a:avLst/>
              <a:gdLst>
                <a:gd name="T0" fmla="*/ 7938 w 8"/>
                <a:gd name="T1" fmla="*/ 3629 h 7"/>
                <a:gd name="T2" fmla="*/ 15875 w 8"/>
                <a:gd name="T3" fmla="*/ 10886 h 7"/>
                <a:gd name="T4" fmla="*/ 5953 w 8"/>
                <a:gd name="T5" fmla="*/ 10886 h 7"/>
                <a:gd name="T6" fmla="*/ 0 w 8"/>
                <a:gd name="T7" fmla="*/ 1814 h 7"/>
                <a:gd name="T8" fmla="*/ 7938 w 8"/>
                <a:gd name="T9" fmla="*/ 3629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7" name="Freeform 566"/>
            <p:cNvSpPr>
              <a:spLocks noChangeAspect="1"/>
            </p:cNvSpPr>
            <p:nvPr/>
          </p:nvSpPr>
          <p:spPr bwMode="auto">
            <a:xfrm>
              <a:off x="7275690" y="2532755"/>
              <a:ext cx="8009" cy="11608"/>
            </a:xfrm>
            <a:custGeom>
              <a:avLst/>
              <a:gdLst>
                <a:gd name="T0" fmla="*/ 1985 w 4"/>
                <a:gd name="T1" fmla="*/ 0 h 7"/>
                <a:gd name="T2" fmla="*/ 7938 w 4"/>
                <a:gd name="T3" fmla="*/ 4082 h 7"/>
                <a:gd name="T4" fmla="*/ 1985 w 4"/>
                <a:gd name="T5" fmla="*/ 8165 h 7"/>
                <a:gd name="T6" fmla="*/ 5953 w 4"/>
                <a:gd name="T7" fmla="*/ 12247 h 7"/>
                <a:gd name="T8" fmla="*/ 1985 w 4"/>
                <a:gd name="T9" fmla="*/ 14288 h 7"/>
                <a:gd name="T10" fmla="*/ 0 w 4"/>
                <a:gd name="T11" fmla="*/ 10206 h 7"/>
                <a:gd name="T12" fmla="*/ 1985 w 4"/>
                <a:gd name="T13" fmla="*/ 8165 h 7"/>
                <a:gd name="T14" fmla="*/ 0 w 4"/>
                <a:gd name="T15" fmla="*/ 4082 h 7"/>
                <a:gd name="T16" fmla="*/ 1985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8" name="Freeform 567"/>
            <p:cNvSpPr>
              <a:spLocks noChangeAspect="1"/>
            </p:cNvSpPr>
            <p:nvPr/>
          </p:nvSpPr>
          <p:spPr bwMode="auto">
            <a:xfrm>
              <a:off x="7333352" y="2554679"/>
              <a:ext cx="9610" cy="12897"/>
            </a:xfrm>
            <a:custGeom>
              <a:avLst/>
              <a:gdLst>
                <a:gd name="T0" fmla="*/ 1905 w 5"/>
                <a:gd name="T1" fmla="*/ 1984 h 8"/>
                <a:gd name="T2" fmla="*/ 5715 w 5"/>
                <a:gd name="T3" fmla="*/ 1984 h 8"/>
                <a:gd name="T4" fmla="*/ 7620 w 5"/>
                <a:gd name="T5" fmla="*/ 9922 h 8"/>
                <a:gd name="T6" fmla="*/ 1905 w 5"/>
                <a:gd name="T7" fmla="*/ 15875 h 8"/>
                <a:gd name="T8" fmla="*/ 1905 w 5"/>
                <a:gd name="T9" fmla="*/ 9922 h 8"/>
                <a:gd name="T10" fmla="*/ 1905 w 5"/>
                <a:gd name="T11" fmla="*/ 1984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9" name="Freeform 568"/>
            <p:cNvSpPr>
              <a:spLocks noChangeAspect="1"/>
            </p:cNvSpPr>
            <p:nvPr/>
          </p:nvSpPr>
          <p:spPr bwMode="auto">
            <a:xfrm>
              <a:off x="7381403" y="2261921"/>
              <a:ext cx="14416" cy="20635"/>
            </a:xfrm>
            <a:custGeom>
              <a:avLst/>
              <a:gdLst>
                <a:gd name="T0" fmla="*/ 8930 w 8"/>
                <a:gd name="T1" fmla="*/ 1954 h 13"/>
                <a:gd name="T2" fmla="*/ 12502 w 8"/>
                <a:gd name="T3" fmla="*/ 3908 h 13"/>
                <a:gd name="T4" fmla="*/ 1786 w 8"/>
                <a:gd name="T5" fmla="*/ 23446 h 13"/>
                <a:gd name="T6" fmla="*/ 0 w 8"/>
                <a:gd name="T7" fmla="*/ 21492 h 13"/>
                <a:gd name="T8" fmla="*/ 8930 w 8"/>
                <a:gd name="T9" fmla="*/ 1954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5" y="1"/>
                  </a:moveTo>
                  <a:cubicBezTo>
                    <a:pt x="6" y="0"/>
                    <a:pt x="8" y="1"/>
                    <a:pt x="7" y="2"/>
                  </a:cubicBezTo>
                  <a:cubicBezTo>
                    <a:pt x="6" y="5"/>
                    <a:pt x="4" y="9"/>
                    <a:pt x="1" y="12"/>
                  </a:cubicBezTo>
                  <a:cubicBezTo>
                    <a:pt x="1" y="13"/>
                    <a:pt x="0" y="12"/>
                    <a:pt x="0" y="11"/>
                  </a:cubicBezTo>
                  <a:cubicBezTo>
                    <a:pt x="1" y="7"/>
                    <a:pt x="3" y="4"/>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0" name="Freeform 569"/>
            <p:cNvSpPr>
              <a:spLocks noChangeAspect="1"/>
            </p:cNvSpPr>
            <p:nvPr/>
          </p:nvSpPr>
          <p:spPr bwMode="auto">
            <a:xfrm>
              <a:off x="7411835" y="2221942"/>
              <a:ext cx="16017" cy="10318"/>
            </a:xfrm>
            <a:custGeom>
              <a:avLst/>
              <a:gdLst>
                <a:gd name="T0" fmla="*/ 11906 w 8"/>
                <a:gd name="T1" fmla="*/ 0 h 7"/>
                <a:gd name="T2" fmla="*/ 13891 w 8"/>
                <a:gd name="T3" fmla="*/ 1814 h 7"/>
                <a:gd name="T4" fmla="*/ 5953 w 8"/>
                <a:gd name="T5" fmla="*/ 7257 h 7"/>
                <a:gd name="T6" fmla="*/ 7938 w 8"/>
                <a:gd name="T7" fmla="*/ 12700 h 7"/>
                <a:gd name="T8" fmla="*/ 0 w 8"/>
                <a:gd name="T9" fmla="*/ 7257 h 7"/>
                <a:gd name="T10" fmla="*/ 7938 w 8"/>
                <a:gd name="T11" fmla="*/ 1814 h 7"/>
                <a:gd name="T12" fmla="*/ 11906 w 8"/>
                <a:gd name="T13" fmla="*/ 0 h 7"/>
                <a:gd name="T14" fmla="*/ 0 60000 65536"/>
                <a:gd name="T15" fmla="*/ 0 60000 65536"/>
                <a:gd name="T16" fmla="*/ 0 60000 65536"/>
                <a:gd name="T17" fmla="*/ 0 60000 65536"/>
                <a:gd name="T18" fmla="*/ 0 60000 65536"/>
                <a:gd name="T19" fmla="*/ 0 60000 65536"/>
                <a:gd name="T20" fmla="*/ 0 60000 65536"/>
                <a:gd name="T21" fmla="*/ 0 w 8"/>
                <a:gd name="T22" fmla="*/ 0 h 7"/>
                <a:gd name="T23" fmla="*/ 8 w 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7">
                  <a:moveTo>
                    <a:pt x="6" y="0"/>
                  </a:moveTo>
                  <a:cubicBezTo>
                    <a:pt x="7" y="0"/>
                    <a:pt x="8" y="1"/>
                    <a:pt x="7" y="1"/>
                  </a:cubicBezTo>
                  <a:cubicBezTo>
                    <a:pt x="6" y="3"/>
                    <a:pt x="4" y="3"/>
                    <a:pt x="3" y="4"/>
                  </a:cubicBezTo>
                  <a:cubicBezTo>
                    <a:pt x="3" y="5"/>
                    <a:pt x="4" y="7"/>
                    <a:pt x="4" y="7"/>
                  </a:cubicBezTo>
                  <a:cubicBezTo>
                    <a:pt x="2" y="7"/>
                    <a:pt x="0" y="6"/>
                    <a:pt x="0" y="4"/>
                  </a:cubicBezTo>
                  <a:cubicBezTo>
                    <a:pt x="0" y="2"/>
                    <a:pt x="3" y="2"/>
                    <a:pt x="4" y="1"/>
                  </a:cubicBezTo>
                  <a:cubicBezTo>
                    <a:pt x="5" y="0"/>
                    <a:pt x="5" y="0"/>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1" name="Freeform 570"/>
            <p:cNvSpPr>
              <a:spLocks noChangeAspect="1"/>
            </p:cNvSpPr>
            <p:nvPr/>
          </p:nvSpPr>
          <p:spPr bwMode="auto">
            <a:xfrm>
              <a:off x="8605110" y="3260133"/>
              <a:ext cx="38441" cy="21925"/>
            </a:xfrm>
            <a:custGeom>
              <a:avLst/>
              <a:gdLst>
                <a:gd name="T0" fmla="*/ 28575 w 20"/>
                <a:gd name="T1" fmla="*/ 1928 h 14"/>
                <a:gd name="T2" fmla="*/ 19050 w 20"/>
                <a:gd name="T3" fmla="*/ 1928 h 14"/>
                <a:gd name="T4" fmla="*/ 7620 w 20"/>
                <a:gd name="T5" fmla="*/ 9639 h 14"/>
                <a:gd name="T6" fmla="*/ 7620 w 20"/>
                <a:gd name="T7" fmla="*/ 11566 h 14"/>
                <a:gd name="T8" fmla="*/ 1905 w 20"/>
                <a:gd name="T9" fmla="*/ 19277 h 14"/>
                <a:gd name="T10" fmla="*/ 5715 w 20"/>
                <a:gd name="T11" fmla="*/ 25060 h 14"/>
                <a:gd name="T12" fmla="*/ 30480 w 20"/>
                <a:gd name="T13" fmla="*/ 25060 h 14"/>
                <a:gd name="T14" fmla="*/ 38100 w 20"/>
                <a:gd name="T15" fmla="*/ 19277 h 14"/>
                <a:gd name="T16" fmla="*/ 34290 w 20"/>
                <a:gd name="T17" fmla="*/ 3855 h 14"/>
                <a:gd name="T18" fmla="*/ 28575 w 20"/>
                <a:gd name="T19" fmla="*/ 1928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2" name="Freeform 571"/>
            <p:cNvSpPr>
              <a:spLocks noChangeAspect="1"/>
            </p:cNvSpPr>
            <p:nvPr/>
          </p:nvSpPr>
          <p:spPr bwMode="auto">
            <a:xfrm>
              <a:off x="8643551" y="3234340"/>
              <a:ext cx="33637" cy="16766"/>
            </a:xfrm>
            <a:custGeom>
              <a:avLst/>
              <a:gdLst>
                <a:gd name="T0" fmla="*/ 27455 w 17"/>
                <a:gd name="T1" fmla="*/ 0 h 11"/>
                <a:gd name="T2" fmla="*/ 19611 w 17"/>
                <a:gd name="T3" fmla="*/ 7505 h 11"/>
                <a:gd name="T4" fmla="*/ 1961 w 17"/>
                <a:gd name="T5" fmla="*/ 13133 h 11"/>
                <a:gd name="T6" fmla="*/ 5883 w 17"/>
                <a:gd name="T7" fmla="*/ 20638 h 11"/>
                <a:gd name="T8" fmla="*/ 17650 w 17"/>
                <a:gd name="T9" fmla="*/ 16886 h 11"/>
                <a:gd name="T10" fmla="*/ 25494 w 17"/>
                <a:gd name="T11" fmla="*/ 16886 h 11"/>
                <a:gd name="T12" fmla="*/ 33338 w 17"/>
                <a:gd name="T13" fmla="*/ 3752 h 11"/>
                <a:gd name="T14" fmla="*/ 27455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3" name="Freeform 572"/>
            <p:cNvSpPr>
              <a:spLocks noChangeAspect="1"/>
            </p:cNvSpPr>
            <p:nvPr/>
          </p:nvSpPr>
          <p:spPr bwMode="auto">
            <a:xfrm>
              <a:off x="8358448" y="3198229"/>
              <a:ext cx="16017" cy="27084"/>
            </a:xfrm>
            <a:custGeom>
              <a:avLst/>
              <a:gdLst>
                <a:gd name="T0" fmla="*/ 0 w 9"/>
                <a:gd name="T1" fmla="*/ 1961 h 17"/>
                <a:gd name="T2" fmla="*/ 3528 w 9"/>
                <a:gd name="T3" fmla="*/ 1961 h 17"/>
                <a:gd name="T4" fmla="*/ 5292 w 9"/>
                <a:gd name="T5" fmla="*/ 15688 h 17"/>
                <a:gd name="T6" fmla="*/ 8819 w 9"/>
                <a:gd name="T7" fmla="*/ 13727 h 17"/>
                <a:gd name="T8" fmla="*/ 10583 w 9"/>
                <a:gd name="T9" fmla="*/ 5883 h 17"/>
                <a:gd name="T10" fmla="*/ 15875 w 9"/>
                <a:gd name="T11" fmla="*/ 7844 h 17"/>
                <a:gd name="T12" fmla="*/ 15875 w 9"/>
                <a:gd name="T13" fmla="*/ 19611 h 17"/>
                <a:gd name="T14" fmla="*/ 15875 w 9"/>
                <a:gd name="T15" fmla="*/ 27455 h 17"/>
                <a:gd name="T16" fmla="*/ 8819 w 9"/>
                <a:gd name="T17" fmla="*/ 29416 h 17"/>
                <a:gd name="T18" fmla="*/ 1764 w 9"/>
                <a:gd name="T19" fmla="*/ 31377 h 17"/>
                <a:gd name="T20" fmla="*/ 0 w 9"/>
                <a:gd name="T21" fmla="*/ 23533 h 17"/>
                <a:gd name="T22" fmla="*/ 0 w 9"/>
                <a:gd name="T23" fmla="*/ 196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4" name="Freeform 573"/>
            <p:cNvSpPr>
              <a:spLocks noChangeAspect="1"/>
            </p:cNvSpPr>
            <p:nvPr/>
          </p:nvSpPr>
          <p:spPr bwMode="auto">
            <a:xfrm>
              <a:off x="8369659" y="3227892"/>
              <a:ext cx="14415" cy="15476"/>
            </a:xfrm>
            <a:custGeom>
              <a:avLst/>
              <a:gdLst>
                <a:gd name="T0" fmla="*/ 5358 w 8"/>
                <a:gd name="T1" fmla="*/ 1905 h 10"/>
                <a:gd name="T2" fmla="*/ 14287 w 8"/>
                <a:gd name="T3" fmla="*/ 17145 h 10"/>
                <a:gd name="T4" fmla="*/ 5358 w 8"/>
                <a:gd name="T5" fmla="*/ 19050 h 10"/>
                <a:gd name="T6" fmla="*/ 3572 w 8"/>
                <a:gd name="T7" fmla="*/ 13335 h 10"/>
                <a:gd name="T8" fmla="*/ 0 w 8"/>
                <a:gd name="T9" fmla="*/ 3810 h 10"/>
                <a:gd name="T10" fmla="*/ 5358 w 8"/>
                <a:gd name="T11" fmla="*/ 1905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5" name="Freeform 574"/>
            <p:cNvSpPr>
              <a:spLocks noChangeAspect="1"/>
            </p:cNvSpPr>
            <p:nvPr/>
          </p:nvSpPr>
          <p:spPr bwMode="auto">
            <a:xfrm>
              <a:off x="8281564" y="3324617"/>
              <a:ext cx="64069" cy="54167"/>
            </a:xfrm>
            <a:custGeom>
              <a:avLst/>
              <a:gdLst>
                <a:gd name="T0" fmla="*/ 1868 w 34"/>
                <a:gd name="T1" fmla="*/ 0 h 35"/>
                <a:gd name="T2" fmla="*/ 0 w 34"/>
                <a:gd name="T3" fmla="*/ 3810 h 35"/>
                <a:gd name="T4" fmla="*/ 3735 w 34"/>
                <a:gd name="T5" fmla="*/ 15240 h 35"/>
                <a:gd name="T6" fmla="*/ 11206 w 34"/>
                <a:gd name="T7" fmla="*/ 22860 h 35"/>
                <a:gd name="T8" fmla="*/ 16809 w 34"/>
                <a:gd name="T9" fmla="*/ 34290 h 35"/>
                <a:gd name="T10" fmla="*/ 31750 w 34"/>
                <a:gd name="T11" fmla="*/ 47625 h 35"/>
                <a:gd name="T12" fmla="*/ 42956 w 34"/>
                <a:gd name="T13" fmla="*/ 51435 h 35"/>
                <a:gd name="T14" fmla="*/ 44824 w 34"/>
                <a:gd name="T15" fmla="*/ 62865 h 35"/>
                <a:gd name="T16" fmla="*/ 59765 w 34"/>
                <a:gd name="T17" fmla="*/ 64770 h 35"/>
                <a:gd name="T18" fmla="*/ 59765 w 34"/>
                <a:gd name="T19" fmla="*/ 53340 h 35"/>
                <a:gd name="T20" fmla="*/ 41088 w 34"/>
                <a:gd name="T21" fmla="*/ 40005 h 35"/>
                <a:gd name="T22" fmla="*/ 29882 w 34"/>
                <a:gd name="T23" fmla="*/ 22860 h 35"/>
                <a:gd name="T24" fmla="*/ 14941 w 34"/>
                <a:gd name="T25" fmla="*/ 7620 h 35"/>
                <a:gd name="T26" fmla="*/ 1868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6" name="Freeform 575"/>
            <p:cNvSpPr>
              <a:spLocks noChangeAspect="1"/>
            </p:cNvSpPr>
            <p:nvPr/>
          </p:nvSpPr>
          <p:spPr bwMode="auto">
            <a:xfrm>
              <a:off x="8350439" y="3336224"/>
              <a:ext cx="11212" cy="14186"/>
            </a:xfrm>
            <a:custGeom>
              <a:avLst/>
              <a:gdLst>
                <a:gd name="T0" fmla="*/ 7408 w 6"/>
                <a:gd name="T1" fmla="*/ 1940 h 9"/>
                <a:gd name="T2" fmla="*/ 9260 w 6"/>
                <a:gd name="T3" fmla="*/ 11641 h 9"/>
                <a:gd name="T4" fmla="*/ 9260 w 6"/>
                <a:gd name="T5" fmla="*/ 17462 h 9"/>
                <a:gd name="T6" fmla="*/ 1852 w 6"/>
                <a:gd name="T7" fmla="*/ 11641 h 9"/>
                <a:gd name="T8" fmla="*/ 3704 w 6"/>
                <a:gd name="T9" fmla="*/ 3880 h 9"/>
                <a:gd name="T10" fmla="*/ 7408 w 6"/>
                <a:gd name="T11" fmla="*/ 1940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7" name="Freeform 576"/>
            <p:cNvSpPr>
              <a:spLocks noChangeAspect="1"/>
            </p:cNvSpPr>
            <p:nvPr/>
          </p:nvSpPr>
          <p:spPr bwMode="auto">
            <a:xfrm>
              <a:off x="8368057" y="3351700"/>
              <a:ext cx="9610" cy="9027"/>
            </a:xfrm>
            <a:custGeom>
              <a:avLst/>
              <a:gdLst>
                <a:gd name="T0" fmla="*/ 3810 w 5"/>
                <a:gd name="T1" fmla="*/ 1852 h 6"/>
                <a:gd name="T2" fmla="*/ 9525 w 5"/>
                <a:gd name="T3" fmla="*/ 5556 h 6"/>
                <a:gd name="T4" fmla="*/ 3810 w 5"/>
                <a:gd name="T5" fmla="*/ 11112 h 6"/>
                <a:gd name="T6" fmla="*/ 0 w 5"/>
                <a:gd name="T7" fmla="*/ 9260 h 6"/>
                <a:gd name="T8" fmla="*/ 3810 w 5"/>
                <a:gd name="T9" fmla="*/ 185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8" name="Freeform 577"/>
            <p:cNvSpPr>
              <a:spLocks noChangeAspect="1"/>
            </p:cNvSpPr>
            <p:nvPr/>
          </p:nvSpPr>
          <p:spPr bwMode="auto">
            <a:xfrm>
              <a:off x="7043441" y="3111821"/>
              <a:ext cx="953018" cy="661605"/>
            </a:xfrm>
            <a:custGeom>
              <a:avLst/>
              <a:gdLst>
                <a:gd name="T0" fmla="*/ 137114 w 496"/>
                <a:gd name="T1" fmla="*/ 268919 h 427"/>
                <a:gd name="T2" fmla="*/ 205671 w 496"/>
                <a:gd name="T3" fmla="*/ 246033 h 427"/>
                <a:gd name="T4" fmla="*/ 236141 w 496"/>
                <a:gd name="T5" fmla="*/ 198352 h 427"/>
                <a:gd name="T6" fmla="*/ 258993 w 496"/>
                <a:gd name="T7" fmla="*/ 156393 h 427"/>
                <a:gd name="T8" fmla="*/ 272323 w 496"/>
                <a:gd name="T9" fmla="*/ 164022 h 427"/>
                <a:gd name="T10" fmla="*/ 300889 w 496"/>
                <a:gd name="T11" fmla="*/ 152578 h 427"/>
                <a:gd name="T12" fmla="*/ 297080 w 496"/>
                <a:gd name="T13" fmla="*/ 127784 h 427"/>
                <a:gd name="T14" fmla="*/ 312315 w 496"/>
                <a:gd name="T15" fmla="*/ 106805 h 427"/>
                <a:gd name="T16" fmla="*/ 344689 w 496"/>
                <a:gd name="T17" fmla="*/ 89640 h 427"/>
                <a:gd name="T18" fmla="*/ 382776 w 496"/>
                <a:gd name="T19" fmla="*/ 114434 h 427"/>
                <a:gd name="T20" fmla="*/ 403724 w 496"/>
                <a:gd name="T21" fmla="*/ 122063 h 427"/>
                <a:gd name="T22" fmla="*/ 432289 w 496"/>
                <a:gd name="T23" fmla="*/ 133506 h 427"/>
                <a:gd name="T24" fmla="*/ 415150 w 496"/>
                <a:gd name="T25" fmla="*/ 101083 h 427"/>
                <a:gd name="T26" fmla="*/ 457046 w 496"/>
                <a:gd name="T27" fmla="*/ 51495 h 427"/>
                <a:gd name="T28" fmla="*/ 500846 w 496"/>
                <a:gd name="T29" fmla="*/ 38145 h 427"/>
                <a:gd name="T30" fmla="*/ 491325 w 496"/>
                <a:gd name="T31" fmla="*/ 17165 h 427"/>
                <a:gd name="T32" fmla="*/ 533221 w 496"/>
                <a:gd name="T33" fmla="*/ 36237 h 427"/>
                <a:gd name="T34" fmla="*/ 578925 w 496"/>
                <a:gd name="T35" fmla="*/ 47681 h 427"/>
                <a:gd name="T36" fmla="*/ 567499 w 496"/>
                <a:gd name="T37" fmla="*/ 78196 h 427"/>
                <a:gd name="T38" fmla="*/ 609395 w 496"/>
                <a:gd name="T39" fmla="*/ 152578 h 427"/>
                <a:gd name="T40" fmla="*/ 679856 w 496"/>
                <a:gd name="T41" fmla="*/ 192630 h 427"/>
                <a:gd name="T42" fmla="*/ 710326 w 496"/>
                <a:gd name="T43" fmla="*/ 61031 h 427"/>
                <a:gd name="T44" fmla="*/ 735083 w 496"/>
                <a:gd name="T45" fmla="*/ 1907 h 427"/>
                <a:gd name="T46" fmla="*/ 750317 w 496"/>
                <a:gd name="T47" fmla="*/ 47681 h 427"/>
                <a:gd name="T48" fmla="*/ 778883 w 496"/>
                <a:gd name="T49" fmla="*/ 93454 h 427"/>
                <a:gd name="T50" fmla="*/ 803639 w 496"/>
                <a:gd name="T51" fmla="*/ 173558 h 427"/>
                <a:gd name="T52" fmla="*/ 824587 w 496"/>
                <a:gd name="T53" fmla="*/ 242218 h 427"/>
                <a:gd name="T54" fmla="*/ 858866 w 496"/>
                <a:gd name="T55" fmla="*/ 265105 h 427"/>
                <a:gd name="T56" fmla="*/ 874101 w 496"/>
                <a:gd name="T57" fmla="*/ 324229 h 427"/>
                <a:gd name="T58" fmla="*/ 902666 w 496"/>
                <a:gd name="T59" fmla="*/ 328043 h 427"/>
                <a:gd name="T60" fmla="*/ 925518 w 496"/>
                <a:gd name="T61" fmla="*/ 383353 h 427"/>
                <a:gd name="T62" fmla="*/ 944562 w 496"/>
                <a:gd name="T63" fmla="*/ 440570 h 427"/>
                <a:gd name="T64" fmla="*/ 927423 w 496"/>
                <a:gd name="T65" fmla="*/ 551189 h 427"/>
                <a:gd name="T66" fmla="*/ 868388 w 496"/>
                <a:gd name="T67" fmla="*/ 650365 h 427"/>
                <a:gd name="T68" fmla="*/ 830300 w 496"/>
                <a:gd name="T69" fmla="*/ 707582 h 427"/>
                <a:gd name="T70" fmla="*/ 757935 w 496"/>
                <a:gd name="T71" fmla="*/ 783871 h 427"/>
                <a:gd name="T72" fmla="*/ 696995 w 496"/>
                <a:gd name="T73" fmla="*/ 797222 h 427"/>
                <a:gd name="T74" fmla="*/ 670334 w 496"/>
                <a:gd name="T75" fmla="*/ 801036 h 427"/>
                <a:gd name="T76" fmla="*/ 611299 w 496"/>
                <a:gd name="T77" fmla="*/ 795315 h 427"/>
                <a:gd name="T78" fmla="*/ 578925 w 496"/>
                <a:gd name="T79" fmla="*/ 745727 h 427"/>
                <a:gd name="T80" fmla="*/ 546551 w 496"/>
                <a:gd name="T81" fmla="*/ 715211 h 427"/>
                <a:gd name="T82" fmla="*/ 546551 w 496"/>
                <a:gd name="T83" fmla="*/ 673252 h 427"/>
                <a:gd name="T84" fmla="*/ 523699 w 496"/>
                <a:gd name="T85" fmla="*/ 690417 h 427"/>
                <a:gd name="T86" fmla="*/ 552264 w 496"/>
                <a:gd name="T87" fmla="*/ 629386 h 427"/>
                <a:gd name="T88" fmla="*/ 498942 w 496"/>
                <a:gd name="T89" fmla="*/ 686603 h 427"/>
                <a:gd name="T90" fmla="*/ 476090 w 496"/>
                <a:gd name="T91" fmla="*/ 644644 h 427"/>
                <a:gd name="T92" fmla="*/ 428481 w 496"/>
                <a:gd name="T93" fmla="*/ 608406 h 427"/>
                <a:gd name="T94" fmla="*/ 281845 w 496"/>
                <a:gd name="T95" fmla="*/ 612221 h 427"/>
                <a:gd name="T96" fmla="*/ 177105 w 496"/>
                <a:gd name="T97" fmla="*/ 659901 h 427"/>
                <a:gd name="T98" fmla="*/ 79983 w 496"/>
                <a:gd name="T99" fmla="*/ 696139 h 427"/>
                <a:gd name="T100" fmla="*/ 13331 w 496"/>
                <a:gd name="T101" fmla="*/ 652273 h 427"/>
                <a:gd name="T102" fmla="*/ 28565 w 496"/>
                <a:gd name="T103" fmla="*/ 579798 h 427"/>
                <a:gd name="T104" fmla="*/ 0 w 496"/>
                <a:gd name="T105" fmla="*/ 440570 h 427"/>
                <a:gd name="T106" fmla="*/ 22852 w 496"/>
                <a:gd name="T107" fmla="*/ 444384 h 427"/>
                <a:gd name="T108" fmla="*/ 20948 w 496"/>
                <a:gd name="T109" fmla="*/ 343301 h 427"/>
                <a:gd name="T110" fmla="*/ 32374 w 496"/>
                <a:gd name="T111" fmla="*/ 326136 h 427"/>
                <a:gd name="T112" fmla="*/ 87601 w 496"/>
                <a:gd name="T113" fmla="*/ 282270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9" name="Freeform 578"/>
            <p:cNvSpPr>
              <a:spLocks noChangeAspect="1"/>
            </p:cNvSpPr>
            <p:nvPr/>
          </p:nvSpPr>
          <p:spPr bwMode="auto">
            <a:xfrm>
              <a:off x="7491921" y="3123428"/>
              <a:ext cx="27229" cy="11608"/>
            </a:xfrm>
            <a:custGeom>
              <a:avLst/>
              <a:gdLst>
                <a:gd name="T0" fmla="*/ 1928 w 14"/>
                <a:gd name="T1" fmla="*/ 0 h 8"/>
                <a:gd name="T2" fmla="*/ 7711 w 14"/>
                <a:gd name="T3" fmla="*/ 7144 h 8"/>
                <a:gd name="T4" fmla="*/ 21204 w 14"/>
                <a:gd name="T5" fmla="*/ 1786 h 8"/>
                <a:gd name="T6" fmla="*/ 25059 w 14"/>
                <a:gd name="T7" fmla="*/ 7144 h 8"/>
                <a:gd name="T8" fmla="*/ 11566 w 14"/>
                <a:gd name="T9" fmla="*/ 14288 h 8"/>
                <a:gd name="T10" fmla="*/ 1928 w 14"/>
                <a:gd name="T11" fmla="*/ 10716 h 8"/>
                <a:gd name="T12" fmla="*/ 0 w 14"/>
                <a:gd name="T13" fmla="*/ 1786 h 8"/>
                <a:gd name="T14" fmla="*/ 1928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0" name="Freeform 579"/>
            <p:cNvSpPr>
              <a:spLocks noChangeAspect="1"/>
            </p:cNvSpPr>
            <p:nvPr/>
          </p:nvSpPr>
          <p:spPr bwMode="auto">
            <a:xfrm>
              <a:off x="7482311" y="3126007"/>
              <a:ext cx="9610" cy="9029"/>
            </a:xfrm>
            <a:custGeom>
              <a:avLst/>
              <a:gdLst>
                <a:gd name="T0" fmla="*/ 5715 w 5"/>
                <a:gd name="T1" fmla="*/ 0 h 6"/>
                <a:gd name="T2" fmla="*/ 0 w 5"/>
                <a:gd name="T3" fmla="*/ 9261 h 6"/>
                <a:gd name="T4" fmla="*/ 9525 w 5"/>
                <a:gd name="T5" fmla="*/ 9261 h 6"/>
                <a:gd name="T6" fmla="*/ 5715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1" name="Freeform 580"/>
            <p:cNvSpPr>
              <a:spLocks noChangeAspect="1"/>
            </p:cNvSpPr>
            <p:nvPr/>
          </p:nvSpPr>
          <p:spPr bwMode="auto">
            <a:xfrm>
              <a:off x="7624863" y="3180174"/>
              <a:ext cx="19221" cy="12897"/>
            </a:xfrm>
            <a:custGeom>
              <a:avLst/>
              <a:gdLst>
                <a:gd name="T0" fmla="*/ 3810 w 10"/>
                <a:gd name="T1" fmla="*/ 1984 h 8"/>
                <a:gd name="T2" fmla="*/ 3810 w 10"/>
                <a:gd name="T3" fmla="*/ 11906 h 8"/>
                <a:gd name="T4" fmla="*/ 17145 w 10"/>
                <a:gd name="T5" fmla="*/ 13891 h 8"/>
                <a:gd name="T6" fmla="*/ 15240 w 10"/>
                <a:gd name="T7" fmla="*/ 7938 h 8"/>
                <a:gd name="T8" fmla="*/ 17145 w 10"/>
                <a:gd name="T9" fmla="*/ 1984 h 8"/>
                <a:gd name="T10" fmla="*/ 11430 w 10"/>
                <a:gd name="T11" fmla="*/ 3969 h 8"/>
                <a:gd name="T12" fmla="*/ 7620 w 10"/>
                <a:gd name="T13" fmla="*/ 0 h 8"/>
                <a:gd name="T14" fmla="*/ 7620 w 10"/>
                <a:gd name="T15" fmla="*/ 3969 h 8"/>
                <a:gd name="T16" fmla="*/ 3810 w 10"/>
                <a:gd name="T17" fmla="*/ 1984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2" name="Freeform 581"/>
            <p:cNvSpPr>
              <a:spLocks noChangeAspect="1"/>
            </p:cNvSpPr>
            <p:nvPr/>
          </p:nvSpPr>
          <p:spPr bwMode="auto">
            <a:xfrm>
              <a:off x="7640880" y="3217575"/>
              <a:ext cx="8009" cy="9027"/>
            </a:xfrm>
            <a:custGeom>
              <a:avLst/>
              <a:gdLst>
                <a:gd name="T0" fmla="*/ 5953 w 4"/>
                <a:gd name="T1" fmla="*/ 1852 h 6"/>
                <a:gd name="T2" fmla="*/ 5953 w 4"/>
                <a:gd name="T3" fmla="*/ 11112 h 6"/>
                <a:gd name="T4" fmla="*/ 0 w 4"/>
                <a:gd name="T5" fmla="*/ 9260 h 6"/>
                <a:gd name="T6" fmla="*/ 0 w 4"/>
                <a:gd name="T7" fmla="*/ 3704 h 6"/>
                <a:gd name="T8" fmla="*/ 5953 w 4"/>
                <a:gd name="T9" fmla="*/ 1852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3" name="Freeform 582"/>
            <p:cNvSpPr>
              <a:spLocks noChangeAspect="1"/>
            </p:cNvSpPr>
            <p:nvPr/>
          </p:nvSpPr>
          <p:spPr bwMode="auto">
            <a:xfrm>
              <a:off x="7996460" y="3435530"/>
              <a:ext cx="11213" cy="18056"/>
            </a:xfrm>
            <a:custGeom>
              <a:avLst/>
              <a:gdLst>
                <a:gd name="T0" fmla="*/ 9261 w 6"/>
                <a:gd name="T1" fmla="*/ 0 h 12"/>
                <a:gd name="T2" fmla="*/ 11113 w 6"/>
                <a:gd name="T3" fmla="*/ 3704 h 12"/>
                <a:gd name="T4" fmla="*/ 3704 w 6"/>
                <a:gd name="T5" fmla="*/ 22225 h 12"/>
                <a:gd name="T6" fmla="*/ 0 w 6"/>
                <a:gd name="T7" fmla="*/ 18521 h 12"/>
                <a:gd name="T8" fmla="*/ 1852 w 6"/>
                <a:gd name="T9" fmla="*/ 7408 h 12"/>
                <a:gd name="T10" fmla="*/ 9261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4" name="Freeform 583"/>
            <p:cNvSpPr>
              <a:spLocks noChangeAspect="1"/>
            </p:cNvSpPr>
            <p:nvPr/>
          </p:nvSpPr>
          <p:spPr bwMode="auto">
            <a:xfrm>
              <a:off x="7794645" y="3792771"/>
              <a:ext cx="9610" cy="15476"/>
            </a:xfrm>
            <a:custGeom>
              <a:avLst/>
              <a:gdLst>
                <a:gd name="T0" fmla="*/ 0 w 5"/>
                <a:gd name="T1" fmla="*/ 3810 h 10"/>
                <a:gd name="T2" fmla="*/ 5715 w 5"/>
                <a:gd name="T3" fmla="*/ 1905 h 10"/>
                <a:gd name="T4" fmla="*/ 9525 w 5"/>
                <a:gd name="T5" fmla="*/ 11430 h 10"/>
                <a:gd name="T6" fmla="*/ 7620 w 5"/>
                <a:gd name="T7" fmla="*/ 19050 h 10"/>
                <a:gd name="T8" fmla="*/ 1905 w 5"/>
                <a:gd name="T9" fmla="*/ 13335 h 10"/>
                <a:gd name="T10" fmla="*/ 0 w 5"/>
                <a:gd name="T11" fmla="*/ 381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5" name="Freeform 584"/>
            <p:cNvSpPr>
              <a:spLocks noChangeAspect="1"/>
            </p:cNvSpPr>
            <p:nvPr/>
          </p:nvSpPr>
          <p:spPr bwMode="auto">
            <a:xfrm>
              <a:off x="7712958" y="3815985"/>
              <a:ext cx="81687" cy="77381"/>
            </a:xfrm>
            <a:custGeom>
              <a:avLst/>
              <a:gdLst>
                <a:gd name="T0" fmla="*/ 30843 w 42"/>
                <a:gd name="T1" fmla="*/ 15240 h 50"/>
                <a:gd name="T2" fmla="*/ 46264 w 42"/>
                <a:gd name="T3" fmla="*/ 15240 h 50"/>
                <a:gd name="T4" fmla="*/ 63613 w 42"/>
                <a:gd name="T5" fmla="*/ 11430 h 50"/>
                <a:gd name="T6" fmla="*/ 77107 w 42"/>
                <a:gd name="T7" fmla="*/ 7620 h 50"/>
                <a:gd name="T8" fmla="*/ 80962 w 42"/>
                <a:gd name="T9" fmla="*/ 15240 h 50"/>
                <a:gd name="T10" fmla="*/ 75179 w 42"/>
                <a:gd name="T11" fmla="*/ 43815 h 50"/>
                <a:gd name="T12" fmla="*/ 69396 w 42"/>
                <a:gd name="T13" fmla="*/ 51435 h 50"/>
                <a:gd name="T14" fmla="*/ 61685 w 42"/>
                <a:gd name="T15" fmla="*/ 68580 h 50"/>
                <a:gd name="T16" fmla="*/ 59758 w 42"/>
                <a:gd name="T17" fmla="*/ 81915 h 50"/>
                <a:gd name="T18" fmla="*/ 55902 w 42"/>
                <a:gd name="T19" fmla="*/ 81915 h 50"/>
                <a:gd name="T20" fmla="*/ 53975 w 42"/>
                <a:gd name="T21" fmla="*/ 72390 h 50"/>
                <a:gd name="T22" fmla="*/ 48192 w 42"/>
                <a:gd name="T23" fmla="*/ 76200 h 50"/>
                <a:gd name="T24" fmla="*/ 44336 w 42"/>
                <a:gd name="T25" fmla="*/ 80010 h 50"/>
                <a:gd name="T26" fmla="*/ 36626 w 42"/>
                <a:gd name="T27" fmla="*/ 83820 h 50"/>
                <a:gd name="T28" fmla="*/ 28915 w 42"/>
                <a:gd name="T29" fmla="*/ 93345 h 50"/>
                <a:gd name="T30" fmla="*/ 25060 w 42"/>
                <a:gd name="T31" fmla="*/ 89535 h 50"/>
                <a:gd name="T32" fmla="*/ 15421 w 42"/>
                <a:gd name="T33" fmla="*/ 91440 h 50"/>
                <a:gd name="T34" fmla="*/ 9638 w 42"/>
                <a:gd name="T35" fmla="*/ 81915 h 50"/>
                <a:gd name="T36" fmla="*/ 3855 w 42"/>
                <a:gd name="T37" fmla="*/ 68580 h 50"/>
                <a:gd name="T38" fmla="*/ 3855 w 42"/>
                <a:gd name="T39" fmla="*/ 53340 h 50"/>
                <a:gd name="T40" fmla="*/ 9638 w 42"/>
                <a:gd name="T41" fmla="*/ 53340 h 50"/>
                <a:gd name="T42" fmla="*/ 0 w 42"/>
                <a:gd name="T43" fmla="*/ 28575 h 50"/>
                <a:gd name="T44" fmla="*/ 0 w 42"/>
                <a:gd name="T45" fmla="*/ 11430 h 50"/>
                <a:gd name="T46" fmla="*/ 5783 w 42"/>
                <a:gd name="T47" fmla="*/ 1905 h 50"/>
                <a:gd name="T48" fmla="*/ 15421 w 42"/>
                <a:gd name="T49" fmla="*/ 7620 h 50"/>
                <a:gd name="T50" fmla="*/ 30843 w 42"/>
                <a:gd name="T51" fmla="*/ 1524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6" name="Freeform 585"/>
            <p:cNvSpPr>
              <a:spLocks noChangeAspect="1"/>
            </p:cNvSpPr>
            <p:nvPr/>
          </p:nvSpPr>
          <p:spPr bwMode="auto">
            <a:xfrm>
              <a:off x="7554387" y="3690886"/>
              <a:ext cx="36840" cy="14187"/>
            </a:xfrm>
            <a:custGeom>
              <a:avLst/>
              <a:gdLst>
                <a:gd name="T0" fmla="*/ 1922 w 19"/>
                <a:gd name="T1" fmla="*/ 3881 h 9"/>
                <a:gd name="T2" fmla="*/ 0 w 19"/>
                <a:gd name="T3" fmla="*/ 9702 h 9"/>
                <a:gd name="T4" fmla="*/ 9609 w 19"/>
                <a:gd name="T5" fmla="*/ 15523 h 9"/>
                <a:gd name="T6" fmla="*/ 15374 w 19"/>
                <a:gd name="T7" fmla="*/ 13582 h 9"/>
                <a:gd name="T8" fmla="*/ 21139 w 19"/>
                <a:gd name="T9" fmla="*/ 15523 h 9"/>
                <a:gd name="T10" fmla="*/ 28826 w 19"/>
                <a:gd name="T11" fmla="*/ 7761 h 9"/>
                <a:gd name="T12" fmla="*/ 34591 w 19"/>
                <a:gd name="T13" fmla="*/ 9702 h 9"/>
                <a:gd name="T14" fmla="*/ 36513 w 19"/>
                <a:gd name="T15" fmla="*/ 5821 h 9"/>
                <a:gd name="T16" fmla="*/ 32670 w 19"/>
                <a:gd name="T17" fmla="*/ 5821 h 9"/>
                <a:gd name="T18" fmla="*/ 26904 w 19"/>
                <a:gd name="T19" fmla="*/ 5821 h 9"/>
                <a:gd name="T20" fmla="*/ 24983 w 19"/>
                <a:gd name="T21" fmla="*/ 3881 h 9"/>
                <a:gd name="T22" fmla="*/ 24983 w 19"/>
                <a:gd name="T23" fmla="*/ 0 h 9"/>
                <a:gd name="T24" fmla="*/ 1922 w 19"/>
                <a:gd name="T25" fmla="*/ 388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7" name="Freeform 586"/>
            <p:cNvSpPr>
              <a:spLocks noChangeAspect="1"/>
            </p:cNvSpPr>
            <p:nvPr/>
          </p:nvSpPr>
          <p:spPr bwMode="auto">
            <a:xfrm>
              <a:off x="7379802" y="318275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8" name="Freeform 587"/>
            <p:cNvSpPr>
              <a:spLocks noChangeAspect="1"/>
            </p:cNvSpPr>
            <p:nvPr/>
          </p:nvSpPr>
          <p:spPr bwMode="auto">
            <a:xfrm>
              <a:off x="4860307" y="763315"/>
              <a:ext cx="4806" cy="7738"/>
            </a:xfrm>
            <a:custGeom>
              <a:avLst/>
              <a:gdLst>
                <a:gd name="T0" fmla="*/ 4763 w 2"/>
                <a:gd name="T1" fmla="*/ 5715 h 5"/>
                <a:gd name="T2" fmla="*/ 2382 w 2"/>
                <a:gd name="T3" fmla="*/ 9525 h 5"/>
                <a:gd name="T4" fmla="*/ 0 w 2"/>
                <a:gd name="T5" fmla="*/ 5715 h 5"/>
                <a:gd name="T6" fmla="*/ 2382 w 2"/>
                <a:gd name="T7" fmla="*/ 1905 h 5"/>
                <a:gd name="T8" fmla="*/ 4763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9" name="Freeform 588"/>
            <p:cNvSpPr>
              <a:spLocks noChangeAspect="1"/>
            </p:cNvSpPr>
            <p:nvPr/>
          </p:nvSpPr>
          <p:spPr bwMode="auto">
            <a:xfrm>
              <a:off x="4730570" y="749128"/>
              <a:ext cx="6407" cy="3868"/>
            </a:xfrm>
            <a:custGeom>
              <a:avLst/>
              <a:gdLst>
                <a:gd name="T0" fmla="*/ 1588 w 4"/>
                <a:gd name="T1" fmla="*/ 4762 h 2"/>
                <a:gd name="T2" fmla="*/ 0 w 4"/>
                <a:gd name="T3" fmla="*/ 2381 h 2"/>
                <a:gd name="T4" fmla="*/ 3175 w 4"/>
                <a:gd name="T5" fmla="*/ 0 h 2"/>
                <a:gd name="T6" fmla="*/ 6350 w 4"/>
                <a:gd name="T7" fmla="*/ 2381 h 2"/>
                <a:gd name="T8" fmla="*/ 1588 w 4"/>
                <a:gd name="T9" fmla="*/ 476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2"/>
                  </a:moveTo>
                  <a:cubicBezTo>
                    <a:pt x="1" y="2"/>
                    <a:pt x="0" y="2"/>
                    <a:pt x="0" y="1"/>
                  </a:cubicBezTo>
                  <a:cubicBezTo>
                    <a:pt x="0" y="0"/>
                    <a:pt x="1" y="0"/>
                    <a:pt x="2" y="0"/>
                  </a:cubicBezTo>
                  <a:cubicBezTo>
                    <a:pt x="2" y="0"/>
                    <a:pt x="4" y="0"/>
                    <a:pt x="4" y="1"/>
                  </a:cubicBezTo>
                  <a:cubicBezTo>
                    <a:pt x="4"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0" name="Freeform 589"/>
            <p:cNvSpPr>
              <a:spLocks noChangeAspect="1"/>
            </p:cNvSpPr>
            <p:nvPr/>
          </p:nvSpPr>
          <p:spPr bwMode="auto">
            <a:xfrm>
              <a:off x="8592296" y="3893366"/>
              <a:ext cx="6407" cy="7738"/>
            </a:xfrm>
            <a:custGeom>
              <a:avLst/>
              <a:gdLst>
                <a:gd name="T0" fmla="*/ 6350 w 3"/>
                <a:gd name="T1" fmla="*/ 5715 h 5"/>
                <a:gd name="T2" fmla="*/ 2117 w 3"/>
                <a:gd name="T3" fmla="*/ 7620 h 5"/>
                <a:gd name="T4" fmla="*/ 0 w 3"/>
                <a:gd name="T5" fmla="*/ 3810 h 5"/>
                <a:gd name="T6" fmla="*/ 2117 w 3"/>
                <a:gd name="T7" fmla="*/ 0 h 5"/>
                <a:gd name="T8" fmla="*/ 635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3"/>
                    <a:pt x="2" y="5"/>
                    <a:pt x="1" y="4"/>
                  </a:cubicBezTo>
                  <a:cubicBezTo>
                    <a:pt x="0" y="4"/>
                    <a:pt x="0" y="3"/>
                    <a:pt x="0" y="2"/>
                  </a:cubicBezTo>
                  <a:cubicBezTo>
                    <a:pt x="0" y="1"/>
                    <a:pt x="0" y="0"/>
                    <a:pt x="1" y="0"/>
                  </a:cubicBezTo>
                  <a:cubicBezTo>
                    <a:pt x="3" y="0"/>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1" name="Freeform 590"/>
            <p:cNvSpPr>
              <a:spLocks noChangeAspect="1"/>
            </p:cNvSpPr>
            <p:nvPr/>
          </p:nvSpPr>
          <p:spPr bwMode="auto">
            <a:xfrm>
              <a:off x="5470561" y="1110239"/>
              <a:ext cx="14415" cy="1289"/>
            </a:xfrm>
            <a:custGeom>
              <a:avLst/>
              <a:gdLst>
                <a:gd name="T0" fmla="*/ 5358 w 8"/>
                <a:gd name="T1" fmla="*/ 1587 h 1"/>
                <a:gd name="T2" fmla="*/ 0 w 8"/>
                <a:gd name="T3" fmla="*/ 0 h 1"/>
                <a:gd name="T4" fmla="*/ 7144 w 8"/>
                <a:gd name="T5" fmla="*/ 0 h 1"/>
                <a:gd name="T6" fmla="*/ 12501 w 8"/>
                <a:gd name="T7" fmla="*/ 1587 h 1"/>
                <a:gd name="T8" fmla="*/ 5358 w 8"/>
                <a:gd name="T9" fmla="*/ 1587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3" y="1"/>
                  </a:moveTo>
                  <a:cubicBezTo>
                    <a:pt x="2" y="1"/>
                    <a:pt x="0" y="1"/>
                    <a:pt x="0" y="0"/>
                  </a:cubicBezTo>
                  <a:cubicBezTo>
                    <a:pt x="1" y="0"/>
                    <a:pt x="2" y="0"/>
                    <a:pt x="4" y="0"/>
                  </a:cubicBezTo>
                  <a:cubicBezTo>
                    <a:pt x="5" y="0"/>
                    <a:pt x="8" y="0"/>
                    <a:pt x="7" y="1"/>
                  </a:cubicBezTo>
                  <a:cubicBezTo>
                    <a:pt x="7" y="1"/>
                    <a:pt x="4"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2" name="Freeform 591"/>
            <p:cNvSpPr>
              <a:spLocks noChangeAspect="1"/>
            </p:cNvSpPr>
            <p:nvPr/>
          </p:nvSpPr>
          <p:spPr bwMode="auto">
            <a:xfrm>
              <a:off x="5539434" y="1115397"/>
              <a:ext cx="12814" cy="3868"/>
            </a:xfrm>
            <a:custGeom>
              <a:avLst/>
              <a:gdLst>
                <a:gd name="T0" fmla="*/ 3629 w 7"/>
                <a:gd name="T1" fmla="*/ 3175 h 3"/>
                <a:gd name="T2" fmla="*/ 0 w 7"/>
                <a:gd name="T3" fmla="*/ 3175 h 3"/>
                <a:gd name="T4" fmla="*/ 5443 w 7"/>
                <a:gd name="T5" fmla="*/ 1587 h 3"/>
                <a:gd name="T6" fmla="*/ 10886 w 7"/>
                <a:gd name="T7" fmla="*/ 1587 h 3"/>
                <a:gd name="T8" fmla="*/ 3629 w 7"/>
                <a:gd name="T9" fmla="*/ 3175 h 3"/>
                <a:gd name="T10" fmla="*/ 0 60000 65536"/>
                <a:gd name="T11" fmla="*/ 0 60000 65536"/>
                <a:gd name="T12" fmla="*/ 0 60000 65536"/>
                <a:gd name="T13" fmla="*/ 0 60000 65536"/>
                <a:gd name="T14" fmla="*/ 0 60000 65536"/>
                <a:gd name="T15" fmla="*/ 0 w 7"/>
                <a:gd name="T16" fmla="*/ 0 h 3"/>
                <a:gd name="T17" fmla="*/ 7 w 7"/>
                <a:gd name="T18" fmla="*/ 3 h 3"/>
              </a:gdLst>
              <a:ahLst/>
              <a:cxnLst>
                <a:cxn ang="T10">
                  <a:pos x="T0" y="T1"/>
                </a:cxn>
                <a:cxn ang="T11">
                  <a:pos x="T2" y="T3"/>
                </a:cxn>
                <a:cxn ang="T12">
                  <a:pos x="T4" y="T5"/>
                </a:cxn>
                <a:cxn ang="T13">
                  <a:pos x="T6" y="T7"/>
                </a:cxn>
                <a:cxn ang="T14">
                  <a:pos x="T8" y="T9"/>
                </a:cxn>
              </a:cxnLst>
              <a:rect l="T15" t="T16" r="T17" b="T18"/>
              <a:pathLst>
                <a:path w="7" h="3">
                  <a:moveTo>
                    <a:pt x="2" y="2"/>
                  </a:moveTo>
                  <a:cubicBezTo>
                    <a:pt x="2" y="3"/>
                    <a:pt x="0" y="3"/>
                    <a:pt x="0" y="2"/>
                  </a:cubicBezTo>
                  <a:cubicBezTo>
                    <a:pt x="0" y="2"/>
                    <a:pt x="2" y="1"/>
                    <a:pt x="3" y="1"/>
                  </a:cubicBezTo>
                  <a:cubicBezTo>
                    <a:pt x="4" y="0"/>
                    <a:pt x="7" y="0"/>
                    <a:pt x="6" y="1"/>
                  </a:cubicBezTo>
                  <a:cubicBezTo>
                    <a:pt x="6" y="1"/>
                    <a:pt x="4"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3" name="Freeform 592"/>
            <p:cNvSpPr>
              <a:spLocks noChangeAspect="1"/>
            </p:cNvSpPr>
            <p:nvPr/>
          </p:nvSpPr>
          <p:spPr bwMode="auto">
            <a:xfrm>
              <a:off x="5571468" y="1093472"/>
              <a:ext cx="14416" cy="10318"/>
            </a:xfrm>
            <a:custGeom>
              <a:avLst/>
              <a:gdLst>
                <a:gd name="T0" fmla="*/ 4082 w 7"/>
                <a:gd name="T1" fmla="*/ 5443 h 7"/>
                <a:gd name="T2" fmla="*/ 0 w 7"/>
                <a:gd name="T3" fmla="*/ 0 h 7"/>
                <a:gd name="T4" fmla="*/ 8165 w 7"/>
                <a:gd name="T5" fmla="*/ 5443 h 7"/>
                <a:gd name="T6" fmla="*/ 12247 w 7"/>
                <a:gd name="T7" fmla="*/ 12700 h 7"/>
                <a:gd name="T8" fmla="*/ 4082 w 7"/>
                <a:gd name="T9" fmla="*/ 5443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3"/>
                  </a:moveTo>
                  <a:cubicBezTo>
                    <a:pt x="1" y="2"/>
                    <a:pt x="0" y="0"/>
                    <a:pt x="0" y="0"/>
                  </a:cubicBezTo>
                  <a:cubicBezTo>
                    <a:pt x="1" y="0"/>
                    <a:pt x="3" y="2"/>
                    <a:pt x="4" y="3"/>
                  </a:cubicBezTo>
                  <a:cubicBezTo>
                    <a:pt x="5" y="4"/>
                    <a:pt x="7" y="7"/>
                    <a:pt x="6" y="7"/>
                  </a:cubicBezTo>
                  <a:cubicBezTo>
                    <a:pt x="5" y="7"/>
                    <a:pt x="3" y="5"/>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4" name="Freeform 593"/>
            <p:cNvSpPr>
              <a:spLocks noChangeAspect="1"/>
            </p:cNvSpPr>
            <p:nvPr/>
          </p:nvSpPr>
          <p:spPr bwMode="auto">
            <a:xfrm>
              <a:off x="5233507" y="1178592"/>
              <a:ext cx="8008" cy="5158"/>
            </a:xfrm>
            <a:custGeom>
              <a:avLst/>
              <a:gdLst>
                <a:gd name="T0" fmla="*/ 5953 w 4"/>
                <a:gd name="T1" fmla="*/ 2117 h 3"/>
                <a:gd name="T2" fmla="*/ 5953 w 4"/>
                <a:gd name="T3" fmla="*/ 4233 h 3"/>
                <a:gd name="T4" fmla="*/ 3969 w 4"/>
                <a:gd name="T5" fmla="*/ 4233 h 3"/>
                <a:gd name="T6" fmla="*/ 1984 w 4"/>
                <a:gd name="T7" fmla="*/ 0 h 3"/>
                <a:gd name="T8" fmla="*/ 5953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4" y="1"/>
                    <a:pt x="4" y="2"/>
                    <a:pt x="3" y="2"/>
                  </a:cubicBezTo>
                  <a:cubicBezTo>
                    <a:pt x="3" y="3"/>
                    <a:pt x="2" y="3"/>
                    <a:pt x="2" y="2"/>
                  </a:cubicBezTo>
                  <a:cubicBezTo>
                    <a:pt x="1" y="2"/>
                    <a:pt x="0" y="1"/>
                    <a:pt x="1" y="0"/>
                  </a:cubicBezTo>
                  <a:cubicBezTo>
                    <a:pt x="2" y="0"/>
                    <a:pt x="3"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5" name="Freeform 594"/>
            <p:cNvSpPr>
              <a:spLocks noChangeAspect="1"/>
            </p:cNvSpPr>
            <p:nvPr/>
          </p:nvSpPr>
          <p:spPr bwMode="auto">
            <a:xfrm>
              <a:off x="5095760" y="1230179"/>
              <a:ext cx="3203" cy="3869"/>
            </a:xfrm>
            <a:custGeom>
              <a:avLst/>
              <a:gdLst>
                <a:gd name="T0" fmla="*/ 3175 w 2"/>
                <a:gd name="T1" fmla="*/ 3175 h 3"/>
                <a:gd name="T2" fmla="*/ 1588 w 2"/>
                <a:gd name="T3" fmla="*/ 4763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6" name="Freeform 595"/>
            <p:cNvSpPr>
              <a:spLocks noChangeAspect="1"/>
            </p:cNvSpPr>
            <p:nvPr/>
          </p:nvSpPr>
          <p:spPr bwMode="auto">
            <a:xfrm>
              <a:off x="4712950" y="915497"/>
              <a:ext cx="8009" cy="3869"/>
            </a:xfrm>
            <a:custGeom>
              <a:avLst/>
              <a:gdLst>
                <a:gd name="T0" fmla="*/ 7938 w 4"/>
                <a:gd name="T1" fmla="*/ 3175 h 3"/>
                <a:gd name="T2" fmla="*/ 5953 w 4"/>
                <a:gd name="T3" fmla="*/ 4763 h 3"/>
                <a:gd name="T4" fmla="*/ 1985 w 4"/>
                <a:gd name="T5" fmla="*/ 3175 h 3"/>
                <a:gd name="T6" fmla="*/ 3969 w 4"/>
                <a:gd name="T7" fmla="*/ 0 h 3"/>
                <a:gd name="T8" fmla="*/ 7938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4" y="3"/>
                    <a:pt x="3" y="3"/>
                  </a:cubicBezTo>
                  <a:cubicBezTo>
                    <a:pt x="1" y="3"/>
                    <a:pt x="1" y="2"/>
                    <a:pt x="1" y="2"/>
                  </a:cubicBezTo>
                  <a:cubicBezTo>
                    <a:pt x="1" y="1"/>
                    <a:pt x="0" y="0"/>
                    <a:pt x="2" y="0"/>
                  </a:cubicBezTo>
                  <a:cubicBezTo>
                    <a:pt x="3"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7" name="Freeform 596"/>
            <p:cNvSpPr>
              <a:spLocks noChangeAspect="1"/>
            </p:cNvSpPr>
            <p:nvPr/>
          </p:nvSpPr>
          <p:spPr bwMode="auto">
            <a:xfrm>
              <a:off x="5994320" y="4140984"/>
              <a:ext cx="12814" cy="7738"/>
            </a:xfrm>
            <a:custGeom>
              <a:avLst/>
              <a:gdLst>
                <a:gd name="T0" fmla="*/ 4233 w 6"/>
                <a:gd name="T1" fmla="*/ 7620 h 5"/>
                <a:gd name="T2" fmla="*/ 2117 w 6"/>
                <a:gd name="T3" fmla="*/ 3810 h 5"/>
                <a:gd name="T4" fmla="*/ 6350 w 6"/>
                <a:gd name="T5" fmla="*/ 1905 h 5"/>
                <a:gd name="T6" fmla="*/ 12700 w 6"/>
                <a:gd name="T7" fmla="*/ 5715 h 5"/>
                <a:gd name="T8" fmla="*/ 4233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3"/>
                    <a:pt x="1" y="2"/>
                  </a:cubicBezTo>
                  <a:cubicBezTo>
                    <a:pt x="1" y="0"/>
                    <a:pt x="3" y="0"/>
                    <a:pt x="3" y="1"/>
                  </a:cubicBezTo>
                  <a:cubicBezTo>
                    <a:pt x="4" y="1"/>
                    <a:pt x="6" y="2"/>
                    <a:pt x="6" y="3"/>
                  </a:cubicBezTo>
                  <a:cubicBezTo>
                    <a:pt x="5" y="5"/>
                    <a:pt x="3" y="4"/>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8" name="Freeform 597"/>
            <p:cNvSpPr>
              <a:spLocks noChangeAspect="1"/>
            </p:cNvSpPr>
            <p:nvPr/>
          </p:nvSpPr>
          <p:spPr bwMode="auto">
            <a:xfrm>
              <a:off x="8465761" y="3712811"/>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9" name="Freeform 598"/>
            <p:cNvSpPr>
              <a:spLocks noChangeAspect="1"/>
            </p:cNvSpPr>
            <p:nvPr/>
          </p:nvSpPr>
          <p:spPr bwMode="auto">
            <a:xfrm>
              <a:off x="8467363" y="3701204"/>
              <a:ext cx="3203" cy="6449"/>
            </a:xfrm>
            <a:custGeom>
              <a:avLst/>
              <a:gdLst>
                <a:gd name="T0" fmla="*/ 3175 w 2"/>
                <a:gd name="T1" fmla="*/ 5953 h 4"/>
                <a:gd name="T2" fmla="*/ 1588 w 2"/>
                <a:gd name="T3" fmla="*/ 7938 h 4"/>
                <a:gd name="T4" fmla="*/ 0 w 2"/>
                <a:gd name="T5" fmla="*/ 3969 h 4"/>
                <a:gd name="T6" fmla="*/ 1588 w 2"/>
                <a:gd name="T7" fmla="*/ 1985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0" name="Freeform 599"/>
            <p:cNvSpPr>
              <a:spLocks noChangeAspect="1"/>
            </p:cNvSpPr>
            <p:nvPr/>
          </p:nvSpPr>
          <p:spPr bwMode="auto">
            <a:xfrm>
              <a:off x="5533027" y="869069"/>
              <a:ext cx="6407" cy="3869"/>
            </a:xfrm>
            <a:custGeom>
              <a:avLst/>
              <a:gdLst>
                <a:gd name="T0" fmla="*/ 2117 w 3"/>
                <a:gd name="T1" fmla="*/ 3175 h 3"/>
                <a:gd name="T2" fmla="*/ 0 w 3"/>
                <a:gd name="T3" fmla="*/ 3175 h 3"/>
                <a:gd name="T4" fmla="*/ 2117 w 3"/>
                <a:gd name="T5" fmla="*/ 1588 h 3"/>
                <a:gd name="T6" fmla="*/ 4233 w 3"/>
                <a:gd name="T7" fmla="*/ 1588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1" name="Freeform 600"/>
            <p:cNvSpPr>
              <a:spLocks noChangeAspect="1"/>
            </p:cNvSpPr>
            <p:nvPr/>
          </p:nvSpPr>
          <p:spPr bwMode="auto">
            <a:xfrm>
              <a:off x="5060522" y="707859"/>
              <a:ext cx="6407" cy="2579"/>
            </a:xfrm>
            <a:custGeom>
              <a:avLst/>
              <a:gdLst>
                <a:gd name="T0" fmla="*/ 2117 w 3"/>
                <a:gd name="T1" fmla="*/ 1588 h 2"/>
                <a:gd name="T2" fmla="*/ 2117 w 3"/>
                <a:gd name="T3" fmla="*/ 0 h 2"/>
                <a:gd name="T4" fmla="*/ 4233 w 3"/>
                <a:gd name="T5" fmla="*/ 0 h 2"/>
                <a:gd name="T6" fmla="*/ 6350 w 3"/>
                <a:gd name="T7" fmla="*/ 3175 h 2"/>
                <a:gd name="T8" fmla="*/ 2117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1"/>
                    <a:pt x="0" y="0"/>
                    <a:pt x="1" y="0"/>
                  </a:cubicBezTo>
                  <a:cubicBezTo>
                    <a:pt x="1" y="0"/>
                    <a:pt x="2" y="0"/>
                    <a:pt x="2" y="0"/>
                  </a:cubicBezTo>
                  <a:cubicBezTo>
                    <a:pt x="3" y="1"/>
                    <a:pt x="3" y="1"/>
                    <a:pt x="3" y="2"/>
                  </a:cubicBezTo>
                  <a:cubicBezTo>
                    <a:pt x="2" y="2"/>
                    <a:pt x="1" y="2"/>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2" name="Freeform 601"/>
            <p:cNvSpPr>
              <a:spLocks noChangeAspect="1"/>
            </p:cNvSpPr>
            <p:nvPr/>
          </p:nvSpPr>
          <p:spPr bwMode="auto">
            <a:xfrm>
              <a:off x="4732171" y="685934"/>
              <a:ext cx="4806" cy="5158"/>
            </a:xfrm>
            <a:custGeom>
              <a:avLst/>
              <a:gdLst>
                <a:gd name="T0" fmla="*/ 3175 w 3"/>
                <a:gd name="T1" fmla="*/ 2117 h 3"/>
                <a:gd name="T2" fmla="*/ 3175 w 3"/>
                <a:gd name="T3" fmla="*/ 4233 h 3"/>
                <a:gd name="T4" fmla="*/ 1588 w 3"/>
                <a:gd name="T5" fmla="*/ 4233 h 3"/>
                <a:gd name="T6" fmla="*/ 0 w 3"/>
                <a:gd name="T7" fmla="*/ 2117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3" name="Freeform 602"/>
            <p:cNvSpPr>
              <a:spLocks noChangeAspect="1"/>
            </p:cNvSpPr>
            <p:nvPr/>
          </p:nvSpPr>
          <p:spPr bwMode="auto">
            <a:xfrm>
              <a:off x="4717756" y="740101"/>
              <a:ext cx="6407" cy="3869"/>
            </a:xfrm>
            <a:custGeom>
              <a:avLst/>
              <a:gdLst>
                <a:gd name="T0" fmla="*/ 2117 w 3"/>
                <a:gd name="T1" fmla="*/ 2382 h 2"/>
                <a:gd name="T2" fmla="*/ 0 w 3"/>
                <a:gd name="T3" fmla="*/ 2382 h 2"/>
                <a:gd name="T4" fmla="*/ 2117 w 3"/>
                <a:gd name="T5" fmla="*/ 0 h 2"/>
                <a:gd name="T6" fmla="*/ 6350 w 3"/>
                <a:gd name="T7" fmla="*/ 0 h 2"/>
                <a:gd name="T8" fmla="*/ 2117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1" y="0"/>
                    <a:pt x="2"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4" name="Freeform 603"/>
            <p:cNvSpPr>
              <a:spLocks noChangeAspect="1"/>
            </p:cNvSpPr>
            <p:nvPr/>
          </p:nvSpPr>
          <p:spPr bwMode="auto">
            <a:xfrm>
              <a:off x="3977764" y="3046046"/>
              <a:ext cx="4805" cy="3869"/>
            </a:xfrm>
            <a:custGeom>
              <a:avLst/>
              <a:gdLst>
                <a:gd name="T0" fmla="*/ 4762 w 2"/>
                <a:gd name="T1" fmla="*/ 3175 h 3"/>
                <a:gd name="T2" fmla="*/ 2381 w 2"/>
                <a:gd name="T3" fmla="*/ 4763 h 3"/>
                <a:gd name="T4" fmla="*/ 0 w 2"/>
                <a:gd name="T5" fmla="*/ 3175 h 3"/>
                <a:gd name="T6" fmla="*/ 2381 w 2"/>
                <a:gd name="T7" fmla="*/ 0 h 3"/>
                <a:gd name="T8" fmla="*/ 476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1" y="1"/>
                    <a:pt x="1"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5" name="Freeform 604"/>
            <p:cNvSpPr>
              <a:spLocks noChangeAspect="1"/>
            </p:cNvSpPr>
            <p:nvPr/>
          </p:nvSpPr>
          <p:spPr bwMode="auto">
            <a:xfrm>
              <a:off x="4187589" y="3231760"/>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6" name="Freeform 605"/>
            <p:cNvSpPr>
              <a:spLocks noChangeAspect="1"/>
            </p:cNvSpPr>
            <p:nvPr/>
          </p:nvSpPr>
          <p:spPr bwMode="auto">
            <a:xfrm>
              <a:off x="8592296" y="390239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1"/>
                    <a:pt x="0" y="1"/>
                  </a:cubicBezTo>
                  <a:cubicBezTo>
                    <a:pt x="0" y="1"/>
                    <a:pt x="0" y="0"/>
                    <a:pt x="1" y="0"/>
                  </a:cubicBezTo>
                  <a:cubicBezTo>
                    <a:pt x="2"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7" name="Freeform 606"/>
            <p:cNvSpPr>
              <a:spLocks noChangeAspect="1"/>
            </p:cNvSpPr>
            <p:nvPr/>
          </p:nvSpPr>
          <p:spPr bwMode="auto">
            <a:xfrm>
              <a:off x="8172648" y="4130667"/>
              <a:ext cx="3203" cy="5158"/>
            </a:xfrm>
            <a:custGeom>
              <a:avLst/>
              <a:gdLst>
                <a:gd name="T0" fmla="*/ 3175 w 1"/>
                <a:gd name="T1" fmla="*/ 4233 h 3"/>
                <a:gd name="T2" fmla="*/ 3175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8" name="Freeform 607"/>
            <p:cNvSpPr>
              <a:spLocks noChangeAspect="1"/>
            </p:cNvSpPr>
            <p:nvPr/>
          </p:nvSpPr>
          <p:spPr bwMode="auto">
            <a:xfrm>
              <a:off x="7913171" y="4183543"/>
              <a:ext cx="4806" cy="3869"/>
            </a:xfrm>
            <a:custGeom>
              <a:avLst/>
              <a:gdLst>
                <a:gd name="T0" fmla="*/ 4763 w 2"/>
                <a:gd name="T1" fmla="*/ 3175 h 3"/>
                <a:gd name="T2" fmla="*/ 2382 w 2"/>
                <a:gd name="T3" fmla="*/ 4763 h 3"/>
                <a:gd name="T4" fmla="*/ 0 w 2"/>
                <a:gd name="T5" fmla="*/ 3175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29" name="Oval 608"/>
            <p:cNvSpPr>
              <a:spLocks noChangeAspect="1" noChangeArrowheads="1"/>
            </p:cNvSpPr>
            <p:nvPr/>
          </p:nvSpPr>
          <p:spPr bwMode="auto">
            <a:xfrm>
              <a:off x="8398490" y="3813405"/>
              <a:ext cx="1601"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0" name="Freeform 609"/>
            <p:cNvSpPr>
              <a:spLocks noChangeAspect="1"/>
            </p:cNvSpPr>
            <p:nvPr/>
          </p:nvSpPr>
          <p:spPr bwMode="auto">
            <a:xfrm>
              <a:off x="8403295" y="3719259"/>
              <a:ext cx="132943" cy="125100"/>
            </a:xfrm>
            <a:custGeom>
              <a:avLst/>
              <a:gdLst>
                <a:gd name="T0" fmla="*/ 84023 w 69"/>
                <a:gd name="T1" fmla="*/ 36121 h 81"/>
                <a:gd name="T2" fmla="*/ 105028 w 69"/>
                <a:gd name="T3" fmla="*/ 34220 h 81"/>
                <a:gd name="T4" fmla="*/ 118396 w 69"/>
                <a:gd name="T5" fmla="*/ 22813 h 81"/>
                <a:gd name="T6" fmla="*/ 131763 w 69"/>
                <a:gd name="T7" fmla="*/ 30417 h 81"/>
                <a:gd name="T8" fmla="*/ 122215 w 69"/>
                <a:gd name="T9" fmla="*/ 38022 h 81"/>
                <a:gd name="T10" fmla="*/ 116486 w 69"/>
                <a:gd name="T11" fmla="*/ 55131 h 81"/>
                <a:gd name="T12" fmla="*/ 103119 w 69"/>
                <a:gd name="T13" fmla="*/ 57033 h 81"/>
                <a:gd name="T14" fmla="*/ 101209 w 69"/>
                <a:gd name="T15" fmla="*/ 70340 h 81"/>
                <a:gd name="T16" fmla="*/ 101209 w 69"/>
                <a:gd name="T17" fmla="*/ 74142 h 81"/>
                <a:gd name="T18" fmla="*/ 97390 w 69"/>
                <a:gd name="T19" fmla="*/ 77945 h 81"/>
                <a:gd name="T20" fmla="*/ 95480 w 69"/>
                <a:gd name="T21" fmla="*/ 72241 h 81"/>
                <a:gd name="T22" fmla="*/ 84023 w 69"/>
                <a:gd name="T23" fmla="*/ 72241 h 81"/>
                <a:gd name="T24" fmla="*/ 72565 w 69"/>
                <a:gd name="T25" fmla="*/ 83648 h 81"/>
                <a:gd name="T26" fmla="*/ 78294 w 69"/>
                <a:gd name="T27" fmla="*/ 91252 h 81"/>
                <a:gd name="T28" fmla="*/ 61107 w 69"/>
                <a:gd name="T29" fmla="*/ 110263 h 81"/>
                <a:gd name="T30" fmla="*/ 47740 w 69"/>
                <a:gd name="T31" fmla="*/ 131175 h 81"/>
                <a:gd name="T32" fmla="*/ 24825 w 69"/>
                <a:gd name="T33" fmla="*/ 152087 h 81"/>
                <a:gd name="T34" fmla="*/ 13367 w 69"/>
                <a:gd name="T35" fmla="*/ 148285 h 81"/>
                <a:gd name="T36" fmla="*/ 7638 w 69"/>
                <a:gd name="T37" fmla="*/ 140680 h 81"/>
                <a:gd name="T38" fmla="*/ 21006 w 69"/>
                <a:gd name="T39" fmla="*/ 123571 h 81"/>
                <a:gd name="T40" fmla="*/ 28644 w 69"/>
                <a:gd name="T41" fmla="*/ 112164 h 81"/>
                <a:gd name="T42" fmla="*/ 24825 w 69"/>
                <a:gd name="T43" fmla="*/ 96955 h 81"/>
                <a:gd name="T44" fmla="*/ 15277 w 69"/>
                <a:gd name="T45" fmla="*/ 93153 h 81"/>
                <a:gd name="T46" fmla="*/ 7638 w 69"/>
                <a:gd name="T47" fmla="*/ 87450 h 81"/>
                <a:gd name="T48" fmla="*/ 1910 w 69"/>
                <a:gd name="T49" fmla="*/ 81747 h 81"/>
                <a:gd name="T50" fmla="*/ 11458 w 69"/>
                <a:gd name="T51" fmla="*/ 72241 h 81"/>
                <a:gd name="T52" fmla="*/ 24825 w 69"/>
                <a:gd name="T53" fmla="*/ 66538 h 81"/>
                <a:gd name="T54" fmla="*/ 34373 w 69"/>
                <a:gd name="T55" fmla="*/ 45626 h 81"/>
                <a:gd name="T56" fmla="*/ 40102 w 69"/>
                <a:gd name="T57" fmla="*/ 38022 h 81"/>
                <a:gd name="T58" fmla="*/ 38192 w 69"/>
                <a:gd name="T59" fmla="*/ 20912 h 81"/>
                <a:gd name="T60" fmla="*/ 42011 w 69"/>
                <a:gd name="T61" fmla="*/ 9505 h 81"/>
                <a:gd name="T62" fmla="*/ 47740 w 69"/>
                <a:gd name="T63" fmla="*/ 11407 h 81"/>
                <a:gd name="T64" fmla="*/ 49650 w 69"/>
                <a:gd name="T65" fmla="*/ 5703 h 81"/>
                <a:gd name="T66" fmla="*/ 55379 w 69"/>
                <a:gd name="T67" fmla="*/ 7604 h 81"/>
                <a:gd name="T68" fmla="*/ 55379 w 69"/>
                <a:gd name="T69" fmla="*/ 15209 h 81"/>
                <a:gd name="T70" fmla="*/ 63017 w 69"/>
                <a:gd name="T71" fmla="*/ 15209 h 81"/>
                <a:gd name="T72" fmla="*/ 63017 w 69"/>
                <a:gd name="T73" fmla="*/ 3802 h 81"/>
                <a:gd name="T74" fmla="*/ 68746 w 69"/>
                <a:gd name="T75" fmla="*/ 3802 h 81"/>
                <a:gd name="T76" fmla="*/ 68746 w 69"/>
                <a:gd name="T77" fmla="*/ 28516 h 81"/>
                <a:gd name="T78" fmla="*/ 84023 w 69"/>
                <a:gd name="T79" fmla="*/ 36121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1" name="Freeform 610"/>
            <p:cNvSpPr>
              <a:spLocks noChangeAspect="1"/>
            </p:cNvSpPr>
            <p:nvPr/>
          </p:nvSpPr>
          <p:spPr bwMode="auto">
            <a:xfrm>
              <a:off x="8416108" y="3661224"/>
              <a:ext cx="38441" cy="61904"/>
            </a:xfrm>
            <a:custGeom>
              <a:avLst/>
              <a:gdLst>
                <a:gd name="T0" fmla="*/ 24765 w 20"/>
                <a:gd name="T1" fmla="*/ 64770 h 40"/>
                <a:gd name="T2" fmla="*/ 26670 w 20"/>
                <a:gd name="T3" fmla="*/ 74295 h 40"/>
                <a:gd name="T4" fmla="*/ 32385 w 20"/>
                <a:gd name="T5" fmla="*/ 74295 h 40"/>
                <a:gd name="T6" fmla="*/ 38100 w 20"/>
                <a:gd name="T7" fmla="*/ 55245 h 40"/>
                <a:gd name="T8" fmla="*/ 32385 w 20"/>
                <a:gd name="T9" fmla="*/ 40005 h 40"/>
                <a:gd name="T10" fmla="*/ 38100 w 20"/>
                <a:gd name="T11" fmla="*/ 40005 h 40"/>
                <a:gd name="T12" fmla="*/ 34290 w 20"/>
                <a:gd name="T13" fmla="*/ 26670 h 40"/>
                <a:gd name="T14" fmla="*/ 19050 w 20"/>
                <a:gd name="T15" fmla="*/ 15240 h 40"/>
                <a:gd name="T16" fmla="*/ 9525 w 20"/>
                <a:gd name="T17" fmla="*/ 9525 h 40"/>
                <a:gd name="T18" fmla="*/ 9525 w 20"/>
                <a:gd name="T19" fmla="*/ 3810 h 40"/>
                <a:gd name="T20" fmla="*/ 1905 w 20"/>
                <a:gd name="T21" fmla="*/ 3810 h 40"/>
                <a:gd name="T22" fmla="*/ 9525 w 20"/>
                <a:gd name="T23" fmla="*/ 19050 h 40"/>
                <a:gd name="T24" fmla="*/ 7620 w 20"/>
                <a:gd name="T25" fmla="*/ 24765 h 40"/>
                <a:gd name="T26" fmla="*/ 22860 w 20"/>
                <a:gd name="T27" fmla="*/ 55245 h 40"/>
                <a:gd name="T28" fmla="*/ 30480 w 20"/>
                <a:gd name="T29" fmla="*/ 57150 h 40"/>
                <a:gd name="T30" fmla="*/ 24765 w 20"/>
                <a:gd name="T31" fmla="*/ 64770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2" name="Freeform 611"/>
            <p:cNvSpPr>
              <a:spLocks noChangeAspect="1"/>
            </p:cNvSpPr>
            <p:nvPr/>
          </p:nvSpPr>
          <p:spPr bwMode="auto">
            <a:xfrm>
              <a:off x="8172648" y="3813405"/>
              <a:ext cx="233850" cy="162499"/>
            </a:xfrm>
            <a:custGeom>
              <a:avLst/>
              <a:gdLst>
                <a:gd name="T0" fmla="*/ 222198 w 121"/>
                <a:gd name="T1" fmla="*/ 43815 h 105"/>
                <a:gd name="T2" fmla="*/ 203043 w 121"/>
                <a:gd name="T3" fmla="*/ 60960 h 105"/>
                <a:gd name="T4" fmla="*/ 189634 w 121"/>
                <a:gd name="T5" fmla="*/ 78105 h 105"/>
                <a:gd name="T6" fmla="*/ 174310 w 121"/>
                <a:gd name="T7" fmla="*/ 91440 h 105"/>
                <a:gd name="T8" fmla="*/ 174310 w 121"/>
                <a:gd name="T9" fmla="*/ 97155 h 105"/>
                <a:gd name="T10" fmla="*/ 183888 w 121"/>
                <a:gd name="T11" fmla="*/ 100965 h 105"/>
                <a:gd name="T12" fmla="*/ 181972 w 121"/>
                <a:gd name="T13" fmla="*/ 106680 h 105"/>
                <a:gd name="T14" fmla="*/ 162817 w 121"/>
                <a:gd name="T15" fmla="*/ 104775 h 105"/>
                <a:gd name="T16" fmla="*/ 139831 w 121"/>
                <a:gd name="T17" fmla="*/ 114300 h 105"/>
                <a:gd name="T18" fmla="*/ 128338 w 121"/>
                <a:gd name="T19" fmla="*/ 125730 h 105"/>
                <a:gd name="T20" fmla="*/ 124507 w 121"/>
                <a:gd name="T21" fmla="*/ 142875 h 105"/>
                <a:gd name="T22" fmla="*/ 111099 w 121"/>
                <a:gd name="T23" fmla="*/ 160020 h 105"/>
                <a:gd name="T24" fmla="*/ 88113 w 121"/>
                <a:gd name="T25" fmla="*/ 179070 h 105"/>
                <a:gd name="T26" fmla="*/ 65127 w 121"/>
                <a:gd name="T27" fmla="*/ 198120 h 105"/>
                <a:gd name="T28" fmla="*/ 51718 w 121"/>
                <a:gd name="T29" fmla="*/ 196215 h 105"/>
                <a:gd name="T30" fmla="*/ 44056 w 121"/>
                <a:gd name="T31" fmla="*/ 184785 h 105"/>
                <a:gd name="T32" fmla="*/ 30648 w 121"/>
                <a:gd name="T33" fmla="*/ 180975 h 105"/>
                <a:gd name="T34" fmla="*/ 5746 w 121"/>
                <a:gd name="T35" fmla="*/ 179070 h 105"/>
                <a:gd name="T36" fmla="*/ 1915 w 121"/>
                <a:gd name="T37" fmla="*/ 169545 h 105"/>
                <a:gd name="T38" fmla="*/ 21070 w 121"/>
                <a:gd name="T39" fmla="*/ 146685 h 105"/>
                <a:gd name="T40" fmla="*/ 49803 w 121"/>
                <a:gd name="T41" fmla="*/ 123825 h 105"/>
                <a:gd name="T42" fmla="*/ 72789 w 121"/>
                <a:gd name="T43" fmla="*/ 108585 h 105"/>
                <a:gd name="T44" fmla="*/ 88113 w 121"/>
                <a:gd name="T45" fmla="*/ 104775 h 105"/>
                <a:gd name="T46" fmla="*/ 120676 w 121"/>
                <a:gd name="T47" fmla="*/ 81915 h 105"/>
                <a:gd name="T48" fmla="*/ 145578 w 121"/>
                <a:gd name="T49" fmla="*/ 66675 h 105"/>
                <a:gd name="T50" fmla="*/ 160902 w 121"/>
                <a:gd name="T51" fmla="*/ 43815 h 105"/>
                <a:gd name="T52" fmla="*/ 178141 w 121"/>
                <a:gd name="T53" fmla="*/ 24765 h 105"/>
                <a:gd name="T54" fmla="*/ 191550 w 121"/>
                <a:gd name="T55" fmla="*/ 0 h 105"/>
                <a:gd name="T56" fmla="*/ 199212 w 121"/>
                <a:gd name="T57" fmla="*/ 0 h 105"/>
                <a:gd name="T58" fmla="*/ 199212 w 121"/>
                <a:gd name="T59" fmla="*/ 7620 h 105"/>
                <a:gd name="T60" fmla="*/ 204958 w 121"/>
                <a:gd name="T61" fmla="*/ 11430 h 105"/>
                <a:gd name="T62" fmla="*/ 201127 w 121"/>
                <a:gd name="T63" fmla="*/ 20955 h 105"/>
                <a:gd name="T64" fmla="*/ 208789 w 121"/>
                <a:gd name="T65" fmla="*/ 26670 h 105"/>
                <a:gd name="T66" fmla="*/ 218367 w 121"/>
                <a:gd name="T67" fmla="*/ 13335 h 105"/>
                <a:gd name="T68" fmla="*/ 226029 w 121"/>
                <a:gd name="T69" fmla="*/ 9525 h 105"/>
                <a:gd name="T70" fmla="*/ 229860 w 121"/>
                <a:gd name="T71" fmla="*/ 19050 h 105"/>
                <a:gd name="T72" fmla="*/ 231775 w 121"/>
                <a:gd name="T73" fmla="*/ 26670 h 105"/>
                <a:gd name="T74" fmla="*/ 222198 w 121"/>
                <a:gd name="T75" fmla="*/ 34290 h 105"/>
                <a:gd name="T76" fmla="*/ 222198 w 121"/>
                <a:gd name="T77" fmla="*/ 43815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3" name="Freeform 612"/>
            <p:cNvSpPr>
              <a:spLocks noChangeAspect="1"/>
            </p:cNvSpPr>
            <p:nvPr/>
          </p:nvSpPr>
          <p:spPr bwMode="auto">
            <a:xfrm>
              <a:off x="8190267" y="3972036"/>
              <a:ext cx="20822" cy="19346"/>
            </a:xfrm>
            <a:custGeom>
              <a:avLst/>
              <a:gdLst>
                <a:gd name="T0" fmla="*/ 15009 w 11"/>
                <a:gd name="T1" fmla="*/ 0 h 12"/>
                <a:gd name="T2" fmla="*/ 18761 w 11"/>
                <a:gd name="T3" fmla="*/ 5953 h 12"/>
                <a:gd name="T4" fmla="*/ 15009 w 11"/>
                <a:gd name="T5" fmla="*/ 9922 h 12"/>
                <a:gd name="T6" fmla="*/ 20637 w 11"/>
                <a:gd name="T7" fmla="*/ 15875 h 12"/>
                <a:gd name="T8" fmla="*/ 15009 w 11"/>
                <a:gd name="T9" fmla="*/ 19844 h 12"/>
                <a:gd name="T10" fmla="*/ 1876 w 11"/>
                <a:gd name="T11" fmla="*/ 23813 h 12"/>
                <a:gd name="T12" fmla="*/ 1876 w 11"/>
                <a:gd name="T13" fmla="*/ 19844 h 12"/>
                <a:gd name="T14" fmla="*/ 11257 w 11"/>
                <a:gd name="T15" fmla="*/ 1984 h 12"/>
                <a:gd name="T16" fmla="*/ 1500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4" name="Freeform 613"/>
            <p:cNvSpPr>
              <a:spLocks noChangeAspect="1"/>
            </p:cNvSpPr>
            <p:nvPr/>
          </p:nvSpPr>
          <p:spPr bwMode="auto">
            <a:xfrm>
              <a:off x="8119791" y="4073921"/>
              <a:ext cx="11212" cy="15476"/>
            </a:xfrm>
            <a:custGeom>
              <a:avLst/>
              <a:gdLst>
                <a:gd name="T0" fmla="*/ 1852 w 6"/>
                <a:gd name="T1" fmla="*/ 9525 h 10"/>
                <a:gd name="T2" fmla="*/ 7408 w 6"/>
                <a:gd name="T3" fmla="*/ 1905 h 10"/>
                <a:gd name="T4" fmla="*/ 11112 w 6"/>
                <a:gd name="T5" fmla="*/ 1905 h 10"/>
                <a:gd name="T6" fmla="*/ 7408 w 6"/>
                <a:gd name="T7" fmla="*/ 17145 h 10"/>
                <a:gd name="T8" fmla="*/ 1852 w 6"/>
                <a:gd name="T9" fmla="*/ 17145 h 10"/>
                <a:gd name="T10" fmla="*/ 1852 w 6"/>
                <a:gd name="T11" fmla="*/ 9525 h 10"/>
                <a:gd name="T12" fmla="*/ 0 60000 65536"/>
                <a:gd name="T13" fmla="*/ 0 60000 65536"/>
                <a:gd name="T14" fmla="*/ 0 60000 65536"/>
                <a:gd name="T15" fmla="*/ 0 60000 65536"/>
                <a:gd name="T16" fmla="*/ 0 60000 65536"/>
                <a:gd name="T17" fmla="*/ 0 60000 65536"/>
                <a:gd name="T18" fmla="*/ 0 w 6"/>
                <a:gd name="T19" fmla="*/ 0 h 10"/>
                <a:gd name="T20" fmla="*/ 6 w 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 h="10">
                  <a:moveTo>
                    <a:pt x="1" y="5"/>
                  </a:moveTo>
                  <a:cubicBezTo>
                    <a:pt x="1" y="3"/>
                    <a:pt x="3" y="2"/>
                    <a:pt x="4" y="1"/>
                  </a:cubicBezTo>
                  <a:cubicBezTo>
                    <a:pt x="5" y="0"/>
                    <a:pt x="6" y="1"/>
                    <a:pt x="6" y="1"/>
                  </a:cubicBezTo>
                  <a:cubicBezTo>
                    <a:pt x="6" y="4"/>
                    <a:pt x="5" y="7"/>
                    <a:pt x="4" y="9"/>
                  </a:cubicBezTo>
                  <a:cubicBezTo>
                    <a:pt x="4" y="9"/>
                    <a:pt x="2" y="10"/>
                    <a:pt x="1" y="9"/>
                  </a:cubicBezTo>
                  <a:cubicBezTo>
                    <a:pt x="0" y="8"/>
                    <a:pt x="0" y="6"/>
                    <a:pt x="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5" name="Freeform 614"/>
            <p:cNvSpPr>
              <a:spLocks noChangeAspect="1"/>
            </p:cNvSpPr>
            <p:nvPr/>
          </p:nvSpPr>
          <p:spPr bwMode="auto">
            <a:xfrm>
              <a:off x="5904624" y="4019755"/>
              <a:ext cx="48051" cy="34821"/>
            </a:xfrm>
            <a:custGeom>
              <a:avLst/>
              <a:gdLst>
                <a:gd name="T0" fmla="*/ 5715 w 25"/>
                <a:gd name="T1" fmla="*/ 3727 h 23"/>
                <a:gd name="T2" fmla="*/ 13335 w 25"/>
                <a:gd name="T3" fmla="*/ 7454 h 23"/>
                <a:gd name="T4" fmla="*/ 9525 w 25"/>
                <a:gd name="T5" fmla="*/ 18636 h 23"/>
                <a:gd name="T6" fmla="*/ 15240 w 25"/>
                <a:gd name="T7" fmla="*/ 18636 h 23"/>
                <a:gd name="T8" fmla="*/ 26670 w 25"/>
                <a:gd name="T9" fmla="*/ 14909 h 23"/>
                <a:gd name="T10" fmla="*/ 22860 w 25"/>
                <a:gd name="T11" fmla="*/ 22363 h 23"/>
                <a:gd name="T12" fmla="*/ 32385 w 25"/>
                <a:gd name="T13" fmla="*/ 22363 h 23"/>
                <a:gd name="T14" fmla="*/ 45720 w 25"/>
                <a:gd name="T15" fmla="*/ 18636 h 23"/>
                <a:gd name="T16" fmla="*/ 45720 w 25"/>
                <a:gd name="T17" fmla="*/ 26090 h 23"/>
                <a:gd name="T18" fmla="*/ 32385 w 25"/>
                <a:gd name="T19" fmla="*/ 29817 h 23"/>
                <a:gd name="T20" fmla="*/ 30480 w 25"/>
                <a:gd name="T21" fmla="*/ 33544 h 23"/>
                <a:gd name="T22" fmla="*/ 40005 w 25"/>
                <a:gd name="T23" fmla="*/ 35408 h 23"/>
                <a:gd name="T24" fmla="*/ 38100 w 25"/>
                <a:gd name="T25" fmla="*/ 39135 h 23"/>
                <a:gd name="T26" fmla="*/ 28575 w 25"/>
                <a:gd name="T27" fmla="*/ 37271 h 23"/>
                <a:gd name="T28" fmla="*/ 22860 w 25"/>
                <a:gd name="T29" fmla="*/ 35408 h 23"/>
                <a:gd name="T30" fmla="*/ 15240 w 25"/>
                <a:gd name="T31" fmla="*/ 35408 h 23"/>
                <a:gd name="T32" fmla="*/ 7620 w 25"/>
                <a:gd name="T33" fmla="*/ 40998 h 23"/>
                <a:gd name="T34" fmla="*/ 0 w 25"/>
                <a:gd name="T35" fmla="*/ 37271 h 23"/>
                <a:gd name="T36" fmla="*/ 1905 w 25"/>
                <a:gd name="T37" fmla="*/ 18636 h 23"/>
                <a:gd name="T38" fmla="*/ 5715 w 25"/>
                <a:gd name="T39" fmla="*/ 3727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3"/>
                <a:gd name="T62" fmla="*/ 25 w 25"/>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3">
                  <a:moveTo>
                    <a:pt x="3" y="2"/>
                  </a:moveTo>
                  <a:cubicBezTo>
                    <a:pt x="4" y="0"/>
                    <a:pt x="6" y="3"/>
                    <a:pt x="7" y="4"/>
                  </a:cubicBezTo>
                  <a:cubicBezTo>
                    <a:pt x="7" y="6"/>
                    <a:pt x="4" y="8"/>
                    <a:pt x="5" y="10"/>
                  </a:cubicBezTo>
                  <a:cubicBezTo>
                    <a:pt x="5" y="12"/>
                    <a:pt x="7" y="10"/>
                    <a:pt x="8" y="10"/>
                  </a:cubicBezTo>
                  <a:cubicBezTo>
                    <a:pt x="10" y="9"/>
                    <a:pt x="12" y="7"/>
                    <a:pt x="14" y="8"/>
                  </a:cubicBezTo>
                  <a:cubicBezTo>
                    <a:pt x="16" y="8"/>
                    <a:pt x="11" y="11"/>
                    <a:pt x="12" y="12"/>
                  </a:cubicBezTo>
                  <a:cubicBezTo>
                    <a:pt x="13" y="13"/>
                    <a:pt x="15" y="12"/>
                    <a:pt x="17" y="12"/>
                  </a:cubicBezTo>
                  <a:cubicBezTo>
                    <a:pt x="19" y="12"/>
                    <a:pt x="21" y="9"/>
                    <a:pt x="24" y="10"/>
                  </a:cubicBezTo>
                  <a:cubicBezTo>
                    <a:pt x="25" y="10"/>
                    <a:pt x="25" y="13"/>
                    <a:pt x="24" y="14"/>
                  </a:cubicBezTo>
                  <a:cubicBezTo>
                    <a:pt x="22" y="16"/>
                    <a:pt x="19" y="15"/>
                    <a:pt x="17" y="16"/>
                  </a:cubicBezTo>
                  <a:cubicBezTo>
                    <a:pt x="16" y="16"/>
                    <a:pt x="15" y="18"/>
                    <a:pt x="16" y="18"/>
                  </a:cubicBezTo>
                  <a:cubicBezTo>
                    <a:pt x="17" y="19"/>
                    <a:pt x="19" y="18"/>
                    <a:pt x="21" y="19"/>
                  </a:cubicBezTo>
                  <a:cubicBezTo>
                    <a:pt x="21" y="19"/>
                    <a:pt x="21" y="21"/>
                    <a:pt x="20" y="21"/>
                  </a:cubicBezTo>
                  <a:cubicBezTo>
                    <a:pt x="19" y="22"/>
                    <a:pt x="17" y="21"/>
                    <a:pt x="15" y="20"/>
                  </a:cubicBezTo>
                  <a:cubicBezTo>
                    <a:pt x="14" y="20"/>
                    <a:pt x="13" y="19"/>
                    <a:pt x="12" y="19"/>
                  </a:cubicBezTo>
                  <a:cubicBezTo>
                    <a:pt x="11" y="19"/>
                    <a:pt x="10" y="19"/>
                    <a:pt x="8" y="19"/>
                  </a:cubicBezTo>
                  <a:cubicBezTo>
                    <a:pt x="7" y="20"/>
                    <a:pt x="6" y="22"/>
                    <a:pt x="4" y="22"/>
                  </a:cubicBezTo>
                  <a:cubicBezTo>
                    <a:pt x="2" y="23"/>
                    <a:pt x="1" y="22"/>
                    <a:pt x="0" y="20"/>
                  </a:cubicBezTo>
                  <a:cubicBezTo>
                    <a:pt x="1" y="17"/>
                    <a:pt x="1" y="13"/>
                    <a:pt x="1" y="10"/>
                  </a:cubicBezTo>
                  <a:cubicBezTo>
                    <a:pt x="2" y="7"/>
                    <a:pt x="2" y="4"/>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6" name="Freeform 615"/>
            <p:cNvSpPr>
              <a:spLocks noChangeAspect="1"/>
            </p:cNvSpPr>
            <p:nvPr/>
          </p:nvSpPr>
          <p:spPr bwMode="auto">
            <a:xfrm>
              <a:off x="3787160" y="1181171"/>
              <a:ext cx="245062" cy="105754"/>
            </a:xfrm>
            <a:custGeom>
              <a:avLst/>
              <a:gdLst>
                <a:gd name="T0" fmla="*/ 195075 w 127"/>
                <a:gd name="T1" fmla="*/ 93803 h 68"/>
                <a:gd name="T2" fmla="*/ 145350 w 127"/>
                <a:gd name="T3" fmla="*/ 114860 h 68"/>
                <a:gd name="T4" fmla="*/ 109013 w 127"/>
                <a:gd name="T5" fmla="*/ 126346 h 68"/>
                <a:gd name="T6" fmla="*/ 86063 w 127"/>
                <a:gd name="T7" fmla="*/ 111032 h 68"/>
                <a:gd name="T8" fmla="*/ 72675 w 127"/>
                <a:gd name="T9" fmla="*/ 111032 h 68"/>
                <a:gd name="T10" fmla="*/ 40163 w 127"/>
                <a:gd name="T11" fmla="*/ 109117 h 68"/>
                <a:gd name="T12" fmla="*/ 61200 w 127"/>
                <a:gd name="T13" fmla="*/ 99546 h 68"/>
                <a:gd name="T14" fmla="*/ 55463 w 127"/>
                <a:gd name="T15" fmla="*/ 86145 h 68"/>
                <a:gd name="T16" fmla="*/ 47813 w 127"/>
                <a:gd name="T17" fmla="*/ 72745 h 68"/>
                <a:gd name="T18" fmla="*/ 15300 w 127"/>
                <a:gd name="T19" fmla="*/ 76574 h 68"/>
                <a:gd name="T20" fmla="*/ 30600 w 127"/>
                <a:gd name="T21" fmla="*/ 67002 h 68"/>
                <a:gd name="T22" fmla="*/ 61200 w 127"/>
                <a:gd name="T23" fmla="*/ 63173 h 68"/>
                <a:gd name="T24" fmla="*/ 49725 w 127"/>
                <a:gd name="T25" fmla="*/ 59344 h 68"/>
                <a:gd name="T26" fmla="*/ 59288 w 127"/>
                <a:gd name="T27" fmla="*/ 51687 h 68"/>
                <a:gd name="T28" fmla="*/ 34425 w 127"/>
                <a:gd name="T29" fmla="*/ 44030 h 68"/>
                <a:gd name="T30" fmla="*/ 15300 w 127"/>
                <a:gd name="T31" fmla="*/ 51687 h 68"/>
                <a:gd name="T32" fmla="*/ 7650 w 127"/>
                <a:gd name="T33" fmla="*/ 42115 h 68"/>
                <a:gd name="T34" fmla="*/ 13388 w 127"/>
                <a:gd name="T35" fmla="*/ 34458 h 68"/>
                <a:gd name="T36" fmla="*/ 24863 w 127"/>
                <a:gd name="T37" fmla="*/ 34458 h 68"/>
                <a:gd name="T38" fmla="*/ 24863 w 127"/>
                <a:gd name="T39" fmla="*/ 28715 h 68"/>
                <a:gd name="T40" fmla="*/ 24863 w 127"/>
                <a:gd name="T41" fmla="*/ 11486 h 68"/>
                <a:gd name="T42" fmla="*/ 51638 w 127"/>
                <a:gd name="T43" fmla="*/ 30629 h 68"/>
                <a:gd name="T44" fmla="*/ 38250 w 127"/>
                <a:gd name="T45" fmla="*/ 13400 h 68"/>
                <a:gd name="T46" fmla="*/ 34425 w 127"/>
                <a:gd name="T47" fmla="*/ 5743 h 68"/>
                <a:gd name="T48" fmla="*/ 63113 w 127"/>
                <a:gd name="T49" fmla="*/ 19143 h 68"/>
                <a:gd name="T50" fmla="*/ 70763 w 127"/>
                <a:gd name="T51" fmla="*/ 28715 h 68"/>
                <a:gd name="T52" fmla="*/ 66938 w 127"/>
                <a:gd name="T53" fmla="*/ 34458 h 68"/>
                <a:gd name="T54" fmla="*/ 76500 w 127"/>
                <a:gd name="T55" fmla="*/ 61259 h 68"/>
                <a:gd name="T56" fmla="*/ 86063 w 127"/>
                <a:gd name="T57" fmla="*/ 40201 h 68"/>
                <a:gd name="T58" fmla="*/ 95625 w 127"/>
                <a:gd name="T59" fmla="*/ 40201 h 68"/>
                <a:gd name="T60" fmla="*/ 97538 w 127"/>
                <a:gd name="T61" fmla="*/ 19143 h 68"/>
                <a:gd name="T62" fmla="*/ 116663 w 127"/>
                <a:gd name="T63" fmla="*/ 42115 h 68"/>
                <a:gd name="T64" fmla="*/ 130050 w 127"/>
                <a:gd name="T65" fmla="*/ 17229 h 68"/>
                <a:gd name="T66" fmla="*/ 145350 w 127"/>
                <a:gd name="T67" fmla="*/ 36372 h 68"/>
                <a:gd name="T68" fmla="*/ 151088 w 127"/>
                <a:gd name="T69" fmla="*/ 21058 h 68"/>
                <a:gd name="T70" fmla="*/ 156825 w 127"/>
                <a:gd name="T71" fmla="*/ 26801 h 68"/>
                <a:gd name="T72" fmla="*/ 170213 w 127"/>
                <a:gd name="T73" fmla="*/ 15315 h 68"/>
                <a:gd name="T74" fmla="*/ 179775 w 127"/>
                <a:gd name="T75" fmla="*/ 11486 h 68"/>
                <a:gd name="T76" fmla="*/ 189338 w 127"/>
                <a:gd name="T77" fmla="*/ 5743 h 68"/>
                <a:gd name="T78" fmla="*/ 210375 w 127"/>
                <a:gd name="T79" fmla="*/ 11486 h 68"/>
                <a:gd name="T80" fmla="*/ 210375 w 127"/>
                <a:gd name="T81" fmla="*/ 24886 h 68"/>
                <a:gd name="T82" fmla="*/ 214200 w 127"/>
                <a:gd name="T83" fmla="*/ 38287 h 68"/>
                <a:gd name="T84" fmla="*/ 233325 w 127"/>
                <a:gd name="T85" fmla="*/ 45944 h 68"/>
                <a:gd name="T86" fmla="*/ 229500 w 127"/>
                <a:gd name="T87" fmla="*/ 61259 h 68"/>
                <a:gd name="T88" fmla="*/ 219938 w 127"/>
                <a:gd name="T89" fmla="*/ 88060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7" name="Freeform 617"/>
            <p:cNvSpPr>
              <a:spLocks noChangeAspect="1"/>
            </p:cNvSpPr>
            <p:nvPr/>
          </p:nvSpPr>
          <p:spPr bwMode="auto">
            <a:xfrm>
              <a:off x="4535161" y="713017"/>
              <a:ext cx="225840" cy="140575"/>
            </a:xfrm>
            <a:custGeom>
              <a:avLst/>
              <a:gdLst>
                <a:gd name="T0" fmla="*/ 220011 w 117"/>
                <a:gd name="T1" fmla="*/ 66553 h 91"/>
                <a:gd name="T2" fmla="*/ 185574 w 117"/>
                <a:gd name="T3" fmla="*/ 72257 h 91"/>
                <a:gd name="T4" fmla="*/ 172182 w 117"/>
                <a:gd name="T5" fmla="*/ 95075 h 91"/>
                <a:gd name="T6" fmla="*/ 156877 w 117"/>
                <a:gd name="T7" fmla="*/ 119795 h 91"/>
                <a:gd name="T8" fmla="*/ 133920 w 117"/>
                <a:gd name="T9" fmla="*/ 167332 h 91"/>
                <a:gd name="T10" fmla="*/ 109049 w 117"/>
                <a:gd name="T11" fmla="*/ 155923 h 91"/>
                <a:gd name="T12" fmla="*/ 122441 w 117"/>
                <a:gd name="T13" fmla="*/ 146416 h 91"/>
                <a:gd name="T14" fmla="*/ 91831 w 117"/>
                <a:gd name="T15" fmla="*/ 144514 h 91"/>
                <a:gd name="T16" fmla="*/ 74612 w 117"/>
                <a:gd name="T17" fmla="*/ 123598 h 91"/>
                <a:gd name="T18" fmla="*/ 84178 w 117"/>
                <a:gd name="T19" fmla="*/ 127401 h 91"/>
                <a:gd name="T20" fmla="*/ 107136 w 117"/>
                <a:gd name="T21" fmla="*/ 123598 h 91"/>
                <a:gd name="T22" fmla="*/ 93744 w 117"/>
                <a:gd name="T23" fmla="*/ 115992 h 91"/>
                <a:gd name="T24" fmla="*/ 132006 w 117"/>
                <a:gd name="T25" fmla="*/ 108386 h 91"/>
                <a:gd name="T26" fmla="*/ 95657 w 117"/>
                <a:gd name="T27" fmla="*/ 112189 h 91"/>
                <a:gd name="T28" fmla="*/ 68873 w 117"/>
                <a:gd name="T29" fmla="*/ 117893 h 91"/>
                <a:gd name="T30" fmla="*/ 63134 w 117"/>
                <a:gd name="T31" fmla="*/ 98878 h 91"/>
                <a:gd name="T32" fmla="*/ 72699 w 117"/>
                <a:gd name="T33" fmla="*/ 102681 h 91"/>
                <a:gd name="T34" fmla="*/ 89917 w 117"/>
                <a:gd name="T35" fmla="*/ 96977 h 91"/>
                <a:gd name="T36" fmla="*/ 122441 w 117"/>
                <a:gd name="T37" fmla="*/ 87469 h 91"/>
                <a:gd name="T38" fmla="*/ 130093 w 117"/>
                <a:gd name="T39" fmla="*/ 81765 h 91"/>
                <a:gd name="T40" fmla="*/ 122441 w 117"/>
                <a:gd name="T41" fmla="*/ 74159 h 91"/>
                <a:gd name="T42" fmla="*/ 128180 w 117"/>
                <a:gd name="T43" fmla="*/ 58947 h 91"/>
                <a:gd name="T44" fmla="*/ 103309 w 117"/>
                <a:gd name="T45" fmla="*/ 79863 h 91"/>
                <a:gd name="T46" fmla="*/ 99483 w 117"/>
                <a:gd name="T47" fmla="*/ 62750 h 91"/>
                <a:gd name="T48" fmla="*/ 88004 w 117"/>
                <a:gd name="T49" fmla="*/ 70356 h 91"/>
                <a:gd name="T50" fmla="*/ 84178 w 117"/>
                <a:gd name="T51" fmla="*/ 81765 h 91"/>
                <a:gd name="T52" fmla="*/ 72699 w 117"/>
                <a:gd name="T53" fmla="*/ 85568 h 91"/>
                <a:gd name="T54" fmla="*/ 38263 w 117"/>
                <a:gd name="T55" fmla="*/ 79863 h 91"/>
                <a:gd name="T56" fmla="*/ 22958 w 117"/>
                <a:gd name="T57" fmla="*/ 66553 h 91"/>
                <a:gd name="T58" fmla="*/ 34436 w 117"/>
                <a:gd name="T59" fmla="*/ 60848 h 91"/>
                <a:gd name="T60" fmla="*/ 28697 w 117"/>
                <a:gd name="T61" fmla="*/ 53242 h 91"/>
                <a:gd name="T62" fmla="*/ 26784 w 117"/>
                <a:gd name="T63" fmla="*/ 38030 h 91"/>
                <a:gd name="T64" fmla="*/ 17218 w 117"/>
                <a:gd name="T65" fmla="*/ 47538 h 91"/>
                <a:gd name="T66" fmla="*/ 5739 w 117"/>
                <a:gd name="T67" fmla="*/ 20917 h 91"/>
                <a:gd name="T68" fmla="*/ 32523 w 117"/>
                <a:gd name="T69" fmla="*/ 20917 h 91"/>
                <a:gd name="T70" fmla="*/ 44002 w 117"/>
                <a:gd name="T71" fmla="*/ 13311 h 91"/>
                <a:gd name="T72" fmla="*/ 63134 w 117"/>
                <a:gd name="T73" fmla="*/ 17114 h 91"/>
                <a:gd name="T74" fmla="*/ 42089 w 117"/>
                <a:gd name="T75" fmla="*/ 22818 h 91"/>
                <a:gd name="T76" fmla="*/ 55481 w 117"/>
                <a:gd name="T77" fmla="*/ 30424 h 91"/>
                <a:gd name="T78" fmla="*/ 70786 w 117"/>
                <a:gd name="T79" fmla="*/ 43735 h 91"/>
                <a:gd name="T80" fmla="*/ 72699 w 117"/>
                <a:gd name="T81" fmla="*/ 20917 h 91"/>
                <a:gd name="T82" fmla="*/ 88004 w 117"/>
                <a:gd name="T83" fmla="*/ 20917 h 91"/>
                <a:gd name="T84" fmla="*/ 97570 w 117"/>
                <a:gd name="T85" fmla="*/ 45636 h 91"/>
                <a:gd name="T86" fmla="*/ 110962 w 117"/>
                <a:gd name="T87" fmla="*/ 57045 h 91"/>
                <a:gd name="T88" fmla="*/ 103309 w 117"/>
                <a:gd name="T89" fmla="*/ 24720 h 91"/>
                <a:gd name="T90" fmla="*/ 114788 w 117"/>
                <a:gd name="T91" fmla="*/ 1902 h 91"/>
                <a:gd name="T92" fmla="*/ 128180 w 117"/>
                <a:gd name="T93" fmla="*/ 9508 h 91"/>
                <a:gd name="T94" fmla="*/ 143485 w 117"/>
                <a:gd name="T95" fmla="*/ 38030 h 91"/>
                <a:gd name="T96" fmla="*/ 149225 w 117"/>
                <a:gd name="T97" fmla="*/ 22818 h 91"/>
                <a:gd name="T98" fmla="*/ 162617 w 117"/>
                <a:gd name="T99" fmla="*/ 38030 h 91"/>
                <a:gd name="T100" fmla="*/ 189401 w 117"/>
                <a:gd name="T101" fmla="*/ 53242 h 91"/>
                <a:gd name="T102" fmla="*/ 218098 w 117"/>
                <a:gd name="T103" fmla="*/ 589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7"/>
                <a:gd name="T157" fmla="*/ 0 h 91"/>
                <a:gd name="T158" fmla="*/ 117 w 117"/>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7" h="91">
                  <a:moveTo>
                    <a:pt x="114" y="31"/>
                  </a:moveTo>
                  <a:cubicBezTo>
                    <a:pt x="115" y="31"/>
                    <a:pt x="117" y="34"/>
                    <a:pt x="115" y="35"/>
                  </a:cubicBezTo>
                  <a:cubicBezTo>
                    <a:pt x="113" y="37"/>
                    <a:pt x="110" y="35"/>
                    <a:pt x="108" y="35"/>
                  </a:cubicBezTo>
                  <a:cubicBezTo>
                    <a:pt x="104" y="36"/>
                    <a:pt x="100" y="36"/>
                    <a:pt x="97" y="38"/>
                  </a:cubicBezTo>
                  <a:cubicBezTo>
                    <a:pt x="94" y="39"/>
                    <a:pt x="91" y="40"/>
                    <a:pt x="90" y="43"/>
                  </a:cubicBezTo>
                  <a:cubicBezTo>
                    <a:pt x="89" y="45"/>
                    <a:pt x="92" y="48"/>
                    <a:pt x="90" y="50"/>
                  </a:cubicBezTo>
                  <a:cubicBezTo>
                    <a:pt x="89" y="51"/>
                    <a:pt x="85" y="49"/>
                    <a:pt x="84" y="51"/>
                  </a:cubicBezTo>
                  <a:cubicBezTo>
                    <a:pt x="82" y="55"/>
                    <a:pt x="85" y="60"/>
                    <a:pt x="82" y="63"/>
                  </a:cubicBezTo>
                  <a:cubicBezTo>
                    <a:pt x="81" y="65"/>
                    <a:pt x="76" y="64"/>
                    <a:pt x="75" y="66"/>
                  </a:cubicBezTo>
                  <a:cubicBezTo>
                    <a:pt x="72" y="73"/>
                    <a:pt x="74" y="82"/>
                    <a:pt x="70" y="88"/>
                  </a:cubicBezTo>
                  <a:cubicBezTo>
                    <a:pt x="69" y="90"/>
                    <a:pt x="65" y="91"/>
                    <a:pt x="63" y="90"/>
                  </a:cubicBezTo>
                  <a:cubicBezTo>
                    <a:pt x="60" y="88"/>
                    <a:pt x="58" y="85"/>
                    <a:pt x="57" y="82"/>
                  </a:cubicBezTo>
                  <a:cubicBezTo>
                    <a:pt x="56" y="81"/>
                    <a:pt x="58" y="79"/>
                    <a:pt x="59" y="79"/>
                  </a:cubicBezTo>
                  <a:cubicBezTo>
                    <a:pt x="60" y="78"/>
                    <a:pt x="64" y="79"/>
                    <a:pt x="64" y="77"/>
                  </a:cubicBezTo>
                  <a:cubicBezTo>
                    <a:pt x="63" y="75"/>
                    <a:pt x="60" y="75"/>
                    <a:pt x="58" y="75"/>
                  </a:cubicBezTo>
                  <a:cubicBezTo>
                    <a:pt x="55" y="75"/>
                    <a:pt x="52" y="77"/>
                    <a:pt x="48" y="76"/>
                  </a:cubicBezTo>
                  <a:cubicBezTo>
                    <a:pt x="45" y="75"/>
                    <a:pt x="41" y="73"/>
                    <a:pt x="39" y="70"/>
                  </a:cubicBezTo>
                  <a:cubicBezTo>
                    <a:pt x="37" y="69"/>
                    <a:pt x="38" y="66"/>
                    <a:pt x="39" y="65"/>
                  </a:cubicBezTo>
                  <a:cubicBezTo>
                    <a:pt x="39" y="64"/>
                    <a:pt x="42" y="64"/>
                    <a:pt x="43" y="65"/>
                  </a:cubicBezTo>
                  <a:cubicBezTo>
                    <a:pt x="44" y="65"/>
                    <a:pt x="43" y="67"/>
                    <a:pt x="44" y="67"/>
                  </a:cubicBezTo>
                  <a:cubicBezTo>
                    <a:pt x="47" y="68"/>
                    <a:pt x="52" y="68"/>
                    <a:pt x="56" y="67"/>
                  </a:cubicBezTo>
                  <a:cubicBezTo>
                    <a:pt x="56" y="67"/>
                    <a:pt x="57" y="65"/>
                    <a:pt x="56" y="65"/>
                  </a:cubicBezTo>
                  <a:cubicBezTo>
                    <a:pt x="54" y="64"/>
                    <a:pt x="51" y="65"/>
                    <a:pt x="48" y="64"/>
                  </a:cubicBezTo>
                  <a:cubicBezTo>
                    <a:pt x="48" y="64"/>
                    <a:pt x="48" y="62"/>
                    <a:pt x="49" y="61"/>
                  </a:cubicBezTo>
                  <a:cubicBezTo>
                    <a:pt x="55" y="60"/>
                    <a:pt x="62" y="61"/>
                    <a:pt x="68" y="60"/>
                  </a:cubicBezTo>
                  <a:cubicBezTo>
                    <a:pt x="69" y="60"/>
                    <a:pt x="70" y="58"/>
                    <a:pt x="69" y="57"/>
                  </a:cubicBezTo>
                  <a:cubicBezTo>
                    <a:pt x="67" y="56"/>
                    <a:pt x="64" y="57"/>
                    <a:pt x="62" y="57"/>
                  </a:cubicBezTo>
                  <a:cubicBezTo>
                    <a:pt x="58" y="57"/>
                    <a:pt x="54" y="58"/>
                    <a:pt x="50" y="59"/>
                  </a:cubicBezTo>
                  <a:cubicBezTo>
                    <a:pt x="48" y="59"/>
                    <a:pt x="47" y="61"/>
                    <a:pt x="45" y="62"/>
                  </a:cubicBezTo>
                  <a:cubicBezTo>
                    <a:pt x="42" y="62"/>
                    <a:pt x="39" y="63"/>
                    <a:pt x="36" y="62"/>
                  </a:cubicBezTo>
                  <a:cubicBezTo>
                    <a:pt x="35" y="62"/>
                    <a:pt x="34" y="60"/>
                    <a:pt x="33" y="59"/>
                  </a:cubicBezTo>
                  <a:cubicBezTo>
                    <a:pt x="32" y="57"/>
                    <a:pt x="32" y="54"/>
                    <a:pt x="33" y="52"/>
                  </a:cubicBezTo>
                  <a:cubicBezTo>
                    <a:pt x="33" y="51"/>
                    <a:pt x="35" y="52"/>
                    <a:pt x="36" y="52"/>
                  </a:cubicBezTo>
                  <a:cubicBezTo>
                    <a:pt x="37" y="52"/>
                    <a:pt x="37" y="54"/>
                    <a:pt x="38" y="54"/>
                  </a:cubicBezTo>
                  <a:cubicBezTo>
                    <a:pt x="40" y="53"/>
                    <a:pt x="41" y="51"/>
                    <a:pt x="42" y="51"/>
                  </a:cubicBezTo>
                  <a:cubicBezTo>
                    <a:pt x="44" y="50"/>
                    <a:pt x="46" y="51"/>
                    <a:pt x="47" y="51"/>
                  </a:cubicBezTo>
                  <a:cubicBezTo>
                    <a:pt x="50" y="50"/>
                    <a:pt x="53" y="47"/>
                    <a:pt x="56" y="46"/>
                  </a:cubicBezTo>
                  <a:cubicBezTo>
                    <a:pt x="59" y="45"/>
                    <a:pt x="62" y="46"/>
                    <a:pt x="64" y="46"/>
                  </a:cubicBezTo>
                  <a:cubicBezTo>
                    <a:pt x="66" y="46"/>
                    <a:pt x="67" y="46"/>
                    <a:pt x="68" y="45"/>
                  </a:cubicBezTo>
                  <a:cubicBezTo>
                    <a:pt x="69" y="45"/>
                    <a:pt x="69" y="43"/>
                    <a:pt x="68" y="43"/>
                  </a:cubicBezTo>
                  <a:cubicBezTo>
                    <a:pt x="67" y="42"/>
                    <a:pt x="64" y="44"/>
                    <a:pt x="63" y="43"/>
                  </a:cubicBezTo>
                  <a:cubicBezTo>
                    <a:pt x="62" y="42"/>
                    <a:pt x="64" y="40"/>
                    <a:pt x="64" y="39"/>
                  </a:cubicBezTo>
                  <a:cubicBezTo>
                    <a:pt x="66" y="37"/>
                    <a:pt x="68" y="36"/>
                    <a:pt x="69" y="34"/>
                  </a:cubicBezTo>
                  <a:cubicBezTo>
                    <a:pt x="70" y="33"/>
                    <a:pt x="68" y="31"/>
                    <a:pt x="67" y="31"/>
                  </a:cubicBezTo>
                  <a:cubicBezTo>
                    <a:pt x="63" y="33"/>
                    <a:pt x="60" y="36"/>
                    <a:pt x="57" y="39"/>
                  </a:cubicBezTo>
                  <a:cubicBezTo>
                    <a:pt x="56" y="40"/>
                    <a:pt x="55" y="42"/>
                    <a:pt x="54" y="42"/>
                  </a:cubicBezTo>
                  <a:cubicBezTo>
                    <a:pt x="52" y="41"/>
                    <a:pt x="50" y="40"/>
                    <a:pt x="50" y="38"/>
                  </a:cubicBezTo>
                  <a:cubicBezTo>
                    <a:pt x="50" y="36"/>
                    <a:pt x="53" y="34"/>
                    <a:pt x="52" y="33"/>
                  </a:cubicBezTo>
                  <a:cubicBezTo>
                    <a:pt x="52" y="31"/>
                    <a:pt x="50" y="31"/>
                    <a:pt x="49" y="32"/>
                  </a:cubicBezTo>
                  <a:cubicBezTo>
                    <a:pt x="47" y="33"/>
                    <a:pt x="47" y="36"/>
                    <a:pt x="46" y="37"/>
                  </a:cubicBezTo>
                  <a:cubicBezTo>
                    <a:pt x="45" y="38"/>
                    <a:pt x="43" y="37"/>
                    <a:pt x="43" y="37"/>
                  </a:cubicBezTo>
                  <a:cubicBezTo>
                    <a:pt x="43" y="39"/>
                    <a:pt x="45" y="41"/>
                    <a:pt x="44" y="43"/>
                  </a:cubicBezTo>
                  <a:cubicBezTo>
                    <a:pt x="44" y="44"/>
                    <a:pt x="41" y="42"/>
                    <a:pt x="40" y="43"/>
                  </a:cubicBezTo>
                  <a:cubicBezTo>
                    <a:pt x="39" y="43"/>
                    <a:pt x="39" y="45"/>
                    <a:pt x="38" y="45"/>
                  </a:cubicBezTo>
                  <a:cubicBezTo>
                    <a:pt x="34" y="46"/>
                    <a:pt x="30" y="46"/>
                    <a:pt x="27" y="45"/>
                  </a:cubicBezTo>
                  <a:cubicBezTo>
                    <a:pt x="24" y="45"/>
                    <a:pt x="21" y="44"/>
                    <a:pt x="20" y="42"/>
                  </a:cubicBezTo>
                  <a:cubicBezTo>
                    <a:pt x="19" y="40"/>
                    <a:pt x="24" y="40"/>
                    <a:pt x="23" y="39"/>
                  </a:cubicBezTo>
                  <a:cubicBezTo>
                    <a:pt x="19" y="38"/>
                    <a:pt x="14" y="38"/>
                    <a:pt x="12" y="35"/>
                  </a:cubicBezTo>
                  <a:cubicBezTo>
                    <a:pt x="13" y="31"/>
                    <a:pt x="9" y="29"/>
                    <a:pt x="11" y="28"/>
                  </a:cubicBezTo>
                  <a:cubicBezTo>
                    <a:pt x="12" y="28"/>
                    <a:pt x="15" y="29"/>
                    <a:pt x="18" y="32"/>
                  </a:cubicBezTo>
                  <a:cubicBezTo>
                    <a:pt x="19" y="31"/>
                    <a:pt x="20" y="30"/>
                    <a:pt x="19" y="29"/>
                  </a:cubicBezTo>
                  <a:cubicBezTo>
                    <a:pt x="18" y="28"/>
                    <a:pt x="16" y="29"/>
                    <a:pt x="15" y="28"/>
                  </a:cubicBezTo>
                  <a:cubicBezTo>
                    <a:pt x="14" y="27"/>
                    <a:pt x="14" y="26"/>
                    <a:pt x="13" y="25"/>
                  </a:cubicBezTo>
                  <a:cubicBezTo>
                    <a:pt x="13" y="23"/>
                    <a:pt x="14" y="22"/>
                    <a:pt x="14" y="20"/>
                  </a:cubicBezTo>
                  <a:cubicBezTo>
                    <a:pt x="13" y="19"/>
                    <a:pt x="12" y="19"/>
                    <a:pt x="11" y="20"/>
                  </a:cubicBezTo>
                  <a:cubicBezTo>
                    <a:pt x="10" y="21"/>
                    <a:pt x="11" y="25"/>
                    <a:pt x="9" y="25"/>
                  </a:cubicBezTo>
                  <a:cubicBezTo>
                    <a:pt x="6" y="25"/>
                    <a:pt x="3" y="22"/>
                    <a:pt x="1" y="19"/>
                  </a:cubicBezTo>
                  <a:cubicBezTo>
                    <a:pt x="0" y="16"/>
                    <a:pt x="1" y="13"/>
                    <a:pt x="3" y="11"/>
                  </a:cubicBezTo>
                  <a:cubicBezTo>
                    <a:pt x="5" y="8"/>
                    <a:pt x="9" y="8"/>
                    <a:pt x="12" y="8"/>
                  </a:cubicBezTo>
                  <a:cubicBezTo>
                    <a:pt x="14" y="8"/>
                    <a:pt x="15" y="12"/>
                    <a:pt x="17" y="11"/>
                  </a:cubicBezTo>
                  <a:cubicBezTo>
                    <a:pt x="19" y="10"/>
                    <a:pt x="16" y="7"/>
                    <a:pt x="17" y="6"/>
                  </a:cubicBezTo>
                  <a:cubicBezTo>
                    <a:pt x="19" y="5"/>
                    <a:pt x="21" y="7"/>
                    <a:pt x="23" y="7"/>
                  </a:cubicBezTo>
                  <a:cubicBezTo>
                    <a:pt x="26" y="7"/>
                    <a:pt x="30" y="6"/>
                    <a:pt x="33" y="6"/>
                  </a:cubicBezTo>
                  <a:cubicBezTo>
                    <a:pt x="34" y="6"/>
                    <a:pt x="34" y="8"/>
                    <a:pt x="33" y="9"/>
                  </a:cubicBezTo>
                  <a:cubicBezTo>
                    <a:pt x="29" y="10"/>
                    <a:pt x="25" y="9"/>
                    <a:pt x="22" y="10"/>
                  </a:cubicBezTo>
                  <a:cubicBezTo>
                    <a:pt x="21" y="10"/>
                    <a:pt x="22" y="12"/>
                    <a:pt x="22" y="12"/>
                  </a:cubicBezTo>
                  <a:cubicBezTo>
                    <a:pt x="24" y="12"/>
                    <a:pt x="27" y="11"/>
                    <a:pt x="29" y="12"/>
                  </a:cubicBezTo>
                  <a:cubicBezTo>
                    <a:pt x="30" y="13"/>
                    <a:pt x="28" y="15"/>
                    <a:pt x="29" y="16"/>
                  </a:cubicBezTo>
                  <a:cubicBezTo>
                    <a:pt x="30" y="19"/>
                    <a:pt x="31" y="22"/>
                    <a:pt x="33" y="23"/>
                  </a:cubicBezTo>
                  <a:cubicBezTo>
                    <a:pt x="34" y="24"/>
                    <a:pt x="37" y="25"/>
                    <a:pt x="37" y="23"/>
                  </a:cubicBezTo>
                  <a:cubicBezTo>
                    <a:pt x="37" y="20"/>
                    <a:pt x="32" y="19"/>
                    <a:pt x="33" y="15"/>
                  </a:cubicBezTo>
                  <a:cubicBezTo>
                    <a:pt x="33" y="13"/>
                    <a:pt x="36" y="13"/>
                    <a:pt x="38" y="11"/>
                  </a:cubicBezTo>
                  <a:cubicBezTo>
                    <a:pt x="40" y="10"/>
                    <a:pt x="41" y="8"/>
                    <a:pt x="42" y="8"/>
                  </a:cubicBezTo>
                  <a:cubicBezTo>
                    <a:pt x="44" y="8"/>
                    <a:pt x="45" y="10"/>
                    <a:pt x="46" y="11"/>
                  </a:cubicBezTo>
                  <a:cubicBezTo>
                    <a:pt x="48" y="14"/>
                    <a:pt x="49" y="17"/>
                    <a:pt x="50" y="20"/>
                  </a:cubicBezTo>
                  <a:cubicBezTo>
                    <a:pt x="51" y="21"/>
                    <a:pt x="50" y="23"/>
                    <a:pt x="51" y="24"/>
                  </a:cubicBezTo>
                  <a:cubicBezTo>
                    <a:pt x="52" y="25"/>
                    <a:pt x="54" y="23"/>
                    <a:pt x="54" y="24"/>
                  </a:cubicBezTo>
                  <a:cubicBezTo>
                    <a:pt x="56" y="25"/>
                    <a:pt x="56" y="28"/>
                    <a:pt x="58" y="30"/>
                  </a:cubicBezTo>
                  <a:cubicBezTo>
                    <a:pt x="58" y="31"/>
                    <a:pt x="61" y="30"/>
                    <a:pt x="61" y="29"/>
                  </a:cubicBezTo>
                  <a:cubicBezTo>
                    <a:pt x="60" y="23"/>
                    <a:pt x="55" y="19"/>
                    <a:pt x="54" y="13"/>
                  </a:cubicBezTo>
                  <a:cubicBezTo>
                    <a:pt x="54" y="9"/>
                    <a:pt x="55" y="4"/>
                    <a:pt x="56" y="1"/>
                  </a:cubicBezTo>
                  <a:cubicBezTo>
                    <a:pt x="57" y="0"/>
                    <a:pt x="59" y="0"/>
                    <a:pt x="60" y="1"/>
                  </a:cubicBezTo>
                  <a:cubicBezTo>
                    <a:pt x="62" y="3"/>
                    <a:pt x="62" y="8"/>
                    <a:pt x="65" y="10"/>
                  </a:cubicBezTo>
                  <a:cubicBezTo>
                    <a:pt x="67" y="11"/>
                    <a:pt x="66" y="5"/>
                    <a:pt x="67" y="5"/>
                  </a:cubicBezTo>
                  <a:cubicBezTo>
                    <a:pt x="70" y="5"/>
                    <a:pt x="74" y="7"/>
                    <a:pt x="75" y="9"/>
                  </a:cubicBezTo>
                  <a:cubicBezTo>
                    <a:pt x="77" y="13"/>
                    <a:pt x="74" y="17"/>
                    <a:pt x="75" y="20"/>
                  </a:cubicBezTo>
                  <a:cubicBezTo>
                    <a:pt x="76" y="21"/>
                    <a:pt x="78" y="21"/>
                    <a:pt x="78" y="20"/>
                  </a:cubicBezTo>
                  <a:cubicBezTo>
                    <a:pt x="79" y="18"/>
                    <a:pt x="76" y="13"/>
                    <a:pt x="78" y="12"/>
                  </a:cubicBezTo>
                  <a:cubicBezTo>
                    <a:pt x="81" y="11"/>
                    <a:pt x="84" y="14"/>
                    <a:pt x="86" y="17"/>
                  </a:cubicBezTo>
                  <a:cubicBezTo>
                    <a:pt x="87" y="17"/>
                    <a:pt x="84" y="20"/>
                    <a:pt x="85" y="20"/>
                  </a:cubicBezTo>
                  <a:cubicBezTo>
                    <a:pt x="88" y="22"/>
                    <a:pt x="93" y="20"/>
                    <a:pt x="96" y="22"/>
                  </a:cubicBezTo>
                  <a:cubicBezTo>
                    <a:pt x="98" y="23"/>
                    <a:pt x="97" y="28"/>
                    <a:pt x="99" y="28"/>
                  </a:cubicBezTo>
                  <a:cubicBezTo>
                    <a:pt x="102" y="29"/>
                    <a:pt x="105" y="28"/>
                    <a:pt x="108" y="31"/>
                  </a:cubicBezTo>
                  <a:cubicBezTo>
                    <a:pt x="109" y="33"/>
                    <a:pt x="112" y="30"/>
                    <a:pt x="114" y="3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8" name="Freeform 618"/>
            <p:cNvSpPr>
              <a:spLocks noChangeAspect="1"/>
            </p:cNvSpPr>
            <p:nvPr/>
          </p:nvSpPr>
          <p:spPr bwMode="auto">
            <a:xfrm>
              <a:off x="4730569" y="771052"/>
              <a:ext cx="44848" cy="19346"/>
            </a:xfrm>
            <a:custGeom>
              <a:avLst/>
              <a:gdLst>
                <a:gd name="T0" fmla="*/ 37042 w 24"/>
                <a:gd name="T1" fmla="*/ 0 h 12"/>
                <a:gd name="T2" fmla="*/ 42598 w 24"/>
                <a:gd name="T3" fmla="*/ 1984 h 12"/>
                <a:gd name="T4" fmla="*/ 38894 w 24"/>
                <a:gd name="T5" fmla="*/ 17860 h 12"/>
                <a:gd name="T6" fmla="*/ 18521 w 24"/>
                <a:gd name="T7" fmla="*/ 21829 h 12"/>
                <a:gd name="T8" fmla="*/ 11113 w 24"/>
                <a:gd name="T9" fmla="*/ 19844 h 12"/>
                <a:gd name="T10" fmla="*/ 1852 w 24"/>
                <a:gd name="T11" fmla="*/ 5953 h 12"/>
                <a:gd name="T12" fmla="*/ 9260 w 24"/>
                <a:gd name="T13" fmla="*/ 3969 h 12"/>
                <a:gd name="T14" fmla="*/ 37042 w 2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2"/>
                <a:gd name="T26" fmla="*/ 24 w 2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2">
                  <a:moveTo>
                    <a:pt x="20" y="0"/>
                  </a:moveTo>
                  <a:cubicBezTo>
                    <a:pt x="21" y="0"/>
                    <a:pt x="23" y="0"/>
                    <a:pt x="23" y="1"/>
                  </a:cubicBezTo>
                  <a:cubicBezTo>
                    <a:pt x="24" y="4"/>
                    <a:pt x="23" y="8"/>
                    <a:pt x="21" y="9"/>
                  </a:cubicBezTo>
                  <a:cubicBezTo>
                    <a:pt x="18" y="12"/>
                    <a:pt x="14" y="11"/>
                    <a:pt x="10" y="11"/>
                  </a:cubicBezTo>
                  <a:cubicBezTo>
                    <a:pt x="8" y="11"/>
                    <a:pt x="6" y="12"/>
                    <a:pt x="6" y="10"/>
                  </a:cubicBezTo>
                  <a:cubicBezTo>
                    <a:pt x="6" y="7"/>
                    <a:pt x="2" y="5"/>
                    <a:pt x="1" y="3"/>
                  </a:cubicBezTo>
                  <a:cubicBezTo>
                    <a:pt x="0" y="2"/>
                    <a:pt x="3" y="2"/>
                    <a:pt x="5" y="2"/>
                  </a:cubicBezTo>
                  <a:cubicBezTo>
                    <a:pt x="10" y="1"/>
                    <a:pt x="15" y="0"/>
                    <a:pt x="2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39" name="Freeform 619"/>
            <p:cNvSpPr>
              <a:spLocks noChangeAspect="1"/>
            </p:cNvSpPr>
            <p:nvPr/>
          </p:nvSpPr>
          <p:spPr bwMode="auto">
            <a:xfrm>
              <a:off x="4744984" y="782660"/>
              <a:ext cx="81688" cy="46429"/>
            </a:xfrm>
            <a:custGeom>
              <a:avLst/>
              <a:gdLst>
                <a:gd name="T0" fmla="*/ 44337 w 42"/>
                <a:gd name="T1" fmla="*/ 1905 h 30"/>
                <a:gd name="T2" fmla="*/ 48192 w 42"/>
                <a:gd name="T3" fmla="*/ 5715 h 30"/>
                <a:gd name="T4" fmla="*/ 44337 w 42"/>
                <a:gd name="T5" fmla="*/ 17145 h 30"/>
                <a:gd name="T6" fmla="*/ 65541 w 42"/>
                <a:gd name="T7" fmla="*/ 26670 h 30"/>
                <a:gd name="T8" fmla="*/ 77108 w 42"/>
                <a:gd name="T9" fmla="*/ 20955 h 30"/>
                <a:gd name="T10" fmla="*/ 79035 w 42"/>
                <a:gd name="T11" fmla="*/ 32385 h 30"/>
                <a:gd name="T12" fmla="*/ 55903 w 42"/>
                <a:gd name="T13" fmla="*/ 45720 h 30"/>
                <a:gd name="T14" fmla="*/ 46265 w 42"/>
                <a:gd name="T15" fmla="*/ 55245 h 30"/>
                <a:gd name="T16" fmla="*/ 42409 w 42"/>
                <a:gd name="T17" fmla="*/ 51435 h 30"/>
                <a:gd name="T18" fmla="*/ 48192 w 42"/>
                <a:gd name="T19" fmla="*/ 38100 h 30"/>
                <a:gd name="T20" fmla="*/ 36626 w 42"/>
                <a:gd name="T21" fmla="*/ 38100 h 30"/>
                <a:gd name="T22" fmla="*/ 30843 w 42"/>
                <a:gd name="T23" fmla="*/ 43815 h 30"/>
                <a:gd name="T24" fmla="*/ 3855 w 42"/>
                <a:gd name="T25" fmla="*/ 43815 h 30"/>
                <a:gd name="T26" fmla="*/ 0 w 42"/>
                <a:gd name="T27" fmla="*/ 34290 h 30"/>
                <a:gd name="T28" fmla="*/ 7711 w 42"/>
                <a:gd name="T29" fmla="*/ 20955 h 30"/>
                <a:gd name="T30" fmla="*/ 1928 w 42"/>
                <a:gd name="T31" fmla="*/ 13335 h 30"/>
                <a:gd name="T32" fmla="*/ 5783 w 42"/>
                <a:gd name="T33" fmla="*/ 11430 h 30"/>
                <a:gd name="T34" fmla="*/ 23132 w 42"/>
                <a:gd name="T35" fmla="*/ 11430 h 30"/>
                <a:gd name="T36" fmla="*/ 36626 w 42"/>
                <a:gd name="T37" fmla="*/ 0 h 30"/>
                <a:gd name="T38" fmla="*/ 44337 w 42"/>
                <a:gd name="T39" fmla="*/ 1905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30"/>
                <a:gd name="T62" fmla="*/ 42 w 42"/>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30">
                  <a:moveTo>
                    <a:pt x="23" y="1"/>
                  </a:moveTo>
                  <a:cubicBezTo>
                    <a:pt x="24" y="1"/>
                    <a:pt x="25" y="2"/>
                    <a:pt x="25" y="3"/>
                  </a:cubicBezTo>
                  <a:cubicBezTo>
                    <a:pt x="25" y="5"/>
                    <a:pt x="22" y="7"/>
                    <a:pt x="23" y="9"/>
                  </a:cubicBezTo>
                  <a:cubicBezTo>
                    <a:pt x="26" y="12"/>
                    <a:pt x="30" y="13"/>
                    <a:pt x="34" y="14"/>
                  </a:cubicBezTo>
                  <a:cubicBezTo>
                    <a:pt x="37" y="14"/>
                    <a:pt x="38" y="10"/>
                    <a:pt x="40" y="11"/>
                  </a:cubicBezTo>
                  <a:cubicBezTo>
                    <a:pt x="42" y="12"/>
                    <a:pt x="42" y="16"/>
                    <a:pt x="41" y="17"/>
                  </a:cubicBezTo>
                  <a:cubicBezTo>
                    <a:pt x="37" y="18"/>
                    <a:pt x="35" y="22"/>
                    <a:pt x="29" y="24"/>
                  </a:cubicBezTo>
                  <a:cubicBezTo>
                    <a:pt x="26" y="24"/>
                    <a:pt x="25" y="27"/>
                    <a:pt x="24" y="29"/>
                  </a:cubicBezTo>
                  <a:cubicBezTo>
                    <a:pt x="23" y="30"/>
                    <a:pt x="21" y="28"/>
                    <a:pt x="22" y="27"/>
                  </a:cubicBezTo>
                  <a:cubicBezTo>
                    <a:pt x="22" y="25"/>
                    <a:pt x="26" y="23"/>
                    <a:pt x="25" y="20"/>
                  </a:cubicBezTo>
                  <a:cubicBezTo>
                    <a:pt x="24" y="19"/>
                    <a:pt x="21" y="20"/>
                    <a:pt x="19" y="20"/>
                  </a:cubicBezTo>
                  <a:cubicBezTo>
                    <a:pt x="18" y="21"/>
                    <a:pt x="17" y="23"/>
                    <a:pt x="16" y="23"/>
                  </a:cubicBezTo>
                  <a:cubicBezTo>
                    <a:pt x="11" y="22"/>
                    <a:pt x="6" y="22"/>
                    <a:pt x="2" y="23"/>
                  </a:cubicBezTo>
                  <a:cubicBezTo>
                    <a:pt x="0" y="23"/>
                    <a:pt x="0" y="20"/>
                    <a:pt x="0" y="18"/>
                  </a:cubicBezTo>
                  <a:cubicBezTo>
                    <a:pt x="1" y="15"/>
                    <a:pt x="4" y="14"/>
                    <a:pt x="4" y="11"/>
                  </a:cubicBezTo>
                  <a:cubicBezTo>
                    <a:pt x="4" y="9"/>
                    <a:pt x="1" y="9"/>
                    <a:pt x="1" y="7"/>
                  </a:cubicBezTo>
                  <a:cubicBezTo>
                    <a:pt x="1" y="7"/>
                    <a:pt x="2" y="6"/>
                    <a:pt x="3" y="6"/>
                  </a:cubicBezTo>
                  <a:cubicBezTo>
                    <a:pt x="6" y="6"/>
                    <a:pt x="9" y="7"/>
                    <a:pt x="12" y="6"/>
                  </a:cubicBezTo>
                  <a:cubicBezTo>
                    <a:pt x="15" y="5"/>
                    <a:pt x="17" y="2"/>
                    <a:pt x="19" y="0"/>
                  </a:cubicBezTo>
                  <a:cubicBezTo>
                    <a:pt x="20" y="0"/>
                    <a:pt x="22" y="0"/>
                    <a:pt x="2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0" name="Freeform 620"/>
            <p:cNvSpPr>
              <a:spLocks noChangeAspect="1"/>
            </p:cNvSpPr>
            <p:nvPr/>
          </p:nvSpPr>
          <p:spPr bwMode="auto">
            <a:xfrm>
              <a:off x="4538364" y="760735"/>
              <a:ext cx="32034" cy="29663"/>
            </a:xfrm>
            <a:custGeom>
              <a:avLst/>
              <a:gdLst>
                <a:gd name="T0" fmla="*/ 0 w 17"/>
                <a:gd name="T1" fmla="*/ 3843 h 19"/>
                <a:gd name="T2" fmla="*/ 5603 w 17"/>
                <a:gd name="T3" fmla="*/ 0 h 19"/>
                <a:gd name="T4" fmla="*/ 22412 w 17"/>
                <a:gd name="T5" fmla="*/ 23061 h 19"/>
                <a:gd name="T6" fmla="*/ 29882 w 17"/>
                <a:gd name="T7" fmla="*/ 32670 h 19"/>
                <a:gd name="T8" fmla="*/ 24279 w 17"/>
                <a:gd name="T9" fmla="*/ 34591 h 19"/>
                <a:gd name="T10" fmla="*/ 7471 w 17"/>
                <a:gd name="T11" fmla="*/ 19217 h 19"/>
                <a:gd name="T12" fmla="*/ 0 w 17"/>
                <a:gd name="T13" fmla="*/ 3843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0" y="2"/>
                  </a:moveTo>
                  <a:cubicBezTo>
                    <a:pt x="0" y="1"/>
                    <a:pt x="2" y="0"/>
                    <a:pt x="3" y="0"/>
                  </a:cubicBezTo>
                  <a:cubicBezTo>
                    <a:pt x="6" y="4"/>
                    <a:pt x="9" y="8"/>
                    <a:pt x="12" y="12"/>
                  </a:cubicBezTo>
                  <a:cubicBezTo>
                    <a:pt x="14" y="14"/>
                    <a:pt x="16" y="15"/>
                    <a:pt x="16" y="17"/>
                  </a:cubicBezTo>
                  <a:cubicBezTo>
                    <a:pt x="17" y="18"/>
                    <a:pt x="14" y="19"/>
                    <a:pt x="13" y="18"/>
                  </a:cubicBezTo>
                  <a:cubicBezTo>
                    <a:pt x="11" y="15"/>
                    <a:pt x="7" y="13"/>
                    <a:pt x="4" y="10"/>
                  </a:cubicBezTo>
                  <a:cubicBezTo>
                    <a:pt x="2" y="8"/>
                    <a:pt x="1" y="5"/>
                    <a:pt x="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1" name="Freeform 621"/>
            <p:cNvSpPr>
              <a:spLocks noChangeAspect="1"/>
            </p:cNvSpPr>
            <p:nvPr/>
          </p:nvSpPr>
          <p:spPr bwMode="auto">
            <a:xfrm>
              <a:off x="4672908" y="694963"/>
              <a:ext cx="195408" cy="59325"/>
            </a:xfrm>
            <a:custGeom>
              <a:avLst/>
              <a:gdLst>
                <a:gd name="T0" fmla="*/ 191776 w 102"/>
                <a:gd name="T1" fmla="*/ 30747 h 38"/>
                <a:gd name="T2" fmla="*/ 191776 w 102"/>
                <a:gd name="T3" fmla="*/ 24982 h 38"/>
                <a:gd name="T4" fmla="*/ 168991 w 102"/>
                <a:gd name="T5" fmla="*/ 19217 h 38"/>
                <a:gd name="T6" fmla="*/ 150003 w 102"/>
                <a:gd name="T7" fmla="*/ 11530 h 38"/>
                <a:gd name="T8" fmla="*/ 136712 w 102"/>
                <a:gd name="T9" fmla="*/ 9609 h 38"/>
                <a:gd name="T10" fmla="*/ 125319 w 102"/>
                <a:gd name="T11" fmla="*/ 17295 h 38"/>
                <a:gd name="T12" fmla="*/ 113926 w 102"/>
                <a:gd name="T13" fmla="*/ 19217 h 38"/>
                <a:gd name="T14" fmla="*/ 113926 w 102"/>
                <a:gd name="T15" fmla="*/ 11530 h 38"/>
                <a:gd name="T16" fmla="*/ 104433 w 102"/>
                <a:gd name="T17" fmla="*/ 0 h 38"/>
                <a:gd name="T18" fmla="*/ 102534 w 102"/>
                <a:gd name="T19" fmla="*/ 7687 h 38"/>
                <a:gd name="T20" fmla="*/ 98736 w 102"/>
                <a:gd name="T21" fmla="*/ 7687 h 38"/>
                <a:gd name="T22" fmla="*/ 102534 w 102"/>
                <a:gd name="T23" fmla="*/ 26904 h 38"/>
                <a:gd name="T24" fmla="*/ 94939 w 102"/>
                <a:gd name="T25" fmla="*/ 26904 h 38"/>
                <a:gd name="T26" fmla="*/ 85445 w 102"/>
                <a:gd name="T27" fmla="*/ 15374 h 38"/>
                <a:gd name="T28" fmla="*/ 64558 w 102"/>
                <a:gd name="T29" fmla="*/ 15374 h 38"/>
                <a:gd name="T30" fmla="*/ 53166 w 102"/>
                <a:gd name="T31" fmla="*/ 3843 h 38"/>
                <a:gd name="T32" fmla="*/ 41773 w 102"/>
                <a:gd name="T33" fmla="*/ 3843 h 38"/>
                <a:gd name="T34" fmla="*/ 49368 w 102"/>
                <a:gd name="T35" fmla="*/ 23061 h 38"/>
                <a:gd name="T36" fmla="*/ 34178 w 102"/>
                <a:gd name="T37" fmla="*/ 13452 h 38"/>
                <a:gd name="T38" fmla="*/ 28482 w 102"/>
                <a:gd name="T39" fmla="*/ 7687 h 38"/>
                <a:gd name="T40" fmla="*/ 32279 w 102"/>
                <a:gd name="T41" fmla="*/ 23061 h 38"/>
                <a:gd name="T42" fmla="*/ 22785 w 102"/>
                <a:gd name="T43" fmla="*/ 13452 h 38"/>
                <a:gd name="T44" fmla="*/ 7595 w 102"/>
                <a:gd name="T45" fmla="*/ 11530 h 38"/>
                <a:gd name="T46" fmla="*/ 0 w 102"/>
                <a:gd name="T47" fmla="*/ 13452 h 38"/>
                <a:gd name="T48" fmla="*/ 18988 w 102"/>
                <a:gd name="T49" fmla="*/ 21139 h 38"/>
                <a:gd name="T50" fmla="*/ 17089 w 102"/>
                <a:gd name="T51" fmla="*/ 26904 h 38"/>
                <a:gd name="T52" fmla="*/ 28482 w 102"/>
                <a:gd name="T53" fmla="*/ 28826 h 38"/>
                <a:gd name="T54" fmla="*/ 28482 w 102"/>
                <a:gd name="T55" fmla="*/ 30747 h 38"/>
                <a:gd name="T56" fmla="*/ 17089 w 102"/>
                <a:gd name="T57" fmla="*/ 34591 h 38"/>
                <a:gd name="T58" fmla="*/ 26583 w 102"/>
                <a:gd name="T59" fmla="*/ 40356 h 38"/>
                <a:gd name="T60" fmla="*/ 41773 w 102"/>
                <a:gd name="T61" fmla="*/ 40356 h 38"/>
                <a:gd name="T62" fmla="*/ 62660 w 102"/>
                <a:gd name="T63" fmla="*/ 36513 h 38"/>
                <a:gd name="T64" fmla="*/ 91141 w 102"/>
                <a:gd name="T65" fmla="*/ 36513 h 38"/>
                <a:gd name="T66" fmla="*/ 91141 w 102"/>
                <a:gd name="T67" fmla="*/ 42278 h 38"/>
                <a:gd name="T68" fmla="*/ 68356 w 102"/>
                <a:gd name="T69" fmla="*/ 44199 h 38"/>
                <a:gd name="T70" fmla="*/ 64558 w 102"/>
                <a:gd name="T71" fmla="*/ 48043 h 38"/>
                <a:gd name="T72" fmla="*/ 51267 w 102"/>
                <a:gd name="T73" fmla="*/ 44199 h 38"/>
                <a:gd name="T74" fmla="*/ 51267 w 102"/>
                <a:gd name="T75" fmla="*/ 48043 h 38"/>
                <a:gd name="T76" fmla="*/ 66457 w 102"/>
                <a:gd name="T77" fmla="*/ 51886 h 38"/>
                <a:gd name="T78" fmla="*/ 72153 w 102"/>
                <a:gd name="T79" fmla="*/ 61495 h 38"/>
                <a:gd name="T80" fmla="*/ 104433 w 102"/>
                <a:gd name="T81" fmla="*/ 57651 h 38"/>
                <a:gd name="T82" fmla="*/ 106331 w 102"/>
                <a:gd name="T83" fmla="*/ 65338 h 38"/>
                <a:gd name="T84" fmla="*/ 131015 w 102"/>
                <a:gd name="T85" fmla="*/ 71103 h 38"/>
                <a:gd name="T86" fmla="*/ 148104 w 102"/>
                <a:gd name="T87" fmla="*/ 55730 h 38"/>
                <a:gd name="T88" fmla="*/ 163295 w 102"/>
                <a:gd name="T89" fmla="*/ 55730 h 38"/>
                <a:gd name="T90" fmla="*/ 170890 w 102"/>
                <a:gd name="T91" fmla="*/ 42278 h 38"/>
                <a:gd name="T92" fmla="*/ 191776 w 102"/>
                <a:gd name="T93" fmla="*/ 30747 h 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2"/>
                <a:gd name="T142" fmla="*/ 0 h 38"/>
                <a:gd name="T143" fmla="*/ 102 w 102"/>
                <a:gd name="T144" fmla="*/ 38 h 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2" h="38">
                  <a:moveTo>
                    <a:pt x="101" y="16"/>
                  </a:moveTo>
                  <a:cubicBezTo>
                    <a:pt x="102" y="16"/>
                    <a:pt x="102" y="13"/>
                    <a:pt x="101" y="13"/>
                  </a:cubicBezTo>
                  <a:cubicBezTo>
                    <a:pt x="97" y="11"/>
                    <a:pt x="93" y="11"/>
                    <a:pt x="89" y="10"/>
                  </a:cubicBezTo>
                  <a:cubicBezTo>
                    <a:pt x="86" y="9"/>
                    <a:pt x="82" y="7"/>
                    <a:pt x="79" y="6"/>
                  </a:cubicBezTo>
                  <a:cubicBezTo>
                    <a:pt x="76" y="6"/>
                    <a:pt x="74" y="4"/>
                    <a:pt x="72" y="5"/>
                  </a:cubicBezTo>
                  <a:cubicBezTo>
                    <a:pt x="69" y="6"/>
                    <a:pt x="68" y="8"/>
                    <a:pt x="66" y="9"/>
                  </a:cubicBezTo>
                  <a:cubicBezTo>
                    <a:pt x="65" y="10"/>
                    <a:pt x="62" y="11"/>
                    <a:pt x="60" y="10"/>
                  </a:cubicBezTo>
                  <a:cubicBezTo>
                    <a:pt x="59" y="10"/>
                    <a:pt x="60" y="8"/>
                    <a:pt x="60" y="6"/>
                  </a:cubicBezTo>
                  <a:cubicBezTo>
                    <a:pt x="58" y="4"/>
                    <a:pt x="57" y="1"/>
                    <a:pt x="55" y="0"/>
                  </a:cubicBezTo>
                  <a:cubicBezTo>
                    <a:pt x="54" y="0"/>
                    <a:pt x="55" y="3"/>
                    <a:pt x="54" y="4"/>
                  </a:cubicBezTo>
                  <a:cubicBezTo>
                    <a:pt x="54" y="5"/>
                    <a:pt x="52" y="4"/>
                    <a:pt x="52" y="4"/>
                  </a:cubicBezTo>
                  <a:cubicBezTo>
                    <a:pt x="52" y="8"/>
                    <a:pt x="54" y="11"/>
                    <a:pt x="54" y="14"/>
                  </a:cubicBezTo>
                  <a:cubicBezTo>
                    <a:pt x="53" y="15"/>
                    <a:pt x="51" y="15"/>
                    <a:pt x="50" y="14"/>
                  </a:cubicBezTo>
                  <a:cubicBezTo>
                    <a:pt x="48" y="13"/>
                    <a:pt x="47" y="9"/>
                    <a:pt x="45" y="8"/>
                  </a:cubicBezTo>
                  <a:cubicBezTo>
                    <a:pt x="42" y="7"/>
                    <a:pt x="38" y="9"/>
                    <a:pt x="34" y="8"/>
                  </a:cubicBezTo>
                  <a:cubicBezTo>
                    <a:pt x="32" y="7"/>
                    <a:pt x="31" y="4"/>
                    <a:pt x="28" y="2"/>
                  </a:cubicBezTo>
                  <a:cubicBezTo>
                    <a:pt x="26" y="2"/>
                    <a:pt x="23" y="1"/>
                    <a:pt x="22" y="2"/>
                  </a:cubicBezTo>
                  <a:cubicBezTo>
                    <a:pt x="22" y="6"/>
                    <a:pt x="28" y="9"/>
                    <a:pt x="26" y="12"/>
                  </a:cubicBezTo>
                  <a:cubicBezTo>
                    <a:pt x="24" y="14"/>
                    <a:pt x="21" y="8"/>
                    <a:pt x="18" y="7"/>
                  </a:cubicBezTo>
                  <a:cubicBezTo>
                    <a:pt x="17" y="6"/>
                    <a:pt x="16" y="3"/>
                    <a:pt x="15" y="4"/>
                  </a:cubicBezTo>
                  <a:cubicBezTo>
                    <a:pt x="15" y="7"/>
                    <a:pt x="19" y="10"/>
                    <a:pt x="17" y="12"/>
                  </a:cubicBezTo>
                  <a:cubicBezTo>
                    <a:pt x="15" y="14"/>
                    <a:pt x="14" y="8"/>
                    <a:pt x="12" y="7"/>
                  </a:cubicBezTo>
                  <a:cubicBezTo>
                    <a:pt x="10" y="6"/>
                    <a:pt x="7" y="7"/>
                    <a:pt x="4" y="6"/>
                  </a:cubicBezTo>
                  <a:cubicBezTo>
                    <a:pt x="3" y="6"/>
                    <a:pt x="0" y="6"/>
                    <a:pt x="0" y="7"/>
                  </a:cubicBezTo>
                  <a:cubicBezTo>
                    <a:pt x="3" y="9"/>
                    <a:pt x="7" y="9"/>
                    <a:pt x="10" y="11"/>
                  </a:cubicBezTo>
                  <a:cubicBezTo>
                    <a:pt x="11" y="12"/>
                    <a:pt x="8" y="13"/>
                    <a:pt x="9" y="14"/>
                  </a:cubicBezTo>
                  <a:cubicBezTo>
                    <a:pt x="10" y="15"/>
                    <a:pt x="13" y="14"/>
                    <a:pt x="15" y="15"/>
                  </a:cubicBezTo>
                  <a:cubicBezTo>
                    <a:pt x="15" y="15"/>
                    <a:pt x="15" y="16"/>
                    <a:pt x="15" y="16"/>
                  </a:cubicBezTo>
                  <a:cubicBezTo>
                    <a:pt x="13" y="17"/>
                    <a:pt x="9" y="16"/>
                    <a:pt x="9" y="18"/>
                  </a:cubicBezTo>
                  <a:cubicBezTo>
                    <a:pt x="8" y="20"/>
                    <a:pt x="12" y="21"/>
                    <a:pt x="14" y="21"/>
                  </a:cubicBezTo>
                  <a:cubicBezTo>
                    <a:pt x="17" y="22"/>
                    <a:pt x="19" y="22"/>
                    <a:pt x="22" y="21"/>
                  </a:cubicBezTo>
                  <a:cubicBezTo>
                    <a:pt x="26" y="21"/>
                    <a:pt x="29" y="20"/>
                    <a:pt x="33" y="19"/>
                  </a:cubicBezTo>
                  <a:cubicBezTo>
                    <a:pt x="38" y="19"/>
                    <a:pt x="43" y="18"/>
                    <a:pt x="48" y="19"/>
                  </a:cubicBezTo>
                  <a:cubicBezTo>
                    <a:pt x="49" y="19"/>
                    <a:pt x="49" y="22"/>
                    <a:pt x="48" y="22"/>
                  </a:cubicBezTo>
                  <a:cubicBezTo>
                    <a:pt x="44" y="24"/>
                    <a:pt x="40" y="22"/>
                    <a:pt x="36" y="23"/>
                  </a:cubicBezTo>
                  <a:cubicBezTo>
                    <a:pt x="35" y="23"/>
                    <a:pt x="35" y="25"/>
                    <a:pt x="34" y="25"/>
                  </a:cubicBezTo>
                  <a:cubicBezTo>
                    <a:pt x="32" y="25"/>
                    <a:pt x="30" y="23"/>
                    <a:pt x="27" y="23"/>
                  </a:cubicBezTo>
                  <a:cubicBezTo>
                    <a:pt x="27" y="23"/>
                    <a:pt x="26" y="25"/>
                    <a:pt x="27" y="25"/>
                  </a:cubicBezTo>
                  <a:cubicBezTo>
                    <a:pt x="30" y="27"/>
                    <a:pt x="33" y="25"/>
                    <a:pt x="35" y="27"/>
                  </a:cubicBezTo>
                  <a:cubicBezTo>
                    <a:pt x="37" y="28"/>
                    <a:pt x="36" y="32"/>
                    <a:pt x="38" y="32"/>
                  </a:cubicBezTo>
                  <a:cubicBezTo>
                    <a:pt x="44" y="33"/>
                    <a:pt x="49" y="29"/>
                    <a:pt x="55" y="30"/>
                  </a:cubicBezTo>
                  <a:cubicBezTo>
                    <a:pt x="56" y="30"/>
                    <a:pt x="55" y="34"/>
                    <a:pt x="56" y="34"/>
                  </a:cubicBezTo>
                  <a:cubicBezTo>
                    <a:pt x="60" y="36"/>
                    <a:pt x="65" y="38"/>
                    <a:pt x="69" y="37"/>
                  </a:cubicBezTo>
                  <a:cubicBezTo>
                    <a:pt x="73" y="36"/>
                    <a:pt x="74" y="31"/>
                    <a:pt x="78" y="29"/>
                  </a:cubicBezTo>
                  <a:cubicBezTo>
                    <a:pt x="80" y="28"/>
                    <a:pt x="84" y="31"/>
                    <a:pt x="86" y="29"/>
                  </a:cubicBezTo>
                  <a:cubicBezTo>
                    <a:pt x="88" y="28"/>
                    <a:pt x="87" y="24"/>
                    <a:pt x="90" y="22"/>
                  </a:cubicBezTo>
                  <a:cubicBezTo>
                    <a:pt x="93" y="19"/>
                    <a:pt x="98" y="19"/>
                    <a:pt x="101"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2" name="Freeform 622"/>
            <p:cNvSpPr>
              <a:spLocks noChangeAspect="1"/>
            </p:cNvSpPr>
            <p:nvPr/>
          </p:nvSpPr>
          <p:spPr bwMode="auto">
            <a:xfrm>
              <a:off x="4954809" y="709148"/>
              <a:ext cx="35238" cy="7738"/>
            </a:xfrm>
            <a:custGeom>
              <a:avLst/>
              <a:gdLst>
                <a:gd name="T0" fmla="*/ 1940 w 18"/>
                <a:gd name="T1" fmla="*/ 3810 h 5"/>
                <a:gd name="T2" fmla="*/ 1940 w 18"/>
                <a:gd name="T3" fmla="*/ 7620 h 5"/>
                <a:gd name="T4" fmla="*/ 25224 w 18"/>
                <a:gd name="T5" fmla="*/ 5715 h 5"/>
                <a:gd name="T6" fmla="*/ 32985 w 18"/>
                <a:gd name="T7" fmla="*/ 3810 h 5"/>
                <a:gd name="T8" fmla="*/ 32985 w 18"/>
                <a:gd name="T9" fmla="*/ 0 h 5"/>
                <a:gd name="T10" fmla="*/ 9701 w 18"/>
                <a:gd name="T11" fmla="*/ 3810 h 5"/>
                <a:gd name="T12" fmla="*/ 1940 w 18"/>
                <a:gd name="T13" fmla="*/ 3810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2"/>
                  </a:moveTo>
                  <a:cubicBezTo>
                    <a:pt x="0" y="2"/>
                    <a:pt x="0" y="4"/>
                    <a:pt x="1" y="4"/>
                  </a:cubicBezTo>
                  <a:cubicBezTo>
                    <a:pt x="5" y="5"/>
                    <a:pt x="9" y="3"/>
                    <a:pt x="13" y="3"/>
                  </a:cubicBezTo>
                  <a:cubicBezTo>
                    <a:pt x="14" y="3"/>
                    <a:pt x="16" y="3"/>
                    <a:pt x="17" y="2"/>
                  </a:cubicBezTo>
                  <a:cubicBezTo>
                    <a:pt x="18" y="2"/>
                    <a:pt x="17" y="0"/>
                    <a:pt x="17" y="0"/>
                  </a:cubicBezTo>
                  <a:cubicBezTo>
                    <a:pt x="13" y="0"/>
                    <a:pt x="9" y="1"/>
                    <a:pt x="5" y="2"/>
                  </a:cubicBezTo>
                  <a:cubicBezTo>
                    <a:pt x="3" y="2"/>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3" name="Freeform 623"/>
            <p:cNvSpPr>
              <a:spLocks noChangeAspect="1"/>
            </p:cNvSpPr>
            <p:nvPr/>
          </p:nvSpPr>
          <p:spPr bwMode="auto">
            <a:xfrm>
              <a:off x="4881130" y="756866"/>
              <a:ext cx="41645" cy="7738"/>
            </a:xfrm>
            <a:custGeom>
              <a:avLst/>
              <a:gdLst>
                <a:gd name="T0" fmla="*/ 1965 w 21"/>
                <a:gd name="T1" fmla="*/ 1905 h 5"/>
                <a:gd name="T2" fmla="*/ 5896 w 21"/>
                <a:gd name="T3" fmla="*/ 7620 h 5"/>
                <a:gd name="T4" fmla="*/ 19655 w 21"/>
                <a:gd name="T5" fmla="*/ 3810 h 5"/>
                <a:gd name="T6" fmla="*/ 35379 w 21"/>
                <a:gd name="T7" fmla="*/ 9525 h 5"/>
                <a:gd name="T8" fmla="*/ 41275 w 21"/>
                <a:gd name="T9" fmla="*/ 5715 h 5"/>
                <a:gd name="T10" fmla="*/ 37344 w 21"/>
                <a:gd name="T11" fmla="*/ 3810 h 5"/>
                <a:gd name="T12" fmla="*/ 27517 w 21"/>
                <a:gd name="T13" fmla="*/ 0 h 5"/>
                <a:gd name="T14" fmla="*/ 7862 w 21"/>
                <a:gd name="T15" fmla="*/ 1905 h 5"/>
                <a:gd name="T16" fmla="*/ 1965 w 21"/>
                <a:gd name="T17" fmla="*/ 190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5"/>
                <a:gd name="T29" fmla="*/ 21 w 2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5">
                  <a:moveTo>
                    <a:pt x="1" y="1"/>
                  </a:moveTo>
                  <a:cubicBezTo>
                    <a:pt x="0" y="3"/>
                    <a:pt x="2" y="4"/>
                    <a:pt x="3" y="4"/>
                  </a:cubicBezTo>
                  <a:cubicBezTo>
                    <a:pt x="6" y="5"/>
                    <a:pt x="8" y="2"/>
                    <a:pt x="10" y="2"/>
                  </a:cubicBezTo>
                  <a:cubicBezTo>
                    <a:pt x="13" y="3"/>
                    <a:pt x="15" y="5"/>
                    <a:pt x="18" y="5"/>
                  </a:cubicBezTo>
                  <a:cubicBezTo>
                    <a:pt x="19" y="5"/>
                    <a:pt x="21" y="4"/>
                    <a:pt x="21" y="3"/>
                  </a:cubicBezTo>
                  <a:cubicBezTo>
                    <a:pt x="21" y="2"/>
                    <a:pt x="19" y="2"/>
                    <a:pt x="19" y="2"/>
                  </a:cubicBezTo>
                  <a:cubicBezTo>
                    <a:pt x="17" y="1"/>
                    <a:pt x="15" y="0"/>
                    <a:pt x="14" y="0"/>
                  </a:cubicBezTo>
                  <a:cubicBezTo>
                    <a:pt x="10" y="0"/>
                    <a:pt x="7" y="1"/>
                    <a:pt x="4" y="1"/>
                  </a:cubicBezTo>
                  <a:cubicBezTo>
                    <a:pt x="3" y="1"/>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4" name="Freeform 624"/>
            <p:cNvSpPr>
              <a:spLocks noChangeAspect="1"/>
            </p:cNvSpPr>
            <p:nvPr/>
          </p:nvSpPr>
          <p:spPr bwMode="auto">
            <a:xfrm>
              <a:off x="7411835" y="1529385"/>
              <a:ext cx="22424" cy="15476"/>
            </a:xfrm>
            <a:custGeom>
              <a:avLst/>
              <a:gdLst>
                <a:gd name="T0" fmla="*/ 20373 w 12"/>
                <a:gd name="T1" fmla="*/ 3810 h 10"/>
                <a:gd name="T2" fmla="*/ 16669 w 12"/>
                <a:gd name="T3" fmla="*/ 15240 h 10"/>
                <a:gd name="T4" fmla="*/ 3704 w 12"/>
                <a:gd name="T5" fmla="*/ 15240 h 10"/>
                <a:gd name="T6" fmla="*/ 9260 w 12"/>
                <a:gd name="T7" fmla="*/ 1905 h 10"/>
                <a:gd name="T8" fmla="*/ 20373 w 12"/>
                <a:gd name="T9" fmla="*/ 3810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5" name="Freeform 625"/>
            <p:cNvSpPr>
              <a:spLocks noChangeAspect="1"/>
            </p:cNvSpPr>
            <p:nvPr/>
          </p:nvSpPr>
          <p:spPr bwMode="auto">
            <a:xfrm>
              <a:off x="7959621" y="1417182"/>
              <a:ext cx="22424" cy="19345"/>
            </a:xfrm>
            <a:custGeom>
              <a:avLst/>
              <a:gdLst>
                <a:gd name="T0" fmla="*/ 18521 w 12"/>
                <a:gd name="T1" fmla="*/ 1832 h 13"/>
                <a:gd name="T2" fmla="*/ 18521 w 12"/>
                <a:gd name="T3" fmla="*/ 12822 h 13"/>
                <a:gd name="T4" fmla="*/ 0 w 12"/>
                <a:gd name="T5" fmla="*/ 21980 h 13"/>
                <a:gd name="T6" fmla="*/ 3704 w 12"/>
                <a:gd name="T7" fmla="*/ 5495 h 13"/>
                <a:gd name="T8" fmla="*/ 18521 w 12"/>
                <a:gd name="T9" fmla="*/ 1832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6" name="Freeform 626"/>
            <p:cNvSpPr>
              <a:spLocks noChangeAspect="1"/>
            </p:cNvSpPr>
            <p:nvPr/>
          </p:nvSpPr>
          <p:spPr bwMode="auto">
            <a:xfrm>
              <a:off x="5350431" y="1094762"/>
              <a:ext cx="38441" cy="27083"/>
            </a:xfrm>
            <a:custGeom>
              <a:avLst/>
              <a:gdLst>
                <a:gd name="T0" fmla="*/ 34290 w 20"/>
                <a:gd name="T1" fmla="*/ 9805 h 17"/>
                <a:gd name="T2" fmla="*/ 38100 w 20"/>
                <a:gd name="T3" fmla="*/ 13727 h 17"/>
                <a:gd name="T4" fmla="*/ 30480 w 20"/>
                <a:gd name="T5" fmla="*/ 23532 h 17"/>
                <a:gd name="T6" fmla="*/ 11430 w 20"/>
                <a:gd name="T7" fmla="*/ 33337 h 17"/>
                <a:gd name="T8" fmla="*/ 3810 w 20"/>
                <a:gd name="T9" fmla="*/ 31376 h 17"/>
                <a:gd name="T10" fmla="*/ 0 w 20"/>
                <a:gd name="T11" fmla="*/ 17649 h 17"/>
                <a:gd name="T12" fmla="*/ 3810 w 20"/>
                <a:gd name="T13" fmla="*/ 1961 h 17"/>
                <a:gd name="T14" fmla="*/ 15240 w 20"/>
                <a:gd name="T15" fmla="*/ 1961 h 17"/>
                <a:gd name="T16" fmla="*/ 26670 w 20"/>
                <a:gd name="T17" fmla="*/ 7844 h 17"/>
                <a:gd name="T18" fmla="*/ 34290 w 20"/>
                <a:gd name="T19" fmla="*/ 980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7" name="Freeform 627"/>
            <p:cNvSpPr>
              <a:spLocks noChangeAspect="1"/>
            </p:cNvSpPr>
            <p:nvPr/>
          </p:nvSpPr>
          <p:spPr bwMode="auto">
            <a:xfrm>
              <a:off x="5557052" y="1057361"/>
              <a:ext cx="48051" cy="30953"/>
            </a:xfrm>
            <a:custGeom>
              <a:avLst/>
              <a:gdLst>
                <a:gd name="T0" fmla="*/ 13335 w 25"/>
                <a:gd name="T1" fmla="*/ 1905 h 20"/>
                <a:gd name="T2" fmla="*/ 34290 w 25"/>
                <a:gd name="T3" fmla="*/ 19050 h 20"/>
                <a:gd name="T4" fmla="*/ 40005 w 25"/>
                <a:gd name="T5" fmla="*/ 19050 h 20"/>
                <a:gd name="T6" fmla="*/ 47625 w 25"/>
                <a:gd name="T7" fmla="*/ 28575 h 20"/>
                <a:gd name="T8" fmla="*/ 45720 w 25"/>
                <a:gd name="T9" fmla="*/ 32385 h 20"/>
                <a:gd name="T10" fmla="*/ 32385 w 25"/>
                <a:gd name="T11" fmla="*/ 36195 h 20"/>
                <a:gd name="T12" fmla="*/ 22860 w 25"/>
                <a:gd name="T13" fmla="*/ 26670 h 20"/>
                <a:gd name="T14" fmla="*/ 13335 w 25"/>
                <a:gd name="T15" fmla="*/ 26670 h 20"/>
                <a:gd name="T16" fmla="*/ 1905 w 25"/>
                <a:gd name="T17" fmla="*/ 15240 h 20"/>
                <a:gd name="T18" fmla="*/ 1905 w 25"/>
                <a:gd name="T19" fmla="*/ 5715 h 20"/>
                <a:gd name="T20" fmla="*/ 7620 w 25"/>
                <a:gd name="T21" fmla="*/ 5715 h 20"/>
                <a:gd name="T22" fmla="*/ 13335 w 25"/>
                <a:gd name="T23" fmla="*/ 190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8" name="Freeform 628"/>
            <p:cNvSpPr>
              <a:spLocks noChangeAspect="1"/>
            </p:cNvSpPr>
            <p:nvPr/>
          </p:nvSpPr>
          <p:spPr bwMode="auto">
            <a:xfrm>
              <a:off x="5438525" y="830378"/>
              <a:ext cx="296316" cy="132837"/>
            </a:xfrm>
            <a:custGeom>
              <a:avLst/>
              <a:gdLst>
                <a:gd name="T0" fmla="*/ 291780 w 154"/>
                <a:gd name="T1" fmla="*/ 24717 h 86"/>
                <a:gd name="T2" fmla="*/ 270802 w 154"/>
                <a:gd name="T3" fmla="*/ 39928 h 86"/>
                <a:gd name="T4" fmla="*/ 202148 w 154"/>
                <a:gd name="T5" fmla="*/ 60842 h 86"/>
                <a:gd name="T6" fmla="*/ 190706 w 154"/>
                <a:gd name="T7" fmla="*/ 58941 h 86"/>
                <a:gd name="T8" fmla="*/ 177356 w 154"/>
                <a:gd name="T9" fmla="*/ 68447 h 86"/>
                <a:gd name="T10" fmla="*/ 165914 w 154"/>
                <a:gd name="T11" fmla="*/ 74151 h 86"/>
                <a:gd name="T12" fmla="*/ 150658 w 154"/>
                <a:gd name="T13" fmla="*/ 87460 h 86"/>
                <a:gd name="T14" fmla="*/ 131587 w 154"/>
                <a:gd name="T15" fmla="*/ 87460 h 86"/>
                <a:gd name="T16" fmla="*/ 131587 w 154"/>
                <a:gd name="T17" fmla="*/ 96967 h 86"/>
                <a:gd name="T18" fmla="*/ 116331 w 154"/>
                <a:gd name="T19" fmla="*/ 104572 h 86"/>
                <a:gd name="T20" fmla="*/ 102981 w 154"/>
                <a:gd name="T21" fmla="*/ 104572 h 86"/>
                <a:gd name="T22" fmla="*/ 97260 w 154"/>
                <a:gd name="T23" fmla="*/ 121684 h 86"/>
                <a:gd name="T24" fmla="*/ 89632 w 154"/>
                <a:gd name="T25" fmla="*/ 134993 h 86"/>
                <a:gd name="T26" fmla="*/ 80096 w 154"/>
                <a:gd name="T27" fmla="*/ 129289 h 86"/>
                <a:gd name="T28" fmla="*/ 80096 w 154"/>
                <a:gd name="T29" fmla="*/ 134993 h 86"/>
                <a:gd name="T30" fmla="*/ 85818 w 154"/>
                <a:gd name="T31" fmla="*/ 146401 h 86"/>
                <a:gd name="T32" fmla="*/ 72468 w 154"/>
                <a:gd name="T33" fmla="*/ 144500 h 86"/>
                <a:gd name="T34" fmla="*/ 78189 w 154"/>
                <a:gd name="T35" fmla="*/ 154006 h 86"/>
                <a:gd name="T36" fmla="*/ 61026 w 154"/>
                <a:gd name="T37" fmla="*/ 163513 h 86"/>
                <a:gd name="T38" fmla="*/ 41955 w 154"/>
                <a:gd name="T39" fmla="*/ 155908 h 86"/>
                <a:gd name="T40" fmla="*/ 19071 w 154"/>
                <a:gd name="T41" fmla="*/ 155908 h 86"/>
                <a:gd name="T42" fmla="*/ 11442 w 154"/>
                <a:gd name="T43" fmla="*/ 155908 h 86"/>
                <a:gd name="T44" fmla="*/ 20978 w 154"/>
                <a:gd name="T45" fmla="*/ 148302 h 86"/>
                <a:gd name="T46" fmla="*/ 1907 w 154"/>
                <a:gd name="T47" fmla="*/ 150204 h 86"/>
                <a:gd name="T48" fmla="*/ 15256 w 154"/>
                <a:gd name="T49" fmla="*/ 136895 h 86"/>
                <a:gd name="T50" fmla="*/ 26699 w 154"/>
                <a:gd name="T51" fmla="*/ 127388 h 86"/>
                <a:gd name="T52" fmla="*/ 38141 w 154"/>
                <a:gd name="T53" fmla="*/ 131191 h 86"/>
                <a:gd name="T54" fmla="*/ 28606 w 154"/>
                <a:gd name="T55" fmla="*/ 121684 h 86"/>
                <a:gd name="T56" fmla="*/ 49584 w 154"/>
                <a:gd name="T57" fmla="*/ 115980 h 86"/>
                <a:gd name="T58" fmla="*/ 32420 w 154"/>
                <a:gd name="T59" fmla="*/ 110276 h 86"/>
                <a:gd name="T60" fmla="*/ 49584 w 154"/>
                <a:gd name="T61" fmla="*/ 104572 h 86"/>
                <a:gd name="T62" fmla="*/ 40048 w 154"/>
                <a:gd name="T63" fmla="*/ 100770 h 86"/>
                <a:gd name="T64" fmla="*/ 40048 w 154"/>
                <a:gd name="T65" fmla="*/ 95066 h 86"/>
                <a:gd name="T66" fmla="*/ 28606 w 154"/>
                <a:gd name="T67" fmla="*/ 83658 h 86"/>
                <a:gd name="T68" fmla="*/ 34327 w 154"/>
                <a:gd name="T69" fmla="*/ 83658 h 86"/>
                <a:gd name="T70" fmla="*/ 40048 w 154"/>
                <a:gd name="T71" fmla="*/ 89362 h 86"/>
                <a:gd name="T72" fmla="*/ 55305 w 154"/>
                <a:gd name="T73" fmla="*/ 83658 h 86"/>
                <a:gd name="T74" fmla="*/ 72468 w 154"/>
                <a:gd name="T75" fmla="*/ 83658 h 86"/>
                <a:gd name="T76" fmla="*/ 76282 w 154"/>
                <a:gd name="T77" fmla="*/ 72250 h 86"/>
                <a:gd name="T78" fmla="*/ 76282 w 154"/>
                <a:gd name="T79" fmla="*/ 62743 h 86"/>
                <a:gd name="T80" fmla="*/ 91539 w 154"/>
                <a:gd name="T81" fmla="*/ 64645 h 86"/>
                <a:gd name="T82" fmla="*/ 97260 w 154"/>
                <a:gd name="T83" fmla="*/ 55138 h 86"/>
                <a:gd name="T84" fmla="*/ 116331 w 154"/>
                <a:gd name="T85" fmla="*/ 49434 h 86"/>
                <a:gd name="T86" fmla="*/ 122052 w 154"/>
                <a:gd name="T87" fmla="*/ 45632 h 86"/>
                <a:gd name="T88" fmla="*/ 129680 w 154"/>
                <a:gd name="T89" fmla="*/ 47533 h 86"/>
                <a:gd name="T90" fmla="*/ 131587 w 154"/>
                <a:gd name="T91" fmla="*/ 39928 h 86"/>
                <a:gd name="T92" fmla="*/ 162100 w 154"/>
                <a:gd name="T93" fmla="*/ 39928 h 86"/>
                <a:gd name="T94" fmla="*/ 165914 w 154"/>
                <a:gd name="T95" fmla="*/ 43730 h 86"/>
                <a:gd name="T96" fmla="*/ 173542 w 154"/>
                <a:gd name="T97" fmla="*/ 38026 h 86"/>
                <a:gd name="T98" fmla="*/ 190706 w 154"/>
                <a:gd name="T99" fmla="*/ 36125 h 86"/>
                <a:gd name="T100" fmla="*/ 207869 w 154"/>
                <a:gd name="T101" fmla="*/ 36125 h 86"/>
                <a:gd name="T102" fmla="*/ 213591 w 154"/>
                <a:gd name="T103" fmla="*/ 26618 h 86"/>
                <a:gd name="T104" fmla="*/ 228847 w 154"/>
                <a:gd name="T105" fmla="*/ 22816 h 86"/>
                <a:gd name="T106" fmla="*/ 230754 w 154"/>
                <a:gd name="T107" fmla="*/ 13309 h 86"/>
                <a:gd name="T108" fmla="*/ 263174 w 154"/>
                <a:gd name="T109" fmla="*/ 1901 h 86"/>
                <a:gd name="T110" fmla="*/ 278431 w 154"/>
                <a:gd name="T111" fmla="*/ 7605 h 86"/>
                <a:gd name="T112" fmla="*/ 287966 w 154"/>
                <a:gd name="T113" fmla="*/ 9507 h 86"/>
                <a:gd name="T114" fmla="*/ 293687 w 154"/>
                <a:gd name="T115" fmla="*/ 19013 h 86"/>
                <a:gd name="T116" fmla="*/ 291780 w 154"/>
                <a:gd name="T117" fmla="*/ 24717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9" name="Freeform 629"/>
            <p:cNvSpPr>
              <a:spLocks noChangeAspect="1"/>
            </p:cNvSpPr>
            <p:nvPr/>
          </p:nvSpPr>
          <p:spPr bwMode="auto">
            <a:xfrm>
              <a:off x="5406492" y="960637"/>
              <a:ext cx="126535" cy="99306"/>
            </a:xfrm>
            <a:custGeom>
              <a:avLst/>
              <a:gdLst>
                <a:gd name="T0" fmla="*/ 93109 w 66"/>
                <a:gd name="T1" fmla="*/ 11460 h 64"/>
                <a:gd name="T2" fmla="*/ 85508 w 66"/>
                <a:gd name="T3" fmla="*/ 17190 h 64"/>
                <a:gd name="T4" fmla="*/ 87408 w 66"/>
                <a:gd name="T5" fmla="*/ 21009 h 64"/>
                <a:gd name="T6" fmla="*/ 76007 w 66"/>
                <a:gd name="T7" fmla="*/ 21009 h 64"/>
                <a:gd name="T8" fmla="*/ 81708 w 66"/>
                <a:gd name="T9" fmla="*/ 28649 h 64"/>
                <a:gd name="T10" fmla="*/ 81708 w 66"/>
                <a:gd name="T11" fmla="*/ 47749 h 64"/>
                <a:gd name="T12" fmla="*/ 83608 w 66"/>
                <a:gd name="T13" fmla="*/ 76398 h 64"/>
                <a:gd name="T14" fmla="*/ 119711 w 66"/>
                <a:gd name="T15" fmla="*/ 106957 h 64"/>
                <a:gd name="T16" fmla="*/ 125412 w 66"/>
                <a:gd name="T17" fmla="*/ 114597 h 64"/>
                <a:gd name="T18" fmla="*/ 117811 w 66"/>
                <a:gd name="T19" fmla="*/ 118417 h 64"/>
                <a:gd name="T20" fmla="*/ 106410 w 66"/>
                <a:gd name="T21" fmla="*/ 112687 h 64"/>
                <a:gd name="T22" fmla="*/ 102610 w 66"/>
                <a:gd name="T23" fmla="*/ 118417 h 64"/>
                <a:gd name="T24" fmla="*/ 89309 w 66"/>
                <a:gd name="T25" fmla="*/ 118417 h 64"/>
                <a:gd name="T26" fmla="*/ 81708 w 66"/>
                <a:gd name="T27" fmla="*/ 108867 h 64"/>
                <a:gd name="T28" fmla="*/ 76007 w 66"/>
                <a:gd name="T29" fmla="*/ 108867 h 64"/>
                <a:gd name="T30" fmla="*/ 83608 w 66"/>
                <a:gd name="T31" fmla="*/ 118417 h 64"/>
                <a:gd name="T32" fmla="*/ 76007 w 66"/>
                <a:gd name="T33" fmla="*/ 120327 h 64"/>
                <a:gd name="T34" fmla="*/ 68407 w 66"/>
                <a:gd name="T35" fmla="*/ 112687 h 64"/>
                <a:gd name="T36" fmla="*/ 45604 w 66"/>
                <a:gd name="T37" fmla="*/ 112687 h 64"/>
                <a:gd name="T38" fmla="*/ 49405 w 66"/>
                <a:gd name="T39" fmla="*/ 105047 h 64"/>
                <a:gd name="T40" fmla="*/ 47505 w 66"/>
                <a:gd name="T41" fmla="*/ 97408 h 64"/>
                <a:gd name="T42" fmla="*/ 57005 w 66"/>
                <a:gd name="T43" fmla="*/ 93588 h 64"/>
                <a:gd name="T44" fmla="*/ 47505 w 66"/>
                <a:gd name="T45" fmla="*/ 89768 h 64"/>
                <a:gd name="T46" fmla="*/ 39904 w 66"/>
                <a:gd name="T47" fmla="*/ 80218 h 64"/>
                <a:gd name="T48" fmla="*/ 28503 w 66"/>
                <a:gd name="T49" fmla="*/ 82128 h 64"/>
                <a:gd name="T50" fmla="*/ 22802 w 66"/>
                <a:gd name="T51" fmla="*/ 72578 h 64"/>
                <a:gd name="T52" fmla="*/ 15201 w 66"/>
                <a:gd name="T53" fmla="*/ 76398 h 64"/>
                <a:gd name="T54" fmla="*/ 3800 w 66"/>
                <a:gd name="T55" fmla="*/ 74488 h 64"/>
                <a:gd name="T56" fmla="*/ 1900 w 66"/>
                <a:gd name="T57" fmla="*/ 55389 h 64"/>
                <a:gd name="T58" fmla="*/ 11401 w 66"/>
                <a:gd name="T59" fmla="*/ 55389 h 64"/>
                <a:gd name="T60" fmla="*/ 15201 w 66"/>
                <a:gd name="T61" fmla="*/ 59209 h 64"/>
                <a:gd name="T62" fmla="*/ 19002 w 66"/>
                <a:gd name="T63" fmla="*/ 40109 h 64"/>
                <a:gd name="T64" fmla="*/ 20902 w 66"/>
                <a:gd name="T65" fmla="*/ 24829 h 64"/>
                <a:gd name="T66" fmla="*/ 30403 w 66"/>
                <a:gd name="T67" fmla="*/ 9550 h 64"/>
                <a:gd name="T68" fmla="*/ 38004 w 66"/>
                <a:gd name="T69" fmla="*/ 3820 h 64"/>
                <a:gd name="T70" fmla="*/ 57005 w 66"/>
                <a:gd name="T71" fmla="*/ 0 h 64"/>
                <a:gd name="T72" fmla="*/ 74107 w 66"/>
                <a:gd name="T73" fmla="*/ 3820 h 64"/>
                <a:gd name="T74" fmla="*/ 93109 w 66"/>
                <a:gd name="T75" fmla="*/ 11460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0" name="Freeform 630"/>
            <p:cNvSpPr>
              <a:spLocks noChangeAspect="1"/>
            </p:cNvSpPr>
            <p:nvPr/>
          </p:nvSpPr>
          <p:spPr bwMode="auto">
            <a:xfrm>
              <a:off x="5425712" y="1028989"/>
              <a:ext cx="17618" cy="16766"/>
            </a:xfrm>
            <a:custGeom>
              <a:avLst/>
              <a:gdLst>
                <a:gd name="T0" fmla="*/ 3880 w 9"/>
                <a:gd name="T1" fmla="*/ 1876 h 11"/>
                <a:gd name="T2" fmla="*/ 1940 w 9"/>
                <a:gd name="T3" fmla="*/ 3752 h 11"/>
                <a:gd name="T4" fmla="*/ 15522 w 9"/>
                <a:gd name="T5" fmla="*/ 18762 h 11"/>
                <a:gd name="T6" fmla="*/ 17462 w 9"/>
                <a:gd name="T7" fmla="*/ 13133 h 11"/>
                <a:gd name="T8" fmla="*/ 11641 w 9"/>
                <a:gd name="T9" fmla="*/ 5629 h 11"/>
                <a:gd name="T10" fmla="*/ 3880 w 9"/>
                <a:gd name="T11" fmla="*/ 1876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1" name="Freeform 631"/>
            <p:cNvSpPr>
              <a:spLocks noChangeAspect="1"/>
            </p:cNvSpPr>
            <p:nvPr/>
          </p:nvSpPr>
          <p:spPr bwMode="auto">
            <a:xfrm>
              <a:off x="6232975" y="862620"/>
              <a:ext cx="6407" cy="10318"/>
            </a:xfrm>
            <a:custGeom>
              <a:avLst/>
              <a:gdLst>
                <a:gd name="T0" fmla="*/ 4233 w 3"/>
                <a:gd name="T1" fmla="*/ 7257 h 7"/>
                <a:gd name="T2" fmla="*/ 2117 w 3"/>
                <a:gd name="T3" fmla="*/ 12700 h 7"/>
                <a:gd name="T4" fmla="*/ 0 w 3"/>
                <a:gd name="T5" fmla="*/ 7257 h 7"/>
                <a:gd name="T6" fmla="*/ 2117 w 3"/>
                <a:gd name="T7" fmla="*/ 1814 h 7"/>
                <a:gd name="T8" fmla="*/ 4233 w 3"/>
                <a:gd name="T9" fmla="*/ 7257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4"/>
                  </a:moveTo>
                  <a:cubicBezTo>
                    <a:pt x="2" y="5"/>
                    <a:pt x="2" y="7"/>
                    <a:pt x="1" y="7"/>
                  </a:cubicBezTo>
                  <a:cubicBezTo>
                    <a:pt x="0" y="6"/>
                    <a:pt x="0" y="5"/>
                    <a:pt x="0" y="4"/>
                  </a:cubicBezTo>
                  <a:cubicBezTo>
                    <a:pt x="0" y="3"/>
                    <a:pt x="0" y="0"/>
                    <a:pt x="1" y="1"/>
                  </a:cubicBezTo>
                  <a:cubicBezTo>
                    <a:pt x="3" y="1"/>
                    <a:pt x="2" y="3"/>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2" name="Freeform 632"/>
            <p:cNvSpPr>
              <a:spLocks noChangeAspect="1"/>
            </p:cNvSpPr>
            <p:nvPr/>
          </p:nvSpPr>
          <p:spPr bwMode="auto">
            <a:xfrm>
              <a:off x="5896615" y="952898"/>
              <a:ext cx="9610" cy="3868"/>
            </a:xfrm>
            <a:custGeom>
              <a:avLst/>
              <a:gdLst>
                <a:gd name="T0" fmla="*/ 3810 w 5"/>
                <a:gd name="T1" fmla="*/ 4762 h 3"/>
                <a:gd name="T2" fmla="*/ 1905 w 5"/>
                <a:gd name="T3" fmla="*/ 4762 h 3"/>
                <a:gd name="T4" fmla="*/ 3810 w 5"/>
                <a:gd name="T5" fmla="*/ 1587 h 3"/>
                <a:gd name="T6" fmla="*/ 9525 w 5"/>
                <a:gd name="T7" fmla="*/ 1587 h 3"/>
                <a:gd name="T8" fmla="*/ 3810 w 5"/>
                <a:gd name="T9" fmla="*/ 476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1" y="3"/>
                    <a:pt x="1" y="3"/>
                  </a:cubicBezTo>
                  <a:cubicBezTo>
                    <a:pt x="0" y="2"/>
                    <a:pt x="1" y="1"/>
                    <a:pt x="2" y="1"/>
                  </a:cubicBezTo>
                  <a:cubicBezTo>
                    <a:pt x="3" y="1"/>
                    <a:pt x="5" y="0"/>
                    <a:pt x="5" y="1"/>
                  </a:cubicBezTo>
                  <a:cubicBezTo>
                    <a:pt x="5" y="2"/>
                    <a:pt x="3" y="3"/>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3" name="Freeform 633"/>
            <p:cNvSpPr>
              <a:spLocks noChangeAspect="1"/>
            </p:cNvSpPr>
            <p:nvPr/>
          </p:nvSpPr>
          <p:spPr bwMode="auto">
            <a:xfrm>
              <a:off x="7245257" y="2753290"/>
              <a:ext cx="6407" cy="5158"/>
            </a:xfrm>
            <a:custGeom>
              <a:avLst/>
              <a:gdLst>
                <a:gd name="T0" fmla="*/ 3175 w 4"/>
                <a:gd name="T1" fmla="*/ 4762 h 4"/>
                <a:gd name="T2" fmla="*/ 0 w 4"/>
                <a:gd name="T3" fmla="*/ 4762 h 4"/>
                <a:gd name="T4" fmla="*/ 1588 w 4"/>
                <a:gd name="T5" fmla="*/ 1588 h 4"/>
                <a:gd name="T6" fmla="*/ 4762 w 4"/>
                <a:gd name="T7" fmla="*/ 0 h 4"/>
                <a:gd name="T8" fmla="*/ 3175 w 4"/>
                <a:gd name="T9" fmla="*/ 476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0" y="2"/>
                    <a:pt x="1" y="1"/>
                  </a:cubicBezTo>
                  <a:cubicBezTo>
                    <a:pt x="2" y="1"/>
                    <a:pt x="3" y="0"/>
                    <a:pt x="3"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4" name="Freeform 634"/>
            <p:cNvSpPr>
              <a:spLocks noChangeAspect="1"/>
            </p:cNvSpPr>
            <p:nvPr/>
          </p:nvSpPr>
          <p:spPr bwMode="auto">
            <a:xfrm>
              <a:off x="5384068" y="693673"/>
              <a:ext cx="3203" cy="6449"/>
            </a:xfrm>
            <a:custGeom>
              <a:avLst/>
              <a:gdLst>
                <a:gd name="T0" fmla="*/ 3175 w 2"/>
                <a:gd name="T1" fmla="*/ 5953 h 4"/>
                <a:gd name="T2" fmla="*/ 1588 w 2"/>
                <a:gd name="T3" fmla="*/ 7938 h 4"/>
                <a:gd name="T4" fmla="*/ 0 w 2"/>
                <a:gd name="T5" fmla="*/ 3969 h 4"/>
                <a:gd name="T6" fmla="*/ 1588 w 2"/>
                <a:gd name="T7" fmla="*/ 0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1" y="4"/>
                    <a:pt x="1" y="4"/>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5" name="Freeform 635"/>
            <p:cNvSpPr>
              <a:spLocks noChangeAspect="1"/>
            </p:cNvSpPr>
            <p:nvPr/>
          </p:nvSpPr>
          <p:spPr bwMode="auto">
            <a:xfrm>
              <a:off x="5438525" y="700121"/>
              <a:ext cx="8008" cy="5158"/>
            </a:xfrm>
            <a:custGeom>
              <a:avLst/>
              <a:gdLst>
                <a:gd name="T0" fmla="*/ 5953 w 4"/>
                <a:gd name="T1" fmla="*/ 2117 h 3"/>
                <a:gd name="T2" fmla="*/ 7937 w 4"/>
                <a:gd name="T3" fmla="*/ 6350 h 3"/>
                <a:gd name="T4" fmla="*/ 3969 w 4"/>
                <a:gd name="T5" fmla="*/ 6350 h 3"/>
                <a:gd name="T6" fmla="*/ 0 w 4"/>
                <a:gd name="T7" fmla="*/ 2117 h 3"/>
                <a:gd name="T8" fmla="*/ 5953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4" y="3"/>
                  </a:cubicBezTo>
                  <a:cubicBezTo>
                    <a:pt x="4" y="3"/>
                    <a:pt x="3" y="3"/>
                    <a:pt x="2" y="3"/>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6" name="Freeform 636"/>
            <p:cNvSpPr>
              <a:spLocks noChangeAspect="1"/>
            </p:cNvSpPr>
            <p:nvPr/>
          </p:nvSpPr>
          <p:spPr bwMode="auto">
            <a:xfrm>
              <a:off x="5465755" y="693673"/>
              <a:ext cx="9610" cy="3869"/>
            </a:xfrm>
            <a:custGeom>
              <a:avLst/>
              <a:gdLst>
                <a:gd name="T0" fmla="*/ 5715 w 5"/>
                <a:gd name="T1" fmla="*/ 0 h 2"/>
                <a:gd name="T2" fmla="*/ 9525 w 5"/>
                <a:gd name="T3" fmla="*/ 2382 h 2"/>
                <a:gd name="T4" fmla="*/ 5715 w 5"/>
                <a:gd name="T5" fmla="*/ 4763 h 2"/>
                <a:gd name="T6" fmla="*/ 0 w 5"/>
                <a:gd name="T7" fmla="*/ 2382 h 2"/>
                <a:gd name="T8" fmla="*/ 571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5" y="2"/>
                    <a:pt x="3" y="2"/>
                    <a:pt x="3" y="2"/>
                  </a:cubicBezTo>
                  <a:cubicBezTo>
                    <a:pt x="2" y="2"/>
                    <a:pt x="0" y="2"/>
                    <a:pt x="0" y="1"/>
                  </a:cubicBezTo>
                  <a:cubicBezTo>
                    <a:pt x="0" y="1"/>
                    <a:pt x="2"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7" name="Freeform 637"/>
            <p:cNvSpPr>
              <a:spLocks noChangeAspect="1"/>
            </p:cNvSpPr>
            <p:nvPr/>
          </p:nvSpPr>
          <p:spPr bwMode="auto">
            <a:xfrm>
              <a:off x="5491382" y="693673"/>
              <a:ext cx="8009" cy="3869"/>
            </a:xfrm>
            <a:custGeom>
              <a:avLst/>
              <a:gdLst>
                <a:gd name="T0" fmla="*/ 3969 w 4"/>
                <a:gd name="T1" fmla="*/ 0 h 2"/>
                <a:gd name="T2" fmla="*/ 7938 w 4"/>
                <a:gd name="T3" fmla="*/ 2382 h 2"/>
                <a:gd name="T4" fmla="*/ 3969 w 4"/>
                <a:gd name="T5" fmla="*/ 4763 h 2"/>
                <a:gd name="T6" fmla="*/ 0 w 4"/>
                <a:gd name="T7" fmla="*/ 2382 h 2"/>
                <a:gd name="T8" fmla="*/ 3969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4" y="1"/>
                  </a:cubicBezTo>
                  <a:cubicBezTo>
                    <a:pt x="3" y="1"/>
                    <a:pt x="3" y="2"/>
                    <a:pt x="2" y="2"/>
                  </a:cubicBezTo>
                  <a:cubicBezTo>
                    <a:pt x="1" y="2"/>
                    <a:pt x="0" y="2"/>
                    <a:pt x="0" y="1"/>
                  </a:cubicBezTo>
                  <a:cubicBezTo>
                    <a:pt x="0"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8" name="Freeform 638"/>
            <p:cNvSpPr>
              <a:spLocks noChangeAspect="1"/>
            </p:cNvSpPr>
            <p:nvPr/>
          </p:nvSpPr>
          <p:spPr bwMode="auto">
            <a:xfrm>
              <a:off x="5864582" y="733652"/>
              <a:ext cx="17618" cy="7738"/>
            </a:xfrm>
            <a:custGeom>
              <a:avLst/>
              <a:gdLst>
                <a:gd name="T0" fmla="*/ 5821 w 9"/>
                <a:gd name="T1" fmla="*/ 7620 h 5"/>
                <a:gd name="T2" fmla="*/ 0 w 9"/>
                <a:gd name="T3" fmla="*/ 1905 h 5"/>
                <a:gd name="T4" fmla="*/ 9701 w 9"/>
                <a:gd name="T5" fmla="*/ 1905 h 5"/>
                <a:gd name="T6" fmla="*/ 17462 w 9"/>
                <a:gd name="T7" fmla="*/ 7620 h 5"/>
                <a:gd name="T8" fmla="*/ 5821 w 9"/>
                <a:gd name="T9" fmla="*/ 7620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3" y="4"/>
                  </a:moveTo>
                  <a:cubicBezTo>
                    <a:pt x="2" y="3"/>
                    <a:pt x="0" y="2"/>
                    <a:pt x="0" y="1"/>
                  </a:cubicBezTo>
                  <a:cubicBezTo>
                    <a:pt x="1" y="0"/>
                    <a:pt x="3" y="1"/>
                    <a:pt x="5" y="1"/>
                  </a:cubicBezTo>
                  <a:cubicBezTo>
                    <a:pt x="6" y="1"/>
                    <a:pt x="9" y="3"/>
                    <a:pt x="9" y="4"/>
                  </a:cubicBezTo>
                  <a:cubicBezTo>
                    <a:pt x="8" y="5"/>
                    <a:pt x="5" y="4"/>
                    <a:pt x="3"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9" name="Freeform 639"/>
            <p:cNvSpPr>
              <a:spLocks noChangeAspect="1"/>
            </p:cNvSpPr>
            <p:nvPr/>
          </p:nvSpPr>
          <p:spPr bwMode="auto">
            <a:xfrm>
              <a:off x="7823475" y="1751209"/>
              <a:ext cx="12814" cy="14187"/>
            </a:xfrm>
            <a:custGeom>
              <a:avLst/>
              <a:gdLst>
                <a:gd name="T0" fmla="*/ 5443 w 7"/>
                <a:gd name="T1" fmla="*/ 11642 h 9"/>
                <a:gd name="T2" fmla="*/ 1814 w 7"/>
                <a:gd name="T3" fmla="*/ 15523 h 9"/>
                <a:gd name="T4" fmla="*/ 3629 w 7"/>
                <a:gd name="T5" fmla="*/ 7761 h 9"/>
                <a:gd name="T6" fmla="*/ 10886 w 7"/>
                <a:gd name="T7" fmla="*/ 1940 h 9"/>
                <a:gd name="T8" fmla="*/ 5443 w 7"/>
                <a:gd name="T9" fmla="*/ 11642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3" y="6"/>
                  </a:moveTo>
                  <a:cubicBezTo>
                    <a:pt x="3" y="7"/>
                    <a:pt x="1" y="9"/>
                    <a:pt x="1" y="8"/>
                  </a:cubicBezTo>
                  <a:cubicBezTo>
                    <a:pt x="0" y="7"/>
                    <a:pt x="1" y="5"/>
                    <a:pt x="2" y="4"/>
                  </a:cubicBezTo>
                  <a:cubicBezTo>
                    <a:pt x="3" y="3"/>
                    <a:pt x="5" y="0"/>
                    <a:pt x="6" y="1"/>
                  </a:cubicBezTo>
                  <a:cubicBezTo>
                    <a:pt x="7" y="2"/>
                    <a:pt x="5" y="5"/>
                    <a:pt x="3"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0" name="Freeform 640"/>
            <p:cNvSpPr>
              <a:spLocks noChangeAspect="1"/>
            </p:cNvSpPr>
            <p:nvPr/>
          </p:nvSpPr>
          <p:spPr bwMode="auto">
            <a:xfrm>
              <a:off x="7785033" y="1777002"/>
              <a:ext cx="17619" cy="18056"/>
            </a:xfrm>
            <a:custGeom>
              <a:avLst/>
              <a:gdLst>
                <a:gd name="T0" fmla="*/ 7761 w 9"/>
                <a:gd name="T1" fmla="*/ 14143 h 11"/>
                <a:gd name="T2" fmla="*/ 0 w 9"/>
                <a:gd name="T3" fmla="*/ 20205 h 11"/>
                <a:gd name="T4" fmla="*/ 5821 w 9"/>
                <a:gd name="T5" fmla="*/ 10102 h 11"/>
                <a:gd name="T6" fmla="*/ 15523 w 9"/>
                <a:gd name="T7" fmla="*/ 2020 h 11"/>
                <a:gd name="T8" fmla="*/ 7761 w 9"/>
                <a:gd name="T9" fmla="*/ 14143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1" name="Freeform 641"/>
            <p:cNvSpPr>
              <a:spLocks noChangeAspect="1"/>
            </p:cNvSpPr>
            <p:nvPr/>
          </p:nvSpPr>
          <p:spPr bwMode="auto">
            <a:xfrm>
              <a:off x="7865119" y="1688015"/>
              <a:ext cx="6407" cy="7738"/>
            </a:xfrm>
            <a:custGeom>
              <a:avLst/>
              <a:gdLst>
                <a:gd name="T0" fmla="*/ 4233 w 3"/>
                <a:gd name="T1" fmla="*/ 7620 h 5"/>
                <a:gd name="T2" fmla="*/ 0 w 3"/>
                <a:gd name="T3" fmla="*/ 9525 h 5"/>
                <a:gd name="T4" fmla="*/ 2117 w 3"/>
                <a:gd name="T5" fmla="*/ 5715 h 5"/>
                <a:gd name="T6" fmla="*/ 4233 w 3"/>
                <a:gd name="T7" fmla="*/ 1905 h 5"/>
                <a:gd name="T8" fmla="*/ 4233 w 3"/>
                <a:gd name="T9" fmla="*/ 762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1" y="4"/>
                    <a:pt x="1" y="5"/>
                    <a:pt x="0" y="5"/>
                  </a:cubicBezTo>
                  <a:cubicBezTo>
                    <a:pt x="0" y="5"/>
                    <a:pt x="0" y="3"/>
                    <a:pt x="1" y="3"/>
                  </a:cubicBezTo>
                  <a:cubicBezTo>
                    <a:pt x="1" y="2"/>
                    <a:pt x="2" y="0"/>
                    <a:pt x="2"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2" name="Freeform 642"/>
            <p:cNvSpPr>
              <a:spLocks noChangeAspect="1"/>
            </p:cNvSpPr>
            <p:nvPr/>
          </p:nvSpPr>
          <p:spPr bwMode="auto">
            <a:xfrm>
              <a:off x="7857110" y="1704780"/>
              <a:ext cx="6407" cy="7738"/>
            </a:xfrm>
            <a:custGeom>
              <a:avLst/>
              <a:gdLst>
                <a:gd name="T0" fmla="*/ 4233 w 3"/>
                <a:gd name="T1" fmla="*/ 5715 h 5"/>
                <a:gd name="T2" fmla="*/ 0 w 3"/>
                <a:gd name="T3" fmla="*/ 7620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0" y="5"/>
                    <a:pt x="0" y="4"/>
                  </a:cubicBezTo>
                  <a:cubicBezTo>
                    <a:pt x="0" y="4"/>
                    <a:pt x="0" y="3"/>
                    <a:pt x="0"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3" name="Freeform 643"/>
            <p:cNvSpPr>
              <a:spLocks noChangeAspect="1"/>
            </p:cNvSpPr>
            <p:nvPr/>
          </p:nvSpPr>
          <p:spPr bwMode="auto">
            <a:xfrm>
              <a:off x="7144349" y="937423"/>
              <a:ext cx="14416" cy="9027"/>
            </a:xfrm>
            <a:custGeom>
              <a:avLst/>
              <a:gdLst>
                <a:gd name="T0" fmla="*/ 10206 w 7"/>
                <a:gd name="T1" fmla="*/ 5556 h 6"/>
                <a:gd name="T2" fmla="*/ 12247 w 7"/>
                <a:gd name="T3" fmla="*/ 9260 h 6"/>
                <a:gd name="T4" fmla="*/ 6123 w 7"/>
                <a:gd name="T5" fmla="*/ 7408 h 6"/>
                <a:gd name="T6" fmla="*/ 2041 w 7"/>
                <a:gd name="T7" fmla="*/ 1852 h 6"/>
                <a:gd name="T8" fmla="*/ 10206 w 7"/>
                <a:gd name="T9" fmla="*/ 5556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5" y="3"/>
                  </a:moveTo>
                  <a:cubicBezTo>
                    <a:pt x="6" y="3"/>
                    <a:pt x="7" y="5"/>
                    <a:pt x="6" y="5"/>
                  </a:cubicBezTo>
                  <a:cubicBezTo>
                    <a:pt x="6" y="6"/>
                    <a:pt x="4" y="5"/>
                    <a:pt x="3" y="4"/>
                  </a:cubicBezTo>
                  <a:cubicBezTo>
                    <a:pt x="2" y="3"/>
                    <a:pt x="0" y="2"/>
                    <a:pt x="1" y="1"/>
                  </a:cubicBezTo>
                  <a:cubicBezTo>
                    <a:pt x="2" y="0"/>
                    <a:pt x="4" y="2"/>
                    <a:pt x="5"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4" name="Freeform 644"/>
            <p:cNvSpPr>
              <a:spLocks noChangeAspect="1"/>
            </p:cNvSpPr>
            <p:nvPr/>
          </p:nvSpPr>
          <p:spPr bwMode="auto">
            <a:xfrm>
              <a:off x="6724700" y="927105"/>
              <a:ext cx="6407" cy="6448"/>
            </a:xfrm>
            <a:custGeom>
              <a:avLst/>
              <a:gdLst>
                <a:gd name="T0" fmla="*/ 4233 w 3"/>
                <a:gd name="T1" fmla="*/ 5953 h 4"/>
                <a:gd name="T2" fmla="*/ 0 w 3"/>
                <a:gd name="T3" fmla="*/ 7937 h 4"/>
                <a:gd name="T4" fmla="*/ 2117 w 3"/>
                <a:gd name="T5" fmla="*/ 3969 h 4"/>
                <a:gd name="T6" fmla="*/ 4233 w 3"/>
                <a:gd name="T7" fmla="*/ 0 h 4"/>
                <a:gd name="T8" fmla="*/ 4233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0" y="4"/>
                  </a:cubicBezTo>
                  <a:cubicBezTo>
                    <a:pt x="0" y="4"/>
                    <a:pt x="0" y="3"/>
                    <a:pt x="1"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5" name="Freeform 645"/>
            <p:cNvSpPr>
              <a:spLocks noChangeAspect="1"/>
            </p:cNvSpPr>
            <p:nvPr/>
          </p:nvSpPr>
          <p:spPr bwMode="auto">
            <a:xfrm>
              <a:off x="6623793" y="845854"/>
              <a:ext cx="9610" cy="7738"/>
            </a:xfrm>
            <a:custGeom>
              <a:avLst/>
              <a:gdLst>
                <a:gd name="T0" fmla="*/ 7620 w 5"/>
                <a:gd name="T1" fmla="*/ 3810 h 5"/>
                <a:gd name="T2" fmla="*/ 7620 w 5"/>
                <a:gd name="T3" fmla="*/ 7620 h 5"/>
                <a:gd name="T4" fmla="*/ 3810 w 5"/>
                <a:gd name="T5" fmla="*/ 5715 h 5"/>
                <a:gd name="T6" fmla="*/ 1905 w 5"/>
                <a:gd name="T7" fmla="*/ 1905 h 5"/>
                <a:gd name="T8" fmla="*/ 7620 w 5"/>
                <a:gd name="T9" fmla="*/ 381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2"/>
                  </a:moveTo>
                  <a:cubicBezTo>
                    <a:pt x="4" y="3"/>
                    <a:pt x="5" y="4"/>
                    <a:pt x="4" y="4"/>
                  </a:cubicBezTo>
                  <a:cubicBezTo>
                    <a:pt x="4" y="5"/>
                    <a:pt x="3" y="4"/>
                    <a:pt x="2" y="3"/>
                  </a:cubicBezTo>
                  <a:cubicBezTo>
                    <a:pt x="1" y="2"/>
                    <a:pt x="0" y="1"/>
                    <a:pt x="1" y="1"/>
                  </a:cubicBezTo>
                  <a:cubicBezTo>
                    <a:pt x="2" y="0"/>
                    <a:pt x="3" y="2"/>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6" name="Freeform 646"/>
            <p:cNvSpPr>
              <a:spLocks noChangeAspect="1"/>
            </p:cNvSpPr>
            <p:nvPr/>
          </p:nvSpPr>
          <p:spPr bwMode="auto">
            <a:xfrm>
              <a:off x="6013540" y="870359"/>
              <a:ext cx="8009" cy="2579"/>
            </a:xfrm>
            <a:custGeom>
              <a:avLst/>
              <a:gdLst>
                <a:gd name="T0" fmla="*/ 3969 w 4"/>
                <a:gd name="T1" fmla="*/ 3175 h 2"/>
                <a:gd name="T2" fmla="*/ 0 w 4"/>
                <a:gd name="T3" fmla="*/ 1588 h 2"/>
                <a:gd name="T4" fmla="*/ 3969 w 4"/>
                <a:gd name="T5" fmla="*/ 0 h 2"/>
                <a:gd name="T6" fmla="*/ 7938 w 4"/>
                <a:gd name="T7" fmla="*/ 0 h 2"/>
                <a:gd name="T8" fmla="*/ 3969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2"/>
                    <a:pt x="0" y="1"/>
                  </a:cubicBezTo>
                  <a:cubicBezTo>
                    <a:pt x="0" y="1"/>
                    <a:pt x="1" y="0"/>
                    <a:pt x="2" y="0"/>
                  </a:cubicBezTo>
                  <a:cubicBezTo>
                    <a:pt x="3" y="0"/>
                    <a:pt x="4" y="0"/>
                    <a:pt x="4" y="0"/>
                  </a:cubicBezTo>
                  <a:cubicBezTo>
                    <a:pt x="4" y="1"/>
                    <a:pt x="3"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7" name="Freeform 647"/>
            <p:cNvSpPr>
              <a:spLocks noChangeAspect="1"/>
            </p:cNvSpPr>
            <p:nvPr/>
          </p:nvSpPr>
          <p:spPr bwMode="auto">
            <a:xfrm>
              <a:off x="6042371" y="933552"/>
              <a:ext cx="9610" cy="3869"/>
            </a:xfrm>
            <a:custGeom>
              <a:avLst/>
              <a:gdLst>
                <a:gd name="T0" fmla="*/ 5715 w 5"/>
                <a:gd name="T1" fmla="*/ 2382 h 2"/>
                <a:gd name="T2" fmla="*/ 7620 w 5"/>
                <a:gd name="T3" fmla="*/ 4763 h 2"/>
                <a:gd name="T4" fmla="*/ 3810 w 5"/>
                <a:gd name="T5" fmla="*/ 4763 h 2"/>
                <a:gd name="T6" fmla="*/ 0 w 5"/>
                <a:gd name="T7" fmla="*/ 2382 h 2"/>
                <a:gd name="T8" fmla="*/ 5715 w 5"/>
                <a:gd name="T9" fmla="*/ 238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8" name="Freeform 648"/>
            <p:cNvSpPr>
              <a:spLocks noChangeAspect="1"/>
            </p:cNvSpPr>
            <p:nvPr/>
          </p:nvSpPr>
          <p:spPr bwMode="auto">
            <a:xfrm>
              <a:off x="6084015" y="910338"/>
              <a:ext cx="11213" cy="3869"/>
            </a:xfrm>
            <a:custGeom>
              <a:avLst/>
              <a:gdLst>
                <a:gd name="T0" fmla="*/ 7409 w 6"/>
                <a:gd name="T1" fmla="*/ 2382 h 2"/>
                <a:gd name="T2" fmla="*/ 11113 w 6"/>
                <a:gd name="T3" fmla="*/ 4763 h 2"/>
                <a:gd name="T4" fmla="*/ 5557 w 6"/>
                <a:gd name="T5" fmla="*/ 4763 h 2"/>
                <a:gd name="T6" fmla="*/ 0 w 6"/>
                <a:gd name="T7" fmla="*/ 2382 h 2"/>
                <a:gd name="T8" fmla="*/ 7409 w 6"/>
                <a:gd name="T9" fmla="*/ 2382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4" y="1"/>
                  </a:moveTo>
                  <a:cubicBezTo>
                    <a:pt x="5" y="1"/>
                    <a:pt x="6" y="1"/>
                    <a:pt x="6" y="2"/>
                  </a:cubicBezTo>
                  <a:cubicBezTo>
                    <a:pt x="5" y="2"/>
                    <a:pt x="4" y="2"/>
                    <a:pt x="3" y="2"/>
                  </a:cubicBezTo>
                  <a:cubicBezTo>
                    <a:pt x="2" y="2"/>
                    <a:pt x="0" y="2"/>
                    <a:pt x="0" y="1"/>
                  </a:cubicBezTo>
                  <a:cubicBezTo>
                    <a:pt x="1" y="0"/>
                    <a:pt x="3"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69" name="Freeform 649"/>
            <p:cNvSpPr>
              <a:spLocks noChangeAspect="1"/>
            </p:cNvSpPr>
            <p:nvPr/>
          </p:nvSpPr>
          <p:spPr bwMode="auto">
            <a:xfrm>
              <a:off x="7285299" y="2723626"/>
              <a:ext cx="9610" cy="3869"/>
            </a:xfrm>
            <a:custGeom>
              <a:avLst/>
              <a:gdLst>
                <a:gd name="T0" fmla="*/ 3810 w 5"/>
                <a:gd name="T1" fmla="*/ 4763 h 3"/>
                <a:gd name="T2" fmla="*/ 0 w 5"/>
                <a:gd name="T3" fmla="*/ 3175 h 3"/>
                <a:gd name="T4" fmla="*/ 3810 w 5"/>
                <a:gd name="T5" fmla="*/ 1588 h 3"/>
                <a:gd name="T6" fmla="*/ 9525 w 5"/>
                <a:gd name="T7" fmla="*/ 3175 h 3"/>
                <a:gd name="T8" fmla="*/ 3810 w 5"/>
                <a:gd name="T9" fmla="*/ 476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1"/>
                    <a:pt x="2" y="1"/>
                  </a:cubicBezTo>
                  <a:cubicBezTo>
                    <a:pt x="3" y="1"/>
                    <a:pt x="5" y="0"/>
                    <a:pt x="5" y="2"/>
                  </a:cubicBezTo>
                  <a:cubicBezTo>
                    <a:pt x="5" y="3"/>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0" name="Freeform 650"/>
            <p:cNvSpPr>
              <a:spLocks noChangeAspect="1"/>
            </p:cNvSpPr>
            <p:nvPr/>
          </p:nvSpPr>
          <p:spPr bwMode="auto">
            <a:xfrm>
              <a:off x="7266078" y="2737813"/>
              <a:ext cx="4806" cy="2579"/>
            </a:xfrm>
            <a:custGeom>
              <a:avLst/>
              <a:gdLst>
                <a:gd name="T0" fmla="*/ 1588 w 3"/>
                <a:gd name="T1" fmla="*/ 3175 h 2"/>
                <a:gd name="T2" fmla="*/ 0 w 3"/>
                <a:gd name="T3" fmla="*/ 1588 h 2"/>
                <a:gd name="T4" fmla="*/ 1588 w 3"/>
                <a:gd name="T5" fmla="*/ 0 h 2"/>
                <a:gd name="T6" fmla="*/ 4763 w 3"/>
                <a:gd name="T7" fmla="*/ 1588 h 2"/>
                <a:gd name="T8" fmla="*/ 1588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1" name="Freeform 651"/>
            <p:cNvSpPr>
              <a:spLocks noChangeAspect="1"/>
            </p:cNvSpPr>
            <p:nvPr/>
          </p:nvSpPr>
          <p:spPr bwMode="auto">
            <a:xfrm>
              <a:off x="5424110" y="706569"/>
              <a:ext cx="4806" cy="6449"/>
            </a:xfrm>
            <a:custGeom>
              <a:avLst/>
              <a:gdLst>
                <a:gd name="T0" fmla="*/ 3175 w 3"/>
                <a:gd name="T1" fmla="*/ 5953 h 4"/>
                <a:gd name="T2" fmla="*/ 1588 w 3"/>
                <a:gd name="T3" fmla="*/ 5953 h 4"/>
                <a:gd name="T4" fmla="*/ 1588 w 3"/>
                <a:gd name="T5" fmla="*/ 3969 h 4"/>
                <a:gd name="T6" fmla="*/ 3175 w 3"/>
                <a:gd name="T7" fmla="*/ 1985 h 4"/>
                <a:gd name="T8" fmla="*/ 3175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3"/>
                  </a:cubicBezTo>
                  <a:cubicBezTo>
                    <a:pt x="0" y="3"/>
                    <a:pt x="0" y="2"/>
                    <a:pt x="1" y="2"/>
                  </a:cubicBezTo>
                  <a:cubicBezTo>
                    <a:pt x="1" y="1"/>
                    <a:pt x="2" y="0"/>
                    <a:pt x="2" y="1"/>
                  </a:cubicBezTo>
                  <a:cubicBezTo>
                    <a:pt x="3" y="1"/>
                    <a:pt x="3"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2" name="Freeform 652"/>
            <p:cNvSpPr>
              <a:spLocks noChangeAspect="1"/>
            </p:cNvSpPr>
            <p:nvPr/>
          </p:nvSpPr>
          <p:spPr bwMode="auto">
            <a:xfrm>
              <a:off x="7403825" y="1534543"/>
              <a:ext cx="8009" cy="5158"/>
            </a:xfrm>
            <a:custGeom>
              <a:avLst/>
              <a:gdLst>
                <a:gd name="T0" fmla="*/ 7938 w 4"/>
                <a:gd name="T1" fmla="*/ 4233 h 3"/>
                <a:gd name="T2" fmla="*/ 3969 w 4"/>
                <a:gd name="T3" fmla="*/ 6350 h 3"/>
                <a:gd name="T4" fmla="*/ 0 w 4"/>
                <a:gd name="T5" fmla="*/ 4233 h 3"/>
                <a:gd name="T6" fmla="*/ 3969 w 4"/>
                <a:gd name="T7" fmla="*/ 0 h 3"/>
                <a:gd name="T8" fmla="*/ 7938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3" name="Freeform 653"/>
            <p:cNvSpPr>
              <a:spLocks noChangeAspect="1"/>
            </p:cNvSpPr>
            <p:nvPr/>
          </p:nvSpPr>
          <p:spPr bwMode="auto">
            <a:xfrm>
              <a:off x="7717761" y="1053493"/>
              <a:ext cx="8009" cy="9027"/>
            </a:xfrm>
            <a:custGeom>
              <a:avLst/>
              <a:gdLst>
                <a:gd name="T0" fmla="*/ 7938 w 4"/>
                <a:gd name="T1" fmla="*/ 5556 h 6"/>
                <a:gd name="T2" fmla="*/ 5953 w 4"/>
                <a:gd name="T3" fmla="*/ 11112 h 6"/>
                <a:gd name="T4" fmla="*/ 1985 w 4"/>
                <a:gd name="T5" fmla="*/ 7408 h 6"/>
                <a:gd name="T6" fmla="*/ 1985 w 4"/>
                <a:gd name="T7" fmla="*/ 0 h 6"/>
                <a:gd name="T8" fmla="*/ 7938 w 4"/>
                <a:gd name="T9" fmla="*/ 555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4" y="5"/>
                    <a:pt x="3" y="6"/>
                  </a:cubicBezTo>
                  <a:cubicBezTo>
                    <a:pt x="2" y="6"/>
                    <a:pt x="1" y="4"/>
                    <a:pt x="1" y="4"/>
                  </a:cubicBezTo>
                  <a:cubicBezTo>
                    <a:pt x="1" y="3"/>
                    <a:pt x="0" y="0"/>
                    <a:pt x="1" y="0"/>
                  </a:cubicBezTo>
                  <a:cubicBezTo>
                    <a:pt x="3" y="0"/>
                    <a:pt x="3" y="2"/>
                    <a:pt x="4"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4" name="Oval 654"/>
            <p:cNvSpPr>
              <a:spLocks noChangeAspect="1" noChangeArrowheads="1"/>
            </p:cNvSpPr>
            <p:nvPr/>
          </p:nvSpPr>
          <p:spPr bwMode="auto">
            <a:xfrm>
              <a:off x="7458283" y="863909"/>
              <a:ext cx="3203"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5" name="Freeform 655"/>
            <p:cNvSpPr>
              <a:spLocks noChangeAspect="1"/>
            </p:cNvSpPr>
            <p:nvPr/>
          </p:nvSpPr>
          <p:spPr bwMode="auto">
            <a:xfrm>
              <a:off x="6516477" y="818771"/>
              <a:ext cx="4806" cy="5158"/>
            </a:xfrm>
            <a:custGeom>
              <a:avLst/>
              <a:gdLst>
                <a:gd name="T0" fmla="*/ 4763 w 3"/>
                <a:gd name="T1" fmla="*/ 4233 h 3"/>
                <a:gd name="T2" fmla="*/ 3175 w 3"/>
                <a:gd name="T3" fmla="*/ 6350 h 3"/>
                <a:gd name="T4" fmla="*/ 0 w 3"/>
                <a:gd name="T5" fmla="*/ 2117 h 3"/>
                <a:gd name="T6" fmla="*/ 3175 w 3"/>
                <a:gd name="T7" fmla="*/ 0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0" y="1"/>
                  </a:cubicBezTo>
                  <a:cubicBezTo>
                    <a:pt x="0" y="1"/>
                    <a:pt x="1" y="0"/>
                    <a:pt x="2"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6" name="Freeform 656"/>
            <p:cNvSpPr>
              <a:spLocks noChangeAspect="1"/>
            </p:cNvSpPr>
            <p:nvPr/>
          </p:nvSpPr>
          <p:spPr bwMode="auto">
            <a:xfrm>
              <a:off x="6151287" y="821351"/>
              <a:ext cx="3203" cy="3868"/>
            </a:xfrm>
            <a:custGeom>
              <a:avLst/>
              <a:gdLst>
                <a:gd name="T0" fmla="*/ 3175 w 2"/>
                <a:gd name="T1" fmla="*/ 3175 h 3"/>
                <a:gd name="T2" fmla="*/ 1588 w 2"/>
                <a:gd name="T3" fmla="*/ 4762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7" name="Freeform 657"/>
            <p:cNvSpPr>
              <a:spLocks noChangeAspect="1"/>
            </p:cNvSpPr>
            <p:nvPr/>
          </p:nvSpPr>
          <p:spPr bwMode="auto">
            <a:xfrm>
              <a:off x="6100032" y="921946"/>
              <a:ext cx="4806" cy="3868"/>
            </a:xfrm>
            <a:custGeom>
              <a:avLst/>
              <a:gdLst>
                <a:gd name="T0" fmla="*/ 2382 w 2"/>
                <a:gd name="T1" fmla="*/ 3175 h 3"/>
                <a:gd name="T2" fmla="*/ 0 w 2"/>
                <a:gd name="T3" fmla="*/ 4762 h 3"/>
                <a:gd name="T4" fmla="*/ 0 w 2"/>
                <a:gd name="T5" fmla="*/ 3175 h 3"/>
                <a:gd name="T6" fmla="*/ 2382 w 2"/>
                <a:gd name="T7" fmla="*/ 0 h 3"/>
                <a:gd name="T8" fmla="*/ 238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2"/>
                  </a:cubicBezTo>
                  <a:cubicBezTo>
                    <a:pt x="0" y="1"/>
                    <a:pt x="0" y="0"/>
                    <a:pt x="1" y="0"/>
                  </a:cubicBezTo>
                  <a:cubicBezTo>
                    <a:pt x="2" y="0"/>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8" name="Freeform 658"/>
            <p:cNvSpPr>
              <a:spLocks noChangeAspect="1"/>
            </p:cNvSpPr>
            <p:nvPr/>
          </p:nvSpPr>
          <p:spPr bwMode="auto">
            <a:xfrm>
              <a:off x="6090422" y="919367"/>
              <a:ext cx="6407" cy="5158"/>
            </a:xfrm>
            <a:custGeom>
              <a:avLst/>
              <a:gdLst>
                <a:gd name="T0" fmla="*/ 6350 w 3"/>
                <a:gd name="T1" fmla="*/ 4233 h 3"/>
                <a:gd name="T2" fmla="*/ 4233 w 3"/>
                <a:gd name="T3" fmla="*/ 6350 h 3"/>
                <a:gd name="T4" fmla="*/ 2117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1" y="2"/>
                  </a:cubicBezTo>
                  <a:cubicBezTo>
                    <a:pt x="1" y="1"/>
                    <a:pt x="1" y="0"/>
                    <a:pt x="2"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79" name="Freeform 659"/>
            <p:cNvSpPr>
              <a:spLocks noChangeAspect="1"/>
            </p:cNvSpPr>
            <p:nvPr/>
          </p:nvSpPr>
          <p:spPr bwMode="auto">
            <a:xfrm>
              <a:off x="5752462" y="1096052"/>
              <a:ext cx="4805" cy="5158"/>
            </a:xfrm>
            <a:custGeom>
              <a:avLst/>
              <a:gdLst>
                <a:gd name="T0" fmla="*/ 4762 w 2"/>
                <a:gd name="T1" fmla="*/ 4233 h 3"/>
                <a:gd name="T2" fmla="*/ 2381 w 2"/>
                <a:gd name="T3" fmla="*/ 6350 h 3"/>
                <a:gd name="T4" fmla="*/ 0 w 2"/>
                <a:gd name="T5" fmla="*/ 2117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0" name="Freeform 660"/>
            <p:cNvSpPr>
              <a:spLocks noChangeAspect="1"/>
            </p:cNvSpPr>
            <p:nvPr/>
          </p:nvSpPr>
          <p:spPr bwMode="auto">
            <a:xfrm>
              <a:off x="7171579" y="2706861"/>
              <a:ext cx="6407" cy="3868"/>
            </a:xfrm>
            <a:custGeom>
              <a:avLst/>
              <a:gdLst>
                <a:gd name="T0" fmla="*/ 2117 w 3"/>
                <a:gd name="T1" fmla="*/ 3175 h 3"/>
                <a:gd name="T2" fmla="*/ 0 w 3"/>
                <a:gd name="T3" fmla="*/ 3175 h 3"/>
                <a:gd name="T4" fmla="*/ 2117 w 3"/>
                <a:gd name="T5" fmla="*/ 1587 h 3"/>
                <a:gd name="T6" fmla="*/ 4233 w 3"/>
                <a:gd name="T7" fmla="*/ 1587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2"/>
                    <a:pt x="0" y="3"/>
                    <a:pt x="0" y="2"/>
                  </a:cubicBezTo>
                  <a:cubicBezTo>
                    <a:pt x="0" y="1"/>
                    <a:pt x="1" y="1"/>
                    <a:pt x="1" y="1"/>
                  </a:cubicBezTo>
                  <a:cubicBezTo>
                    <a:pt x="1" y="1"/>
                    <a:pt x="2" y="0"/>
                    <a:pt x="2"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1" name="Freeform 661"/>
            <p:cNvSpPr>
              <a:spLocks noChangeAspect="1"/>
            </p:cNvSpPr>
            <p:nvPr/>
          </p:nvSpPr>
          <p:spPr bwMode="auto">
            <a:xfrm>
              <a:off x="5198269" y="3972036"/>
              <a:ext cx="4805" cy="5158"/>
            </a:xfrm>
            <a:custGeom>
              <a:avLst/>
              <a:gdLst>
                <a:gd name="T0" fmla="*/ 2381 w 2"/>
                <a:gd name="T1" fmla="*/ 4233 h 3"/>
                <a:gd name="T2" fmla="*/ 0 w 2"/>
                <a:gd name="T3" fmla="*/ 4233 h 3"/>
                <a:gd name="T4" fmla="*/ 2381 w 2"/>
                <a:gd name="T5" fmla="*/ 2117 h 3"/>
                <a:gd name="T6" fmla="*/ 4762 w 2"/>
                <a:gd name="T7" fmla="*/ 2117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1"/>
                    <a:pt x="0" y="1"/>
                    <a:pt x="1" y="1"/>
                  </a:cubicBezTo>
                  <a:cubicBezTo>
                    <a:pt x="1" y="1"/>
                    <a:pt x="2" y="0"/>
                    <a:pt x="2" y="1"/>
                  </a:cubicBezTo>
                  <a:cubicBezTo>
                    <a:pt x="2" y="2"/>
                    <a:pt x="1"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2" name="Freeform 662"/>
            <p:cNvSpPr>
              <a:spLocks noChangeAspect="1"/>
            </p:cNvSpPr>
            <p:nvPr/>
          </p:nvSpPr>
          <p:spPr bwMode="auto">
            <a:xfrm>
              <a:off x="5311990" y="715597"/>
              <a:ext cx="1602" cy="2579"/>
            </a:xfrm>
            <a:custGeom>
              <a:avLst/>
              <a:gdLst>
                <a:gd name="T0" fmla="*/ 1588 w 1"/>
                <a:gd name="T1" fmla="*/ 1588 h 2"/>
                <a:gd name="T2" fmla="*/ 0 w 1"/>
                <a:gd name="T3" fmla="*/ 3175 h 2"/>
                <a:gd name="T4" fmla="*/ 0 w 1"/>
                <a:gd name="T5" fmla="*/ 1588 h 2"/>
                <a:gd name="T6" fmla="*/ 0 w 1"/>
                <a:gd name="T7" fmla="*/ 0 h 2"/>
                <a:gd name="T8" fmla="*/ 1588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3" name="Freeform 663"/>
            <p:cNvSpPr>
              <a:spLocks noChangeAspect="1"/>
            </p:cNvSpPr>
            <p:nvPr/>
          </p:nvSpPr>
          <p:spPr bwMode="auto">
            <a:xfrm>
              <a:off x="5404890" y="707859"/>
              <a:ext cx="1602" cy="5158"/>
            </a:xfrm>
            <a:custGeom>
              <a:avLst/>
              <a:gdLst>
                <a:gd name="T0" fmla="*/ 1588 w 1"/>
                <a:gd name="T1" fmla="*/ 4233 h 3"/>
                <a:gd name="T2" fmla="*/ 0 w 1"/>
                <a:gd name="T3" fmla="*/ 4233 h 3"/>
                <a:gd name="T4" fmla="*/ 0 w 1"/>
                <a:gd name="T5" fmla="*/ 2117 h 3"/>
                <a:gd name="T6" fmla="*/ 1588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4" name="Freeform 664"/>
            <p:cNvSpPr>
              <a:spLocks noChangeAspect="1"/>
            </p:cNvSpPr>
            <p:nvPr/>
          </p:nvSpPr>
          <p:spPr bwMode="auto">
            <a:xfrm>
              <a:off x="5424110" y="701410"/>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5" name="Freeform 665"/>
            <p:cNvSpPr>
              <a:spLocks noChangeAspect="1"/>
            </p:cNvSpPr>
            <p:nvPr/>
          </p:nvSpPr>
          <p:spPr bwMode="auto">
            <a:xfrm>
              <a:off x="5416102" y="697542"/>
              <a:ext cx="3203" cy="2579"/>
            </a:xfrm>
            <a:custGeom>
              <a:avLst/>
              <a:gdLst>
                <a:gd name="T0" fmla="*/ 3175 w 2"/>
                <a:gd name="T1" fmla="*/ 1588 h 2"/>
                <a:gd name="T2" fmla="*/ 3175 w 2"/>
                <a:gd name="T3" fmla="*/ 3175 h 2"/>
                <a:gd name="T4" fmla="*/ 1588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6" name="Freeform 666"/>
            <p:cNvSpPr>
              <a:spLocks noChangeAspect="1"/>
            </p:cNvSpPr>
            <p:nvPr/>
          </p:nvSpPr>
          <p:spPr bwMode="auto">
            <a:xfrm>
              <a:off x="5424110" y="694963"/>
              <a:ext cx="4806" cy="3868"/>
            </a:xfrm>
            <a:custGeom>
              <a:avLst/>
              <a:gdLst>
                <a:gd name="T0" fmla="*/ 3175 w 3"/>
                <a:gd name="T1" fmla="*/ 2381 h 2"/>
                <a:gd name="T2" fmla="*/ 3175 w 3"/>
                <a:gd name="T3" fmla="*/ 4762 h 2"/>
                <a:gd name="T4" fmla="*/ 1588 w 3"/>
                <a:gd name="T5" fmla="*/ 4762 h 2"/>
                <a:gd name="T6" fmla="*/ 1588 w 3"/>
                <a:gd name="T7" fmla="*/ 0 h 2"/>
                <a:gd name="T8" fmla="*/ 3175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2"/>
                  </a:cubicBezTo>
                  <a:cubicBezTo>
                    <a:pt x="1" y="1"/>
                    <a:pt x="0" y="0"/>
                    <a:pt x="1" y="0"/>
                  </a:cubicBezTo>
                  <a:cubicBezTo>
                    <a:pt x="2"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7" name="Freeform 667"/>
            <p:cNvSpPr>
              <a:spLocks noChangeAspect="1"/>
            </p:cNvSpPr>
            <p:nvPr/>
          </p:nvSpPr>
          <p:spPr bwMode="auto">
            <a:xfrm>
              <a:off x="5529824" y="670459"/>
              <a:ext cx="4806" cy="5158"/>
            </a:xfrm>
            <a:custGeom>
              <a:avLst/>
              <a:gdLst>
                <a:gd name="T0" fmla="*/ 3175 w 3"/>
                <a:gd name="T1" fmla="*/ 2117 h 3"/>
                <a:gd name="T2" fmla="*/ 3175 w 3"/>
                <a:gd name="T3" fmla="*/ 4233 h 3"/>
                <a:gd name="T4" fmla="*/ 1588 w 3"/>
                <a:gd name="T5" fmla="*/ 4233 h 3"/>
                <a:gd name="T6" fmla="*/ 1588 w 3"/>
                <a:gd name="T7" fmla="*/ 0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1"/>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8" name="Freeform 668"/>
            <p:cNvSpPr>
              <a:spLocks noChangeAspect="1"/>
            </p:cNvSpPr>
            <p:nvPr/>
          </p:nvSpPr>
          <p:spPr bwMode="auto">
            <a:xfrm>
              <a:off x="5557052" y="661431"/>
              <a:ext cx="4805" cy="2579"/>
            </a:xfrm>
            <a:custGeom>
              <a:avLst/>
              <a:gdLst>
                <a:gd name="T0" fmla="*/ 3175 w 3"/>
                <a:gd name="T1" fmla="*/ 3175 h 2"/>
                <a:gd name="T2" fmla="*/ 1587 w 3"/>
                <a:gd name="T3" fmla="*/ 3175 h 2"/>
                <a:gd name="T4" fmla="*/ 1587 w 3"/>
                <a:gd name="T5" fmla="*/ 1588 h 2"/>
                <a:gd name="T6" fmla="*/ 3175 w 3"/>
                <a:gd name="T7" fmla="*/ 0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0" y="1"/>
                    <a:pt x="1" y="1"/>
                  </a:cubicBezTo>
                  <a:cubicBezTo>
                    <a:pt x="1" y="0"/>
                    <a:pt x="2" y="0"/>
                    <a:pt x="2" y="0"/>
                  </a:cubicBezTo>
                  <a:cubicBezTo>
                    <a:pt x="3"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89" name="Freeform 669"/>
            <p:cNvSpPr>
              <a:spLocks noChangeAspect="1"/>
            </p:cNvSpPr>
            <p:nvPr/>
          </p:nvSpPr>
          <p:spPr bwMode="auto">
            <a:xfrm>
              <a:off x="5412898" y="701410"/>
              <a:ext cx="3203" cy="5158"/>
            </a:xfrm>
            <a:custGeom>
              <a:avLst/>
              <a:gdLst>
                <a:gd name="T0" fmla="*/ 3175 w 2"/>
                <a:gd name="T1" fmla="*/ 6350 h 3"/>
                <a:gd name="T2" fmla="*/ 1588 w 2"/>
                <a:gd name="T3" fmla="*/ 6350 h 3"/>
                <a:gd name="T4" fmla="*/ 1588 w 2"/>
                <a:gd name="T5" fmla="*/ 4233 h 3"/>
                <a:gd name="T6" fmla="*/ 3175 w 2"/>
                <a:gd name="T7" fmla="*/ 2117 h 3"/>
                <a:gd name="T8" fmla="*/ 3175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3"/>
                  </a:moveTo>
                  <a:cubicBezTo>
                    <a:pt x="1" y="3"/>
                    <a:pt x="1" y="3"/>
                    <a:pt x="1" y="3"/>
                  </a:cubicBezTo>
                  <a:cubicBezTo>
                    <a:pt x="0" y="3"/>
                    <a:pt x="0" y="2"/>
                    <a:pt x="1" y="2"/>
                  </a:cubicBezTo>
                  <a:cubicBezTo>
                    <a:pt x="1" y="1"/>
                    <a:pt x="1" y="0"/>
                    <a:pt x="2" y="1"/>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0" name="Freeform 670"/>
            <p:cNvSpPr>
              <a:spLocks noChangeAspect="1"/>
            </p:cNvSpPr>
            <p:nvPr/>
          </p:nvSpPr>
          <p:spPr bwMode="auto">
            <a:xfrm>
              <a:off x="5502595" y="723335"/>
              <a:ext cx="6407" cy="2579"/>
            </a:xfrm>
            <a:custGeom>
              <a:avLst/>
              <a:gdLst>
                <a:gd name="T0" fmla="*/ 4233 w 3"/>
                <a:gd name="T1" fmla="*/ 1588 h 2"/>
                <a:gd name="T2" fmla="*/ 6350 w 3"/>
                <a:gd name="T3" fmla="*/ 3175 h 2"/>
                <a:gd name="T4" fmla="*/ 2117 w 3"/>
                <a:gd name="T5" fmla="*/ 3175 h 2"/>
                <a:gd name="T6" fmla="*/ 2117 w 3"/>
                <a:gd name="T7" fmla="*/ 0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3" y="2"/>
                  </a:cubicBezTo>
                  <a:cubicBezTo>
                    <a:pt x="2" y="2"/>
                    <a:pt x="2" y="2"/>
                    <a:pt x="1" y="2"/>
                  </a:cubicBezTo>
                  <a:cubicBezTo>
                    <a:pt x="1" y="2"/>
                    <a:pt x="0" y="1"/>
                    <a:pt x="1"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1" name="Freeform 671"/>
            <p:cNvSpPr>
              <a:spLocks noChangeAspect="1"/>
            </p:cNvSpPr>
            <p:nvPr/>
          </p:nvSpPr>
          <p:spPr bwMode="auto">
            <a:xfrm>
              <a:off x="5521814" y="713017"/>
              <a:ext cx="6407" cy="2579"/>
            </a:xfrm>
            <a:custGeom>
              <a:avLst/>
              <a:gdLst>
                <a:gd name="T0" fmla="*/ 4233 w 3"/>
                <a:gd name="T1" fmla="*/ 0 h 2"/>
                <a:gd name="T2" fmla="*/ 4233 w 3"/>
                <a:gd name="T3" fmla="*/ 3175 h 2"/>
                <a:gd name="T4" fmla="*/ 2117 w 3"/>
                <a:gd name="T5" fmla="*/ 3175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2" y="2"/>
                  </a:cubicBezTo>
                  <a:cubicBezTo>
                    <a:pt x="2" y="2"/>
                    <a:pt x="1" y="2"/>
                    <a:pt x="1" y="2"/>
                  </a:cubicBezTo>
                  <a:cubicBezTo>
                    <a:pt x="1" y="1"/>
                    <a:pt x="0" y="1"/>
                    <a:pt x="0" y="0"/>
                  </a:cubicBezTo>
                  <a:cubicBezTo>
                    <a:pt x="1"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2" name="Freeform 672"/>
            <p:cNvSpPr>
              <a:spLocks noChangeAspect="1"/>
            </p:cNvSpPr>
            <p:nvPr/>
          </p:nvSpPr>
          <p:spPr bwMode="auto">
            <a:xfrm>
              <a:off x="7889145" y="1653193"/>
              <a:ext cx="3203" cy="3869"/>
            </a:xfrm>
            <a:custGeom>
              <a:avLst/>
              <a:gdLst>
                <a:gd name="T0" fmla="*/ 3175 w 2"/>
                <a:gd name="T1" fmla="*/ 2382 h 2"/>
                <a:gd name="T2" fmla="*/ 1588 w 2"/>
                <a:gd name="T3" fmla="*/ 4763 h 2"/>
                <a:gd name="T4" fmla="*/ 0 w 2"/>
                <a:gd name="T5" fmla="*/ 2382 h 2"/>
                <a:gd name="T6" fmla="*/ 1588 w 2"/>
                <a:gd name="T7" fmla="*/ 0 h 2"/>
                <a:gd name="T8" fmla="*/ 3175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3" name="Freeform 673"/>
            <p:cNvSpPr>
              <a:spLocks noChangeAspect="1"/>
            </p:cNvSpPr>
            <p:nvPr/>
          </p:nvSpPr>
          <p:spPr bwMode="auto">
            <a:xfrm>
              <a:off x="7844296" y="1735733"/>
              <a:ext cx="1601" cy="2579"/>
            </a:xfrm>
            <a:custGeom>
              <a:avLst/>
              <a:gdLst>
                <a:gd name="T0" fmla="*/ 1587 w 1"/>
                <a:gd name="T1" fmla="*/ 1588 h 2"/>
                <a:gd name="T2" fmla="*/ 0 w 1"/>
                <a:gd name="T3" fmla="*/ 3175 h 2"/>
                <a:gd name="T4" fmla="*/ 0 w 1"/>
                <a:gd name="T5" fmla="*/ 1588 h 2"/>
                <a:gd name="T6" fmla="*/ 0 w 1"/>
                <a:gd name="T7" fmla="*/ 0 h 2"/>
                <a:gd name="T8" fmla="*/ 1587 w 1"/>
                <a:gd name="T9" fmla="*/ 1588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4" name="Freeform 674"/>
            <p:cNvSpPr>
              <a:spLocks noChangeAspect="1"/>
            </p:cNvSpPr>
            <p:nvPr/>
          </p:nvSpPr>
          <p:spPr bwMode="auto">
            <a:xfrm>
              <a:off x="7764212" y="1067679"/>
              <a:ext cx="3203" cy="3869"/>
            </a:xfrm>
            <a:custGeom>
              <a:avLst/>
              <a:gdLst>
                <a:gd name="T0" fmla="*/ 1588 w 2"/>
                <a:gd name="T1" fmla="*/ 3175 h 3"/>
                <a:gd name="T2" fmla="*/ 1588 w 2"/>
                <a:gd name="T3" fmla="*/ 4763 h 3"/>
                <a:gd name="T4" fmla="*/ 0 w 2"/>
                <a:gd name="T5" fmla="*/ 3175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5" name="Freeform 675"/>
            <p:cNvSpPr>
              <a:spLocks noChangeAspect="1"/>
            </p:cNvSpPr>
            <p:nvPr/>
          </p:nvSpPr>
          <p:spPr bwMode="auto">
            <a:xfrm>
              <a:off x="7741788" y="1057361"/>
              <a:ext cx="3203" cy="5158"/>
            </a:xfrm>
            <a:custGeom>
              <a:avLst/>
              <a:gdLst>
                <a:gd name="T0" fmla="*/ 3175 w 1"/>
                <a:gd name="T1" fmla="*/ 4233 h 3"/>
                <a:gd name="T2" fmla="*/ 0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2"/>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6" name="Freeform 676"/>
            <p:cNvSpPr>
              <a:spLocks noChangeAspect="1"/>
            </p:cNvSpPr>
            <p:nvPr/>
          </p:nvSpPr>
          <p:spPr bwMode="auto">
            <a:xfrm>
              <a:off x="7738584" y="1049623"/>
              <a:ext cx="6407" cy="5158"/>
            </a:xfrm>
            <a:custGeom>
              <a:avLst/>
              <a:gdLst>
                <a:gd name="T0" fmla="*/ 4233 w 3"/>
                <a:gd name="T1" fmla="*/ 4233 h 3"/>
                <a:gd name="T2" fmla="*/ 2117 w 3"/>
                <a:gd name="T3" fmla="*/ 6350 h 3"/>
                <a:gd name="T4" fmla="*/ 0 w 3"/>
                <a:gd name="T5" fmla="*/ 4233 h 3"/>
                <a:gd name="T6" fmla="*/ 2117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2" y="3"/>
                    <a:pt x="1" y="3"/>
                  </a:cubicBezTo>
                  <a:cubicBezTo>
                    <a:pt x="0" y="3"/>
                    <a:pt x="0" y="2"/>
                    <a:pt x="0" y="2"/>
                  </a:cubicBezTo>
                  <a:cubicBezTo>
                    <a:pt x="0" y="1"/>
                    <a:pt x="0" y="0"/>
                    <a:pt x="1" y="1"/>
                  </a:cubicBezTo>
                  <a:cubicBezTo>
                    <a:pt x="3"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7" name="Freeform 677"/>
            <p:cNvSpPr>
              <a:spLocks noChangeAspect="1"/>
            </p:cNvSpPr>
            <p:nvPr/>
          </p:nvSpPr>
          <p:spPr bwMode="auto">
            <a:xfrm>
              <a:off x="7338156" y="857462"/>
              <a:ext cx="3203" cy="5158"/>
            </a:xfrm>
            <a:custGeom>
              <a:avLst/>
              <a:gdLst>
                <a:gd name="T0" fmla="*/ 3175 w 1"/>
                <a:gd name="T1" fmla="*/ 4233 h 3"/>
                <a:gd name="T2" fmla="*/ 3175 w 1"/>
                <a:gd name="T3" fmla="*/ 6350 h 3"/>
                <a:gd name="T4" fmla="*/ 0 w 1"/>
                <a:gd name="T5" fmla="*/ 2117 h 3"/>
                <a:gd name="T6" fmla="*/ 3175 w 1"/>
                <a:gd name="T7" fmla="*/ 0 h 3"/>
                <a:gd name="T8" fmla="*/ 3175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8" name="Freeform 678"/>
            <p:cNvSpPr>
              <a:spLocks noChangeAspect="1"/>
            </p:cNvSpPr>
            <p:nvPr/>
          </p:nvSpPr>
          <p:spPr bwMode="auto">
            <a:xfrm>
              <a:off x="6646217" y="854883"/>
              <a:ext cx="4805" cy="2579"/>
            </a:xfrm>
            <a:custGeom>
              <a:avLst/>
              <a:gdLst>
                <a:gd name="T0" fmla="*/ 4762 w 2"/>
                <a:gd name="T1" fmla="*/ 1588 h 2"/>
                <a:gd name="T2" fmla="*/ 4762 w 2"/>
                <a:gd name="T3" fmla="*/ 3175 h 2"/>
                <a:gd name="T4" fmla="*/ 2381 w 2"/>
                <a:gd name="T5" fmla="*/ 3175 h 2"/>
                <a:gd name="T6" fmla="*/ 0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2" y="2"/>
                    <a:pt x="1" y="2"/>
                    <a:pt x="1" y="2"/>
                  </a:cubicBezTo>
                  <a:cubicBezTo>
                    <a:pt x="0" y="1"/>
                    <a:pt x="0" y="0"/>
                    <a:pt x="0" y="0"/>
                  </a:cubicBezTo>
                  <a:cubicBezTo>
                    <a:pt x="1" y="0"/>
                    <a:pt x="1"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9" name="Freeform 679"/>
            <p:cNvSpPr>
              <a:spLocks noChangeAspect="1"/>
            </p:cNvSpPr>
            <p:nvPr/>
          </p:nvSpPr>
          <p:spPr bwMode="auto">
            <a:xfrm>
              <a:off x="6173711" y="738811"/>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0" name="Freeform 680"/>
            <p:cNvSpPr>
              <a:spLocks noChangeAspect="1"/>
            </p:cNvSpPr>
            <p:nvPr/>
          </p:nvSpPr>
          <p:spPr bwMode="auto">
            <a:xfrm>
              <a:off x="6162500" y="729783"/>
              <a:ext cx="4805" cy="2579"/>
            </a:xfrm>
            <a:custGeom>
              <a:avLst/>
              <a:gdLst>
                <a:gd name="T0" fmla="*/ 3175 w 3"/>
                <a:gd name="T1" fmla="*/ 0 h 2"/>
                <a:gd name="T2" fmla="*/ 3175 w 3"/>
                <a:gd name="T3" fmla="*/ 1588 h 2"/>
                <a:gd name="T4" fmla="*/ 1587 w 3"/>
                <a:gd name="T5" fmla="*/ 3175 h 2"/>
                <a:gd name="T6" fmla="*/ 0 w 3"/>
                <a:gd name="T7" fmla="*/ 1588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1" name="Freeform 681"/>
            <p:cNvSpPr>
              <a:spLocks noChangeAspect="1"/>
            </p:cNvSpPr>
            <p:nvPr/>
          </p:nvSpPr>
          <p:spPr bwMode="auto">
            <a:xfrm>
              <a:off x="6186525" y="740101"/>
              <a:ext cx="6407" cy="3869"/>
            </a:xfrm>
            <a:custGeom>
              <a:avLst/>
              <a:gdLst>
                <a:gd name="T0" fmla="*/ 4233 w 3"/>
                <a:gd name="T1" fmla="*/ 0 h 2"/>
                <a:gd name="T2" fmla="*/ 6350 w 3"/>
                <a:gd name="T3" fmla="*/ 2382 h 2"/>
                <a:gd name="T4" fmla="*/ 4233 w 3"/>
                <a:gd name="T5" fmla="*/ 4763 h 2"/>
                <a:gd name="T6" fmla="*/ 0 w 3"/>
                <a:gd name="T7" fmla="*/ 2382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1"/>
                    <a:pt x="0" y="1"/>
                    <a:pt x="0" y="1"/>
                  </a:cubicBezTo>
                  <a:cubicBezTo>
                    <a:pt x="1"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2" name="Freeform 682"/>
            <p:cNvSpPr>
              <a:spLocks noChangeAspect="1"/>
            </p:cNvSpPr>
            <p:nvPr/>
          </p:nvSpPr>
          <p:spPr bwMode="auto">
            <a:xfrm>
              <a:off x="6500460" y="809743"/>
              <a:ext cx="3203" cy="5158"/>
            </a:xfrm>
            <a:custGeom>
              <a:avLst/>
              <a:gdLst>
                <a:gd name="T0" fmla="*/ 1588 w 2"/>
                <a:gd name="T1" fmla="*/ 6350 h 3"/>
                <a:gd name="T2" fmla="*/ 0 w 2"/>
                <a:gd name="T3" fmla="*/ 6350 h 3"/>
                <a:gd name="T4" fmla="*/ 0 w 2"/>
                <a:gd name="T5" fmla="*/ 4233 h 3"/>
                <a:gd name="T6" fmla="*/ 3175 w 2"/>
                <a:gd name="T7" fmla="*/ 2117 h 3"/>
                <a:gd name="T8" fmla="*/ 1588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0" y="3"/>
                    <a:pt x="0" y="3"/>
                  </a:cubicBezTo>
                  <a:cubicBezTo>
                    <a:pt x="0" y="2"/>
                    <a:pt x="0" y="2"/>
                    <a:pt x="0" y="2"/>
                  </a:cubicBezTo>
                  <a:cubicBezTo>
                    <a:pt x="0" y="1"/>
                    <a:pt x="1" y="0"/>
                    <a:pt x="2" y="1"/>
                  </a:cubicBezTo>
                  <a:cubicBezTo>
                    <a:pt x="2" y="1"/>
                    <a:pt x="1"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3" name="Freeform 683"/>
            <p:cNvSpPr>
              <a:spLocks noChangeAspect="1"/>
            </p:cNvSpPr>
            <p:nvPr/>
          </p:nvSpPr>
          <p:spPr bwMode="auto">
            <a:xfrm>
              <a:off x="6192932" y="802005"/>
              <a:ext cx="1602" cy="3869"/>
            </a:xfrm>
            <a:custGeom>
              <a:avLst/>
              <a:gdLst>
                <a:gd name="T0" fmla="*/ 1588 w 1"/>
                <a:gd name="T1" fmla="*/ 2382 h 2"/>
                <a:gd name="T2" fmla="*/ 0 w 1"/>
                <a:gd name="T3" fmla="*/ 4763 h 2"/>
                <a:gd name="T4" fmla="*/ 0 w 1"/>
                <a:gd name="T5" fmla="*/ 2382 h 2"/>
                <a:gd name="T6" fmla="*/ 0 w 1"/>
                <a:gd name="T7" fmla="*/ 0 h 2"/>
                <a:gd name="T8" fmla="*/ 1588 w 1"/>
                <a:gd name="T9" fmla="*/ 238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4" name="Freeform 684"/>
            <p:cNvSpPr>
              <a:spLocks noChangeAspect="1"/>
            </p:cNvSpPr>
            <p:nvPr/>
          </p:nvSpPr>
          <p:spPr bwMode="auto">
            <a:xfrm>
              <a:off x="6308254" y="852303"/>
              <a:ext cx="3203" cy="3868"/>
            </a:xfrm>
            <a:custGeom>
              <a:avLst/>
              <a:gdLst>
                <a:gd name="T0" fmla="*/ 3175 w 2"/>
                <a:gd name="T1" fmla="*/ 3175 h 3"/>
                <a:gd name="T2" fmla="*/ 1588 w 2"/>
                <a:gd name="T3" fmla="*/ 4762 h 3"/>
                <a:gd name="T4" fmla="*/ 0 w 2"/>
                <a:gd name="T5" fmla="*/ 3175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5" name="Freeform 685"/>
            <p:cNvSpPr>
              <a:spLocks noChangeAspect="1"/>
            </p:cNvSpPr>
            <p:nvPr/>
          </p:nvSpPr>
          <p:spPr bwMode="auto">
            <a:xfrm>
              <a:off x="6223365" y="787819"/>
              <a:ext cx="6407" cy="3868"/>
            </a:xfrm>
            <a:custGeom>
              <a:avLst/>
              <a:gdLst>
                <a:gd name="T0" fmla="*/ 4233 w 3"/>
                <a:gd name="T1" fmla="*/ 2381 h 2"/>
                <a:gd name="T2" fmla="*/ 4233 w 3"/>
                <a:gd name="T3" fmla="*/ 4762 h 2"/>
                <a:gd name="T4" fmla="*/ 2117 w 3"/>
                <a:gd name="T5" fmla="*/ 2381 h 2"/>
                <a:gd name="T6" fmla="*/ 2117 w 3"/>
                <a:gd name="T7" fmla="*/ 0 h 2"/>
                <a:gd name="T8" fmla="*/ 4233 w 3"/>
                <a:gd name="T9" fmla="*/ 238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1"/>
                  </a:cubicBezTo>
                  <a:cubicBezTo>
                    <a:pt x="1" y="1"/>
                    <a:pt x="0" y="0"/>
                    <a:pt x="1" y="0"/>
                  </a:cubicBezTo>
                  <a:cubicBezTo>
                    <a:pt x="2"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6" name="Freeform 686"/>
            <p:cNvSpPr>
              <a:spLocks noChangeAspect="1"/>
            </p:cNvSpPr>
            <p:nvPr/>
          </p:nvSpPr>
          <p:spPr bwMode="auto">
            <a:xfrm>
              <a:off x="6268212" y="844565"/>
              <a:ext cx="3203" cy="2579"/>
            </a:xfrm>
            <a:custGeom>
              <a:avLst/>
              <a:gdLst>
                <a:gd name="T0" fmla="*/ 1588 w 2"/>
                <a:gd name="T1" fmla="*/ 3175 h 2"/>
                <a:gd name="T2" fmla="*/ 0 w 2"/>
                <a:gd name="T3" fmla="*/ 3175 h 2"/>
                <a:gd name="T4" fmla="*/ 1588 w 2"/>
                <a:gd name="T5" fmla="*/ 0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0"/>
                  </a:cubicBezTo>
                  <a:cubicBezTo>
                    <a:pt x="1" y="0"/>
                    <a:pt x="2" y="0"/>
                    <a:pt x="2" y="0"/>
                  </a:cubicBezTo>
                  <a:cubicBezTo>
                    <a:pt x="2"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7" name="Freeform 687"/>
            <p:cNvSpPr>
              <a:spLocks noChangeAspect="1"/>
            </p:cNvSpPr>
            <p:nvPr/>
          </p:nvSpPr>
          <p:spPr bwMode="auto">
            <a:xfrm>
              <a:off x="6289035" y="841985"/>
              <a:ext cx="6407" cy="3868"/>
            </a:xfrm>
            <a:custGeom>
              <a:avLst/>
              <a:gdLst>
                <a:gd name="T0" fmla="*/ 4233 w 3"/>
                <a:gd name="T1" fmla="*/ 4762 h 2"/>
                <a:gd name="T2" fmla="*/ 0 w 3"/>
                <a:gd name="T3" fmla="*/ 4762 h 2"/>
                <a:gd name="T4" fmla="*/ 2117 w 3"/>
                <a:gd name="T5" fmla="*/ 2381 h 2"/>
                <a:gd name="T6" fmla="*/ 4233 w 3"/>
                <a:gd name="T7" fmla="*/ 0 h 2"/>
                <a:gd name="T8" fmla="*/ 4233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0" y="1"/>
                    <a:pt x="1" y="1"/>
                  </a:cubicBezTo>
                  <a:cubicBezTo>
                    <a:pt x="1" y="0"/>
                    <a:pt x="2" y="0"/>
                    <a:pt x="2" y="0"/>
                  </a:cubicBezTo>
                  <a:cubicBezTo>
                    <a:pt x="3"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8" name="Freeform 688"/>
            <p:cNvSpPr>
              <a:spLocks noChangeAspect="1"/>
            </p:cNvSpPr>
            <p:nvPr/>
          </p:nvSpPr>
          <p:spPr bwMode="auto">
            <a:xfrm>
              <a:off x="6079211" y="919367"/>
              <a:ext cx="4805" cy="5158"/>
            </a:xfrm>
            <a:custGeom>
              <a:avLst/>
              <a:gdLst>
                <a:gd name="T0" fmla="*/ 4762 w 2"/>
                <a:gd name="T1" fmla="*/ 4233 h 3"/>
                <a:gd name="T2" fmla="*/ 2381 w 2"/>
                <a:gd name="T3" fmla="*/ 6350 h 3"/>
                <a:gd name="T4" fmla="*/ 0 w 2"/>
                <a:gd name="T5" fmla="*/ 4233 h 3"/>
                <a:gd name="T6" fmla="*/ 2381 w 2"/>
                <a:gd name="T7" fmla="*/ 0 h 3"/>
                <a:gd name="T8" fmla="*/ 4762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09" name="Freeform 689"/>
            <p:cNvSpPr>
              <a:spLocks noChangeAspect="1"/>
            </p:cNvSpPr>
            <p:nvPr/>
          </p:nvSpPr>
          <p:spPr bwMode="auto">
            <a:xfrm>
              <a:off x="6067998" y="938712"/>
              <a:ext cx="6407" cy="2579"/>
            </a:xfrm>
            <a:custGeom>
              <a:avLst/>
              <a:gdLst>
                <a:gd name="T0" fmla="*/ 4233 w 3"/>
                <a:gd name="T1" fmla="*/ 0 h 2"/>
                <a:gd name="T2" fmla="*/ 6350 w 3"/>
                <a:gd name="T3" fmla="*/ 1588 h 2"/>
                <a:gd name="T4" fmla="*/ 4233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0" name="Freeform 690"/>
            <p:cNvSpPr>
              <a:spLocks noChangeAspect="1"/>
            </p:cNvSpPr>
            <p:nvPr/>
          </p:nvSpPr>
          <p:spPr bwMode="auto">
            <a:xfrm>
              <a:off x="6032760" y="933552"/>
              <a:ext cx="4806" cy="5158"/>
            </a:xfrm>
            <a:custGeom>
              <a:avLst/>
              <a:gdLst>
                <a:gd name="T0" fmla="*/ 4763 w 2"/>
                <a:gd name="T1" fmla="*/ 2117 h 3"/>
                <a:gd name="T2" fmla="*/ 2382 w 2"/>
                <a:gd name="T3" fmla="*/ 4233 h 3"/>
                <a:gd name="T4" fmla="*/ 0 w 2"/>
                <a:gd name="T5" fmla="*/ 4233 h 3"/>
                <a:gd name="T6" fmla="*/ 0 w 2"/>
                <a:gd name="T7" fmla="*/ 0 h 3"/>
                <a:gd name="T8" fmla="*/ 4763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2"/>
                  </a:cubicBezTo>
                  <a:cubicBezTo>
                    <a:pt x="1" y="3"/>
                    <a:pt x="0" y="2"/>
                    <a:pt x="0" y="2"/>
                  </a:cubicBezTo>
                  <a:cubicBezTo>
                    <a:pt x="0" y="1"/>
                    <a:pt x="0" y="0"/>
                    <a:pt x="0" y="0"/>
                  </a:cubicBezTo>
                  <a:cubicBezTo>
                    <a:pt x="1"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1" name="Freeform 691"/>
            <p:cNvSpPr>
              <a:spLocks noChangeAspect="1"/>
            </p:cNvSpPr>
            <p:nvPr/>
          </p:nvSpPr>
          <p:spPr bwMode="auto">
            <a:xfrm>
              <a:off x="5971896" y="918076"/>
              <a:ext cx="3203" cy="5158"/>
            </a:xfrm>
            <a:custGeom>
              <a:avLst/>
              <a:gdLst>
                <a:gd name="T0" fmla="*/ 3175 w 2"/>
                <a:gd name="T1" fmla="*/ 4233 h 3"/>
                <a:gd name="T2" fmla="*/ 1588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2" name="Freeform 692"/>
            <p:cNvSpPr>
              <a:spLocks noChangeAspect="1"/>
            </p:cNvSpPr>
            <p:nvPr/>
          </p:nvSpPr>
          <p:spPr bwMode="auto">
            <a:xfrm>
              <a:off x="5915837" y="961926"/>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0"/>
                    <a:pt x="1" y="0"/>
                    <a:pt x="1" y="0"/>
                  </a:cubicBezTo>
                  <a:cubicBezTo>
                    <a:pt x="2" y="0"/>
                    <a:pt x="3" y="0"/>
                    <a:pt x="3" y="1"/>
                  </a:cubicBezTo>
                  <a:cubicBezTo>
                    <a:pt x="3"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3" name="Freeform 693"/>
            <p:cNvSpPr>
              <a:spLocks noChangeAspect="1"/>
            </p:cNvSpPr>
            <p:nvPr/>
          </p:nvSpPr>
          <p:spPr bwMode="auto">
            <a:xfrm>
              <a:off x="5747656" y="1101211"/>
              <a:ext cx="4806" cy="2579"/>
            </a:xfrm>
            <a:custGeom>
              <a:avLst/>
              <a:gdLst>
                <a:gd name="T0" fmla="*/ 3175 w 3"/>
                <a:gd name="T1" fmla="*/ 0 h 2"/>
                <a:gd name="T2" fmla="*/ 3175 w 3"/>
                <a:gd name="T3" fmla="*/ 1588 h 2"/>
                <a:gd name="T4" fmla="*/ 1588 w 3"/>
                <a:gd name="T5" fmla="*/ 3175 h 2"/>
                <a:gd name="T6" fmla="*/ 0 w 3"/>
                <a:gd name="T7" fmla="*/ 0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4" name="Freeform 694"/>
            <p:cNvSpPr>
              <a:spLocks noChangeAspect="1"/>
            </p:cNvSpPr>
            <p:nvPr/>
          </p:nvSpPr>
          <p:spPr bwMode="auto">
            <a:xfrm>
              <a:off x="5779690" y="950319"/>
              <a:ext cx="40043" cy="21924"/>
            </a:xfrm>
            <a:custGeom>
              <a:avLst/>
              <a:gdLst>
                <a:gd name="T0" fmla="*/ 13229 w 21"/>
                <a:gd name="T1" fmla="*/ 0 h 14"/>
                <a:gd name="T2" fmla="*/ 20789 w 21"/>
                <a:gd name="T3" fmla="*/ 3855 h 14"/>
                <a:gd name="T4" fmla="*/ 22679 w 21"/>
                <a:gd name="T5" fmla="*/ 13494 h 14"/>
                <a:gd name="T6" fmla="*/ 28349 w 21"/>
                <a:gd name="T7" fmla="*/ 11566 h 14"/>
                <a:gd name="T8" fmla="*/ 35908 w 21"/>
                <a:gd name="T9" fmla="*/ 21204 h 14"/>
                <a:gd name="T10" fmla="*/ 18899 w 21"/>
                <a:gd name="T11" fmla="*/ 23132 h 14"/>
                <a:gd name="T12" fmla="*/ 7560 w 21"/>
                <a:gd name="T13" fmla="*/ 25059 h 14"/>
                <a:gd name="T14" fmla="*/ 5670 w 21"/>
                <a:gd name="T15" fmla="*/ 23132 h 14"/>
                <a:gd name="T16" fmla="*/ 1890 w 21"/>
                <a:gd name="T17" fmla="*/ 25059 h 14"/>
                <a:gd name="T18" fmla="*/ 1890 w 21"/>
                <a:gd name="T19" fmla="*/ 15421 h 14"/>
                <a:gd name="T20" fmla="*/ 1890 w 21"/>
                <a:gd name="T21" fmla="*/ 5783 h 14"/>
                <a:gd name="T22" fmla="*/ 13229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5" name="Freeform 695"/>
            <p:cNvSpPr>
              <a:spLocks noChangeAspect="1"/>
            </p:cNvSpPr>
            <p:nvPr/>
          </p:nvSpPr>
          <p:spPr bwMode="auto">
            <a:xfrm>
              <a:off x="5877395" y="969664"/>
              <a:ext cx="11212" cy="10318"/>
            </a:xfrm>
            <a:custGeom>
              <a:avLst/>
              <a:gdLst>
                <a:gd name="T0" fmla="*/ 7408 w 6"/>
                <a:gd name="T1" fmla="*/ 1814 h 7"/>
                <a:gd name="T2" fmla="*/ 7408 w 6"/>
                <a:gd name="T3" fmla="*/ 10886 h 7"/>
                <a:gd name="T4" fmla="*/ 1852 w 6"/>
                <a:gd name="T5" fmla="*/ 5443 h 7"/>
                <a:gd name="T6" fmla="*/ 1852 w 6"/>
                <a:gd name="T7" fmla="*/ 0 h 7"/>
                <a:gd name="T8" fmla="*/ 7408 w 6"/>
                <a:gd name="T9" fmla="*/ 1814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4" y="1"/>
                  </a:moveTo>
                  <a:cubicBezTo>
                    <a:pt x="5" y="2"/>
                    <a:pt x="6" y="5"/>
                    <a:pt x="4" y="6"/>
                  </a:cubicBezTo>
                  <a:cubicBezTo>
                    <a:pt x="3" y="7"/>
                    <a:pt x="1" y="5"/>
                    <a:pt x="1" y="3"/>
                  </a:cubicBezTo>
                  <a:cubicBezTo>
                    <a:pt x="0" y="3"/>
                    <a:pt x="0" y="1"/>
                    <a:pt x="1" y="0"/>
                  </a:cubicBezTo>
                  <a:cubicBezTo>
                    <a:pt x="2" y="0"/>
                    <a:pt x="4"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6" name="Freeform 696"/>
            <p:cNvSpPr>
              <a:spLocks noChangeAspect="1"/>
            </p:cNvSpPr>
            <p:nvPr/>
          </p:nvSpPr>
          <p:spPr bwMode="auto">
            <a:xfrm>
              <a:off x="5965488" y="964505"/>
              <a:ext cx="19221" cy="19346"/>
            </a:xfrm>
            <a:custGeom>
              <a:avLst/>
              <a:gdLst>
                <a:gd name="T0" fmla="*/ 13335 w 10"/>
                <a:gd name="T1" fmla="*/ 1984 h 12"/>
                <a:gd name="T2" fmla="*/ 7620 w 10"/>
                <a:gd name="T3" fmla="*/ 0 h 12"/>
                <a:gd name="T4" fmla="*/ 0 w 10"/>
                <a:gd name="T5" fmla="*/ 15875 h 12"/>
                <a:gd name="T6" fmla="*/ 9525 w 10"/>
                <a:gd name="T7" fmla="*/ 23813 h 12"/>
                <a:gd name="T8" fmla="*/ 17145 w 10"/>
                <a:gd name="T9" fmla="*/ 21829 h 12"/>
                <a:gd name="T10" fmla="*/ 15240 w 10"/>
                <a:gd name="T11" fmla="*/ 15875 h 12"/>
                <a:gd name="T12" fmla="*/ 15240 w 10"/>
                <a:gd name="T13" fmla="*/ 7938 h 12"/>
                <a:gd name="T14" fmla="*/ 13335 w 10"/>
                <a:gd name="T15" fmla="*/ 1984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7" y="1"/>
                  </a:moveTo>
                  <a:cubicBezTo>
                    <a:pt x="6" y="0"/>
                    <a:pt x="5" y="0"/>
                    <a:pt x="4" y="0"/>
                  </a:cubicBezTo>
                  <a:cubicBezTo>
                    <a:pt x="2" y="2"/>
                    <a:pt x="0" y="5"/>
                    <a:pt x="0" y="8"/>
                  </a:cubicBezTo>
                  <a:cubicBezTo>
                    <a:pt x="1" y="10"/>
                    <a:pt x="3" y="11"/>
                    <a:pt x="5" y="12"/>
                  </a:cubicBezTo>
                  <a:cubicBezTo>
                    <a:pt x="6" y="12"/>
                    <a:pt x="8" y="12"/>
                    <a:pt x="9" y="11"/>
                  </a:cubicBezTo>
                  <a:cubicBezTo>
                    <a:pt x="10" y="10"/>
                    <a:pt x="8" y="9"/>
                    <a:pt x="8" y="8"/>
                  </a:cubicBezTo>
                  <a:cubicBezTo>
                    <a:pt x="8" y="6"/>
                    <a:pt x="8" y="5"/>
                    <a:pt x="8" y="4"/>
                  </a:cubicBezTo>
                  <a:cubicBezTo>
                    <a:pt x="7" y="3"/>
                    <a:pt x="8" y="2"/>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7" name="Freeform 697"/>
            <p:cNvSpPr>
              <a:spLocks noChangeAspect="1"/>
            </p:cNvSpPr>
            <p:nvPr/>
          </p:nvSpPr>
          <p:spPr bwMode="auto">
            <a:xfrm>
              <a:off x="5935056" y="983850"/>
              <a:ext cx="28831" cy="16766"/>
            </a:xfrm>
            <a:custGeom>
              <a:avLst/>
              <a:gdLst>
                <a:gd name="T0" fmla="*/ 13335 w 15"/>
                <a:gd name="T1" fmla="*/ 1876 h 11"/>
                <a:gd name="T2" fmla="*/ 26670 w 15"/>
                <a:gd name="T3" fmla="*/ 3752 h 11"/>
                <a:gd name="T4" fmla="*/ 24765 w 15"/>
                <a:gd name="T5" fmla="*/ 9380 h 11"/>
                <a:gd name="T6" fmla="*/ 17145 w 15"/>
                <a:gd name="T7" fmla="*/ 16885 h 11"/>
                <a:gd name="T8" fmla="*/ 3810 w 15"/>
                <a:gd name="T9" fmla="*/ 20637 h 11"/>
                <a:gd name="T10" fmla="*/ 1905 w 15"/>
                <a:gd name="T11" fmla="*/ 16885 h 11"/>
                <a:gd name="T12" fmla="*/ 9525 w 15"/>
                <a:gd name="T13" fmla="*/ 7504 h 11"/>
                <a:gd name="T14" fmla="*/ 13335 w 15"/>
                <a:gd name="T15" fmla="*/ 1876 h 1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1"/>
                <a:gd name="T26" fmla="*/ 15 w 15"/>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1">
                  <a:moveTo>
                    <a:pt x="7" y="1"/>
                  </a:moveTo>
                  <a:cubicBezTo>
                    <a:pt x="9" y="0"/>
                    <a:pt x="12" y="1"/>
                    <a:pt x="14" y="2"/>
                  </a:cubicBezTo>
                  <a:cubicBezTo>
                    <a:pt x="15" y="3"/>
                    <a:pt x="14" y="4"/>
                    <a:pt x="13" y="5"/>
                  </a:cubicBezTo>
                  <a:cubicBezTo>
                    <a:pt x="12" y="7"/>
                    <a:pt x="11" y="9"/>
                    <a:pt x="9" y="9"/>
                  </a:cubicBezTo>
                  <a:cubicBezTo>
                    <a:pt x="7" y="11"/>
                    <a:pt x="4" y="11"/>
                    <a:pt x="2" y="11"/>
                  </a:cubicBezTo>
                  <a:cubicBezTo>
                    <a:pt x="1" y="11"/>
                    <a:pt x="0" y="9"/>
                    <a:pt x="1" y="9"/>
                  </a:cubicBezTo>
                  <a:cubicBezTo>
                    <a:pt x="1" y="7"/>
                    <a:pt x="3" y="5"/>
                    <a:pt x="5" y="4"/>
                  </a:cubicBezTo>
                  <a:cubicBezTo>
                    <a:pt x="5" y="3"/>
                    <a:pt x="6" y="1"/>
                    <a:pt x="7"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8" name="Freeform 698"/>
            <p:cNvSpPr>
              <a:spLocks noChangeAspect="1"/>
            </p:cNvSpPr>
            <p:nvPr/>
          </p:nvSpPr>
          <p:spPr bwMode="auto">
            <a:xfrm>
              <a:off x="6003929" y="884545"/>
              <a:ext cx="16017" cy="16766"/>
            </a:xfrm>
            <a:custGeom>
              <a:avLst/>
              <a:gdLst>
                <a:gd name="T0" fmla="*/ 11906 w 8"/>
                <a:gd name="T1" fmla="*/ 1876 h 11"/>
                <a:gd name="T2" fmla="*/ 13891 w 8"/>
                <a:gd name="T3" fmla="*/ 11257 h 11"/>
                <a:gd name="T4" fmla="*/ 9922 w 8"/>
                <a:gd name="T5" fmla="*/ 18762 h 11"/>
                <a:gd name="T6" fmla="*/ 3969 w 8"/>
                <a:gd name="T7" fmla="*/ 11257 h 11"/>
                <a:gd name="T8" fmla="*/ 11906 w 8"/>
                <a:gd name="T9" fmla="*/ 1876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1"/>
                  </a:moveTo>
                  <a:cubicBezTo>
                    <a:pt x="7" y="0"/>
                    <a:pt x="8" y="4"/>
                    <a:pt x="7" y="6"/>
                  </a:cubicBezTo>
                  <a:cubicBezTo>
                    <a:pt x="7" y="7"/>
                    <a:pt x="6" y="11"/>
                    <a:pt x="5" y="10"/>
                  </a:cubicBezTo>
                  <a:cubicBezTo>
                    <a:pt x="5" y="8"/>
                    <a:pt x="3" y="6"/>
                    <a:pt x="2" y="6"/>
                  </a:cubicBezTo>
                  <a:cubicBezTo>
                    <a:pt x="0" y="7"/>
                    <a:pt x="4" y="2"/>
                    <a:pt x="6"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9" name="Freeform 699"/>
            <p:cNvSpPr>
              <a:spLocks noChangeAspect="1"/>
            </p:cNvSpPr>
            <p:nvPr/>
          </p:nvSpPr>
          <p:spPr bwMode="auto">
            <a:xfrm>
              <a:off x="6252196" y="823930"/>
              <a:ext cx="19221" cy="14186"/>
            </a:xfrm>
            <a:custGeom>
              <a:avLst/>
              <a:gdLst>
                <a:gd name="T0" fmla="*/ 13335 w 10"/>
                <a:gd name="T1" fmla="*/ 0 h 9"/>
                <a:gd name="T2" fmla="*/ 19050 w 10"/>
                <a:gd name="T3" fmla="*/ 1940 h 9"/>
                <a:gd name="T4" fmla="*/ 11430 w 10"/>
                <a:gd name="T5" fmla="*/ 17462 h 9"/>
                <a:gd name="T6" fmla="*/ 7620 w 10"/>
                <a:gd name="T7" fmla="*/ 13582 h 9"/>
                <a:gd name="T8" fmla="*/ 0 w 10"/>
                <a:gd name="T9" fmla="*/ 11641 h 9"/>
                <a:gd name="T10" fmla="*/ 11430 w 10"/>
                <a:gd name="T11" fmla="*/ 5821 h 9"/>
                <a:gd name="T12" fmla="*/ 13335 w 10"/>
                <a:gd name="T13" fmla="*/ 0 h 9"/>
                <a:gd name="T14" fmla="*/ 0 60000 65536"/>
                <a:gd name="T15" fmla="*/ 0 60000 65536"/>
                <a:gd name="T16" fmla="*/ 0 60000 65536"/>
                <a:gd name="T17" fmla="*/ 0 60000 65536"/>
                <a:gd name="T18" fmla="*/ 0 60000 65536"/>
                <a:gd name="T19" fmla="*/ 0 60000 65536"/>
                <a:gd name="T20" fmla="*/ 0 60000 65536"/>
                <a:gd name="T21" fmla="*/ 0 w 10"/>
                <a:gd name="T22" fmla="*/ 0 h 9"/>
                <a:gd name="T23" fmla="*/ 10 w 10"/>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9">
                  <a:moveTo>
                    <a:pt x="7" y="0"/>
                  </a:moveTo>
                  <a:cubicBezTo>
                    <a:pt x="8" y="0"/>
                    <a:pt x="10" y="0"/>
                    <a:pt x="10" y="1"/>
                  </a:cubicBezTo>
                  <a:cubicBezTo>
                    <a:pt x="10" y="4"/>
                    <a:pt x="8" y="7"/>
                    <a:pt x="6" y="9"/>
                  </a:cubicBezTo>
                  <a:cubicBezTo>
                    <a:pt x="5" y="9"/>
                    <a:pt x="5" y="7"/>
                    <a:pt x="4" y="7"/>
                  </a:cubicBezTo>
                  <a:cubicBezTo>
                    <a:pt x="3" y="6"/>
                    <a:pt x="0" y="8"/>
                    <a:pt x="0" y="6"/>
                  </a:cubicBezTo>
                  <a:cubicBezTo>
                    <a:pt x="1" y="4"/>
                    <a:pt x="4" y="4"/>
                    <a:pt x="6" y="3"/>
                  </a:cubicBezTo>
                  <a:cubicBezTo>
                    <a:pt x="7" y="2"/>
                    <a:pt x="6" y="1"/>
                    <a:pt x="7"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0" name="Freeform 700"/>
            <p:cNvSpPr>
              <a:spLocks noChangeAspect="1"/>
            </p:cNvSpPr>
            <p:nvPr/>
          </p:nvSpPr>
          <p:spPr bwMode="auto">
            <a:xfrm>
              <a:off x="6282627" y="853592"/>
              <a:ext cx="24026" cy="9029"/>
            </a:xfrm>
            <a:custGeom>
              <a:avLst/>
              <a:gdLst>
                <a:gd name="T0" fmla="*/ 5953 w 12"/>
                <a:gd name="T1" fmla="*/ 0 h 6"/>
                <a:gd name="T2" fmla="*/ 1984 w 12"/>
                <a:gd name="T3" fmla="*/ 7409 h 6"/>
                <a:gd name="T4" fmla="*/ 15875 w 12"/>
                <a:gd name="T5" fmla="*/ 11113 h 6"/>
                <a:gd name="T6" fmla="*/ 23813 w 12"/>
                <a:gd name="T7" fmla="*/ 9261 h 6"/>
                <a:gd name="T8" fmla="*/ 15875 w 12"/>
                <a:gd name="T9" fmla="*/ 3704 h 6"/>
                <a:gd name="T10" fmla="*/ 5953 w 12"/>
                <a:gd name="T11" fmla="*/ 0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3" y="0"/>
                  </a:moveTo>
                  <a:cubicBezTo>
                    <a:pt x="2" y="1"/>
                    <a:pt x="0" y="3"/>
                    <a:pt x="1" y="4"/>
                  </a:cubicBezTo>
                  <a:cubicBezTo>
                    <a:pt x="3" y="5"/>
                    <a:pt x="6" y="6"/>
                    <a:pt x="8" y="6"/>
                  </a:cubicBezTo>
                  <a:cubicBezTo>
                    <a:pt x="10" y="6"/>
                    <a:pt x="12" y="6"/>
                    <a:pt x="12" y="5"/>
                  </a:cubicBezTo>
                  <a:cubicBezTo>
                    <a:pt x="12" y="3"/>
                    <a:pt x="10" y="2"/>
                    <a:pt x="8" y="2"/>
                  </a:cubicBezTo>
                  <a:cubicBezTo>
                    <a:pt x="7" y="1"/>
                    <a:pt x="5"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1" name="Freeform 701"/>
            <p:cNvSpPr>
              <a:spLocks noChangeAspect="1"/>
            </p:cNvSpPr>
            <p:nvPr/>
          </p:nvSpPr>
          <p:spPr bwMode="auto">
            <a:xfrm>
              <a:off x="6489249" y="786529"/>
              <a:ext cx="24025" cy="9029"/>
            </a:xfrm>
            <a:custGeom>
              <a:avLst/>
              <a:gdLst>
                <a:gd name="T0" fmla="*/ 20149 w 13"/>
                <a:gd name="T1" fmla="*/ 0 h 6"/>
                <a:gd name="T2" fmla="*/ 23812 w 13"/>
                <a:gd name="T3" fmla="*/ 5557 h 6"/>
                <a:gd name="T4" fmla="*/ 20149 w 13"/>
                <a:gd name="T5" fmla="*/ 11113 h 6"/>
                <a:gd name="T6" fmla="*/ 12822 w 13"/>
                <a:gd name="T7" fmla="*/ 9261 h 6"/>
                <a:gd name="T8" fmla="*/ 1832 w 13"/>
                <a:gd name="T9" fmla="*/ 7409 h 6"/>
                <a:gd name="T10" fmla="*/ 0 w 13"/>
                <a:gd name="T11" fmla="*/ 3704 h 6"/>
                <a:gd name="T12" fmla="*/ 7327 w 13"/>
                <a:gd name="T13" fmla="*/ 1852 h 6"/>
                <a:gd name="T14" fmla="*/ 12822 w 13"/>
                <a:gd name="T15" fmla="*/ 1852 h 6"/>
                <a:gd name="T16" fmla="*/ 20149 w 1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11" y="0"/>
                  </a:moveTo>
                  <a:cubicBezTo>
                    <a:pt x="12" y="0"/>
                    <a:pt x="13" y="2"/>
                    <a:pt x="13" y="3"/>
                  </a:cubicBezTo>
                  <a:cubicBezTo>
                    <a:pt x="13" y="4"/>
                    <a:pt x="12" y="6"/>
                    <a:pt x="11" y="6"/>
                  </a:cubicBezTo>
                  <a:cubicBezTo>
                    <a:pt x="9" y="6"/>
                    <a:pt x="8" y="5"/>
                    <a:pt x="7" y="5"/>
                  </a:cubicBezTo>
                  <a:cubicBezTo>
                    <a:pt x="5" y="4"/>
                    <a:pt x="3" y="5"/>
                    <a:pt x="1" y="4"/>
                  </a:cubicBezTo>
                  <a:cubicBezTo>
                    <a:pt x="0" y="4"/>
                    <a:pt x="0" y="2"/>
                    <a:pt x="0" y="2"/>
                  </a:cubicBezTo>
                  <a:cubicBezTo>
                    <a:pt x="1" y="1"/>
                    <a:pt x="3" y="1"/>
                    <a:pt x="4" y="1"/>
                  </a:cubicBezTo>
                  <a:cubicBezTo>
                    <a:pt x="5" y="1"/>
                    <a:pt x="6" y="1"/>
                    <a:pt x="7" y="1"/>
                  </a:cubicBezTo>
                  <a:cubicBezTo>
                    <a:pt x="9" y="1"/>
                    <a:pt x="10" y="0"/>
                    <a:pt x="1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2" name="Freeform 702"/>
            <p:cNvSpPr>
              <a:spLocks noChangeAspect="1"/>
            </p:cNvSpPr>
            <p:nvPr/>
          </p:nvSpPr>
          <p:spPr bwMode="auto">
            <a:xfrm>
              <a:off x="6478036" y="780081"/>
              <a:ext cx="12814" cy="7738"/>
            </a:xfrm>
            <a:custGeom>
              <a:avLst/>
              <a:gdLst>
                <a:gd name="T0" fmla="*/ 7257 w 7"/>
                <a:gd name="T1" fmla="*/ 0 h 5"/>
                <a:gd name="T2" fmla="*/ 12700 w 7"/>
                <a:gd name="T3" fmla="*/ 3810 h 5"/>
                <a:gd name="T4" fmla="*/ 7257 w 7"/>
                <a:gd name="T5" fmla="*/ 5715 h 5"/>
                <a:gd name="T6" fmla="*/ 3629 w 7"/>
                <a:gd name="T7" fmla="*/ 9525 h 5"/>
                <a:gd name="T8" fmla="*/ 0 w 7"/>
                <a:gd name="T9" fmla="*/ 5715 h 5"/>
                <a:gd name="T10" fmla="*/ 3629 w 7"/>
                <a:gd name="T11" fmla="*/ 1905 h 5"/>
                <a:gd name="T12" fmla="*/ 725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4" y="0"/>
                  </a:moveTo>
                  <a:cubicBezTo>
                    <a:pt x="5" y="0"/>
                    <a:pt x="7" y="1"/>
                    <a:pt x="7" y="2"/>
                  </a:cubicBezTo>
                  <a:cubicBezTo>
                    <a:pt x="7" y="3"/>
                    <a:pt x="5" y="2"/>
                    <a:pt x="4" y="3"/>
                  </a:cubicBezTo>
                  <a:cubicBezTo>
                    <a:pt x="3" y="3"/>
                    <a:pt x="3" y="5"/>
                    <a:pt x="2" y="5"/>
                  </a:cubicBezTo>
                  <a:cubicBezTo>
                    <a:pt x="1" y="5"/>
                    <a:pt x="0" y="4"/>
                    <a:pt x="0" y="3"/>
                  </a:cubicBezTo>
                  <a:cubicBezTo>
                    <a:pt x="0" y="2"/>
                    <a:pt x="2" y="2"/>
                    <a:pt x="2" y="1"/>
                  </a:cubicBezTo>
                  <a:cubicBezTo>
                    <a:pt x="3" y="1"/>
                    <a:pt x="3" y="0"/>
                    <a:pt x="4"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3" name="Freeform 703"/>
            <p:cNvSpPr>
              <a:spLocks noChangeAspect="1"/>
            </p:cNvSpPr>
            <p:nvPr/>
          </p:nvSpPr>
          <p:spPr bwMode="auto">
            <a:xfrm>
              <a:off x="6349899" y="738811"/>
              <a:ext cx="110519" cy="61904"/>
            </a:xfrm>
            <a:custGeom>
              <a:avLst/>
              <a:gdLst>
                <a:gd name="T0" fmla="*/ 101851 w 57"/>
                <a:gd name="T1" fmla="*/ 34290 h 40"/>
                <a:gd name="T2" fmla="*/ 103773 w 57"/>
                <a:gd name="T3" fmla="*/ 55245 h 40"/>
                <a:gd name="T4" fmla="*/ 63417 w 57"/>
                <a:gd name="T5" fmla="*/ 62865 h 40"/>
                <a:gd name="T6" fmla="*/ 30748 w 57"/>
                <a:gd name="T7" fmla="*/ 62865 h 40"/>
                <a:gd name="T8" fmla="*/ 7687 w 57"/>
                <a:gd name="T9" fmla="*/ 74295 h 40"/>
                <a:gd name="T10" fmla="*/ 1922 w 57"/>
                <a:gd name="T11" fmla="*/ 70485 h 40"/>
                <a:gd name="T12" fmla="*/ 1922 w 57"/>
                <a:gd name="T13" fmla="*/ 45720 h 40"/>
                <a:gd name="T14" fmla="*/ 9609 w 57"/>
                <a:gd name="T15" fmla="*/ 36195 h 40"/>
                <a:gd name="T16" fmla="*/ 17295 w 57"/>
                <a:gd name="T17" fmla="*/ 38100 h 40"/>
                <a:gd name="T18" fmla="*/ 13452 w 57"/>
                <a:gd name="T19" fmla="*/ 24765 h 40"/>
                <a:gd name="T20" fmla="*/ 24982 w 57"/>
                <a:gd name="T21" fmla="*/ 7620 h 40"/>
                <a:gd name="T22" fmla="*/ 34591 w 57"/>
                <a:gd name="T23" fmla="*/ 20955 h 40"/>
                <a:gd name="T24" fmla="*/ 36513 w 57"/>
                <a:gd name="T25" fmla="*/ 3810 h 40"/>
                <a:gd name="T26" fmla="*/ 46121 w 57"/>
                <a:gd name="T27" fmla="*/ 3810 h 40"/>
                <a:gd name="T28" fmla="*/ 49965 w 57"/>
                <a:gd name="T29" fmla="*/ 20955 h 40"/>
                <a:gd name="T30" fmla="*/ 57652 w 57"/>
                <a:gd name="T31" fmla="*/ 11430 h 40"/>
                <a:gd name="T32" fmla="*/ 63417 w 57"/>
                <a:gd name="T33" fmla="*/ 19050 h 40"/>
                <a:gd name="T34" fmla="*/ 69182 w 57"/>
                <a:gd name="T35" fmla="*/ 15240 h 40"/>
                <a:gd name="T36" fmla="*/ 86477 w 57"/>
                <a:gd name="T37" fmla="*/ 30480 h 40"/>
                <a:gd name="T38" fmla="*/ 88399 w 57"/>
                <a:gd name="T39" fmla="*/ 24765 h 40"/>
                <a:gd name="T40" fmla="*/ 101851 w 57"/>
                <a:gd name="T41" fmla="*/ 34290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4" name="Freeform 704"/>
            <p:cNvSpPr>
              <a:spLocks noChangeAspect="1"/>
            </p:cNvSpPr>
            <p:nvPr/>
          </p:nvSpPr>
          <p:spPr bwMode="auto">
            <a:xfrm>
              <a:off x="6196135" y="709148"/>
              <a:ext cx="150561" cy="63195"/>
            </a:xfrm>
            <a:custGeom>
              <a:avLst/>
              <a:gdLst>
                <a:gd name="T0" fmla="*/ 124354 w 78"/>
                <a:gd name="T1" fmla="*/ 13281 h 41"/>
                <a:gd name="T2" fmla="*/ 139659 w 78"/>
                <a:gd name="T3" fmla="*/ 24664 h 41"/>
                <a:gd name="T4" fmla="*/ 141572 w 78"/>
                <a:gd name="T5" fmla="*/ 41740 h 41"/>
                <a:gd name="T6" fmla="*/ 126267 w 78"/>
                <a:gd name="T7" fmla="*/ 39843 h 41"/>
                <a:gd name="T8" fmla="*/ 126267 w 78"/>
                <a:gd name="T9" fmla="*/ 47432 h 41"/>
                <a:gd name="T10" fmla="*/ 145399 w 78"/>
                <a:gd name="T11" fmla="*/ 60713 h 41"/>
                <a:gd name="T12" fmla="*/ 145399 w 78"/>
                <a:gd name="T13" fmla="*/ 73993 h 41"/>
                <a:gd name="T14" fmla="*/ 109049 w 78"/>
                <a:gd name="T15" fmla="*/ 73993 h 41"/>
                <a:gd name="T16" fmla="*/ 86091 w 78"/>
                <a:gd name="T17" fmla="*/ 64507 h 41"/>
                <a:gd name="T18" fmla="*/ 66960 w 78"/>
                <a:gd name="T19" fmla="*/ 58815 h 41"/>
                <a:gd name="T20" fmla="*/ 57394 w 78"/>
                <a:gd name="T21" fmla="*/ 53124 h 41"/>
                <a:gd name="T22" fmla="*/ 47829 w 78"/>
                <a:gd name="T23" fmla="*/ 56918 h 41"/>
                <a:gd name="T24" fmla="*/ 24871 w 78"/>
                <a:gd name="T25" fmla="*/ 47432 h 41"/>
                <a:gd name="T26" fmla="*/ 24871 w 78"/>
                <a:gd name="T27" fmla="*/ 37945 h 41"/>
                <a:gd name="T28" fmla="*/ 1913 w 78"/>
                <a:gd name="T29" fmla="*/ 36048 h 41"/>
                <a:gd name="T30" fmla="*/ 1913 w 78"/>
                <a:gd name="T31" fmla="*/ 30356 h 41"/>
                <a:gd name="T32" fmla="*/ 26784 w 78"/>
                <a:gd name="T33" fmla="*/ 24664 h 41"/>
                <a:gd name="T34" fmla="*/ 28697 w 78"/>
                <a:gd name="T35" fmla="*/ 13281 h 41"/>
                <a:gd name="T36" fmla="*/ 44002 w 78"/>
                <a:gd name="T37" fmla="*/ 7589 h 41"/>
                <a:gd name="T38" fmla="*/ 65047 w 78"/>
                <a:gd name="T39" fmla="*/ 5692 h 41"/>
                <a:gd name="T40" fmla="*/ 78439 w 78"/>
                <a:gd name="T41" fmla="*/ 0 h 41"/>
                <a:gd name="T42" fmla="*/ 95657 w 78"/>
                <a:gd name="T43" fmla="*/ 9486 h 41"/>
                <a:gd name="T44" fmla="*/ 95657 w 78"/>
                <a:gd name="T45" fmla="*/ 18973 h 41"/>
                <a:gd name="T46" fmla="*/ 89918 w 78"/>
                <a:gd name="T47" fmla="*/ 28459 h 41"/>
                <a:gd name="T48" fmla="*/ 95657 w 78"/>
                <a:gd name="T49" fmla="*/ 28459 h 41"/>
                <a:gd name="T50" fmla="*/ 103310 w 78"/>
                <a:gd name="T51" fmla="*/ 18973 h 41"/>
                <a:gd name="T52" fmla="*/ 105223 w 78"/>
                <a:gd name="T53" fmla="*/ 9486 h 41"/>
                <a:gd name="T54" fmla="*/ 114788 w 78"/>
                <a:gd name="T55" fmla="*/ 9486 h 41"/>
                <a:gd name="T56" fmla="*/ 118615 w 78"/>
                <a:gd name="T57" fmla="*/ 13281 h 41"/>
                <a:gd name="T58" fmla="*/ 124354 w 78"/>
                <a:gd name="T59" fmla="*/ 13281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5" name="Freeform 705"/>
            <p:cNvSpPr>
              <a:spLocks noChangeAspect="1"/>
            </p:cNvSpPr>
            <p:nvPr/>
          </p:nvSpPr>
          <p:spPr bwMode="auto">
            <a:xfrm>
              <a:off x="6156093" y="666589"/>
              <a:ext cx="120128" cy="50297"/>
            </a:xfrm>
            <a:custGeom>
              <a:avLst/>
              <a:gdLst>
                <a:gd name="T0" fmla="*/ 72973 w 62"/>
                <a:gd name="T1" fmla="*/ 1876 h 33"/>
                <a:gd name="T2" fmla="*/ 103699 w 62"/>
                <a:gd name="T3" fmla="*/ 22513 h 33"/>
                <a:gd name="T4" fmla="*/ 119062 w 62"/>
                <a:gd name="T5" fmla="*/ 24390 h 33"/>
                <a:gd name="T6" fmla="*/ 109460 w 62"/>
                <a:gd name="T7" fmla="*/ 31894 h 33"/>
                <a:gd name="T8" fmla="*/ 117142 w 62"/>
                <a:gd name="T9" fmla="*/ 46903 h 33"/>
                <a:gd name="T10" fmla="*/ 99858 w 62"/>
                <a:gd name="T11" fmla="*/ 52531 h 33"/>
                <a:gd name="T12" fmla="*/ 80655 w 62"/>
                <a:gd name="T13" fmla="*/ 56284 h 33"/>
                <a:gd name="T14" fmla="*/ 59531 w 62"/>
                <a:gd name="T15" fmla="*/ 58160 h 33"/>
                <a:gd name="T16" fmla="*/ 46089 w 62"/>
                <a:gd name="T17" fmla="*/ 61912 h 33"/>
                <a:gd name="T18" fmla="*/ 19204 w 62"/>
                <a:gd name="T19" fmla="*/ 58160 h 33"/>
                <a:gd name="T20" fmla="*/ 0 w 62"/>
                <a:gd name="T21" fmla="*/ 52531 h 33"/>
                <a:gd name="T22" fmla="*/ 0 w 62"/>
                <a:gd name="T23" fmla="*/ 48779 h 33"/>
                <a:gd name="T24" fmla="*/ 17283 w 62"/>
                <a:gd name="T25" fmla="*/ 41275 h 33"/>
                <a:gd name="T26" fmla="*/ 17283 w 62"/>
                <a:gd name="T27" fmla="*/ 31894 h 33"/>
                <a:gd name="T28" fmla="*/ 40327 w 62"/>
                <a:gd name="T29" fmla="*/ 18761 h 33"/>
                <a:gd name="T30" fmla="*/ 57611 w 62"/>
                <a:gd name="T31" fmla="*/ 16885 h 33"/>
                <a:gd name="T32" fmla="*/ 63372 w 62"/>
                <a:gd name="T33" fmla="*/ 9381 h 33"/>
                <a:gd name="T34" fmla="*/ 63372 w 62"/>
                <a:gd name="T35" fmla="*/ 3752 h 33"/>
                <a:gd name="T36" fmla="*/ 72973 w 62"/>
                <a:gd name="T37" fmla="*/ 1876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6" name="Freeform 706"/>
            <p:cNvSpPr>
              <a:spLocks noChangeAspect="1"/>
            </p:cNvSpPr>
            <p:nvPr/>
          </p:nvSpPr>
          <p:spPr bwMode="auto">
            <a:xfrm>
              <a:off x="6151287" y="716886"/>
              <a:ext cx="54458" cy="20635"/>
            </a:xfrm>
            <a:custGeom>
              <a:avLst/>
              <a:gdLst>
                <a:gd name="T0" fmla="*/ 5584 w 29"/>
                <a:gd name="T1" fmla="*/ 0 h 13"/>
                <a:gd name="T2" fmla="*/ 1861 w 29"/>
                <a:gd name="T3" fmla="*/ 3908 h 13"/>
                <a:gd name="T4" fmla="*/ 26057 w 29"/>
                <a:gd name="T5" fmla="*/ 15631 h 13"/>
                <a:gd name="T6" fmla="*/ 26057 w 29"/>
                <a:gd name="T7" fmla="*/ 23446 h 13"/>
                <a:gd name="T8" fmla="*/ 40947 w 29"/>
                <a:gd name="T9" fmla="*/ 19538 h 13"/>
                <a:gd name="T10" fmla="*/ 53975 w 29"/>
                <a:gd name="T11" fmla="*/ 11723 h 13"/>
                <a:gd name="T12" fmla="*/ 39085 w 29"/>
                <a:gd name="T13" fmla="*/ 1954 h 13"/>
                <a:gd name="T14" fmla="*/ 22334 w 29"/>
                <a:gd name="T15" fmla="*/ 1954 h 13"/>
                <a:gd name="T16" fmla="*/ 11167 w 29"/>
                <a:gd name="T17" fmla="*/ 0 h 13"/>
                <a:gd name="T18" fmla="*/ 5584 w 29"/>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3"/>
                <a:gd name="T32" fmla="*/ 29 w 29"/>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3">
                  <a:moveTo>
                    <a:pt x="3" y="0"/>
                  </a:moveTo>
                  <a:cubicBezTo>
                    <a:pt x="2" y="0"/>
                    <a:pt x="0" y="1"/>
                    <a:pt x="1" y="2"/>
                  </a:cubicBezTo>
                  <a:cubicBezTo>
                    <a:pt x="5" y="5"/>
                    <a:pt x="10" y="5"/>
                    <a:pt x="14" y="8"/>
                  </a:cubicBezTo>
                  <a:cubicBezTo>
                    <a:pt x="15" y="9"/>
                    <a:pt x="12" y="12"/>
                    <a:pt x="14" y="12"/>
                  </a:cubicBezTo>
                  <a:cubicBezTo>
                    <a:pt x="16" y="13"/>
                    <a:pt x="19" y="11"/>
                    <a:pt x="22" y="10"/>
                  </a:cubicBezTo>
                  <a:cubicBezTo>
                    <a:pt x="24" y="9"/>
                    <a:pt x="29" y="9"/>
                    <a:pt x="29" y="6"/>
                  </a:cubicBezTo>
                  <a:cubicBezTo>
                    <a:pt x="29" y="3"/>
                    <a:pt x="24" y="2"/>
                    <a:pt x="21" y="1"/>
                  </a:cubicBezTo>
                  <a:cubicBezTo>
                    <a:pt x="18" y="0"/>
                    <a:pt x="15" y="1"/>
                    <a:pt x="12" y="1"/>
                  </a:cubicBezTo>
                  <a:cubicBezTo>
                    <a:pt x="10" y="1"/>
                    <a:pt x="8" y="0"/>
                    <a:pt x="6" y="0"/>
                  </a:cubicBezTo>
                  <a:cubicBezTo>
                    <a:pt x="5" y="0"/>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7" name="Freeform 707"/>
            <p:cNvSpPr>
              <a:spLocks noChangeAspect="1"/>
            </p:cNvSpPr>
            <p:nvPr/>
          </p:nvSpPr>
          <p:spPr bwMode="auto">
            <a:xfrm>
              <a:off x="6643013" y="921946"/>
              <a:ext cx="28831" cy="15476"/>
            </a:xfrm>
            <a:custGeom>
              <a:avLst/>
              <a:gdLst>
                <a:gd name="T0" fmla="*/ 5715 w 15"/>
                <a:gd name="T1" fmla="*/ 0 h 10"/>
                <a:gd name="T2" fmla="*/ 3810 w 15"/>
                <a:gd name="T3" fmla="*/ 3810 h 10"/>
                <a:gd name="T4" fmla="*/ 5715 w 15"/>
                <a:gd name="T5" fmla="*/ 11430 h 10"/>
                <a:gd name="T6" fmla="*/ 0 w 15"/>
                <a:gd name="T7" fmla="*/ 11430 h 10"/>
                <a:gd name="T8" fmla="*/ 5715 w 15"/>
                <a:gd name="T9" fmla="*/ 17145 h 10"/>
                <a:gd name="T10" fmla="*/ 20955 w 15"/>
                <a:gd name="T11" fmla="*/ 19050 h 10"/>
                <a:gd name="T12" fmla="*/ 28575 w 15"/>
                <a:gd name="T13" fmla="*/ 7620 h 10"/>
                <a:gd name="T14" fmla="*/ 24765 w 15"/>
                <a:gd name="T15" fmla="*/ 3810 h 10"/>
                <a:gd name="T16" fmla="*/ 13335 w 15"/>
                <a:gd name="T17" fmla="*/ 1905 h 10"/>
                <a:gd name="T18" fmla="*/ 5715 w 15"/>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0"/>
                <a:gd name="T32" fmla="*/ 15 w 15"/>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0">
                  <a:moveTo>
                    <a:pt x="3" y="0"/>
                  </a:moveTo>
                  <a:cubicBezTo>
                    <a:pt x="2" y="0"/>
                    <a:pt x="2" y="1"/>
                    <a:pt x="2" y="2"/>
                  </a:cubicBezTo>
                  <a:cubicBezTo>
                    <a:pt x="2" y="3"/>
                    <a:pt x="4" y="5"/>
                    <a:pt x="3" y="6"/>
                  </a:cubicBezTo>
                  <a:cubicBezTo>
                    <a:pt x="3" y="7"/>
                    <a:pt x="0" y="5"/>
                    <a:pt x="0" y="6"/>
                  </a:cubicBezTo>
                  <a:cubicBezTo>
                    <a:pt x="0" y="7"/>
                    <a:pt x="1" y="9"/>
                    <a:pt x="3" y="9"/>
                  </a:cubicBezTo>
                  <a:cubicBezTo>
                    <a:pt x="5" y="9"/>
                    <a:pt x="9" y="10"/>
                    <a:pt x="11" y="10"/>
                  </a:cubicBezTo>
                  <a:cubicBezTo>
                    <a:pt x="13" y="10"/>
                    <a:pt x="14" y="7"/>
                    <a:pt x="15" y="4"/>
                  </a:cubicBezTo>
                  <a:cubicBezTo>
                    <a:pt x="15" y="3"/>
                    <a:pt x="14" y="2"/>
                    <a:pt x="13" y="2"/>
                  </a:cubicBezTo>
                  <a:cubicBezTo>
                    <a:pt x="11" y="1"/>
                    <a:pt x="9" y="1"/>
                    <a:pt x="7" y="1"/>
                  </a:cubicBezTo>
                  <a:cubicBezTo>
                    <a:pt x="6" y="1"/>
                    <a:pt x="4"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8" name="Freeform 708"/>
            <p:cNvSpPr>
              <a:spLocks noChangeAspect="1"/>
            </p:cNvSpPr>
            <p:nvPr/>
          </p:nvSpPr>
          <p:spPr bwMode="auto">
            <a:xfrm>
              <a:off x="7121924" y="875517"/>
              <a:ext cx="11213" cy="19345"/>
            </a:xfrm>
            <a:custGeom>
              <a:avLst/>
              <a:gdLst>
                <a:gd name="T0" fmla="*/ 1852 w 6"/>
                <a:gd name="T1" fmla="*/ 1832 h 13"/>
                <a:gd name="T2" fmla="*/ 9261 w 6"/>
                <a:gd name="T3" fmla="*/ 12822 h 13"/>
                <a:gd name="T4" fmla="*/ 9261 w 6"/>
                <a:gd name="T5" fmla="*/ 21980 h 13"/>
                <a:gd name="T6" fmla="*/ 3704 w 6"/>
                <a:gd name="T7" fmla="*/ 21980 h 13"/>
                <a:gd name="T8" fmla="*/ 0 w 6"/>
                <a:gd name="T9" fmla="*/ 7327 h 13"/>
                <a:gd name="T10" fmla="*/ 1852 w 6"/>
                <a:gd name="T11" fmla="*/ 1832 h 13"/>
                <a:gd name="T12" fmla="*/ 0 60000 65536"/>
                <a:gd name="T13" fmla="*/ 0 60000 65536"/>
                <a:gd name="T14" fmla="*/ 0 60000 65536"/>
                <a:gd name="T15" fmla="*/ 0 60000 65536"/>
                <a:gd name="T16" fmla="*/ 0 60000 65536"/>
                <a:gd name="T17" fmla="*/ 0 60000 65536"/>
                <a:gd name="T18" fmla="*/ 0 w 6"/>
                <a:gd name="T19" fmla="*/ 0 h 13"/>
                <a:gd name="T20" fmla="*/ 6 w 6"/>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6" h="13">
                  <a:moveTo>
                    <a:pt x="1" y="1"/>
                  </a:moveTo>
                  <a:cubicBezTo>
                    <a:pt x="3" y="2"/>
                    <a:pt x="4" y="4"/>
                    <a:pt x="5" y="7"/>
                  </a:cubicBezTo>
                  <a:cubicBezTo>
                    <a:pt x="5" y="8"/>
                    <a:pt x="6" y="11"/>
                    <a:pt x="5" y="12"/>
                  </a:cubicBezTo>
                  <a:cubicBezTo>
                    <a:pt x="4" y="13"/>
                    <a:pt x="2" y="13"/>
                    <a:pt x="2" y="12"/>
                  </a:cubicBezTo>
                  <a:cubicBezTo>
                    <a:pt x="1" y="9"/>
                    <a:pt x="1" y="7"/>
                    <a:pt x="0" y="4"/>
                  </a:cubicBezTo>
                  <a:cubicBezTo>
                    <a:pt x="0" y="3"/>
                    <a:pt x="0"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29" name="Freeform 709"/>
            <p:cNvSpPr>
              <a:spLocks noChangeAspect="1"/>
            </p:cNvSpPr>
            <p:nvPr/>
          </p:nvSpPr>
          <p:spPr bwMode="auto">
            <a:xfrm>
              <a:off x="7235646" y="930973"/>
              <a:ext cx="20822" cy="16766"/>
            </a:xfrm>
            <a:custGeom>
              <a:avLst/>
              <a:gdLst>
                <a:gd name="T0" fmla="*/ 3752 w 11"/>
                <a:gd name="T1" fmla="*/ 1876 h 11"/>
                <a:gd name="T2" fmla="*/ 0 w 11"/>
                <a:gd name="T3" fmla="*/ 7505 h 11"/>
                <a:gd name="T4" fmla="*/ 5628 w 11"/>
                <a:gd name="T5" fmla="*/ 18762 h 11"/>
                <a:gd name="T6" fmla="*/ 15009 w 11"/>
                <a:gd name="T7" fmla="*/ 18762 h 11"/>
                <a:gd name="T8" fmla="*/ 20637 w 11"/>
                <a:gd name="T9" fmla="*/ 13133 h 11"/>
                <a:gd name="T10" fmla="*/ 16885 w 11"/>
                <a:gd name="T11" fmla="*/ 3752 h 11"/>
                <a:gd name="T12" fmla="*/ 13133 w 11"/>
                <a:gd name="T13" fmla="*/ 1876 h 11"/>
                <a:gd name="T14" fmla="*/ 3752 w 11"/>
                <a:gd name="T15" fmla="*/ 1876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0" name="Freeform 710"/>
            <p:cNvSpPr>
              <a:spLocks noChangeAspect="1"/>
            </p:cNvSpPr>
            <p:nvPr/>
          </p:nvSpPr>
          <p:spPr bwMode="auto">
            <a:xfrm>
              <a:off x="7240452" y="945160"/>
              <a:ext cx="73679" cy="25793"/>
            </a:xfrm>
            <a:custGeom>
              <a:avLst/>
              <a:gdLst>
                <a:gd name="T0" fmla="*/ 1922 w 38"/>
                <a:gd name="T1" fmla="*/ 20544 h 17"/>
                <a:gd name="T2" fmla="*/ 1922 w 38"/>
                <a:gd name="T3" fmla="*/ 26147 h 17"/>
                <a:gd name="T4" fmla="*/ 21139 w 38"/>
                <a:gd name="T5" fmla="*/ 22412 h 17"/>
                <a:gd name="T6" fmla="*/ 59573 w 38"/>
                <a:gd name="T7" fmla="*/ 28015 h 17"/>
                <a:gd name="T8" fmla="*/ 69182 w 38"/>
                <a:gd name="T9" fmla="*/ 29882 h 17"/>
                <a:gd name="T10" fmla="*/ 73025 w 38"/>
                <a:gd name="T11" fmla="*/ 20544 h 17"/>
                <a:gd name="T12" fmla="*/ 57651 w 38"/>
                <a:gd name="T13" fmla="*/ 7471 h 17"/>
                <a:gd name="T14" fmla="*/ 28826 w 38"/>
                <a:gd name="T15" fmla="*/ 1868 h 17"/>
                <a:gd name="T16" fmla="*/ 15374 w 38"/>
                <a:gd name="T17" fmla="*/ 3735 h 17"/>
                <a:gd name="T18" fmla="*/ 15374 w 38"/>
                <a:gd name="T19" fmla="*/ 14941 h 17"/>
                <a:gd name="T20" fmla="*/ 1922 w 38"/>
                <a:gd name="T21" fmla="*/ 20544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1" name="Freeform 711"/>
            <p:cNvSpPr>
              <a:spLocks noChangeAspect="1"/>
            </p:cNvSpPr>
            <p:nvPr/>
          </p:nvSpPr>
          <p:spPr bwMode="auto">
            <a:xfrm>
              <a:off x="7149154" y="861330"/>
              <a:ext cx="168180" cy="63195"/>
            </a:xfrm>
            <a:custGeom>
              <a:avLst/>
              <a:gdLst>
                <a:gd name="T0" fmla="*/ 28413 w 88"/>
                <a:gd name="T1" fmla="*/ 0 h 41"/>
                <a:gd name="T2" fmla="*/ 54931 w 88"/>
                <a:gd name="T3" fmla="*/ 18973 h 41"/>
                <a:gd name="T4" fmla="*/ 64402 w 88"/>
                <a:gd name="T5" fmla="*/ 18973 h 41"/>
                <a:gd name="T6" fmla="*/ 68190 w 88"/>
                <a:gd name="T7" fmla="*/ 26562 h 41"/>
                <a:gd name="T8" fmla="*/ 77661 w 88"/>
                <a:gd name="T9" fmla="*/ 26562 h 41"/>
                <a:gd name="T10" fmla="*/ 75767 w 88"/>
                <a:gd name="T11" fmla="*/ 11384 h 41"/>
                <a:gd name="T12" fmla="*/ 81449 w 88"/>
                <a:gd name="T13" fmla="*/ 9486 h 41"/>
                <a:gd name="T14" fmla="*/ 81449 w 88"/>
                <a:gd name="T15" fmla="*/ 5692 h 41"/>
                <a:gd name="T16" fmla="*/ 100391 w 88"/>
                <a:gd name="T17" fmla="*/ 17075 h 41"/>
                <a:gd name="T18" fmla="*/ 115544 w 88"/>
                <a:gd name="T19" fmla="*/ 18973 h 41"/>
                <a:gd name="T20" fmla="*/ 125015 w 88"/>
                <a:gd name="T21" fmla="*/ 15178 h 41"/>
                <a:gd name="T22" fmla="*/ 142063 w 88"/>
                <a:gd name="T23" fmla="*/ 20870 h 41"/>
                <a:gd name="T24" fmla="*/ 164793 w 88"/>
                <a:gd name="T25" fmla="*/ 30356 h 41"/>
                <a:gd name="T26" fmla="*/ 157216 w 88"/>
                <a:gd name="T27" fmla="*/ 37945 h 41"/>
                <a:gd name="T28" fmla="*/ 164793 w 88"/>
                <a:gd name="T29" fmla="*/ 47432 h 41"/>
                <a:gd name="T30" fmla="*/ 151534 w 88"/>
                <a:gd name="T31" fmla="*/ 56918 h 41"/>
                <a:gd name="T32" fmla="*/ 119333 w 88"/>
                <a:gd name="T33" fmla="*/ 43637 h 41"/>
                <a:gd name="T34" fmla="*/ 115544 w 88"/>
                <a:gd name="T35" fmla="*/ 36048 h 41"/>
                <a:gd name="T36" fmla="*/ 117439 w 88"/>
                <a:gd name="T37" fmla="*/ 28459 h 41"/>
                <a:gd name="T38" fmla="*/ 111756 w 88"/>
                <a:gd name="T39" fmla="*/ 24664 h 41"/>
                <a:gd name="T40" fmla="*/ 102285 w 88"/>
                <a:gd name="T41" fmla="*/ 30356 h 41"/>
                <a:gd name="T42" fmla="*/ 109862 w 88"/>
                <a:gd name="T43" fmla="*/ 45534 h 41"/>
                <a:gd name="T44" fmla="*/ 132592 w 88"/>
                <a:gd name="T45" fmla="*/ 55021 h 41"/>
                <a:gd name="T46" fmla="*/ 143957 w 88"/>
                <a:gd name="T47" fmla="*/ 60713 h 41"/>
                <a:gd name="T48" fmla="*/ 145851 w 88"/>
                <a:gd name="T49" fmla="*/ 66404 h 41"/>
                <a:gd name="T50" fmla="*/ 123121 w 88"/>
                <a:gd name="T51" fmla="*/ 60713 h 41"/>
                <a:gd name="T52" fmla="*/ 121227 w 88"/>
                <a:gd name="T53" fmla="*/ 64507 h 41"/>
                <a:gd name="T54" fmla="*/ 111756 w 88"/>
                <a:gd name="T55" fmla="*/ 62610 h 41"/>
                <a:gd name="T56" fmla="*/ 109862 w 88"/>
                <a:gd name="T57" fmla="*/ 56918 h 41"/>
                <a:gd name="T58" fmla="*/ 98497 w 88"/>
                <a:gd name="T59" fmla="*/ 60713 h 41"/>
                <a:gd name="T60" fmla="*/ 77661 w 88"/>
                <a:gd name="T61" fmla="*/ 66404 h 41"/>
                <a:gd name="T62" fmla="*/ 68190 w 88"/>
                <a:gd name="T63" fmla="*/ 58815 h 41"/>
                <a:gd name="T64" fmla="*/ 64402 w 88"/>
                <a:gd name="T65" fmla="*/ 64507 h 41"/>
                <a:gd name="T66" fmla="*/ 66296 w 88"/>
                <a:gd name="T67" fmla="*/ 70199 h 41"/>
                <a:gd name="T68" fmla="*/ 60613 w 88"/>
                <a:gd name="T69" fmla="*/ 77788 h 41"/>
                <a:gd name="T70" fmla="*/ 43566 w 88"/>
                <a:gd name="T71" fmla="*/ 72096 h 41"/>
                <a:gd name="T72" fmla="*/ 26518 w 88"/>
                <a:gd name="T73" fmla="*/ 58815 h 41"/>
                <a:gd name="T74" fmla="*/ 13259 w 88"/>
                <a:gd name="T75" fmla="*/ 53124 h 41"/>
                <a:gd name="T76" fmla="*/ 1894 w 88"/>
                <a:gd name="T77" fmla="*/ 45534 h 41"/>
                <a:gd name="T78" fmla="*/ 3788 w 88"/>
                <a:gd name="T79" fmla="*/ 39843 h 41"/>
                <a:gd name="T80" fmla="*/ 11365 w 88"/>
                <a:gd name="T81" fmla="*/ 37945 h 41"/>
                <a:gd name="T82" fmla="*/ 1894 w 88"/>
                <a:gd name="T83" fmla="*/ 28459 h 41"/>
                <a:gd name="T84" fmla="*/ 9471 w 88"/>
                <a:gd name="T85" fmla="*/ 26562 h 41"/>
                <a:gd name="T86" fmla="*/ 7577 w 88"/>
                <a:gd name="T87" fmla="*/ 18973 h 41"/>
                <a:gd name="T88" fmla="*/ 17048 w 88"/>
                <a:gd name="T89" fmla="*/ 11384 h 41"/>
                <a:gd name="T90" fmla="*/ 17048 w 88"/>
                <a:gd name="T91" fmla="*/ 3795 h 41"/>
                <a:gd name="T92" fmla="*/ 22730 w 88"/>
                <a:gd name="T93" fmla="*/ 3795 h 41"/>
                <a:gd name="T94" fmla="*/ 28413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2" name="Freeform 712"/>
            <p:cNvSpPr>
              <a:spLocks noChangeAspect="1"/>
            </p:cNvSpPr>
            <p:nvPr/>
          </p:nvSpPr>
          <p:spPr bwMode="auto">
            <a:xfrm>
              <a:off x="7363784" y="840695"/>
              <a:ext cx="16017" cy="7738"/>
            </a:xfrm>
            <a:custGeom>
              <a:avLst/>
              <a:gdLst>
                <a:gd name="T0" fmla="*/ 1984 w 8"/>
                <a:gd name="T1" fmla="*/ 5715 h 5"/>
                <a:gd name="T2" fmla="*/ 1984 w 8"/>
                <a:gd name="T3" fmla="*/ 9525 h 5"/>
                <a:gd name="T4" fmla="*/ 13891 w 8"/>
                <a:gd name="T5" fmla="*/ 7620 h 5"/>
                <a:gd name="T6" fmla="*/ 13891 w 8"/>
                <a:gd name="T7" fmla="*/ 1905 h 5"/>
                <a:gd name="T8" fmla="*/ 7938 w 8"/>
                <a:gd name="T9" fmla="*/ 1905 h 5"/>
                <a:gd name="T10" fmla="*/ 1984 w 8"/>
                <a:gd name="T11" fmla="*/ 5715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3"/>
                  </a:moveTo>
                  <a:cubicBezTo>
                    <a:pt x="0" y="3"/>
                    <a:pt x="0" y="5"/>
                    <a:pt x="1" y="5"/>
                  </a:cubicBezTo>
                  <a:cubicBezTo>
                    <a:pt x="3" y="5"/>
                    <a:pt x="5" y="5"/>
                    <a:pt x="7" y="4"/>
                  </a:cubicBezTo>
                  <a:cubicBezTo>
                    <a:pt x="8" y="4"/>
                    <a:pt x="8" y="2"/>
                    <a:pt x="7" y="1"/>
                  </a:cubicBezTo>
                  <a:cubicBezTo>
                    <a:pt x="6" y="0"/>
                    <a:pt x="5" y="1"/>
                    <a:pt x="4" y="1"/>
                  </a:cubicBezTo>
                  <a:cubicBezTo>
                    <a:pt x="3" y="2"/>
                    <a:pt x="1"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3" name="Freeform 713"/>
            <p:cNvSpPr>
              <a:spLocks noChangeAspect="1"/>
            </p:cNvSpPr>
            <p:nvPr/>
          </p:nvSpPr>
          <p:spPr bwMode="auto">
            <a:xfrm>
              <a:off x="7336554" y="879386"/>
              <a:ext cx="104112" cy="38690"/>
            </a:xfrm>
            <a:custGeom>
              <a:avLst/>
              <a:gdLst>
                <a:gd name="T0" fmla="*/ 1911 w 54"/>
                <a:gd name="T1" fmla="*/ 1905 h 25"/>
                <a:gd name="T2" fmla="*/ 1911 w 54"/>
                <a:gd name="T3" fmla="*/ 20955 h 25"/>
                <a:gd name="T4" fmla="*/ 15287 w 54"/>
                <a:gd name="T5" fmla="*/ 32385 h 25"/>
                <a:gd name="T6" fmla="*/ 40129 w 54"/>
                <a:gd name="T7" fmla="*/ 38100 h 25"/>
                <a:gd name="T8" fmla="*/ 57327 w 54"/>
                <a:gd name="T9" fmla="*/ 47625 h 25"/>
                <a:gd name="T10" fmla="*/ 80257 w 54"/>
                <a:gd name="T11" fmla="*/ 45720 h 25"/>
                <a:gd name="T12" fmla="*/ 97455 w 54"/>
                <a:gd name="T13" fmla="*/ 40005 h 25"/>
                <a:gd name="T14" fmla="*/ 97455 w 54"/>
                <a:gd name="T15" fmla="*/ 30480 h 25"/>
                <a:gd name="T16" fmla="*/ 103188 w 54"/>
                <a:gd name="T17" fmla="*/ 22860 h 25"/>
                <a:gd name="T18" fmla="*/ 97455 w 54"/>
                <a:gd name="T19" fmla="*/ 20955 h 25"/>
                <a:gd name="T20" fmla="*/ 95544 w 54"/>
                <a:gd name="T21" fmla="*/ 22860 h 25"/>
                <a:gd name="T22" fmla="*/ 72614 w 54"/>
                <a:gd name="T23" fmla="*/ 19050 h 25"/>
                <a:gd name="T24" fmla="*/ 55416 w 54"/>
                <a:gd name="T25" fmla="*/ 24765 h 25"/>
                <a:gd name="T26" fmla="*/ 47772 w 54"/>
                <a:gd name="T27" fmla="*/ 17145 h 25"/>
                <a:gd name="T28" fmla="*/ 38218 w 54"/>
                <a:gd name="T29" fmla="*/ 17145 h 25"/>
                <a:gd name="T30" fmla="*/ 30574 w 54"/>
                <a:gd name="T31" fmla="*/ 13335 h 25"/>
                <a:gd name="T32" fmla="*/ 19109 w 54"/>
                <a:gd name="T33" fmla="*/ 19050 h 25"/>
                <a:gd name="T34" fmla="*/ 5733 w 54"/>
                <a:gd name="T35" fmla="*/ 7620 h 25"/>
                <a:gd name="T36" fmla="*/ 1911 w 54"/>
                <a:gd name="T37" fmla="*/ 190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4" name="Freeform 714"/>
            <p:cNvSpPr>
              <a:spLocks noChangeAspect="1"/>
            </p:cNvSpPr>
            <p:nvPr/>
          </p:nvSpPr>
          <p:spPr bwMode="auto">
            <a:xfrm>
              <a:off x="7206815" y="1023829"/>
              <a:ext cx="22424" cy="6449"/>
            </a:xfrm>
            <a:custGeom>
              <a:avLst/>
              <a:gdLst>
                <a:gd name="T0" fmla="*/ 1852 w 12"/>
                <a:gd name="T1" fmla="*/ 0 h 4"/>
                <a:gd name="T2" fmla="*/ 0 w 12"/>
                <a:gd name="T3" fmla="*/ 1985 h 4"/>
                <a:gd name="T4" fmla="*/ 16669 w 12"/>
                <a:gd name="T5" fmla="*/ 7938 h 4"/>
                <a:gd name="T6" fmla="*/ 22225 w 12"/>
                <a:gd name="T7" fmla="*/ 3969 h 4"/>
                <a:gd name="T8" fmla="*/ 16669 w 12"/>
                <a:gd name="T9" fmla="*/ 1985 h 4"/>
                <a:gd name="T10" fmla="*/ 1852 w 12"/>
                <a:gd name="T11" fmla="*/ 0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0"/>
                  </a:moveTo>
                  <a:cubicBezTo>
                    <a:pt x="1" y="0"/>
                    <a:pt x="0" y="1"/>
                    <a:pt x="0" y="1"/>
                  </a:cubicBezTo>
                  <a:cubicBezTo>
                    <a:pt x="3" y="3"/>
                    <a:pt x="6" y="4"/>
                    <a:pt x="9" y="4"/>
                  </a:cubicBezTo>
                  <a:cubicBezTo>
                    <a:pt x="10" y="4"/>
                    <a:pt x="12" y="4"/>
                    <a:pt x="12" y="2"/>
                  </a:cubicBezTo>
                  <a:cubicBezTo>
                    <a:pt x="12" y="1"/>
                    <a:pt x="10" y="1"/>
                    <a:pt x="9" y="1"/>
                  </a:cubicBezTo>
                  <a:cubicBezTo>
                    <a:pt x="6" y="0"/>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5" name="Freeform 715"/>
            <p:cNvSpPr>
              <a:spLocks noChangeAspect="1"/>
            </p:cNvSpPr>
            <p:nvPr/>
          </p:nvSpPr>
          <p:spPr bwMode="auto">
            <a:xfrm>
              <a:off x="7885941" y="1080576"/>
              <a:ext cx="35238" cy="15476"/>
            </a:xfrm>
            <a:custGeom>
              <a:avLst/>
              <a:gdLst>
                <a:gd name="T0" fmla="*/ 7761 w 18"/>
                <a:gd name="T1" fmla="*/ 0 h 10"/>
                <a:gd name="T2" fmla="*/ 0 w 18"/>
                <a:gd name="T3" fmla="*/ 1905 h 10"/>
                <a:gd name="T4" fmla="*/ 11642 w 18"/>
                <a:gd name="T5" fmla="*/ 11430 h 10"/>
                <a:gd name="T6" fmla="*/ 27164 w 18"/>
                <a:gd name="T7" fmla="*/ 19050 h 10"/>
                <a:gd name="T8" fmla="*/ 32985 w 18"/>
                <a:gd name="T9" fmla="*/ 15240 h 10"/>
                <a:gd name="T10" fmla="*/ 29104 w 18"/>
                <a:gd name="T11" fmla="*/ 5715 h 10"/>
                <a:gd name="T12" fmla="*/ 7761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6" name="Freeform 716"/>
            <p:cNvSpPr>
              <a:spLocks noChangeAspect="1"/>
            </p:cNvSpPr>
            <p:nvPr/>
          </p:nvSpPr>
          <p:spPr bwMode="auto">
            <a:xfrm>
              <a:off x="8090961" y="1025119"/>
              <a:ext cx="78484" cy="34821"/>
            </a:xfrm>
            <a:custGeom>
              <a:avLst/>
              <a:gdLst>
                <a:gd name="T0" fmla="*/ 9486 w 41"/>
                <a:gd name="T1" fmla="*/ 5845 h 22"/>
                <a:gd name="T2" fmla="*/ 0 w 41"/>
                <a:gd name="T3" fmla="*/ 23379 h 22"/>
                <a:gd name="T4" fmla="*/ 11383 w 41"/>
                <a:gd name="T5" fmla="*/ 40914 h 22"/>
                <a:gd name="T6" fmla="*/ 22767 w 41"/>
                <a:gd name="T7" fmla="*/ 35069 h 22"/>
                <a:gd name="T8" fmla="*/ 39842 w 41"/>
                <a:gd name="T9" fmla="*/ 31172 h 22"/>
                <a:gd name="T10" fmla="*/ 58815 w 41"/>
                <a:gd name="T11" fmla="*/ 31172 h 22"/>
                <a:gd name="T12" fmla="*/ 73993 w 41"/>
                <a:gd name="T13" fmla="*/ 27276 h 22"/>
                <a:gd name="T14" fmla="*/ 73993 w 41"/>
                <a:gd name="T15" fmla="*/ 15586 h 22"/>
                <a:gd name="T16" fmla="*/ 49328 w 41"/>
                <a:gd name="T17" fmla="*/ 3897 h 22"/>
                <a:gd name="T18" fmla="*/ 39842 w 41"/>
                <a:gd name="T19" fmla="*/ 0 h 22"/>
                <a:gd name="T20" fmla="*/ 26561 w 41"/>
                <a:gd name="T21" fmla="*/ 3897 h 22"/>
                <a:gd name="T22" fmla="*/ 9486 w 41"/>
                <a:gd name="T23" fmla="*/ 584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7" name="Freeform 717"/>
            <p:cNvSpPr>
              <a:spLocks noChangeAspect="1"/>
            </p:cNvSpPr>
            <p:nvPr/>
          </p:nvSpPr>
          <p:spPr bwMode="auto">
            <a:xfrm>
              <a:off x="8052519" y="1525516"/>
              <a:ext cx="30432" cy="23214"/>
            </a:xfrm>
            <a:custGeom>
              <a:avLst/>
              <a:gdLst>
                <a:gd name="T0" fmla="*/ 5655 w 16"/>
                <a:gd name="T1" fmla="*/ 0 h 15"/>
                <a:gd name="T2" fmla="*/ 13196 w 16"/>
                <a:gd name="T3" fmla="*/ 1905 h 15"/>
                <a:gd name="T4" fmla="*/ 13196 w 16"/>
                <a:gd name="T5" fmla="*/ 7620 h 15"/>
                <a:gd name="T6" fmla="*/ 30162 w 16"/>
                <a:gd name="T7" fmla="*/ 22860 h 15"/>
                <a:gd name="T8" fmla="*/ 28277 w 16"/>
                <a:gd name="T9" fmla="*/ 26670 h 15"/>
                <a:gd name="T10" fmla="*/ 13196 w 16"/>
                <a:gd name="T11" fmla="*/ 15240 h 15"/>
                <a:gd name="T12" fmla="*/ 0 w 16"/>
                <a:gd name="T13" fmla="*/ 5715 h 15"/>
                <a:gd name="T14" fmla="*/ 5655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8" name="Freeform 718"/>
            <p:cNvSpPr>
              <a:spLocks noChangeAspect="1"/>
            </p:cNvSpPr>
            <p:nvPr/>
          </p:nvSpPr>
          <p:spPr bwMode="auto">
            <a:xfrm>
              <a:off x="8095765" y="1542281"/>
              <a:ext cx="17619" cy="10318"/>
            </a:xfrm>
            <a:custGeom>
              <a:avLst/>
              <a:gdLst>
                <a:gd name="T0" fmla="*/ 5821 w 9"/>
                <a:gd name="T1" fmla="*/ 0 h 7"/>
                <a:gd name="T2" fmla="*/ 0 w 9"/>
                <a:gd name="T3" fmla="*/ 3629 h 7"/>
                <a:gd name="T4" fmla="*/ 13582 w 9"/>
                <a:gd name="T5" fmla="*/ 10886 h 7"/>
                <a:gd name="T6" fmla="*/ 17463 w 9"/>
                <a:gd name="T7" fmla="*/ 9071 h 7"/>
                <a:gd name="T8" fmla="*/ 5821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39" name="Freeform 719"/>
            <p:cNvSpPr>
              <a:spLocks noChangeAspect="1"/>
            </p:cNvSpPr>
            <p:nvPr/>
          </p:nvSpPr>
          <p:spPr bwMode="auto">
            <a:xfrm>
              <a:off x="7869925" y="1657063"/>
              <a:ext cx="19221" cy="21924"/>
            </a:xfrm>
            <a:custGeom>
              <a:avLst/>
              <a:gdLst>
                <a:gd name="T0" fmla="*/ 17145 w 10"/>
                <a:gd name="T1" fmla="*/ 0 h 14"/>
                <a:gd name="T2" fmla="*/ 11430 w 10"/>
                <a:gd name="T3" fmla="*/ 0 h 14"/>
                <a:gd name="T4" fmla="*/ 5715 w 10"/>
                <a:gd name="T5" fmla="*/ 13494 h 14"/>
                <a:gd name="T6" fmla="*/ 0 w 10"/>
                <a:gd name="T7" fmla="*/ 17349 h 14"/>
                <a:gd name="T8" fmla="*/ 5715 w 10"/>
                <a:gd name="T9" fmla="*/ 26987 h 14"/>
                <a:gd name="T10" fmla="*/ 15240 w 10"/>
                <a:gd name="T11" fmla="*/ 15421 h 14"/>
                <a:gd name="T12" fmla="*/ 19050 w 10"/>
                <a:gd name="T13" fmla="*/ 7711 h 14"/>
                <a:gd name="T14" fmla="*/ 17145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0" name="Freeform 720"/>
            <p:cNvSpPr>
              <a:spLocks noChangeAspect="1"/>
            </p:cNvSpPr>
            <p:nvPr/>
          </p:nvSpPr>
          <p:spPr bwMode="auto">
            <a:xfrm>
              <a:off x="7732177" y="1795058"/>
              <a:ext cx="38441" cy="30953"/>
            </a:xfrm>
            <a:custGeom>
              <a:avLst/>
              <a:gdLst>
                <a:gd name="T0" fmla="*/ 36195 w 20"/>
                <a:gd name="T1" fmla="*/ 0 h 20"/>
                <a:gd name="T2" fmla="*/ 36195 w 20"/>
                <a:gd name="T3" fmla="*/ 5715 h 20"/>
                <a:gd name="T4" fmla="*/ 30480 w 20"/>
                <a:gd name="T5" fmla="*/ 5715 h 20"/>
                <a:gd name="T6" fmla="*/ 19050 w 20"/>
                <a:gd name="T7" fmla="*/ 19050 h 20"/>
                <a:gd name="T8" fmla="*/ 13335 w 20"/>
                <a:gd name="T9" fmla="*/ 20955 h 20"/>
                <a:gd name="T10" fmla="*/ 1905 w 20"/>
                <a:gd name="T11" fmla="*/ 38100 h 20"/>
                <a:gd name="T12" fmla="*/ 0 w 20"/>
                <a:gd name="T13" fmla="*/ 32385 h 20"/>
                <a:gd name="T14" fmla="*/ 7620 w 20"/>
                <a:gd name="T15" fmla="*/ 22860 h 20"/>
                <a:gd name="T16" fmla="*/ 15240 w 20"/>
                <a:gd name="T17" fmla="*/ 5715 h 20"/>
                <a:gd name="T18" fmla="*/ 24765 w 20"/>
                <a:gd name="T19" fmla="*/ 9525 h 20"/>
                <a:gd name="T20" fmla="*/ 36195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1" name="Freeform 721"/>
            <p:cNvSpPr>
              <a:spLocks noChangeAspect="1"/>
            </p:cNvSpPr>
            <p:nvPr/>
          </p:nvSpPr>
          <p:spPr bwMode="auto">
            <a:xfrm>
              <a:off x="7703346" y="1822141"/>
              <a:ext cx="22424" cy="20635"/>
            </a:xfrm>
            <a:custGeom>
              <a:avLst/>
              <a:gdLst>
                <a:gd name="T0" fmla="*/ 14143 w 11"/>
                <a:gd name="T1" fmla="*/ 1954 h 13"/>
                <a:gd name="T2" fmla="*/ 22225 w 11"/>
                <a:gd name="T3" fmla="*/ 3908 h 13"/>
                <a:gd name="T4" fmla="*/ 16164 w 11"/>
                <a:gd name="T5" fmla="*/ 11723 h 13"/>
                <a:gd name="T6" fmla="*/ 6061 w 11"/>
                <a:gd name="T7" fmla="*/ 25400 h 13"/>
                <a:gd name="T8" fmla="*/ 0 w 11"/>
                <a:gd name="T9" fmla="*/ 21492 h 13"/>
                <a:gd name="T10" fmla="*/ 12123 w 11"/>
                <a:gd name="T11" fmla="*/ 5862 h 13"/>
                <a:gd name="T12" fmla="*/ 14143 w 11"/>
                <a:gd name="T13" fmla="*/ 1954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2" name="Freeform 722"/>
            <p:cNvSpPr>
              <a:spLocks noChangeAspect="1"/>
            </p:cNvSpPr>
            <p:nvPr/>
          </p:nvSpPr>
          <p:spPr bwMode="auto">
            <a:xfrm>
              <a:off x="7535167" y="1552598"/>
              <a:ext cx="20823" cy="20635"/>
            </a:xfrm>
            <a:custGeom>
              <a:avLst/>
              <a:gdLst>
                <a:gd name="T0" fmla="*/ 9381 w 11"/>
                <a:gd name="T1" fmla="*/ 1954 h 13"/>
                <a:gd name="T2" fmla="*/ 13133 w 11"/>
                <a:gd name="T3" fmla="*/ 11723 h 13"/>
                <a:gd name="T4" fmla="*/ 18762 w 11"/>
                <a:gd name="T5" fmla="*/ 11723 h 13"/>
                <a:gd name="T6" fmla="*/ 18762 w 11"/>
                <a:gd name="T7" fmla="*/ 23446 h 13"/>
                <a:gd name="T8" fmla="*/ 11257 w 11"/>
                <a:gd name="T9" fmla="*/ 23446 h 13"/>
                <a:gd name="T10" fmla="*/ 11257 w 11"/>
                <a:gd name="T11" fmla="*/ 15631 h 13"/>
                <a:gd name="T12" fmla="*/ 0 w 11"/>
                <a:gd name="T13" fmla="*/ 5862 h 13"/>
                <a:gd name="T14" fmla="*/ 5629 w 11"/>
                <a:gd name="T15" fmla="*/ 5862 h 13"/>
                <a:gd name="T16" fmla="*/ 9381 w 11"/>
                <a:gd name="T17" fmla="*/ 1954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3" name="Freeform 723"/>
            <p:cNvSpPr>
              <a:spLocks noChangeAspect="1"/>
            </p:cNvSpPr>
            <p:nvPr/>
          </p:nvSpPr>
          <p:spPr bwMode="auto">
            <a:xfrm>
              <a:off x="7536768" y="1574523"/>
              <a:ext cx="112120" cy="214087"/>
            </a:xfrm>
            <a:custGeom>
              <a:avLst/>
              <a:gdLst>
                <a:gd name="T0" fmla="*/ 21075 w 58"/>
                <a:gd name="T1" fmla="*/ 1910 h 138"/>
                <a:gd name="T2" fmla="*/ 34487 w 58"/>
                <a:gd name="T3" fmla="*/ 28644 h 138"/>
                <a:gd name="T4" fmla="*/ 42151 w 58"/>
                <a:gd name="T5" fmla="*/ 49650 h 138"/>
                <a:gd name="T6" fmla="*/ 45983 w 58"/>
                <a:gd name="T7" fmla="*/ 74474 h 138"/>
                <a:gd name="T8" fmla="*/ 49815 w 58"/>
                <a:gd name="T9" fmla="*/ 70655 h 138"/>
                <a:gd name="T10" fmla="*/ 72806 w 58"/>
                <a:gd name="T11" fmla="*/ 116486 h 138"/>
                <a:gd name="T12" fmla="*/ 95797 w 58"/>
                <a:gd name="T13" fmla="*/ 147039 h 138"/>
                <a:gd name="T14" fmla="*/ 103461 w 58"/>
                <a:gd name="T15" fmla="*/ 164226 h 138"/>
                <a:gd name="T16" fmla="*/ 111125 w 58"/>
                <a:gd name="T17" fmla="*/ 168045 h 138"/>
                <a:gd name="T18" fmla="*/ 109209 w 58"/>
                <a:gd name="T19" fmla="*/ 175683 h 138"/>
                <a:gd name="T20" fmla="*/ 107293 w 58"/>
                <a:gd name="T21" fmla="*/ 171864 h 138"/>
                <a:gd name="T22" fmla="*/ 99629 w 58"/>
                <a:gd name="T23" fmla="*/ 164226 h 138"/>
                <a:gd name="T24" fmla="*/ 90050 w 58"/>
                <a:gd name="T25" fmla="*/ 152768 h 138"/>
                <a:gd name="T26" fmla="*/ 74722 w 58"/>
                <a:gd name="T27" fmla="*/ 147039 h 138"/>
                <a:gd name="T28" fmla="*/ 65142 w 58"/>
                <a:gd name="T29" fmla="*/ 154678 h 138"/>
                <a:gd name="T30" fmla="*/ 65142 w 58"/>
                <a:gd name="T31" fmla="*/ 187141 h 138"/>
                <a:gd name="T32" fmla="*/ 63226 w 58"/>
                <a:gd name="T33" fmla="*/ 196689 h 138"/>
                <a:gd name="T34" fmla="*/ 80470 w 58"/>
                <a:gd name="T35" fmla="*/ 210056 h 138"/>
                <a:gd name="T36" fmla="*/ 88134 w 58"/>
                <a:gd name="T37" fmla="*/ 229152 h 138"/>
                <a:gd name="T38" fmla="*/ 97713 w 58"/>
                <a:gd name="T39" fmla="*/ 232971 h 138"/>
                <a:gd name="T40" fmla="*/ 101545 w 58"/>
                <a:gd name="T41" fmla="*/ 250158 h 138"/>
                <a:gd name="T42" fmla="*/ 99629 w 58"/>
                <a:gd name="T43" fmla="*/ 252067 h 138"/>
                <a:gd name="T44" fmla="*/ 95797 w 58"/>
                <a:gd name="T45" fmla="*/ 242519 h 138"/>
                <a:gd name="T46" fmla="*/ 82386 w 58"/>
                <a:gd name="T47" fmla="*/ 238700 h 138"/>
                <a:gd name="T48" fmla="*/ 78554 w 58"/>
                <a:gd name="T49" fmla="*/ 242519 h 138"/>
                <a:gd name="T50" fmla="*/ 76638 w 58"/>
                <a:gd name="T51" fmla="*/ 259706 h 138"/>
                <a:gd name="T52" fmla="*/ 72806 w 58"/>
                <a:gd name="T53" fmla="*/ 261615 h 138"/>
                <a:gd name="T54" fmla="*/ 67058 w 58"/>
                <a:gd name="T55" fmla="*/ 248248 h 138"/>
                <a:gd name="T56" fmla="*/ 63226 w 58"/>
                <a:gd name="T57" fmla="*/ 238700 h 138"/>
                <a:gd name="T58" fmla="*/ 63226 w 58"/>
                <a:gd name="T59" fmla="*/ 223423 h 138"/>
                <a:gd name="T60" fmla="*/ 55563 w 58"/>
                <a:gd name="T61" fmla="*/ 210056 h 138"/>
                <a:gd name="T62" fmla="*/ 55563 w 58"/>
                <a:gd name="T63" fmla="*/ 190960 h 138"/>
                <a:gd name="T64" fmla="*/ 44067 w 58"/>
                <a:gd name="T65" fmla="*/ 179503 h 138"/>
                <a:gd name="T66" fmla="*/ 44067 w 58"/>
                <a:gd name="T67" fmla="*/ 169955 h 138"/>
                <a:gd name="T68" fmla="*/ 42151 w 58"/>
                <a:gd name="T69" fmla="*/ 145130 h 138"/>
                <a:gd name="T70" fmla="*/ 30655 w 58"/>
                <a:gd name="T71" fmla="*/ 97390 h 138"/>
                <a:gd name="T72" fmla="*/ 30655 w 58"/>
                <a:gd name="T73" fmla="*/ 82113 h 138"/>
                <a:gd name="T74" fmla="*/ 15328 w 58"/>
                <a:gd name="T75" fmla="*/ 66836 h 138"/>
                <a:gd name="T76" fmla="*/ 13412 w 58"/>
                <a:gd name="T77" fmla="*/ 61107 h 138"/>
                <a:gd name="T78" fmla="*/ 7664 w 58"/>
                <a:gd name="T79" fmla="*/ 57288 h 138"/>
                <a:gd name="T80" fmla="*/ 5748 w 58"/>
                <a:gd name="T81" fmla="*/ 28644 h 138"/>
                <a:gd name="T82" fmla="*/ 0 w 58"/>
                <a:gd name="T83" fmla="*/ 11458 h 138"/>
                <a:gd name="T84" fmla="*/ 5748 w 58"/>
                <a:gd name="T85" fmla="*/ 5729 h 138"/>
                <a:gd name="T86" fmla="*/ 13412 w 58"/>
                <a:gd name="T87" fmla="*/ 11458 h 138"/>
                <a:gd name="T88" fmla="*/ 15328 w 58"/>
                <a:gd name="T89" fmla="*/ 1910 h 138"/>
                <a:gd name="T90" fmla="*/ 21075 w 58"/>
                <a:gd name="T91" fmla="*/ 1910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4" name="Freeform 724"/>
            <p:cNvSpPr>
              <a:spLocks noChangeAspect="1"/>
            </p:cNvSpPr>
            <p:nvPr/>
          </p:nvSpPr>
          <p:spPr bwMode="auto">
            <a:xfrm>
              <a:off x="5893412" y="683355"/>
              <a:ext cx="30432" cy="11608"/>
            </a:xfrm>
            <a:custGeom>
              <a:avLst/>
              <a:gdLst>
                <a:gd name="T0" fmla="*/ 5655 w 16"/>
                <a:gd name="T1" fmla="*/ 0 h 8"/>
                <a:gd name="T2" fmla="*/ 1885 w 16"/>
                <a:gd name="T3" fmla="*/ 8930 h 8"/>
                <a:gd name="T4" fmla="*/ 18851 w 16"/>
                <a:gd name="T5" fmla="*/ 14288 h 8"/>
                <a:gd name="T6" fmla="*/ 28277 w 16"/>
                <a:gd name="T7" fmla="*/ 10716 h 8"/>
                <a:gd name="T8" fmla="*/ 24507 w 16"/>
                <a:gd name="T9" fmla="*/ 5358 h 8"/>
                <a:gd name="T10" fmla="*/ 5655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3" y="0"/>
                  </a:moveTo>
                  <a:cubicBezTo>
                    <a:pt x="1" y="1"/>
                    <a:pt x="0" y="4"/>
                    <a:pt x="1" y="5"/>
                  </a:cubicBezTo>
                  <a:cubicBezTo>
                    <a:pt x="4" y="7"/>
                    <a:pt x="7" y="8"/>
                    <a:pt x="10" y="8"/>
                  </a:cubicBezTo>
                  <a:cubicBezTo>
                    <a:pt x="12" y="8"/>
                    <a:pt x="15" y="8"/>
                    <a:pt x="15" y="6"/>
                  </a:cubicBezTo>
                  <a:cubicBezTo>
                    <a:pt x="16" y="5"/>
                    <a:pt x="14" y="3"/>
                    <a:pt x="13" y="3"/>
                  </a:cubicBezTo>
                  <a:cubicBezTo>
                    <a:pt x="10" y="1"/>
                    <a:pt x="6"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5" name="Freeform 725"/>
            <p:cNvSpPr>
              <a:spLocks noChangeAspect="1"/>
            </p:cNvSpPr>
            <p:nvPr/>
          </p:nvSpPr>
          <p:spPr bwMode="auto">
            <a:xfrm>
              <a:off x="5569866" y="670459"/>
              <a:ext cx="56060" cy="28373"/>
            </a:xfrm>
            <a:custGeom>
              <a:avLst/>
              <a:gdLst>
                <a:gd name="T0" fmla="*/ 47898 w 29"/>
                <a:gd name="T1" fmla="*/ 3881 h 18"/>
                <a:gd name="T2" fmla="*/ 51730 w 29"/>
                <a:gd name="T3" fmla="*/ 21343 h 18"/>
                <a:gd name="T4" fmla="*/ 32571 w 29"/>
                <a:gd name="T5" fmla="*/ 29104 h 18"/>
                <a:gd name="T6" fmla="*/ 11496 w 29"/>
                <a:gd name="T7" fmla="*/ 32985 h 18"/>
                <a:gd name="T8" fmla="*/ 1916 w 29"/>
                <a:gd name="T9" fmla="*/ 21343 h 18"/>
                <a:gd name="T10" fmla="*/ 17243 w 29"/>
                <a:gd name="T11" fmla="*/ 15522 h 18"/>
                <a:gd name="T12" fmla="*/ 32571 w 29"/>
                <a:gd name="T13" fmla="*/ 13582 h 18"/>
                <a:gd name="T14" fmla="*/ 32571 w 29"/>
                <a:gd name="T15" fmla="*/ 3881 h 18"/>
                <a:gd name="T16" fmla="*/ 47898 w 29"/>
                <a:gd name="T17" fmla="*/ 3881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8"/>
                <a:gd name="T29" fmla="*/ 29 w 29"/>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8">
                  <a:moveTo>
                    <a:pt x="25" y="2"/>
                  </a:moveTo>
                  <a:cubicBezTo>
                    <a:pt x="28" y="4"/>
                    <a:pt x="29" y="9"/>
                    <a:pt x="27" y="11"/>
                  </a:cubicBezTo>
                  <a:cubicBezTo>
                    <a:pt x="25" y="14"/>
                    <a:pt x="20" y="14"/>
                    <a:pt x="17" y="15"/>
                  </a:cubicBezTo>
                  <a:cubicBezTo>
                    <a:pt x="13" y="16"/>
                    <a:pt x="10" y="18"/>
                    <a:pt x="6" y="17"/>
                  </a:cubicBezTo>
                  <a:cubicBezTo>
                    <a:pt x="4" y="17"/>
                    <a:pt x="0" y="14"/>
                    <a:pt x="1" y="11"/>
                  </a:cubicBezTo>
                  <a:cubicBezTo>
                    <a:pt x="2" y="9"/>
                    <a:pt x="6" y="9"/>
                    <a:pt x="9" y="8"/>
                  </a:cubicBezTo>
                  <a:cubicBezTo>
                    <a:pt x="12" y="8"/>
                    <a:pt x="15" y="8"/>
                    <a:pt x="17" y="7"/>
                  </a:cubicBezTo>
                  <a:cubicBezTo>
                    <a:pt x="18" y="6"/>
                    <a:pt x="16" y="3"/>
                    <a:pt x="17" y="2"/>
                  </a:cubicBezTo>
                  <a:cubicBezTo>
                    <a:pt x="19" y="1"/>
                    <a:pt x="23" y="0"/>
                    <a:pt x="25"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6" name="Freeform 726"/>
            <p:cNvSpPr>
              <a:spLocks noChangeAspect="1"/>
            </p:cNvSpPr>
            <p:nvPr/>
          </p:nvSpPr>
          <p:spPr bwMode="auto">
            <a:xfrm>
              <a:off x="5368051" y="702700"/>
              <a:ext cx="35238" cy="12897"/>
            </a:xfrm>
            <a:custGeom>
              <a:avLst/>
              <a:gdLst>
                <a:gd name="T0" fmla="*/ 11642 w 18"/>
                <a:gd name="T1" fmla="*/ 0 h 8"/>
                <a:gd name="T2" fmla="*/ 32985 w 18"/>
                <a:gd name="T3" fmla="*/ 9922 h 8"/>
                <a:gd name="T4" fmla="*/ 27164 w 18"/>
                <a:gd name="T5" fmla="*/ 15875 h 8"/>
                <a:gd name="T6" fmla="*/ 1940 w 18"/>
                <a:gd name="T7" fmla="*/ 15875 h 8"/>
                <a:gd name="T8" fmla="*/ 1940 w 18"/>
                <a:gd name="T9" fmla="*/ 9922 h 8"/>
                <a:gd name="T10" fmla="*/ 11642 w 18"/>
                <a:gd name="T11" fmla="*/ 0 h 8"/>
                <a:gd name="T12" fmla="*/ 0 60000 65536"/>
                <a:gd name="T13" fmla="*/ 0 60000 65536"/>
                <a:gd name="T14" fmla="*/ 0 60000 65536"/>
                <a:gd name="T15" fmla="*/ 0 60000 65536"/>
                <a:gd name="T16" fmla="*/ 0 60000 65536"/>
                <a:gd name="T17" fmla="*/ 0 60000 65536"/>
                <a:gd name="T18" fmla="*/ 0 w 18"/>
                <a:gd name="T19" fmla="*/ 0 h 8"/>
                <a:gd name="T20" fmla="*/ 18 w 18"/>
                <a:gd name="T21" fmla="*/ 8 h 8"/>
              </a:gdLst>
              <a:ahLst/>
              <a:cxnLst>
                <a:cxn ang="T12">
                  <a:pos x="T0" y="T1"/>
                </a:cxn>
                <a:cxn ang="T13">
                  <a:pos x="T2" y="T3"/>
                </a:cxn>
                <a:cxn ang="T14">
                  <a:pos x="T4" y="T5"/>
                </a:cxn>
                <a:cxn ang="T15">
                  <a:pos x="T6" y="T7"/>
                </a:cxn>
                <a:cxn ang="T16">
                  <a:pos x="T8" y="T9"/>
                </a:cxn>
                <a:cxn ang="T17">
                  <a:pos x="T10" y="T11"/>
                </a:cxn>
              </a:cxnLst>
              <a:rect l="T18" t="T19" r="T20" b="T21"/>
              <a:pathLst>
                <a:path w="18" h="8">
                  <a:moveTo>
                    <a:pt x="6" y="0"/>
                  </a:moveTo>
                  <a:cubicBezTo>
                    <a:pt x="10" y="0"/>
                    <a:pt x="14" y="2"/>
                    <a:pt x="17" y="5"/>
                  </a:cubicBezTo>
                  <a:cubicBezTo>
                    <a:pt x="18" y="6"/>
                    <a:pt x="15" y="8"/>
                    <a:pt x="14" y="8"/>
                  </a:cubicBezTo>
                  <a:cubicBezTo>
                    <a:pt x="10" y="8"/>
                    <a:pt x="5" y="8"/>
                    <a:pt x="1" y="8"/>
                  </a:cubicBezTo>
                  <a:cubicBezTo>
                    <a:pt x="0" y="8"/>
                    <a:pt x="0" y="6"/>
                    <a:pt x="1" y="5"/>
                  </a:cubicBezTo>
                  <a:cubicBezTo>
                    <a:pt x="3" y="4"/>
                    <a:pt x="5" y="2"/>
                    <a:pt x="6"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7" name="Freeform 727"/>
            <p:cNvSpPr>
              <a:spLocks noChangeAspect="1"/>
            </p:cNvSpPr>
            <p:nvPr/>
          </p:nvSpPr>
          <p:spPr bwMode="auto">
            <a:xfrm>
              <a:off x="5460950" y="700121"/>
              <a:ext cx="48051" cy="15476"/>
            </a:xfrm>
            <a:custGeom>
              <a:avLst/>
              <a:gdLst>
                <a:gd name="T0" fmla="*/ 3810 w 25"/>
                <a:gd name="T1" fmla="*/ 1905 h 10"/>
                <a:gd name="T2" fmla="*/ 36195 w 25"/>
                <a:gd name="T3" fmla="*/ 1905 h 10"/>
                <a:gd name="T4" fmla="*/ 45720 w 25"/>
                <a:gd name="T5" fmla="*/ 9525 h 10"/>
                <a:gd name="T6" fmla="*/ 32385 w 25"/>
                <a:gd name="T7" fmla="*/ 9525 h 10"/>
                <a:gd name="T8" fmla="*/ 32385 w 25"/>
                <a:gd name="T9" fmla="*/ 17145 h 10"/>
                <a:gd name="T10" fmla="*/ 19050 w 25"/>
                <a:gd name="T11" fmla="*/ 19050 h 10"/>
                <a:gd name="T12" fmla="*/ 5715 w 25"/>
                <a:gd name="T13" fmla="*/ 11430 h 10"/>
                <a:gd name="T14" fmla="*/ 3810 w 25"/>
                <a:gd name="T15" fmla="*/ 1905 h 10"/>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0"/>
                <a:gd name="T26" fmla="*/ 25 w 2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0">
                  <a:moveTo>
                    <a:pt x="2" y="1"/>
                  </a:moveTo>
                  <a:cubicBezTo>
                    <a:pt x="7" y="0"/>
                    <a:pt x="14" y="0"/>
                    <a:pt x="19" y="1"/>
                  </a:cubicBezTo>
                  <a:cubicBezTo>
                    <a:pt x="21" y="1"/>
                    <a:pt x="25" y="3"/>
                    <a:pt x="24" y="5"/>
                  </a:cubicBezTo>
                  <a:cubicBezTo>
                    <a:pt x="23" y="7"/>
                    <a:pt x="19" y="4"/>
                    <a:pt x="17" y="5"/>
                  </a:cubicBezTo>
                  <a:cubicBezTo>
                    <a:pt x="16" y="6"/>
                    <a:pt x="18" y="8"/>
                    <a:pt x="17" y="9"/>
                  </a:cubicBezTo>
                  <a:cubicBezTo>
                    <a:pt x="15" y="8"/>
                    <a:pt x="12" y="9"/>
                    <a:pt x="10" y="10"/>
                  </a:cubicBezTo>
                  <a:cubicBezTo>
                    <a:pt x="7" y="10"/>
                    <a:pt x="4" y="9"/>
                    <a:pt x="3" y="6"/>
                  </a:cubicBezTo>
                  <a:cubicBezTo>
                    <a:pt x="2" y="5"/>
                    <a:pt x="0" y="2"/>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8" name="Freeform 728"/>
            <p:cNvSpPr>
              <a:spLocks noChangeAspect="1"/>
            </p:cNvSpPr>
            <p:nvPr/>
          </p:nvSpPr>
          <p:spPr bwMode="auto">
            <a:xfrm>
              <a:off x="5505797" y="684645"/>
              <a:ext cx="60865" cy="24503"/>
            </a:xfrm>
            <a:custGeom>
              <a:avLst/>
              <a:gdLst>
                <a:gd name="T0" fmla="*/ 21406 w 31"/>
                <a:gd name="T1" fmla="*/ 3770 h 16"/>
                <a:gd name="T2" fmla="*/ 40865 w 31"/>
                <a:gd name="T3" fmla="*/ 3770 h 16"/>
                <a:gd name="T4" fmla="*/ 56433 w 31"/>
                <a:gd name="T5" fmla="*/ 3770 h 16"/>
                <a:gd name="T6" fmla="*/ 56433 w 31"/>
                <a:gd name="T7" fmla="*/ 15081 h 16"/>
                <a:gd name="T8" fmla="*/ 46703 w 31"/>
                <a:gd name="T9" fmla="*/ 28277 h 16"/>
                <a:gd name="T10" fmla="*/ 25298 w 31"/>
                <a:gd name="T11" fmla="*/ 22621 h 16"/>
                <a:gd name="T12" fmla="*/ 9730 w 31"/>
                <a:gd name="T13" fmla="*/ 28277 h 16"/>
                <a:gd name="T14" fmla="*/ 1946 w 31"/>
                <a:gd name="T15" fmla="*/ 20736 h 16"/>
                <a:gd name="T16" fmla="*/ 3892 w 31"/>
                <a:gd name="T17" fmla="*/ 5655 h 16"/>
                <a:gd name="T18" fmla="*/ 21406 w 31"/>
                <a:gd name="T19" fmla="*/ 377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6"/>
                <a:gd name="T32" fmla="*/ 31 w 3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6">
                  <a:moveTo>
                    <a:pt x="11" y="2"/>
                  </a:moveTo>
                  <a:cubicBezTo>
                    <a:pt x="14" y="2"/>
                    <a:pt x="17" y="2"/>
                    <a:pt x="21" y="2"/>
                  </a:cubicBezTo>
                  <a:cubicBezTo>
                    <a:pt x="24" y="2"/>
                    <a:pt x="27" y="0"/>
                    <a:pt x="29" y="2"/>
                  </a:cubicBezTo>
                  <a:cubicBezTo>
                    <a:pt x="31" y="3"/>
                    <a:pt x="30" y="6"/>
                    <a:pt x="29" y="8"/>
                  </a:cubicBezTo>
                  <a:cubicBezTo>
                    <a:pt x="26" y="10"/>
                    <a:pt x="25" y="14"/>
                    <a:pt x="24" y="15"/>
                  </a:cubicBezTo>
                  <a:cubicBezTo>
                    <a:pt x="20" y="16"/>
                    <a:pt x="17" y="12"/>
                    <a:pt x="13" y="12"/>
                  </a:cubicBezTo>
                  <a:cubicBezTo>
                    <a:pt x="10" y="12"/>
                    <a:pt x="8" y="15"/>
                    <a:pt x="5" y="15"/>
                  </a:cubicBezTo>
                  <a:cubicBezTo>
                    <a:pt x="3" y="15"/>
                    <a:pt x="1" y="13"/>
                    <a:pt x="1" y="11"/>
                  </a:cubicBezTo>
                  <a:cubicBezTo>
                    <a:pt x="0" y="8"/>
                    <a:pt x="0" y="5"/>
                    <a:pt x="2" y="3"/>
                  </a:cubicBezTo>
                  <a:cubicBezTo>
                    <a:pt x="4" y="1"/>
                    <a:pt x="8" y="3"/>
                    <a:pt x="1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9" name="Freeform 729"/>
            <p:cNvSpPr>
              <a:spLocks noChangeAspect="1"/>
            </p:cNvSpPr>
            <p:nvPr/>
          </p:nvSpPr>
          <p:spPr bwMode="auto">
            <a:xfrm>
              <a:off x="5438525" y="706569"/>
              <a:ext cx="27229" cy="14187"/>
            </a:xfrm>
            <a:custGeom>
              <a:avLst/>
              <a:gdLst>
                <a:gd name="T0" fmla="*/ 1928 w 14"/>
                <a:gd name="T1" fmla="*/ 1940 h 9"/>
                <a:gd name="T2" fmla="*/ 1928 w 14"/>
                <a:gd name="T3" fmla="*/ 11642 h 9"/>
                <a:gd name="T4" fmla="*/ 23132 w 14"/>
                <a:gd name="T5" fmla="*/ 15523 h 9"/>
                <a:gd name="T6" fmla="*/ 23132 w 14"/>
                <a:gd name="T7" fmla="*/ 1940 h 9"/>
                <a:gd name="T8" fmla="*/ 1928 w 14"/>
                <a:gd name="T9" fmla="*/ 194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1" y="1"/>
                  </a:moveTo>
                  <a:cubicBezTo>
                    <a:pt x="1" y="1"/>
                    <a:pt x="0" y="5"/>
                    <a:pt x="1" y="6"/>
                  </a:cubicBezTo>
                  <a:cubicBezTo>
                    <a:pt x="4" y="8"/>
                    <a:pt x="8" y="9"/>
                    <a:pt x="12" y="8"/>
                  </a:cubicBezTo>
                  <a:cubicBezTo>
                    <a:pt x="14" y="7"/>
                    <a:pt x="14" y="2"/>
                    <a:pt x="12" y="1"/>
                  </a:cubicBezTo>
                  <a:cubicBezTo>
                    <a:pt x="9" y="0"/>
                    <a:pt x="4"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0" name="Freeform 730"/>
            <p:cNvSpPr>
              <a:spLocks noChangeAspect="1"/>
            </p:cNvSpPr>
            <p:nvPr/>
          </p:nvSpPr>
          <p:spPr bwMode="auto">
            <a:xfrm>
              <a:off x="5404890" y="675617"/>
              <a:ext cx="68874" cy="15476"/>
            </a:xfrm>
            <a:custGeom>
              <a:avLst/>
              <a:gdLst>
                <a:gd name="T0" fmla="*/ 5689 w 36"/>
                <a:gd name="T1" fmla="*/ 1905 h 10"/>
                <a:gd name="T2" fmla="*/ 1896 w 36"/>
                <a:gd name="T3" fmla="*/ 7620 h 10"/>
                <a:gd name="T4" fmla="*/ 13273 w 36"/>
                <a:gd name="T5" fmla="*/ 11430 h 10"/>
                <a:gd name="T6" fmla="*/ 28443 w 36"/>
                <a:gd name="T7" fmla="*/ 13335 h 10"/>
                <a:gd name="T8" fmla="*/ 45509 w 36"/>
                <a:gd name="T9" fmla="*/ 15240 h 10"/>
                <a:gd name="T10" fmla="*/ 54990 w 36"/>
                <a:gd name="T11" fmla="*/ 17145 h 10"/>
                <a:gd name="T12" fmla="*/ 62574 w 36"/>
                <a:gd name="T13" fmla="*/ 19050 h 10"/>
                <a:gd name="T14" fmla="*/ 66367 w 36"/>
                <a:gd name="T15" fmla="*/ 15240 h 10"/>
                <a:gd name="T16" fmla="*/ 51197 w 36"/>
                <a:gd name="T17" fmla="*/ 9525 h 10"/>
                <a:gd name="T18" fmla="*/ 34132 w 36"/>
                <a:gd name="T19" fmla="*/ 5715 h 10"/>
                <a:gd name="T20" fmla="*/ 24651 w 36"/>
                <a:gd name="T21" fmla="*/ 7620 h 10"/>
                <a:gd name="T22" fmla="*/ 13273 w 36"/>
                <a:gd name="T23" fmla="*/ 1905 h 10"/>
                <a:gd name="T24" fmla="*/ 5689 w 36"/>
                <a:gd name="T25" fmla="*/ 1905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10"/>
                <a:gd name="T41" fmla="*/ 36 w 36"/>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10">
                  <a:moveTo>
                    <a:pt x="3" y="1"/>
                  </a:moveTo>
                  <a:cubicBezTo>
                    <a:pt x="2" y="1"/>
                    <a:pt x="0" y="3"/>
                    <a:pt x="1" y="4"/>
                  </a:cubicBezTo>
                  <a:cubicBezTo>
                    <a:pt x="2" y="5"/>
                    <a:pt x="5" y="5"/>
                    <a:pt x="7" y="6"/>
                  </a:cubicBezTo>
                  <a:cubicBezTo>
                    <a:pt x="10" y="7"/>
                    <a:pt x="12" y="7"/>
                    <a:pt x="15" y="7"/>
                  </a:cubicBezTo>
                  <a:cubicBezTo>
                    <a:pt x="18" y="8"/>
                    <a:pt x="21" y="8"/>
                    <a:pt x="24" y="8"/>
                  </a:cubicBezTo>
                  <a:cubicBezTo>
                    <a:pt x="26" y="8"/>
                    <a:pt x="28" y="8"/>
                    <a:pt x="29" y="9"/>
                  </a:cubicBezTo>
                  <a:cubicBezTo>
                    <a:pt x="31" y="9"/>
                    <a:pt x="32" y="10"/>
                    <a:pt x="33" y="10"/>
                  </a:cubicBezTo>
                  <a:cubicBezTo>
                    <a:pt x="34" y="10"/>
                    <a:pt x="36" y="9"/>
                    <a:pt x="35" y="8"/>
                  </a:cubicBezTo>
                  <a:cubicBezTo>
                    <a:pt x="33" y="6"/>
                    <a:pt x="30" y="6"/>
                    <a:pt x="27" y="5"/>
                  </a:cubicBezTo>
                  <a:cubicBezTo>
                    <a:pt x="24" y="4"/>
                    <a:pt x="21" y="3"/>
                    <a:pt x="18" y="3"/>
                  </a:cubicBezTo>
                  <a:cubicBezTo>
                    <a:pt x="17" y="3"/>
                    <a:pt x="15" y="4"/>
                    <a:pt x="13" y="4"/>
                  </a:cubicBezTo>
                  <a:cubicBezTo>
                    <a:pt x="11" y="3"/>
                    <a:pt x="9" y="2"/>
                    <a:pt x="7" y="1"/>
                  </a:cubicBezTo>
                  <a:cubicBezTo>
                    <a:pt x="5" y="1"/>
                    <a:pt x="4" y="0"/>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1" name="Freeform 731"/>
            <p:cNvSpPr>
              <a:spLocks noChangeAspect="1"/>
            </p:cNvSpPr>
            <p:nvPr/>
          </p:nvSpPr>
          <p:spPr bwMode="auto">
            <a:xfrm>
              <a:off x="5395279" y="692383"/>
              <a:ext cx="14416" cy="14186"/>
            </a:xfrm>
            <a:custGeom>
              <a:avLst/>
              <a:gdLst>
                <a:gd name="T0" fmla="*/ 1786 w 8"/>
                <a:gd name="T1" fmla="*/ 1940 h 9"/>
                <a:gd name="T2" fmla="*/ 3572 w 8"/>
                <a:gd name="T3" fmla="*/ 11641 h 9"/>
                <a:gd name="T4" fmla="*/ 12502 w 8"/>
                <a:gd name="T5" fmla="*/ 15522 h 9"/>
                <a:gd name="T6" fmla="*/ 8930 w 8"/>
                <a:gd name="T7" fmla="*/ 3880 h 9"/>
                <a:gd name="T8" fmla="*/ 1786 w 8"/>
                <a:gd name="T9" fmla="*/ 194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1"/>
                  </a:moveTo>
                  <a:cubicBezTo>
                    <a:pt x="0" y="3"/>
                    <a:pt x="1" y="5"/>
                    <a:pt x="2" y="6"/>
                  </a:cubicBezTo>
                  <a:cubicBezTo>
                    <a:pt x="3" y="7"/>
                    <a:pt x="6" y="9"/>
                    <a:pt x="7" y="8"/>
                  </a:cubicBezTo>
                  <a:cubicBezTo>
                    <a:pt x="8" y="6"/>
                    <a:pt x="7" y="3"/>
                    <a:pt x="5" y="2"/>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2" name="Freeform 732"/>
            <p:cNvSpPr>
              <a:spLocks noChangeAspect="1"/>
            </p:cNvSpPr>
            <p:nvPr/>
          </p:nvSpPr>
          <p:spPr bwMode="auto">
            <a:xfrm>
              <a:off x="5505797" y="715597"/>
              <a:ext cx="9610" cy="9027"/>
            </a:xfrm>
            <a:custGeom>
              <a:avLst/>
              <a:gdLst>
                <a:gd name="T0" fmla="*/ 5715 w 5"/>
                <a:gd name="T1" fmla="*/ 0 h 6"/>
                <a:gd name="T2" fmla="*/ 9525 w 5"/>
                <a:gd name="T3" fmla="*/ 7408 h 6"/>
                <a:gd name="T4" fmla="*/ 5715 w 5"/>
                <a:gd name="T5" fmla="*/ 9260 h 6"/>
                <a:gd name="T6" fmla="*/ 0 w 5"/>
                <a:gd name="T7" fmla="*/ 3704 h 6"/>
                <a:gd name="T8" fmla="*/ 571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0"/>
                  </a:moveTo>
                  <a:cubicBezTo>
                    <a:pt x="4" y="1"/>
                    <a:pt x="5" y="3"/>
                    <a:pt x="5" y="4"/>
                  </a:cubicBezTo>
                  <a:cubicBezTo>
                    <a:pt x="5" y="5"/>
                    <a:pt x="4" y="6"/>
                    <a:pt x="3" y="5"/>
                  </a:cubicBezTo>
                  <a:cubicBezTo>
                    <a:pt x="1" y="5"/>
                    <a:pt x="0" y="4"/>
                    <a:pt x="0" y="2"/>
                  </a:cubicBezTo>
                  <a:cubicBezTo>
                    <a:pt x="0" y="1"/>
                    <a:pt x="2" y="0"/>
                    <a:pt x="3"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3" name="Freeform 733"/>
            <p:cNvSpPr>
              <a:spLocks noChangeAspect="1"/>
            </p:cNvSpPr>
            <p:nvPr/>
          </p:nvSpPr>
          <p:spPr bwMode="auto">
            <a:xfrm>
              <a:off x="5398483" y="684645"/>
              <a:ext cx="35238" cy="7738"/>
            </a:xfrm>
            <a:custGeom>
              <a:avLst/>
              <a:gdLst>
                <a:gd name="T0" fmla="*/ 1940 w 18"/>
                <a:gd name="T1" fmla="*/ 1905 h 5"/>
                <a:gd name="T2" fmla="*/ 1940 w 18"/>
                <a:gd name="T3" fmla="*/ 5715 h 5"/>
                <a:gd name="T4" fmla="*/ 27164 w 18"/>
                <a:gd name="T5" fmla="*/ 9525 h 5"/>
                <a:gd name="T6" fmla="*/ 32985 w 18"/>
                <a:gd name="T7" fmla="*/ 7620 h 5"/>
                <a:gd name="T8" fmla="*/ 27164 w 18"/>
                <a:gd name="T9" fmla="*/ 5715 h 5"/>
                <a:gd name="T10" fmla="*/ 9701 w 18"/>
                <a:gd name="T11" fmla="*/ 1905 h 5"/>
                <a:gd name="T12" fmla="*/ 1940 w 18"/>
                <a:gd name="T13" fmla="*/ 1905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1"/>
                  </a:moveTo>
                  <a:cubicBezTo>
                    <a:pt x="0" y="1"/>
                    <a:pt x="0" y="3"/>
                    <a:pt x="1" y="3"/>
                  </a:cubicBezTo>
                  <a:cubicBezTo>
                    <a:pt x="5" y="4"/>
                    <a:pt x="9" y="5"/>
                    <a:pt x="14" y="5"/>
                  </a:cubicBezTo>
                  <a:cubicBezTo>
                    <a:pt x="15" y="5"/>
                    <a:pt x="17" y="5"/>
                    <a:pt x="17" y="4"/>
                  </a:cubicBezTo>
                  <a:cubicBezTo>
                    <a:pt x="18" y="3"/>
                    <a:pt x="15" y="3"/>
                    <a:pt x="14" y="3"/>
                  </a:cubicBezTo>
                  <a:cubicBezTo>
                    <a:pt x="11" y="2"/>
                    <a:pt x="8" y="1"/>
                    <a:pt x="5" y="1"/>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4" name="Freeform 734"/>
            <p:cNvSpPr>
              <a:spLocks noChangeAspect="1"/>
            </p:cNvSpPr>
            <p:nvPr/>
          </p:nvSpPr>
          <p:spPr bwMode="auto">
            <a:xfrm>
              <a:off x="5425712" y="662720"/>
              <a:ext cx="104110" cy="19346"/>
            </a:xfrm>
            <a:custGeom>
              <a:avLst/>
              <a:gdLst>
                <a:gd name="T0" fmla="*/ 1911 w 54"/>
                <a:gd name="T1" fmla="*/ 3969 h 12"/>
                <a:gd name="T2" fmla="*/ 1911 w 54"/>
                <a:gd name="T3" fmla="*/ 9922 h 12"/>
                <a:gd name="T4" fmla="*/ 9554 w 54"/>
                <a:gd name="T5" fmla="*/ 11907 h 12"/>
                <a:gd name="T6" fmla="*/ 19109 w 54"/>
                <a:gd name="T7" fmla="*/ 9922 h 12"/>
                <a:gd name="T8" fmla="*/ 24841 w 54"/>
                <a:gd name="T9" fmla="*/ 11907 h 12"/>
                <a:gd name="T10" fmla="*/ 36307 w 54"/>
                <a:gd name="T11" fmla="*/ 11907 h 12"/>
                <a:gd name="T12" fmla="*/ 45861 w 54"/>
                <a:gd name="T13" fmla="*/ 15875 h 12"/>
                <a:gd name="T14" fmla="*/ 57326 w 54"/>
                <a:gd name="T15" fmla="*/ 21829 h 12"/>
                <a:gd name="T16" fmla="*/ 72613 w 54"/>
                <a:gd name="T17" fmla="*/ 21829 h 12"/>
                <a:gd name="T18" fmla="*/ 91722 w 54"/>
                <a:gd name="T19" fmla="*/ 21829 h 12"/>
                <a:gd name="T20" fmla="*/ 103187 w 54"/>
                <a:gd name="T21" fmla="*/ 17860 h 12"/>
                <a:gd name="T22" fmla="*/ 87900 w 54"/>
                <a:gd name="T23" fmla="*/ 9922 h 12"/>
                <a:gd name="T24" fmla="*/ 68791 w 54"/>
                <a:gd name="T25" fmla="*/ 9922 h 12"/>
                <a:gd name="T26" fmla="*/ 43950 w 54"/>
                <a:gd name="T27" fmla="*/ 1984 h 12"/>
                <a:gd name="T28" fmla="*/ 26752 w 54"/>
                <a:gd name="T29" fmla="*/ 1984 h 12"/>
                <a:gd name="T30" fmla="*/ 17198 w 54"/>
                <a:gd name="T31" fmla="*/ 0 h 12"/>
                <a:gd name="T32" fmla="*/ 15287 w 54"/>
                <a:gd name="T33" fmla="*/ 5953 h 12"/>
                <a:gd name="T34" fmla="*/ 7643 w 54"/>
                <a:gd name="T35" fmla="*/ 3969 h 12"/>
                <a:gd name="T36" fmla="*/ 1911 w 54"/>
                <a:gd name="T37" fmla="*/ 3969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12"/>
                <a:gd name="T59" fmla="*/ 54 w 54"/>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12">
                  <a:moveTo>
                    <a:pt x="1" y="2"/>
                  </a:moveTo>
                  <a:cubicBezTo>
                    <a:pt x="0" y="2"/>
                    <a:pt x="0" y="4"/>
                    <a:pt x="1" y="5"/>
                  </a:cubicBezTo>
                  <a:cubicBezTo>
                    <a:pt x="2" y="6"/>
                    <a:pt x="4" y="6"/>
                    <a:pt x="5" y="6"/>
                  </a:cubicBezTo>
                  <a:cubicBezTo>
                    <a:pt x="7" y="6"/>
                    <a:pt x="8" y="5"/>
                    <a:pt x="10" y="5"/>
                  </a:cubicBezTo>
                  <a:cubicBezTo>
                    <a:pt x="11" y="5"/>
                    <a:pt x="12" y="6"/>
                    <a:pt x="13" y="6"/>
                  </a:cubicBezTo>
                  <a:cubicBezTo>
                    <a:pt x="15" y="6"/>
                    <a:pt x="17" y="6"/>
                    <a:pt x="19" y="6"/>
                  </a:cubicBezTo>
                  <a:cubicBezTo>
                    <a:pt x="20" y="6"/>
                    <a:pt x="22" y="7"/>
                    <a:pt x="24" y="8"/>
                  </a:cubicBezTo>
                  <a:cubicBezTo>
                    <a:pt x="26" y="9"/>
                    <a:pt x="28" y="10"/>
                    <a:pt x="30" y="11"/>
                  </a:cubicBezTo>
                  <a:cubicBezTo>
                    <a:pt x="33" y="11"/>
                    <a:pt x="35" y="10"/>
                    <a:pt x="38" y="11"/>
                  </a:cubicBezTo>
                  <a:cubicBezTo>
                    <a:pt x="41" y="11"/>
                    <a:pt x="45" y="12"/>
                    <a:pt x="48" y="11"/>
                  </a:cubicBezTo>
                  <a:cubicBezTo>
                    <a:pt x="50" y="11"/>
                    <a:pt x="54" y="11"/>
                    <a:pt x="54" y="9"/>
                  </a:cubicBezTo>
                  <a:cubicBezTo>
                    <a:pt x="53" y="6"/>
                    <a:pt x="49" y="6"/>
                    <a:pt x="46" y="5"/>
                  </a:cubicBezTo>
                  <a:cubicBezTo>
                    <a:pt x="43" y="4"/>
                    <a:pt x="39" y="5"/>
                    <a:pt x="36" y="5"/>
                  </a:cubicBezTo>
                  <a:cubicBezTo>
                    <a:pt x="31" y="4"/>
                    <a:pt x="27" y="2"/>
                    <a:pt x="23" y="1"/>
                  </a:cubicBezTo>
                  <a:cubicBezTo>
                    <a:pt x="20" y="1"/>
                    <a:pt x="17" y="1"/>
                    <a:pt x="14" y="1"/>
                  </a:cubicBezTo>
                  <a:cubicBezTo>
                    <a:pt x="12" y="1"/>
                    <a:pt x="10" y="0"/>
                    <a:pt x="9" y="0"/>
                  </a:cubicBezTo>
                  <a:cubicBezTo>
                    <a:pt x="8" y="0"/>
                    <a:pt x="9" y="2"/>
                    <a:pt x="8" y="3"/>
                  </a:cubicBezTo>
                  <a:cubicBezTo>
                    <a:pt x="7" y="3"/>
                    <a:pt x="6" y="3"/>
                    <a:pt x="4" y="2"/>
                  </a:cubicBezTo>
                  <a:cubicBezTo>
                    <a:pt x="3" y="2"/>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5" name="Freeform 735"/>
            <p:cNvSpPr>
              <a:spLocks noChangeAspect="1"/>
            </p:cNvSpPr>
            <p:nvPr/>
          </p:nvSpPr>
          <p:spPr bwMode="auto">
            <a:xfrm>
              <a:off x="5558654" y="651114"/>
              <a:ext cx="28831" cy="9027"/>
            </a:xfrm>
            <a:custGeom>
              <a:avLst/>
              <a:gdLst>
                <a:gd name="T0" fmla="*/ 15240 w 15"/>
                <a:gd name="T1" fmla="*/ 1852 h 6"/>
                <a:gd name="T2" fmla="*/ 11430 w 15"/>
                <a:gd name="T3" fmla="*/ 3704 h 6"/>
                <a:gd name="T4" fmla="*/ 1905 w 15"/>
                <a:gd name="T5" fmla="*/ 3704 h 6"/>
                <a:gd name="T6" fmla="*/ 9525 w 15"/>
                <a:gd name="T7" fmla="*/ 7408 h 6"/>
                <a:gd name="T8" fmla="*/ 17145 w 15"/>
                <a:gd name="T9" fmla="*/ 11112 h 6"/>
                <a:gd name="T10" fmla="*/ 26670 w 15"/>
                <a:gd name="T11" fmla="*/ 5556 h 6"/>
                <a:gd name="T12" fmla="*/ 22860 w 15"/>
                <a:gd name="T13" fmla="*/ 0 h 6"/>
                <a:gd name="T14" fmla="*/ 15240 w 15"/>
                <a:gd name="T15" fmla="*/ 1852 h 6"/>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6"/>
                <a:gd name="T26" fmla="*/ 15 w 15"/>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6">
                  <a:moveTo>
                    <a:pt x="8" y="1"/>
                  </a:moveTo>
                  <a:cubicBezTo>
                    <a:pt x="7" y="2"/>
                    <a:pt x="7" y="2"/>
                    <a:pt x="6" y="2"/>
                  </a:cubicBezTo>
                  <a:cubicBezTo>
                    <a:pt x="4" y="2"/>
                    <a:pt x="2" y="1"/>
                    <a:pt x="1" y="2"/>
                  </a:cubicBezTo>
                  <a:cubicBezTo>
                    <a:pt x="0" y="4"/>
                    <a:pt x="3" y="3"/>
                    <a:pt x="5" y="4"/>
                  </a:cubicBezTo>
                  <a:cubicBezTo>
                    <a:pt x="6" y="5"/>
                    <a:pt x="7" y="6"/>
                    <a:pt x="9" y="6"/>
                  </a:cubicBezTo>
                  <a:cubicBezTo>
                    <a:pt x="11" y="6"/>
                    <a:pt x="13" y="5"/>
                    <a:pt x="14" y="3"/>
                  </a:cubicBezTo>
                  <a:cubicBezTo>
                    <a:pt x="15" y="2"/>
                    <a:pt x="13" y="0"/>
                    <a:pt x="12" y="0"/>
                  </a:cubicBezTo>
                  <a:cubicBezTo>
                    <a:pt x="10" y="0"/>
                    <a:pt x="9" y="1"/>
                    <a:pt x="8"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6" name="Freeform 736"/>
            <p:cNvSpPr>
              <a:spLocks noChangeAspect="1"/>
            </p:cNvSpPr>
            <p:nvPr/>
          </p:nvSpPr>
          <p:spPr bwMode="auto">
            <a:xfrm>
              <a:off x="5529824" y="669169"/>
              <a:ext cx="32034" cy="16766"/>
            </a:xfrm>
            <a:custGeom>
              <a:avLst/>
              <a:gdLst>
                <a:gd name="T0" fmla="*/ 1868 w 17"/>
                <a:gd name="T1" fmla="*/ 16885 h 11"/>
                <a:gd name="T2" fmla="*/ 9338 w 17"/>
                <a:gd name="T3" fmla="*/ 11257 h 11"/>
                <a:gd name="T4" fmla="*/ 14941 w 17"/>
                <a:gd name="T5" fmla="*/ 1876 h 11"/>
                <a:gd name="T6" fmla="*/ 28015 w 17"/>
                <a:gd name="T7" fmla="*/ 1876 h 11"/>
                <a:gd name="T8" fmla="*/ 22412 w 17"/>
                <a:gd name="T9" fmla="*/ 7504 h 11"/>
                <a:gd name="T10" fmla="*/ 16809 w 17"/>
                <a:gd name="T11" fmla="*/ 15009 h 11"/>
                <a:gd name="T12" fmla="*/ 11206 w 17"/>
                <a:gd name="T13" fmla="*/ 18761 h 11"/>
                <a:gd name="T14" fmla="*/ 1868 w 17"/>
                <a:gd name="T15" fmla="*/ 16885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 y="9"/>
                  </a:moveTo>
                  <a:cubicBezTo>
                    <a:pt x="0" y="8"/>
                    <a:pt x="4" y="7"/>
                    <a:pt x="5" y="6"/>
                  </a:cubicBezTo>
                  <a:cubicBezTo>
                    <a:pt x="6" y="5"/>
                    <a:pt x="6" y="2"/>
                    <a:pt x="8" y="1"/>
                  </a:cubicBezTo>
                  <a:cubicBezTo>
                    <a:pt x="10" y="0"/>
                    <a:pt x="13" y="0"/>
                    <a:pt x="15" y="1"/>
                  </a:cubicBezTo>
                  <a:cubicBezTo>
                    <a:pt x="17" y="2"/>
                    <a:pt x="13" y="3"/>
                    <a:pt x="12" y="4"/>
                  </a:cubicBezTo>
                  <a:cubicBezTo>
                    <a:pt x="11" y="6"/>
                    <a:pt x="10" y="7"/>
                    <a:pt x="9" y="8"/>
                  </a:cubicBezTo>
                  <a:cubicBezTo>
                    <a:pt x="8" y="9"/>
                    <a:pt x="7" y="10"/>
                    <a:pt x="6" y="10"/>
                  </a:cubicBezTo>
                  <a:cubicBezTo>
                    <a:pt x="4" y="10"/>
                    <a:pt x="1" y="11"/>
                    <a:pt x="1"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7" name="Freeform 737"/>
            <p:cNvSpPr>
              <a:spLocks noChangeAspect="1"/>
            </p:cNvSpPr>
            <p:nvPr/>
          </p:nvSpPr>
          <p:spPr bwMode="auto">
            <a:xfrm>
              <a:off x="5435323" y="691093"/>
              <a:ext cx="22424" cy="6449"/>
            </a:xfrm>
            <a:custGeom>
              <a:avLst/>
              <a:gdLst>
                <a:gd name="T0" fmla="*/ 1852 w 12"/>
                <a:gd name="T1" fmla="*/ 1985 h 4"/>
                <a:gd name="T2" fmla="*/ 1852 w 12"/>
                <a:gd name="T3" fmla="*/ 5953 h 4"/>
                <a:gd name="T4" fmla="*/ 20373 w 12"/>
                <a:gd name="T5" fmla="*/ 5953 h 4"/>
                <a:gd name="T6" fmla="*/ 22225 w 12"/>
                <a:gd name="T7" fmla="*/ 1985 h 4"/>
                <a:gd name="T8" fmla="*/ 9260 w 12"/>
                <a:gd name="T9" fmla="*/ 0 h 4"/>
                <a:gd name="T10" fmla="*/ 1852 w 12"/>
                <a:gd name="T11" fmla="*/ 1985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1"/>
                  </a:moveTo>
                  <a:cubicBezTo>
                    <a:pt x="0" y="1"/>
                    <a:pt x="0" y="3"/>
                    <a:pt x="1" y="3"/>
                  </a:cubicBezTo>
                  <a:cubicBezTo>
                    <a:pt x="4" y="4"/>
                    <a:pt x="7" y="4"/>
                    <a:pt x="11" y="3"/>
                  </a:cubicBezTo>
                  <a:cubicBezTo>
                    <a:pt x="12" y="3"/>
                    <a:pt x="12" y="1"/>
                    <a:pt x="12" y="1"/>
                  </a:cubicBezTo>
                  <a:cubicBezTo>
                    <a:pt x="10" y="0"/>
                    <a:pt x="7" y="0"/>
                    <a:pt x="5" y="0"/>
                  </a:cubicBezTo>
                  <a:cubicBezTo>
                    <a:pt x="3" y="0"/>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8" name="Freeform 738"/>
            <p:cNvSpPr>
              <a:spLocks noChangeAspect="1"/>
            </p:cNvSpPr>
            <p:nvPr/>
          </p:nvSpPr>
          <p:spPr bwMode="auto">
            <a:xfrm>
              <a:off x="5476967" y="684645"/>
              <a:ext cx="19221" cy="7738"/>
            </a:xfrm>
            <a:custGeom>
              <a:avLst/>
              <a:gdLst>
                <a:gd name="T0" fmla="*/ 1905 w 10"/>
                <a:gd name="T1" fmla="*/ 3810 h 5"/>
                <a:gd name="T2" fmla="*/ 0 w 10"/>
                <a:gd name="T3" fmla="*/ 7620 h 5"/>
                <a:gd name="T4" fmla="*/ 11430 w 10"/>
                <a:gd name="T5" fmla="*/ 7620 h 5"/>
                <a:gd name="T6" fmla="*/ 19050 w 10"/>
                <a:gd name="T7" fmla="*/ 5715 h 5"/>
                <a:gd name="T8" fmla="*/ 15240 w 10"/>
                <a:gd name="T9" fmla="*/ 0 h 5"/>
                <a:gd name="T10" fmla="*/ 5715 w 10"/>
                <a:gd name="T11" fmla="*/ 1905 h 5"/>
                <a:gd name="T12" fmla="*/ 1905 w 10"/>
                <a:gd name="T13" fmla="*/ 3810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1" y="2"/>
                  </a:moveTo>
                  <a:cubicBezTo>
                    <a:pt x="0" y="2"/>
                    <a:pt x="0" y="3"/>
                    <a:pt x="0" y="4"/>
                  </a:cubicBezTo>
                  <a:cubicBezTo>
                    <a:pt x="2" y="5"/>
                    <a:pt x="4" y="5"/>
                    <a:pt x="6" y="4"/>
                  </a:cubicBezTo>
                  <a:cubicBezTo>
                    <a:pt x="7" y="4"/>
                    <a:pt x="9" y="4"/>
                    <a:pt x="10" y="3"/>
                  </a:cubicBezTo>
                  <a:cubicBezTo>
                    <a:pt x="10" y="2"/>
                    <a:pt x="9" y="0"/>
                    <a:pt x="8" y="0"/>
                  </a:cubicBezTo>
                  <a:cubicBezTo>
                    <a:pt x="6" y="0"/>
                    <a:pt x="5" y="0"/>
                    <a:pt x="3" y="1"/>
                  </a:cubicBezTo>
                  <a:cubicBezTo>
                    <a:pt x="2" y="1"/>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59" name="Freeform 739"/>
            <p:cNvSpPr>
              <a:spLocks noChangeAspect="1"/>
            </p:cNvSpPr>
            <p:nvPr/>
          </p:nvSpPr>
          <p:spPr bwMode="auto">
            <a:xfrm>
              <a:off x="5443330" y="675617"/>
              <a:ext cx="33637" cy="10318"/>
            </a:xfrm>
            <a:custGeom>
              <a:avLst/>
              <a:gdLst>
                <a:gd name="T0" fmla="*/ 0 w 18"/>
                <a:gd name="T1" fmla="*/ 0 h 7"/>
                <a:gd name="T2" fmla="*/ 0 w 18"/>
                <a:gd name="T3" fmla="*/ 1814 h 7"/>
                <a:gd name="T4" fmla="*/ 20373 w 18"/>
                <a:gd name="T5" fmla="*/ 9071 h 7"/>
                <a:gd name="T6" fmla="*/ 29634 w 18"/>
                <a:gd name="T7" fmla="*/ 12700 h 7"/>
                <a:gd name="T8" fmla="*/ 33338 w 18"/>
                <a:gd name="T9" fmla="*/ 10886 h 7"/>
                <a:gd name="T10" fmla="*/ 16669 w 18"/>
                <a:gd name="T11" fmla="*/ 3629 h 7"/>
                <a:gd name="T12" fmla="*/ 0 w 18"/>
                <a:gd name="T13" fmla="*/ 0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0" y="0"/>
                  </a:moveTo>
                  <a:cubicBezTo>
                    <a:pt x="0" y="0"/>
                    <a:pt x="0" y="1"/>
                    <a:pt x="0" y="1"/>
                  </a:cubicBezTo>
                  <a:cubicBezTo>
                    <a:pt x="4" y="3"/>
                    <a:pt x="8" y="3"/>
                    <a:pt x="11" y="5"/>
                  </a:cubicBezTo>
                  <a:cubicBezTo>
                    <a:pt x="13" y="5"/>
                    <a:pt x="15" y="7"/>
                    <a:pt x="16" y="7"/>
                  </a:cubicBezTo>
                  <a:cubicBezTo>
                    <a:pt x="17" y="7"/>
                    <a:pt x="18" y="6"/>
                    <a:pt x="18" y="6"/>
                  </a:cubicBezTo>
                  <a:cubicBezTo>
                    <a:pt x="15" y="4"/>
                    <a:pt x="12" y="3"/>
                    <a:pt x="9" y="2"/>
                  </a:cubicBezTo>
                  <a:cubicBezTo>
                    <a:pt x="6" y="1"/>
                    <a:pt x="3" y="0"/>
                    <a:pt x="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0" name="Freeform 740"/>
            <p:cNvSpPr>
              <a:spLocks noChangeAspect="1"/>
            </p:cNvSpPr>
            <p:nvPr/>
          </p:nvSpPr>
          <p:spPr bwMode="auto">
            <a:xfrm>
              <a:off x="5259134" y="683355"/>
              <a:ext cx="97704" cy="37401"/>
            </a:xfrm>
            <a:custGeom>
              <a:avLst/>
              <a:gdLst>
                <a:gd name="T0" fmla="*/ 94938 w 51"/>
                <a:gd name="T1" fmla="*/ 9591 h 24"/>
                <a:gd name="T2" fmla="*/ 94938 w 51"/>
                <a:gd name="T3" fmla="*/ 15346 h 24"/>
                <a:gd name="T4" fmla="*/ 83546 w 51"/>
                <a:gd name="T5" fmla="*/ 19183 h 24"/>
                <a:gd name="T6" fmla="*/ 66457 w 51"/>
                <a:gd name="T7" fmla="*/ 19183 h 24"/>
                <a:gd name="T8" fmla="*/ 56963 w 51"/>
                <a:gd name="T9" fmla="*/ 26855 h 24"/>
                <a:gd name="T10" fmla="*/ 41773 w 51"/>
                <a:gd name="T11" fmla="*/ 23019 h 24"/>
                <a:gd name="T12" fmla="*/ 36077 w 51"/>
                <a:gd name="T13" fmla="*/ 28774 h 24"/>
                <a:gd name="T14" fmla="*/ 45570 w 51"/>
                <a:gd name="T15" fmla="*/ 36447 h 24"/>
                <a:gd name="T16" fmla="*/ 36077 w 51"/>
                <a:gd name="T17" fmla="*/ 36447 h 24"/>
                <a:gd name="T18" fmla="*/ 28481 w 51"/>
                <a:gd name="T19" fmla="*/ 40283 h 24"/>
                <a:gd name="T20" fmla="*/ 22785 w 51"/>
                <a:gd name="T21" fmla="*/ 40283 h 24"/>
                <a:gd name="T22" fmla="*/ 15190 w 51"/>
                <a:gd name="T23" fmla="*/ 44120 h 24"/>
                <a:gd name="T24" fmla="*/ 20886 w 51"/>
                <a:gd name="T25" fmla="*/ 34529 h 24"/>
                <a:gd name="T26" fmla="*/ 22785 w 51"/>
                <a:gd name="T27" fmla="*/ 30692 h 24"/>
                <a:gd name="T28" fmla="*/ 11393 w 51"/>
                <a:gd name="T29" fmla="*/ 32610 h 24"/>
                <a:gd name="T30" fmla="*/ 7595 w 51"/>
                <a:gd name="T31" fmla="*/ 40283 h 24"/>
                <a:gd name="T32" fmla="*/ 0 w 51"/>
                <a:gd name="T33" fmla="*/ 30692 h 24"/>
                <a:gd name="T34" fmla="*/ 5696 w 51"/>
                <a:gd name="T35" fmla="*/ 24937 h 24"/>
                <a:gd name="T36" fmla="*/ 11393 w 51"/>
                <a:gd name="T37" fmla="*/ 28774 h 24"/>
                <a:gd name="T38" fmla="*/ 22785 w 51"/>
                <a:gd name="T39" fmla="*/ 26855 h 24"/>
                <a:gd name="T40" fmla="*/ 17089 w 51"/>
                <a:gd name="T41" fmla="*/ 23019 h 24"/>
                <a:gd name="T42" fmla="*/ 22785 w 51"/>
                <a:gd name="T43" fmla="*/ 21101 h 24"/>
                <a:gd name="T44" fmla="*/ 17089 w 51"/>
                <a:gd name="T45" fmla="*/ 19183 h 24"/>
                <a:gd name="T46" fmla="*/ 26583 w 51"/>
                <a:gd name="T47" fmla="*/ 15346 h 24"/>
                <a:gd name="T48" fmla="*/ 34178 w 51"/>
                <a:gd name="T49" fmla="*/ 19183 h 24"/>
                <a:gd name="T50" fmla="*/ 43672 w 51"/>
                <a:gd name="T51" fmla="*/ 15346 h 24"/>
                <a:gd name="T52" fmla="*/ 45570 w 51"/>
                <a:gd name="T53" fmla="*/ 11510 h 24"/>
                <a:gd name="T54" fmla="*/ 39874 w 51"/>
                <a:gd name="T55" fmla="*/ 7673 h 24"/>
                <a:gd name="T56" fmla="*/ 41773 w 51"/>
                <a:gd name="T57" fmla="*/ 3837 h 24"/>
                <a:gd name="T58" fmla="*/ 60760 w 51"/>
                <a:gd name="T59" fmla="*/ 0 h 24"/>
                <a:gd name="T60" fmla="*/ 66457 w 51"/>
                <a:gd name="T61" fmla="*/ 3837 h 24"/>
                <a:gd name="T62" fmla="*/ 74052 w 51"/>
                <a:gd name="T63" fmla="*/ 1918 h 24"/>
                <a:gd name="T64" fmla="*/ 75951 w 51"/>
                <a:gd name="T65" fmla="*/ 3837 h 24"/>
                <a:gd name="T66" fmla="*/ 64558 w 51"/>
                <a:gd name="T67" fmla="*/ 9591 h 24"/>
                <a:gd name="T68" fmla="*/ 66457 w 51"/>
                <a:gd name="T69" fmla="*/ 11510 h 24"/>
                <a:gd name="T70" fmla="*/ 81647 w 51"/>
                <a:gd name="T71" fmla="*/ 7673 h 24"/>
                <a:gd name="T72" fmla="*/ 94938 w 51"/>
                <a:gd name="T73" fmla="*/ 9591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24"/>
                <a:gd name="T113" fmla="*/ 51 w 51"/>
                <a:gd name="T114" fmla="*/ 24 h 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24">
                  <a:moveTo>
                    <a:pt x="50" y="5"/>
                  </a:moveTo>
                  <a:cubicBezTo>
                    <a:pt x="51" y="6"/>
                    <a:pt x="51" y="8"/>
                    <a:pt x="50" y="8"/>
                  </a:cubicBezTo>
                  <a:cubicBezTo>
                    <a:pt x="48" y="9"/>
                    <a:pt x="46" y="10"/>
                    <a:pt x="44" y="10"/>
                  </a:cubicBezTo>
                  <a:cubicBezTo>
                    <a:pt x="41" y="10"/>
                    <a:pt x="38" y="9"/>
                    <a:pt x="35" y="10"/>
                  </a:cubicBezTo>
                  <a:cubicBezTo>
                    <a:pt x="33" y="11"/>
                    <a:pt x="32" y="14"/>
                    <a:pt x="30" y="14"/>
                  </a:cubicBezTo>
                  <a:cubicBezTo>
                    <a:pt x="27" y="14"/>
                    <a:pt x="25" y="12"/>
                    <a:pt x="22" y="12"/>
                  </a:cubicBezTo>
                  <a:cubicBezTo>
                    <a:pt x="21" y="13"/>
                    <a:pt x="18" y="14"/>
                    <a:pt x="19" y="15"/>
                  </a:cubicBezTo>
                  <a:cubicBezTo>
                    <a:pt x="19" y="17"/>
                    <a:pt x="24" y="17"/>
                    <a:pt x="24" y="19"/>
                  </a:cubicBezTo>
                  <a:cubicBezTo>
                    <a:pt x="24" y="20"/>
                    <a:pt x="20" y="19"/>
                    <a:pt x="19" y="19"/>
                  </a:cubicBezTo>
                  <a:cubicBezTo>
                    <a:pt x="18" y="20"/>
                    <a:pt x="16" y="21"/>
                    <a:pt x="15" y="21"/>
                  </a:cubicBezTo>
                  <a:cubicBezTo>
                    <a:pt x="14" y="21"/>
                    <a:pt x="13" y="21"/>
                    <a:pt x="12" y="21"/>
                  </a:cubicBezTo>
                  <a:cubicBezTo>
                    <a:pt x="10" y="21"/>
                    <a:pt x="8" y="24"/>
                    <a:pt x="8" y="23"/>
                  </a:cubicBezTo>
                  <a:cubicBezTo>
                    <a:pt x="7" y="21"/>
                    <a:pt x="10" y="19"/>
                    <a:pt x="11" y="18"/>
                  </a:cubicBezTo>
                  <a:cubicBezTo>
                    <a:pt x="11" y="17"/>
                    <a:pt x="13" y="16"/>
                    <a:pt x="12" y="16"/>
                  </a:cubicBezTo>
                  <a:cubicBezTo>
                    <a:pt x="10" y="16"/>
                    <a:pt x="8" y="16"/>
                    <a:pt x="6" y="17"/>
                  </a:cubicBezTo>
                  <a:cubicBezTo>
                    <a:pt x="5" y="18"/>
                    <a:pt x="5" y="21"/>
                    <a:pt x="4" y="21"/>
                  </a:cubicBezTo>
                  <a:cubicBezTo>
                    <a:pt x="2" y="21"/>
                    <a:pt x="0" y="18"/>
                    <a:pt x="0" y="16"/>
                  </a:cubicBezTo>
                  <a:cubicBezTo>
                    <a:pt x="0" y="15"/>
                    <a:pt x="2" y="13"/>
                    <a:pt x="3" y="13"/>
                  </a:cubicBezTo>
                  <a:cubicBezTo>
                    <a:pt x="4" y="13"/>
                    <a:pt x="5" y="14"/>
                    <a:pt x="6" y="15"/>
                  </a:cubicBezTo>
                  <a:cubicBezTo>
                    <a:pt x="8" y="15"/>
                    <a:pt x="10" y="15"/>
                    <a:pt x="12" y="14"/>
                  </a:cubicBezTo>
                  <a:cubicBezTo>
                    <a:pt x="13" y="13"/>
                    <a:pt x="9" y="13"/>
                    <a:pt x="9" y="12"/>
                  </a:cubicBezTo>
                  <a:cubicBezTo>
                    <a:pt x="9" y="11"/>
                    <a:pt x="12" y="12"/>
                    <a:pt x="12" y="11"/>
                  </a:cubicBezTo>
                  <a:cubicBezTo>
                    <a:pt x="11" y="10"/>
                    <a:pt x="8" y="10"/>
                    <a:pt x="9" y="10"/>
                  </a:cubicBezTo>
                  <a:cubicBezTo>
                    <a:pt x="10" y="8"/>
                    <a:pt x="12" y="8"/>
                    <a:pt x="14" y="8"/>
                  </a:cubicBezTo>
                  <a:cubicBezTo>
                    <a:pt x="15" y="8"/>
                    <a:pt x="16" y="10"/>
                    <a:pt x="18" y="10"/>
                  </a:cubicBezTo>
                  <a:cubicBezTo>
                    <a:pt x="20" y="10"/>
                    <a:pt x="22" y="10"/>
                    <a:pt x="23" y="8"/>
                  </a:cubicBezTo>
                  <a:cubicBezTo>
                    <a:pt x="24" y="8"/>
                    <a:pt x="24" y="7"/>
                    <a:pt x="24" y="6"/>
                  </a:cubicBezTo>
                  <a:cubicBezTo>
                    <a:pt x="24" y="5"/>
                    <a:pt x="22" y="5"/>
                    <a:pt x="21" y="4"/>
                  </a:cubicBezTo>
                  <a:cubicBezTo>
                    <a:pt x="21" y="3"/>
                    <a:pt x="22" y="2"/>
                    <a:pt x="22" y="2"/>
                  </a:cubicBezTo>
                  <a:cubicBezTo>
                    <a:pt x="25" y="1"/>
                    <a:pt x="29" y="0"/>
                    <a:pt x="32" y="0"/>
                  </a:cubicBezTo>
                  <a:cubicBezTo>
                    <a:pt x="33" y="0"/>
                    <a:pt x="34" y="2"/>
                    <a:pt x="35" y="2"/>
                  </a:cubicBezTo>
                  <a:cubicBezTo>
                    <a:pt x="36" y="2"/>
                    <a:pt x="37" y="1"/>
                    <a:pt x="39" y="1"/>
                  </a:cubicBezTo>
                  <a:cubicBezTo>
                    <a:pt x="39" y="1"/>
                    <a:pt x="40" y="2"/>
                    <a:pt x="40" y="2"/>
                  </a:cubicBezTo>
                  <a:cubicBezTo>
                    <a:pt x="38" y="4"/>
                    <a:pt x="35" y="3"/>
                    <a:pt x="34" y="5"/>
                  </a:cubicBezTo>
                  <a:cubicBezTo>
                    <a:pt x="33" y="5"/>
                    <a:pt x="34" y="6"/>
                    <a:pt x="35" y="6"/>
                  </a:cubicBezTo>
                  <a:cubicBezTo>
                    <a:pt x="37" y="6"/>
                    <a:pt x="40" y="4"/>
                    <a:pt x="43" y="4"/>
                  </a:cubicBezTo>
                  <a:cubicBezTo>
                    <a:pt x="45" y="4"/>
                    <a:pt x="48" y="4"/>
                    <a:pt x="50"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1" name="Freeform 741"/>
            <p:cNvSpPr>
              <a:spLocks noChangeAspect="1"/>
            </p:cNvSpPr>
            <p:nvPr/>
          </p:nvSpPr>
          <p:spPr bwMode="auto">
            <a:xfrm>
              <a:off x="5220693" y="684645"/>
              <a:ext cx="73679" cy="18056"/>
            </a:xfrm>
            <a:custGeom>
              <a:avLst/>
              <a:gdLst>
                <a:gd name="T0" fmla="*/ 41194 w 39"/>
                <a:gd name="T1" fmla="*/ 0 h 12"/>
                <a:gd name="T2" fmla="*/ 67408 w 39"/>
                <a:gd name="T3" fmla="*/ 1852 h 12"/>
                <a:gd name="T4" fmla="*/ 73025 w 39"/>
                <a:gd name="T5" fmla="*/ 9260 h 12"/>
                <a:gd name="T6" fmla="*/ 65535 w 39"/>
                <a:gd name="T7" fmla="*/ 9260 h 12"/>
                <a:gd name="T8" fmla="*/ 52428 w 39"/>
                <a:gd name="T9" fmla="*/ 5556 h 12"/>
                <a:gd name="T10" fmla="*/ 46811 w 39"/>
                <a:gd name="T11" fmla="*/ 12965 h 12"/>
                <a:gd name="T12" fmla="*/ 39321 w 39"/>
                <a:gd name="T13" fmla="*/ 11113 h 12"/>
                <a:gd name="T14" fmla="*/ 28087 w 39"/>
                <a:gd name="T15" fmla="*/ 20373 h 12"/>
                <a:gd name="T16" fmla="*/ 20597 w 39"/>
                <a:gd name="T17" fmla="*/ 22225 h 12"/>
                <a:gd name="T18" fmla="*/ 18724 w 39"/>
                <a:gd name="T19" fmla="*/ 18521 h 12"/>
                <a:gd name="T20" fmla="*/ 11235 w 39"/>
                <a:gd name="T21" fmla="*/ 16669 h 12"/>
                <a:gd name="T22" fmla="*/ 1872 w 39"/>
                <a:gd name="T23" fmla="*/ 16669 h 12"/>
                <a:gd name="T24" fmla="*/ 5617 w 39"/>
                <a:gd name="T25" fmla="*/ 12965 h 12"/>
                <a:gd name="T26" fmla="*/ 24342 w 39"/>
                <a:gd name="T27" fmla="*/ 12965 h 12"/>
                <a:gd name="T28" fmla="*/ 35576 w 39"/>
                <a:gd name="T29" fmla="*/ 5556 h 12"/>
                <a:gd name="T30" fmla="*/ 41194 w 39"/>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12"/>
                <a:gd name="T50" fmla="*/ 39 w 3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12">
                  <a:moveTo>
                    <a:pt x="22" y="0"/>
                  </a:moveTo>
                  <a:cubicBezTo>
                    <a:pt x="26" y="0"/>
                    <a:pt x="31" y="0"/>
                    <a:pt x="36" y="1"/>
                  </a:cubicBezTo>
                  <a:cubicBezTo>
                    <a:pt x="37" y="2"/>
                    <a:pt x="39" y="3"/>
                    <a:pt x="39" y="5"/>
                  </a:cubicBezTo>
                  <a:cubicBezTo>
                    <a:pt x="39" y="6"/>
                    <a:pt x="36" y="6"/>
                    <a:pt x="35" y="5"/>
                  </a:cubicBezTo>
                  <a:cubicBezTo>
                    <a:pt x="32" y="5"/>
                    <a:pt x="30" y="3"/>
                    <a:pt x="28" y="3"/>
                  </a:cubicBezTo>
                  <a:cubicBezTo>
                    <a:pt x="26" y="3"/>
                    <a:pt x="26" y="6"/>
                    <a:pt x="25" y="7"/>
                  </a:cubicBezTo>
                  <a:cubicBezTo>
                    <a:pt x="24" y="7"/>
                    <a:pt x="22" y="6"/>
                    <a:pt x="21" y="6"/>
                  </a:cubicBezTo>
                  <a:cubicBezTo>
                    <a:pt x="19" y="7"/>
                    <a:pt x="17" y="9"/>
                    <a:pt x="15" y="11"/>
                  </a:cubicBezTo>
                  <a:cubicBezTo>
                    <a:pt x="13" y="11"/>
                    <a:pt x="12" y="12"/>
                    <a:pt x="11" y="12"/>
                  </a:cubicBezTo>
                  <a:cubicBezTo>
                    <a:pt x="10" y="12"/>
                    <a:pt x="11" y="10"/>
                    <a:pt x="10" y="10"/>
                  </a:cubicBezTo>
                  <a:cubicBezTo>
                    <a:pt x="9" y="9"/>
                    <a:pt x="7" y="9"/>
                    <a:pt x="6" y="9"/>
                  </a:cubicBezTo>
                  <a:cubicBezTo>
                    <a:pt x="4" y="9"/>
                    <a:pt x="2" y="10"/>
                    <a:pt x="1" y="9"/>
                  </a:cubicBezTo>
                  <a:cubicBezTo>
                    <a:pt x="0" y="8"/>
                    <a:pt x="2" y="7"/>
                    <a:pt x="3" y="7"/>
                  </a:cubicBezTo>
                  <a:cubicBezTo>
                    <a:pt x="7" y="6"/>
                    <a:pt x="10" y="7"/>
                    <a:pt x="13" y="7"/>
                  </a:cubicBezTo>
                  <a:cubicBezTo>
                    <a:pt x="15" y="6"/>
                    <a:pt x="17" y="5"/>
                    <a:pt x="19" y="3"/>
                  </a:cubicBezTo>
                  <a:cubicBezTo>
                    <a:pt x="20" y="2"/>
                    <a:pt x="20" y="1"/>
                    <a:pt x="2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2" name="Freeform 742"/>
            <p:cNvSpPr>
              <a:spLocks noChangeAspect="1"/>
            </p:cNvSpPr>
            <p:nvPr/>
          </p:nvSpPr>
          <p:spPr bwMode="auto">
            <a:xfrm>
              <a:off x="5321600" y="667878"/>
              <a:ext cx="11213" cy="11608"/>
            </a:xfrm>
            <a:custGeom>
              <a:avLst/>
              <a:gdLst>
                <a:gd name="T0" fmla="*/ 3704 w 6"/>
                <a:gd name="T1" fmla="*/ 1786 h 8"/>
                <a:gd name="T2" fmla="*/ 11113 w 6"/>
                <a:gd name="T3" fmla="*/ 5358 h 8"/>
                <a:gd name="T4" fmla="*/ 5557 w 6"/>
                <a:gd name="T5" fmla="*/ 10716 h 8"/>
                <a:gd name="T6" fmla="*/ 3704 w 6"/>
                <a:gd name="T7" fmla="*/ 14288 h 8"/>
                <a:gd name="T8" fmla="*/ 3704 w 6"/>
                <a:gd name="T9" fmla="*/ 1786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2" y="1"/>
                  </a:moveTo>
                  <a:cubicBezTo>
                    <a:pt x="3" y="0"/>
                    <a:pt x="6" y="2"/>
                    <a:pt x="6" y="3"/>
                  </a:cubicBezTo>
                  <a:cubicBezTo>
                    <a:pt x="6" y="5"/>
                    <a:pt x="4" y="5"/>
                    <a:pt x="3" y="6"/>
                  </a:cubicBezTo>
                  <a:cubicBezTo>
                    <a:pt x="3" y="7"/>
                    <a:pt x="2" y="8"/>
                    <a:pt x="2" y="8"/>
                  </a:cubicBezTo>
                  <a:cubicBezTo>
                    <a:pt x="1" y="6"/>
                    <a:pt x="0" y="3"/>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3" name="Freeform 743"/>
            <p:cNvSpPr>
              <a:spLocks noChangeAspect="1"/>
            </p:cNvSpPr>
            <p:nvPr/>
          </p:nvSpPr>
          <p:spPr bwMode="auto">
            <a:xfrm>
              <a:off x="5316796" y="705280"/>
              <a:ext cx="11212" cy="10318"/>
            </a:xfrm>
            <a:custGeom>
              <a:avLst/>
              <a:gdLst>
                <a:gd name="T0" fmla="*/ 0 w 6"/>
                <a:gd name="T1" fmla="*/ 5443 h 7"/>
                <a:gd name="T2" fmla="*/ 5556 w 6"/>
                <a:gd name="T3" fmla="*/ 0 h 7"/>
                <a:gd name="T4" fmla="*/ 11112 w 6"/>
                <a:gd name="T5" fmla="*/ 1814 h 7"/>
                <a:gd name="T6" fmla="*/ 9260 w 6"/>
                <a:gd name="T7" fmla="*/ 10886 h 7"/>
                <a:gd name="T8" fmla="*/ 1852 w 6"/>
                <a:gd name="T9" fmla="*/ 12700 h 7"/>
                <a:gd name="T10" fmla="*/ 0 w 6"/>
                <a:gd name="T11" fmla="*/ 5443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0" y="3"/>
                  </a:moveTo>
                  <a:cubicBezTo>
                    <a:pt x="0" y="2"/>
                    <a:pt x="2" y="1"/>
                    <a:pt x="3" y="0"/>
                  </a:cubicBezTo>
                  <a:cubicBezTo>
                    <a:pt x="4" y="0"/>
                    <a:pt x="6" y="0"/>
                    <a:pt x="6" y="1"/>
                  </a:cubicBezTo>
                  <a:cubicBezTo>
                    <a:pt x="6" y="2"/>
                    <a:pt x="6" y="5"/>
                    <a:pt x="5" y="6"/>
                  </a:cubicBezTo>
                  <a:cubicBezTo>
                    <a:pt x="4" y="7"/>
                    <a:pt x="2" y="7"/>
                    <a:pt x="1" y="7"/>
                  </a:cubicBezTo>
                  <a:cubicBezTo>
                    <a:pt x="0" y="6"/>
                    <a:pt x="0" y="5"/>
                    <a:pt x="0"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4" name="Freeform 744"/>
            <p:cNvSpPr>
              <a:spLocks noChangeAspect="1"/>
            </p:cNvSpPr>
            <p:nvPr/>
          </p:nvSpPr>
          <p:spPr bwMode="auto">
            <a:xfrm>
              <a:off x="5323203" y="713017"/>
              <a:ext cx="33636" cy="12897"/>
            </a:xfrm>
            <a:custGeom>
              <a:avLst/>
              <a:gdLst>
                <a:gd name="T0" fmla="*/ 1961 w 17"/>
                <a:gd name="T1" fmla="*/ 8819 h 9"/>
                <a:gd name="T2" fmla="*/ 7844 w 17"/>
                <a:gd name="T3" fmla="*/ 14111 h 9"/>
                <a:gd name="T4" fmla="*/ 31376 w 17"/>
                <a:gd name="T5" fmla="*/ 14111 h 9"/>
                <a:gd name="T6" fmla="*/ 31376 w 17"/>
                <a:gd name="T7" fmla="*/ 10583 h 9"/>
                <a:gd name="T8" fmla="*/ 25493 w 17"/>
                <a:gd name="T9" fmla="*/ 5292 h 9"/>
                <a:gd name="T10" fmla="*/ 19610 w 17"/>
                <a:gd name="T11" fmla="*/ 1764 h 9"/>
                <a:gd name="T12" fmla="*/ 13727 w 17"/>
                <a:gd name="T13" fmla="*/ 10583 h 9"/>
                <a:gd name="T14" fmla="*/ 1961 w 17"/>
                <a:gd name="T15" fmla="*/ 8819 h 9"/>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9"/>
                <a:gd name="T26" fmla="*/ 17 w 1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9">
                  <a:moveTo>
                    <a:pt x="1" y="5"/>
                  </a:moveTo>
                  <a:cubicBezTo>
                    <a:pt x="0" y="6"/>
                    <a:pt x="3" y="7"/>
                    <a:pt x="4" y="8"/>
                  </a:cubicBezTo>
                  <a:cubicBezTo>
                    <a:pt x="8" y="8"/>
                    <a:pt x="12" y="9"/>
                    <a:pt x="16" y="8"/>
                  </a:cubicBezTo>
                  <a:cubicBezTo>
                    <a:pt x="17" y="8"/>
                    <a:pt x="16" y="7"/>
                    <a:pt x="16" y="6"/>
                  </a:cubicBezTo>
                  <a:cubicBezTo>
                    <a:pt x="15" y="5"/>
                    <a:pt x="14" y="4"/>
                    <a:pt x="13" y="3"/>
                  </a:cubicBezTo>
                  <a:cubicBezTo>
                    <a:pt x="12" y="3"/>
                    <a:pt x="11" y="0"/>
                    <a:pt x="10" y="1"/>
                  </a:cubicBezTo>
                  <a:cubicBezTo>
                    <a:pt x="8" y="2"/>
                    <a:pt x="9" y="5"/>
                    <a:pt x="7" y="6"/>
                  </a:cubicBezTo>
                  <a:cubicBezTo>
                    <a:pt x="5" y="7"/>
                    <a:pt x="3" y="5"/>
                    <a:pt x="1" y="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5" name="Freeform 745"/>
            <p:cNvSpPr>
              <a:spLocks noChangeAspect="1"/>
            </p:cNvSpPr>
            <p:nvPr/>
          </p:nvSpPr>
          <p:spPr bwMode="auto">
            <a:xfrm>
              <a:off x="6950542" y="2772634"/>
              <a:ext cx="19221" cy="14187"/>
            </a:xfrm>
            <a:custGeom>
              <a:avLst/>
              <a:gdLst>
                <a:gd name="T0" fmla="*/ 1905 w 10"/>
                <a:gd name="T1" fmla="*/ 5821 h 9"/>
                <a:gd name="T2" fmla="*/ 11430 w 10"/>
                <a:gd name="T3" fmla="*/ 1940 h 9"/>
                <a:gd name="T4" fmla="*/ 17145 w 10"/>
                <a:gd name="T5" fmla="*/ 13582 h 9"/>
                <a:gd name="T6" fmla="*/ 7620 w 10"/>
                <a:gd name="T7" fmla="*/ 11642 h 9"/>
                <a:gd name="T8" fmla="*/ 1905 w 10"/>
                <a:gd name="T9" fmla="*/ 5821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6" name="Freeform 746"/>
            <p:cNvSpPr>
              <a:spLocks noChangeAspect="1"/>
            </p:cNvSpPr>
            <p:nvPr/>
          </p:nvSpPr>
          <p:spPr bwMode="auto">
            <a:xfrm>
              <a:off x="7285299" y="2660434"/>
              <a:ext cx="120129" cy="88988"/>
            </a:xfrm>
            <a:custGeom>
              <a:avLst/>
              <a:gdLst>
                <a:gd name="T0" fmla="*/ 109614 w 63"/>
                <a:gd name="T1" fmla="*/ 88763 h 58"/>
                <a:gd name="T2" fmla="*/ 109614 w 63"/>
                <a:gd name="T3" fmla="*/ 71766 h 58"/>
                <a:gd name="T4" fmla="*/ 119063 w 63"/>
                <a:gd name="T5" fmla="*/ 60434 h 58"/>
                <a:gd name="T6" fmla="*/ 111503 w 63"/>
                <a:gd name="T7" fmla="*/ 45326 h 58"/>
                <a:gd name="T8" fmla="*/ 109614 w 63"/>
                <a:gd name="T9" fmla="*/ 26440 h 58"/>
                <a:gd name="T10" fmla="*/ 102054 w 63"/>
                <a:gd name="T11" fmla="*/ 26440 h 58"/>
                <a:gd name="T12" fmla="*/ 109614 w 63"/>
                <a:gd name="T13" fmla="*/ 16997 h 58"/>
                <a:gd name="T14" fmla="*/ 102054 w 63"/>
                <a:gd name="T15" fmla="*/ 7554 h 58"/>
                <a:gd name="T16" fmla="*/ 90715 w 63"/>
                <a:gd name="T17" fmla="*/ 1889 h 58"/>
                <a:gd name="T18" fmla="*/ 85045 w 63"/>
                <a:gd name="T19" fmla="*/ 13220 h 58"/>
                <a:gd name="T20" fmla="*/ 77485 w 63"/>
                <a:gd name="T21" fmla="*/ 9443 h 58"/>
                <a:gd name="T22" fmla="*/ 75596 w 63"/>
                <a:gd name="T23" fmla="*/ 15109 h 58"/>
                <a:gd name="T24" fmla="*/ 68036 w 63"/>
                <a:gd name="T25" fmla="*/ 13220 h 58"/>
                <a:gd name="T26" fmla="*/ 64256 w 63"/>
                <a:gd name="T27" fmla="*/ 28329 h 58"/>
                <a:gd name="T28" fmla="*/ 56697 w 63"/>
                <a:gd name="T29" fmla="*/ 26440 h 58"/>
                <a:gd name="T30" fmla="*/ 54807 w 63"/>
                <a:gd name="T31" fmla="*/ 37771 h 58"/>
                <a:gd name="T32" fmla="*/ 43467 w 63"/>
                <a:gd name="T33" fmla="*/ 39660 h 58"/>
                <a:gd name="T34" fmla="*/ 47247 w 63"/>
                <a:gd name="T35" fmla="*/ 28329 h 58"/>
                <a:gd name="T36" fmla="*/ 35908 w 63"/>
                <a:gd name="T37" fmla="*/ 26440 h 58"/>
                <a:gd name="T38" fmla="*/ 26458 w 63"/>
                <a:gd name="T39" fmla="*/ 33994 h 58"/>
                <a:gd name="T40" fmla="*/ 15119 w 63"/>
                <a:gd name="T41" fmla="*/ 39660 h 58"/>
                <a:gd name="T42" fmla="*/ 1890 w 63"/>
                <a:gd name="T43" fmla="*/ 58546 h 58"/>
                <a:gd name="T44" fmla="*/ 3780 w 63"/>
                <a:gd name="T45" fmla="*/ 71766 h 58"/>
                <a:gd name="T46" fmla="*/ 20789 w 63"/>
                <a:gd name="T47" fmla="*/ 49103 h 58"/>
                <a:gd name="T48" fmla="*/ 22679 w 63"/>
                <a:gd name="T49" fmla="*/ 56657 h 58"/>
                <a:gd name="T50" fmla="*/ 30238 w 63"/>
                <a:gd name="T51" fmla="*/ 47214 h 58"/>
                <a:gd name="T52" fmla="*/ 37798 w 63"/>
                <a:gd name="T53" fmla="*/ 56657 h 58"/>
                <a:gd name="T54" fmla="*/ 43467 w 63"/>
                <a:gd name="T55" fmla="*/ 47214 h 58"/>
                <a:gd name="T56" fmla="*/ 60476 w 63"/>
                <a:gd name="T57" fmla="*/ 56657 h 58"/>
                <a:gd name="T58" fmla="*/ 51027 w 63"/>
                <a:gd name="T59" fmla="*/ 67988 h 58"/>
                <a:gd name="T60" fmla="*/ 58587 w 63"/>
                <a:gd name="T61" fmla="*/ 88763 h 58"/>
                <a:gd name="T62" fmla="*/ 77485 w 63"/>
                <a:gd name="T63" fmla="*/ 100094 h 58"/>
                <a:gd name="T64" fmla="*/ 85045 w 63"/>
                <a:gd name="T65" fmla="*/ 92540 h 58"/>
                <a:gd name="T66" fmla="*/ 88825 w 63"/>
                <a:gd name="T67" fmla="*/ 107648 h 58"/>
                <a:gd name="T68" fmla="*/ 96384 w 63"/>
                <a:gd name="T69" fmla="*/ 94428 h 58"/>
                <a:gd name="T70" fmla="*/ 90715 w 63"/>
                <a:gd name="T71" fmla="*/ 81208 h 58"/>
                <a:gd name="T72" fmla="*/ 86935 w 63"/>
                <a:gd name="T73" fmla="*/ 69877 h 58"/>
                <a:gd name="T74" fmla="*/ 98274 w 63"/>
                <a:gd name="T75" fmla="*/ 60434 h 58"/>
                <a:gd name="T76" fmla="*/ 102054 w 63"/>
                <a:gd name="T77" fmla="*/ 81208 h 58"/>
                <a:gd name="T78" fmla="*/ 109614 w 63"/>
                <a:gd name="T79" fmla="*/ 88763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7" name="Freeform 748"/>
            <p:cNvSpPr>
              <a:spLocks noChangeAspect="1"/>
            </p:cNvSpPr>
            <p:nvPr/>
          </p:nvSpPr>
          <p:spPr bwMode="auto">
            <a:xfrm>
              <a:off x="2528215" y="2746841"/>
              <a:ext cx="951417" cy="895037"/>
            </a:xfrm>
            <a:custGeom>
              <a:avLst/>
              <a:gdLst>
                <a:gd name="T0" fmla="*/ 546735 w 495"/>
                <a:gd name="T1" fmla="*/ 1065509 h 578"/>
                <a:gd name="T2" fmla="*/ 502920 w 495"/>
                <a:gd name="T3" fmla="*/ 1035012 h 578"/>
                <a:gd name="T4" fmla="*/ 426720 w 495"/>
                <a:gd name="T5" fmla="*/ 996890 h 578"/>
                <a:gd name="T6" fmla="*/ 508635 w 495"/>
                <a:gd name="T7" fmla="*/ 890148 h 578"/>
                <a:gd name="T8" fmla="*/ 493395 w 495"/>
                <a:gd name="T9" fmla="*/ 832965 h 578"/>
                <a:gd name="T10" fmla="*/ 443865 w 495"/>
                <a:gd name="T11" fmla="*/ 760533 h 578"/>
                <a:gd name="T12" fmla="*/ 394335 w 495"/>
                <a:gd name="T13" fmla="*/ 697632 h 578"/>
                <a:gd name="T14" fmla="*/ 386715 w 495"/>
                <a:gd name="T15" fmla="*/ 598515 h 578"/>
                <a:gd name="T16" fmla="*/ 337185 w 495"/>
                <a:gd name="T17" fmla="*/ 552769 h 578"/>
                <a:gd name="T18" fmla="*/ 278130 w 495"/>
                <a:gd name="T19" fmla="*/ 507022 h 578"/>
                <a:gd name="T20" fmla="*/ 205740 w 495"/>
                <a:gd name="T21" fmla="*/ 436497 h 578"/>
                <a:gd name="T22" fmla="*/ 129540 w 495"/>
                <a:gd name="T23" fmla="*/ 447933 h 578"/>
                <a:gd name="T24" fmla="*/ 80010 w 495"/>
                <a:gd name="T25" fmla="*/ 407905 h 578"/>
                <a:gd name="T26" fmla="*/ 5715 w 495"/>
                <a:gd name="T27" fmla="*/ 379314 h 578"/>
                <a:gd name="T28" fmla="*/ 28575 w 495"/>
                <a:gd name="T29" fmla="*/ 299257 h 578"/>
                <a:gd name="T30" fmla="*/ 97155 w 495"/>
                <a:gd name="T31" fmla="*/ 263042 h 578"/>
                <a:gd name="T32" fmla="*/ 99060 w 495"/>
                <a:gd name="T33" fmla="*/ 123896 h 578"/>
                <a:gd name="T34" fmla="*/ 135255 w 495"/>
                <a:gd name="T35" fmla="*/ 95305 h 578"/>
                <a:gd name="T36" fmla="*/ 167640 w 495"/>
                <a:gd name="T37" fmla="*/ 108648 h 578"/>
                <a:gd name="T38" fmla="*/ 230505 w 495"/>
                <a:gd name="T39" fmla="*/ 106742 h 578"/>
                <a:gd name="T40" fmla="*/ 253365 w 495"/>
                <a:gd name="T41" fmla="*/ 76244 h 578"/>
                <a:gd name="T42" fmla="*/ 234315 w 495"/>
                <a:gd name="T43" fmla="*/ 40028 h 578"/>
                <a:gd name="T44" fmla="*/ 272415 w 495"/>
                <a:gd name="T45" fmla="*/ 34310 h 578"/>
                <a:gd name="T46" fmla="*/ 331470 w 495"/>
                <a:gd name="T47" fmla="*/ 1906 h 578"/>
                <a:gd name="T48" fmla="*/ 350520 w 495"/>
                <a:gd name="T49" fmla="*/ 36216 h 578"/>
                <a:gd name="T50" fmla="*/ 356235 w 495"/>
                <a:gd name="T51" fmla="*/ 99117 h 578"/>
                <a:gd name="T52" fmla="*/ 384810 w 495"/>
                <a:gd name="T53" fmla="*/ 102929 h 578"/>
                <a:gd name="T54" fmla="*/ 428625 w 495"/>
                <a:gd name="T55" fmla="*/ 91493 h 578"/>
                <a:gd name="T56" fmla="*/ 457200 w 495"/>
                <a:gd name="T57" fmla="*/ 72432 h 578"/>
                <a:gd name="T58" fmla="*/ 497205 w 495"/>
                <a:gd name="T59" fmla="*/ 85774 h 578"/>
                <a:gd name="T60" fmla="*/ 542925 w 495"/>
                <a:gd name="T61" fmla="*/ 28591 h 578"/>
                <a:gd name="T62" fmla="*/ 573405 w 495"/>
                <a:gd name="T63" fmla="*/ 97211 h 578"/>
                <a:gd name="T64" fmla="*/ 560070 w 495"/>
                <a:gd name="T65" fmla="*/ 133427 h 578"/>
                <a:gd name="T66" fmla="*/ 491490 w 495"/>
                <a:gd name="T67" fmla="*/ 192516 h 578"/>
                <a:gd name="T68" fmla="*/ 527685 w 495"/>
                <a:gd name="T69" fmla="*/ 207765 h 578"/>
                <a:gd name="T70" fmla="*/ 561975 w 495"/>
                <a:gd name="T71" fmla="*/ 156300 h 578"/>
                <a:gd name="T72" fmla="*/ 607695 w 495"/>
                <a:gd name="T73" fmla="*/ 171549 h 578"/>
                <a:gd name="T74" fmla="*/ 590550 w 495"/>
                <a:gd name="T75" fmla="*/ 194422 h 578"/>
                <a:gd name="T76" fmla="*/ 598170 w 495"/>
                <a:gd name="T77" fmla="*/ 194422 h 578"/>
                <a:gd name="T78" fmla="*/ 661035 w 495"/>
                <a:gd name="T79" fmla="*/ 171549 h 578"/>
                <a:gd name="T80" fmla="*/ 710565 w 495"/>
                <a:gd name="T81" fmla="*/ 203953 h 578"/>
                <a:gd name="T82" fmla="*/ 781050 w 495"/>
                <a:gd name="T83" fmla="*/ 217295 h 578"/>
                <a:gd name="T84" fmla="*/ 880110 w 495"/>
                <a:gd name="T85" fmla="*/ 272572 h 578"/>
                <a:gd name="T86" fmla="*/ 941070 w 495"/>
                <a:gd name="T87" fmla="*/ 337379 h 578"/>
                <a:gd name="T88" fmla="*/ 878205 w 495"/>
                <a:gd name="T89" fmla="*/ 470806 h 578"/>
                <a:gd name="T90" fmla="*/ 847725 w 495"/>
                <a:gd name="T91" fmla="*/ 554675 h 578"/>
                <a:gd name="T92" fmla="*/ 828675 w 495"/>
                <a:gd name="T93" fmla="*/ 695726 h 578"/>
                <a:gd name="T94" fmla="*/ 779145 w 495"/>
                <a:gd name="T95" fmla="*/ 785313 h 578"/>
                <a:gd name="T96" fmla="*/ 720090 w 495"/>
                <a:gd name="T97" fmla="*/ 789125 h 578"/>
                <a:gd name="T98" fmla="*/ 630555 w 495"/>
                <a:gd name="T99" fmla="*/ 867275 h 578"/>
                <a:gd name="T100" fmla="*/ 630555 w 495"/>
                <a:gd name="T101" fmla="*/ 951143 h 578"/>
                <a:gd name="T102" fmla="*/ 567690 w 495"/>
                <a:gd name="T103" fmla="*/ 1042636 h 578"/>
                <a:gd name="T104" fmla="*/ 573405 w 495"/>
                <a:gd name="T105" fmla="*/ 991171 h 578"/>
                <a:gd name="T106" fmla="*/ 550545 w 495"/>
                <a:gd name="T107" fmla="*/ 1071227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8" name="Freeform 749"/>
            <p:cNvSpPr>
              <a:spLocks noChangeAspect="1"/>
            </p:cNvSpPr>
            <p:nvPr/>
          </p:nvSpPr>
          <p:spPr bwMode="auto">
            <a:xfrm>
              <a:off x="2640334" y="3082157"/>
              <a:ext cx="296318" cy="305654"/>
            </a:xfrm>
            <a:custGeom>
              <a:avLst/>
              <a:gdLst>
                <a:gd name="T0" fmla="*/ 186892 w 154"/>
                <a:gd name="T1" fmla="*/ 318943 h 197"/>
                <a:gd name="T2" fmla="*/ 192614 w 154"/>
                <a:gd name="T3" fmla="*/ 296025 h 197"/>
                <a:gd name="T4" fmla="*/ 238383 w 154"/>
                <a:gd name="T5" fmla="*/ 267377 h 197"/>
                <a:gd name="T6" fmla="*/ 284153 w 154"/>
                <a:gd name="T7" fmla="*/ 284566 h 197"/>
                <a:gd name="T8" fmla="*/ 293688 w 154"/>
                <a:gd name="T9" fmla="*/ 233000 h 197"/>
                <a:gd name="T10" fmla="*/ 272710 w 154"/>
                <a:gd name="T11" fmla="*/ 206262 h 197"/>
                <a:gd name="T12" fmla="*/ 276524 w 154"/>
                <a:gd name="T13" fmla="*/ 185254 h 197"/>
                <a:gd name="T14" fmla="*/ 230755 w 154"/>
                <a:gd name="T15" fmla="*/ 185254 h 197"/>
                <a:gd name="T16" fmla="*/ 221220 w 154"/>
                <a:gd name="T17" fmla="*/ 154697 h 197"/>
                <a:gd name="T18" fmla="*/ 226941 w 154"/>
                <a:gd name="T19" fmla="*/ 139418 h 197"/>
                <a:gd name="T20" fmla="*/ 221220 w 154"/>
                <a:gd name="T21" fmla="*/ 110771 h 197"/>
                <a:gd name="T22" fmla="*/ 184985 w 154"/>
                <a:gd name="T23" fmla="*/ 105041 h 197"/>
                <a:gd name="T24" fmla="*/ 167822 w 154"/>
                <a:gd name="T25" fmla="*/ 93582 h 197"/>
                <a:gd name="T26" fmla="*/ 144937 w 154"/>
                <a:gd name="T27" fmla="*/ 82123 h 197"/>
                <a:gd name="T28" fmla="*/ 104889 w 154"/>
                <a:gd name="T29" fmla="*/ 53475 h 197"/>
                <a:gd name="T30" fmla="*/ 95353 w 154"/>
                <a:gd name="T31" fmla="*/ 22918 h 197"/>
                <a:gd name="T32" fmla="*/ 70561 w 154"/>
                <a:gd name="T33" fmla="*/ 3820 h 197"/>
                <a:gd name="T34" fmla="*/ 45770 w 154"/>
                <a:gd name="T35" fmla="*/ 19098 h 197"/>
                <a:gd name="T36" fmla="*/ 19071 w 154"/>
                <a:gd name="T37" fmla="*/ 34377 h 197"/>
                <a:gd name="T38" fmla="*/ 0 w 154"/>
                <a:gd name="T39" fmla="*/ 32467 h 197"/>
                <a:gd name="T40" fmla="*/ 24792 w 154"/>
                <a:gd name="T41" fmla="*/ 89762 h 197"/>
                <a:gd name="T42" fmla="*/ 20978 w 154"/>
                <a:gd name="T43" fmla="*/ 112680 h 197"/>
                <a:gd name="T44" fmla="*/ 20978 w 154"/>
                <a:gd name="T45" fmla="*/ 126049 h 197"/>
                <a:gd name="T46" fmla="*/ 15257 w 154"/>
                <a:gd name="T47" fmla="*/ 158517 h 197"/>
                <a:gd name="T48" fmla="*/ 9535 w 154"/>
                <a:gd name="T49" fmla="*/ 204353 h 197"/>
                <a:gd name="T50" fmla="*/ 9535 w 154"/>
                <a:gd name="T51" fmla="*/ 223451 h 197"/>
                <a:gd name="T52" fmla="*/ 24792 w 154"/>
                <a:gd name="T53" fmla="*/ 259738 h 197"/>
                <a:gd name="T54" fmla="*/ 30513 w 154"/>
                <a:gd name="T55" fmla="*/ 280746 h 197"/>
                <a:gd name="T56" fmla="*/ 30513 w 154"/>
                <a:gd name="T57" fmla="*/ 290295 h 197"/>
                <a:gd name="T58" fmla="*/ 36234 w 154"/>
                <a:gd name="T59" fmla="*/ 307484 h 197"/>
                <a:gd name="T60" fmla="*/ 41955 w 154"/>
                <a:gd name="T61" fmla="*/ 317033 h 197"/>
                <a:gd name="T62" fmla="*/ 55305 w 154"/>
                <a:gd name="T63" fmla="*/ 359049 h 197"/>
                <a:gd name="T64" fmla="*/ 62933 w 154"/>
                <a:gd name="T65" fmla="*/ 370508 h 197"/>
                <a:gd name="T66" fmla="*/ 78190 w 154"/>
                <a:gd name="T67" fmla="*/ 360959 h 197"/>
                <a:gd name="T68" fmla="*/ 89632 w 154"/>
                <a:gd name="T69" fmla="*/ 351410 h 197"/>
                <a:gd name="T70" fmla="*/ 106796 w 154"/>
                <a:gd name="T71" fmla="*/ 349500 h 197"/>
                <a:gd name="T72" fmla="*/ 139216 w 154"/>
                <a:gd name="T73" fmla="*/ 372418 h 197"/>
                <a:gd name="T74" fmla="*/ 148751 w 154"/>
                <a:gd name="T75" fmla="*/ 345681 h 197"/>
                <a:gd name="T76" fmla="*/ 179264 w 154"/>
                <a:gd name="T77" fmla="*/ 353320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69" name="Freeform 750"/>
            <p:cNvSpPr>
              <a:spLocks noChangeAspect="1"/>
            </p:cNvSpPr>
            <p:nvPr/>
          </p:nvSpPr>
          <p:spPr bwMode="auto">
            <a:xfrm>
              <a:off x="2821329" y="3298823"/>
              <a:ext cx="208222" cy="192163"/>
            </a:xfrm>
            <a:custGeom>
              <a:avLst/>
              <a:gdLst>
                <a:gd name="T0" fmla="*/ 196908 w 109"/>
                <a:gd name="T1" fmla="*/ 179311 h 124"/>
                <a:gd name="T2" fmla="*/ 196908 w 109"/>
                <a:gd name="T3" fmla="*/ 167866 h 124"/>
                <a:gd name="T4" fmla="*/ 202588 w 109"/>
                <a:gd name="T5" fmla="*/ 152605 h 124"/>
                <a:gd name="T6" fmla="*/ 206375 w 109"/>
                <a:gd name="T7" fmla="*/ 131622 h 124"/>
                <a:gd name="T8" fmla="*/ 195015 w 109"/>
                <a:gd name="T9" fmla="*/ 125899 h 124"/>
                <a:gd name="T10" fmla="*/ 174188 w 109"/>
                <a:gd name="T11" fmla="*/ 129714 h 124"/>
                <a:gd name="T12" fmla="*/ 164721 w 109"/>
                <a:gd name="T13" fmla="*/ 114454 h 124"/>
                <a:gd name="T14" fmla="*/ 168508 w 109"/>
                <a:gd name="T15" fmla="*/ 87748 h 124"/>
                <a:gd name="T16" fmla="*/ 153361 w 109"/>
                <a:gd name="T17" fmla="*/ 80118 h 124"/>
                <a:gd name="T18" fmla="*/ 132534 w 109"/>
                <a:gd name="T19" fmla="*/ 78210 h 124"/>
                <a:gd name="T20" fmla="*/ 115494 w 109"/>
                <a:gd name="T21" fmla="*/ 78210 h 124"/>
                <a:gd name="T22" fmla="*/ 115494 w 109"/>
                <a:gd name="T23" fmla="*/ 72487 h 124"/>
                <a:gd name="T24" fmla="*/ 115494 w 109"/>
                <a:gd name="T25" fmla="*/ 45782 h 124"/>
                <a:gd name="T26" fmla="*/ 104134 w 109"/>
                <a:gd name="T27" fmla="*/ 34336 h 124"/>
                <a:gd name="T28" fmla="*/ 104134 w 109"/>
                <a:gd name="T29" fmla="*/ 17168 h 124"/>
                <a:gd name="T30" fmla="*/ 83307 w 109"/>
                <a:gd name="T31" fmla="*/ 1908 h 124"/>
                <a:gd name="T32" fmla="*/ 58694 w 109"/>
                <a:gd name="T33" fmla="*/ 0 h 124"/>
                <a:gd name="T34" fmla="*/ 17040 w 109"/>
                <a:gd name="T35" fmla="*/ 13353 h 124"/>
                <a:gd name="T36" fmla="*/ 13253 w 109"/>
                <a:gd name="T37" fmla="*/ 28613 h 124"/>
                <a:gd name="T38" fmla="*/ 5680 w 109"/>
                <a:gd name="T39" fmla="*/ 38151 h 124"/>
                <a:gd name="T40" fmla="*/ 7573 w 109"/>
                <a:gd name="T41" fmla="*/ 51504 h 124"/>
                <a:gd name="T42" fmla="*/ 0 w 109"/>
                <a:gd name="T43" fmla="*/ 85840 h 124"/>
                <a:gd name="T44" fmla="*/ 9467 w 109"/>
                <a:gd name="T45" fmla="*/ 97286 h 124"/>
                <a:gd name="T46" fmla="*/ 17040 w 109"/>
                <a:gd name="T47" fmla="*/ 112546 h 124"/>
                <a:gd name="T48" fmla="*/ 39760 w 109"/>
                <a:gd name="T49" fmla="*/ 125899 h 124"/>
                <a:gd name="T50" fmla="*/ 54907 w 109"/>
                <a:gd name="T51" fmla="*/ 137345 h 124"/>
                <a:gd name="T52" fmla="*/ 68161 w 109"/>
                <a:gd name="T53" fmla="*/ 137345 h 124"/>
                <a:gd name="T54" fmla="*/ 90881 w 109"/>
                <a:gd name="T55" fmla="*/ 156420 h 124"/>
                <a:gd name="T56" fmla="*/ 117388 w 109"/>
                <a:gd name="T57" fmla="*/ 164051 h 124"/>
                <a:gd name="T58" fmla="*/ 123068 w 109"/>
                <a:gd name="T59" fmla="*/ 173588 h 124"/>
                <a:gd name="T60" fmla="*/ 123068 w 109"/>
                <a:gd name="T61" fmla="*/ 194572 h 124"/>
                <a:gd name="T62" fmla="*/ 111708 w 109"/>
                <a:gd name="T63" fmla="*/ 198387 h 124"/>
                <a:gd name="T64" fmla="*/ 111708 w 109"/>
                <a:gd name="T65" fmla="*/ 211740 h 124"/>
                <a:gd name="T66" fmla="*/ 104134 w 109"/>
                <a:gd name="T67" fmla="*/ 228908 h 124"/>
                <a:gd name="T68" fmla="*/ 121174 w 109"/>
                <a:gd name="T69" fmla="*/ 228908 h 124"/>
                <a:gd name="T70" fmla="*/ 145788 w 109"/>
                <a:gd name="T71" fmla="*/ 236538 h 124"/>
                <a:gd name="T72" fmla="*/ 160935 w 109"/>
                <a:gd name="T73" fmla="*/ 230815 h 124"/>
                <a:gd name="T74" fmla="*/ 170401 w 109"/>
                <a:gd name="T75" fmla="*/ 232723 h 124"/>
                <a:gd name="T76" fmla="*/ 174188 w 109"/>
                <a:gd name="T77" fmla="*/ 234630 h 124"/>
                <a:gd name="T78" fmla="*/ 183655 w 109"/>
                <a:gd name="T79" fmla="*/ 217462 h 124"/>
                <a:gd name="T80" fmla="*/ 196908 w 109"/>
                <a:gd name="T81" fmla="*/ 206017 h 124"/>
                <a:gd name="T82" fmla="*/ 196908 w 109"/>
                <a:gd name="T83" fmla="*/ 194572 h 124"/>
                <a:gd name="T84" fmla="*/ 196908 w 109"/>
                <a:gd name="T85" fmla="*/ 179311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0" name="Freeform 751"/>
            <p:cNvSpPr>
              <a:spLocks noChangeAspect="1"/>
            </p:cNvSpPr>
            <p:nvPr/>
          </p:nvSpPr>
          <p:spPr bwMode="auto">
            <a:xfrm>
              <a:off x="2941457" y="3549021"/>
              <a:ext cx="126535" cy="121230"/>
            </a:xfrm>
            <a:custGeom>
              <a:avLst/>
              <a:gdLst>
                <a:gd name="T0" fmla="*/ 117812 w 66"/>
                <a:gd name="T1" fmla="*/ 107669 h 79"/>
                <a:gd name="T2" fmla="*/ 125413 w 66"/>
                <a:gd name="T3" fmla="*/ 113335 h 79"/>
                <a:gd name="T4" fmla="*/ 117812 w 66"/>
                <a:gd name="T5" fmla="*/ 124669 h 79"/>
                <a:gd name="T6" fmla="*/ 112112 w 66"/>
                <a:gd name="T7" fmla="*/ 132225 h 79"/>
                <a:gd name="T8" fmla="*/ 87409 w 66"/>
                <a:gd name="T9" fmla="*/ 147336 h 79"/>
                <a:gd name="T10" fmla="*/ 51305 w 66"/>
                <a:gd name="T11" fmla="*/ 147336 h 79"/>
                <a:gd name="T12" fmla="*/ 19002 w 66"/>
                <a:gd name="T13" fmla="*/ 136003 h 79"/>
                <a:gd name="T14" fmla="*/ 3800 w 66"/>
                <a:gd name="T15" fmla="*/ 124669 h 79"/>
                <a:gd name="T16" fmla="*/ 3800 w 66"/>
                <a:gd name="T17" fmla="*/ 102002 h 79"/>
                <a:gd name="T18" fmla="*/ 7601 w 66"/>
                <a:gd name="T19" fmla="*/ 86891 h 79"/>
                <a:gd name="T20" fmla="*/ 5701 w 66"/>
                <a:gd name="T21" fmla="*/ 77446 h 79"/>
                <a:gd name="T22" fmla="*/ 9501 w 66"/>
                <a:gd name="T23" fmla="*/ 71779 h 79"/>
                <a:gd name="T24" fmla="*/ 3800 w 66"/>
                <a:gd name="T25" fmla="*/ 58557 h 79"/>
                <a:gd name="T26" fmla="*/ 11401 w 66"/>
                <a:gd name="T27" fmla="*/ 45334 h 79"/>
                <a:gd name="T28" fmla="*/ 11401 w 66"/>
                <a:gd name="T29" fmla="*/ 20778 h 79"/>
                <a:gd name="T30" fmla="*/ 17102 w 66"/>
                <a:gd name="T31" fmla="*/ 9445 h 79"/>
                <a:gd name="T32" fmla="*/ 36104 w 66"/>
                <a:gd name="T33" fmla="*/ 3778 h 79"/>
                <a:gd name="T34" fmla="*/ 53206 w 66"/>
                <a:gd name="T35" fmla="*/ 34001 h 79"/>
                <a:gd name="T36" fmla="*/ 58906 w 66"/>
                <a:gd name="T37" fmla="*/ 30223 h 79"/>
                <a:gd name="T38" fmla="*/ 60806 w 66"/>
                <a:gd name="T39" fmla="*/ 26445 h 79"/>
                <a:gd name="T40" fmla="*/ 72207 w 66"/>
                <a:gd name="T41" fmla="*/ 39667 h 79"/>
                <a:gd name="T42" fmla="*/ 93110 w 66"/>
                <a:gd name="T43" fmla="*/ 47223 h 79"/>
                <a:gd name="T44" fmla="*/ 112112 w 66"/>
                <a:gd name="T45" fmla="*/ 66112 h 79"/>
                <a:gd name="T46" fmla="*/ 115912 w 66"/>
                <a:gd name="T47" fmla="*/ 73668 h 79"/>
                <a:gd name="T48" fmla="*/ 121613 w 66"/>
                <a:gd name="T49" fmla="*/ 77446 h 79"/>
                <a:gd name="T50" fmla="*/ 117812 w 66"/>
                <a:gd name="T51" fmla="*/ 90668 h 79"/>
                <a:gd name="T52" fmla="*/ 114012 w 66"/>
                <a:gd name="T53" fmla="*/ 96335 h 79"/>
                <a:gd name="T54" fmla="*/ 117812 w 66"/>
                <a:gd name="T55" fmla="*/ 107669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1" name="Freeform 752"/>
            <p:cNvSpPr>
              <a:spLocks noChangeAspect="1"/>
            </p:cNvSpPr>
            <p:nvPr/>
          </p:nvSpPr>
          <p:spPr bwMode="auto">
            <a:xfrm>
              <a:off x="2728429" y="4122928"/>
              <a:ext cx="54458" cy="69643"/>
            </a:xfrm>
            <a:custGeom>
              <a:avLst/>
              <a:gdLst>
                <a:gd name="T0" fmla="*/ 53975 w 28"/>
                <a:gd name="T1" fmla="*/ 81915 h 45"/>
                <a:gd name="T2" fmla="*/ 50120 w 28"/>
                <a:gd name="T3" fmla="*/ 80010 h 45"/>
                <a:gd name="T4" fmla="*/ 50120 w 28"/>
                <a:gd name="T5" fmla="*/ 85725 h 45"/>
                <a:gd name="T6" fmla="*/ 34698 w 28"/>
                <a:gd name="T7" fmla="*/ 81915 h 45"/>
                <a:gd name="T8" fmla="*/ 17349 w 28"/>
                <a:gd name="T9" fmla="*/ 80010 h 45"/>
                <a:gd name="T10" fmla="*/ 5783 w 28"/>
                <a:gd name="T11" fmla="*/ 81915 h 45"/>
                <a:gd name="T12" fmla="*/ 1928 w 28"/>
                <a:gd name="T13" fmla="*/ 72390 h 45"/>
                <a:gd name="T14" fmla="*/ 1928 w 28"/>
                <a:gd name="T15" fmla="*/ 64770 h 45"/>
                <a:gd name="T16" fmla="*/ 7711 w 28"/>
                <a:gd name="T17" fmla="*/ 70485 h 45"/>
                <a:gd name="T18" fmla="*/ 17349 w 28"/>
                <a:gd name="T19" fmla="*/ 68580 h 45"/>
                <a:gd name="T20" fmla="*/ 17349 w 28"/>
                <a:gd name="T21" fmla="*/ 64770 h 45"/>
                <a:gd name="T22" fmla="*/ 25060 w 28"/>
                <a:gd name="T23" fmla="*/ 62865 h 45"/>
                <a:gd name="T24" fmla="*/ 34698 w 28"/>
                <a:gd name="T25" fmla="*/ 70485 h 45"/>
                <a:gd name="T26" fmla="*/ 42409 w 28"/>
                <a:gd name="T27" fmla="*/ 70485 h 45"/>
                <a:gd name="T28" fmla="*/ 42409 w 28"/>
                <a:gd name="T29" fmla="*/ 66675 h 45"/>
                <a:gd name="T30" fmla="*/ 25060 w 28"/>
                <a:gd name="T31" fmla="*/ 57150 h 45"/>
                <a:gd name="T32" fmla="*/ 15421 w 28"/>
                <a:gd name="T33" fmla="*/ 51435 h 45"/>
                <a:gd name="T34" fmla="*/ 19277 w 28"/>
                <a:gd name="T35" fmla="*/ 43815 h 45"/>
                <a:gd name="T36" fmla="*/ 32771 w 28"/>
                <a:gd name="T37" fmla="*/ 36195 h 45"/>
                <a:gd name="T38" fmla="*/ 30843 w 28"/>
                <a:gd name="T39" fmla="*/ 28575 h 45"/>
                <a:gd name="T40" fmla="*/ 11566 w 28"/>
                <a:gd name="T41" fmla="*/ 36195 h 45"/>
                <a:gd name="T42" fmla="*/ 5783 w 28"/>
                <a:gd name="T43" fmla="*/ 22860 h 45"/>
                <a:gd name="T44" fmla="*/ 13494 w 28"/>
                <a:gd name="T45" fmla="*/ 17145 h 45"/>
                <a:gd name="T46" fmla="*/ 7711 w 28"/>
                <a:gd name="T47" fmla="*/ 9525 h 45"/>
                <a:gd name="T48" fmla="*/ 13494 w 28"/>
                <a:gd name="T49" fmla="*/ 11430 h 45"/>
                <a:gd name="T50" fmla="*/ 19277 w 28"/>
                <a:gd name="T51" fmla="*/ 11430 h 45"/>
                <a:gd name="T52" fmla="*/ 25060 w 28"/>
                <a:gd name="T53" fmla="*/ 0 h 45"/>
                <a:gd name="T54" fmla="*/ 34698 w 28"/>
                <a:gd name="T55" fmla="*/ 7620 h 45"/>
                <a:gd name="T56" fmla="*/ 42409 w 28"/>
                <a:gd name="T57" fmla="*/ 5715 h 45"/>
                <a:gd name="T58" fmla="*/ 53975 w 28"/>
                <a:gd name="T59" fmla="*/ 81915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2" name="Freeform 753"/>
            <p:cNvSpPr>
              <a:spLocks noChangeAspect="1"/>
            </p:cNvSpPr>
            <p:nvPr/>
          </p:nvSpPr>
          <p:spPr bwMode="auto">
            <a:xfrm>
              <a:off x="2645141" y="3356860"/>
              <a:ext cx="400428" cy="771228"/>
            </a:xfrm>
            <a:custGeom>
              <a:avLst/>
              <a:gdLst>
                <a:gd name="T0" fmla="*/ 106851 w 208"/>
                <a:gd name="T1" fmla="*/ 901668 h 498"/>
                <a:gd name="T2" fmla="*/ 114483 w 208"/>
                <a:gd name="T3" fmla="*/ 857824 h 498"/>
                <a:gd name="T4" fmla="*/ 133564 w 208"/>
                <a:gd name="T5" fmla="*/ 829230 h 498"/>
                <a:gd name="T6" fmla="*/ 162185 w 208"/>
                <a:gd name="T7" fmla="*/ 766323 h 498"/>
                <a:gd name="T8" fmla="*/ 124023 w 208"/>
                <a:gd name="T9" fmla="*/ 724385 h 498"/>
                <a:gd name="T10" fmla="*/ 158368 w 208"/>
                <a:gd name="T11" fmla="*/ 691978 h 498"/>
                <a:gd name="T12" fmla="*/ 179357 w 208"/>
                <a:gd name="T13" fmla="*/ 634790 h 498"/>
                <a:gd name="T14" fmla="*/ 192713 w 208"/>
                <a:gd name="T15" fmla="*/ 634790 h 498"/>
                <a:gd name="T16" fmla="*/ 188897 w 208"/>
                <a:gd name="T17" fmla="*/ 615727 h 498"/>
                <a:gd name="T18" fmla="*/ 167909 w 208"/>
                <a:gd name="T19" fmla="*/ 606196 h 498"/>
                <a:gd name="T20" fmla="*/ 166001 w 208"/>
                <a:gd name="T21" fmla="*/ 564258 h 498"/>
                <a:gd name="T22" fmla="*/ 206070 w 208"/>
                <a:gd name="T23" fmla="*/ 577601 h 498"/>
                <a:gd name="T24" fmla="*/ 227058 w 208"/>
                <a:gd name="T25" fmla="*/ 535663 h 498"/>
                <a:gd name="T26" fmla="*/ 240415 w 208"/>
                <a:gd name="T27" fmla="*/ 510882 h 498"/>
                <a:gd name="T28" fmla="*/ 328185 w 208"/>
                <a:gd name="T29" fmla="*/ 476569 h 498"/>
                <a:gd name="T30" fmla="*/ 335817 w 208"/>
                <a:gd name="T31" fmla="*/ 428912 h 498"/>
                <a:gd name="T32" fmla="*/ 328185 w 208"/>
                <a:gd name="T33" fmla="*/ 396505 h 498"/>
                <a:gd name="T34" fmla="*/ 295748 w 208"/>
                <a:gd name="T35" fmla="*/ 367911 h 498"/>
                <a:gd name="T36" fmla="*/ 301472 w 208"/>
                <a:gd name="T37" fmla="*/ 324067 h 498"/>
                <a:gd name="T38" fmla="*/ 297656 w 208"/>
                <a:gd name="T39" fmla="*/ 295473 h 498"/>
                <a:gd name="T40" fmla="*/ 311013 w 208"/>
                <a:gd name="T41" fmla="*/ 245910 h 498"/>
                <a:gd name="T42" fmla="*/ 360622 w 208"/>
                <a:gd name="T43" fmla="*/ 181096 h 498"/>
                <a:gd name="T44" fmla="*/ 393059 w 208"/>
                <a:gd name="T45" fmla="*/ 139158 h 498"/>
                <a:gd name="T46" fmla="*/ 381611 w 208"/>
                <a:gd name="T47" fmla="*/ 108658 h 498"/>
                <a:gd name="T48" fmla="*/ 372070 w 208"/>
                <a:gd name="T49" fmla="*/ 135346 h 498"/>
                <a:gd name="T50" fmla="*/ 345358 w 208"/>
                <a:gd name="T51" fmla="*/ 162033 h 498"/>
                <a:gd name="T52" fmla="*/ 295748 w 208"/>
                <a:gd name="T53" fmla="*/ 158221 h 498"/>
                <a:gd name="T54" fmla="*/ 286208 w 208"/>
                <a:gd name="T55" fmla="*/ 127720 h 498"/>
                <a:gd name="T56" fmla="*/ 291932 w 208"/>
                <a:gd name="T57" fmla="*/ 93407 h 498"/>
                <a:gd name="T58" fmla="*/ 228966 w 208"/>
                <a:gd name="T59" fmla="*/ 66720 h 498"/>
                <a:gd name="T60" fmla="*/ 183173 w 208"/>
                <a:gd name="T61" fmla="*/ 26688 h 498"/>
                <a:gd name="T62" fmla="*/ 143104 w 208"/>
                <a:gd name="T63" fmla="*/ 7625 h 498"/>
                <a:gd name="T64" fmla="*/ 125932 w 208"/>
                <a:gd name="T65" fmla="*/ 13344 h 498"/>
                <a:gd name="T66" fmla="*/ 83954 w 208"/>
                <a:gd name="T67" fmla="*/ 13344 h 498"/>
                <a:gd name="T68" fmla="*/ 64874 w 208"/>
                <a:gd name="T69" fmla="*/ 32407 h 498"/>
                <a:gd name="T70" fmla="*/ 43885 w 208"/>
                <a:gd name="T71" fmla="*/ 78157 h 498"/>
                <a:gd name="T72" fmla="*/ 40069 w 208"/>
                <a:gd name="T73" fmla="*/ 101033 h 498"/>
                <a:gd name="T74" fmla="*/ 41977 w 208"/>
                <a:gd name="T75" fmla="*/ 142971 h 498"/>
                <a:gd name="T76" fmla="*/ 30529 w 208"/>
                <a:gd name="T77" fmla="*/ 181096 h 498"/>
                <a:gd name="T78" fmla="*/ 13356 w 208"/>
                <a:gd name="T79" fmla="*/ 219222 h 498"/>
                <a:gd name="T80" fmla="*/ 7632 w 208"/>
                <a:gd name="T81" fmla="*/ 287848 h 498"/>
                <a:gd name="T82" fmla="*/ 20989 w 208"/>
                <a:gd name="T83" fmla="*/ 314535 h 498"/>
                <a:gd name="T84" fmla="*/ 26713 w 208"/>
                <a:gd name="T85" fmla="*/ 356473 h 498"/>
                <a:gd name="T86" fmla="*/ 19081 w 208"/>
                <a:gd name="T87" fmla="*/ 423193 h 498"/>
                <a:gd name="T88" fmla="*/ 19081 w 208"/>
                <a:gd name="T89" fmla="*/ 495632 h 498"/>
                <a:gd name="T90" fmla="*/ 3816 w 208"/>
                <a:gd name="T91" fmla="*/ 533757 h 498"/>
                <a:gd name="T92" fmla="*/ 9540 w 208"/>
                <a:gd name="T93" fmla="*/ 594758 h 498"/>
                <a:gd name="T94" fmla="*/ 13356 w 208"/>
                <a:gd name="T95" fmla="*/ 636696 h 498"/>
                <a:gd name="T96" fmla="*/ 17172 w 208"/>
                <a:gd name="T97" fmla="*/ 678634 h 498"/>
                <a:gd name="T98" fmla="*/ 32437 w 208"/>
                <a:gd name="T99" fmla="*/ 691978 h 498"/>
                <a:gd name="T100" fmla="*/ 34345 w 208"/>
                <a:gd name="T101" fmla="*/ 703416 h 498"/>
                <a:gd name="T102" fmla="*/ 30529 w 208"/>
                <a:gd name="T103" fmla="*/ 745354 h 498"/>
                <a:gd name="T104" fmla="*/ 13356 w 208"/>
                <a:gd name="T105" fmla="*/ 783479 h 498"/>
                <a:gd name="T106" fmla="*/ 15264 w 208"/>
                <a:gd name="T107" fmla="*/ 825417 h 498"/>
                <a:gd name="T108" fmla="*/ 15264 w 208"/>
                <a:gd name="T109" fmla="*/ 886418 h 498"/>
                <a:gd name="T110" fmla="*/ 41977 w 208"/>
                <a:gd name="T111" fmla="*/ 913106 h 498"/>
                <a:gd name="T112" fmla="*/ 110667 w 208"/>
                <a:gd name="T113" fmla="*/ 935981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3" name="Freeform 754"/>
            <p:cNvSpPr>
              <a:spLocks noChangeAspect="1"/>
            </p:cNvSpPr>
            <p:nvPr/>
          </p:nvSpPr>
          <p:spPr bwMode="auto">
            <a:xfrm>
              <a:off x="2584276" y="3262712"/>
              <a:ext cx="131341" cy="846029"/>
            </a:xfrm>
            <a:custGeom>
              <a:avLst/>
              <a:gdLst>
                <a:gd name="T0" fmla="*/ 112946 w 68"/>
                <a:gd name="T1" fmla="*/ 146596 h 547"/>
                <a:gd name="T2" fmla="*/ 97631 w 68"/>
                <a:gd name="T3" fmla="*/ 95192 h 547"/>
                <a:gd name="T4" fmla="*/ 86145 w 68"/>
                <a:gd name="T5" fmla="*/ 79961 h 547"/>
                <a:gd name="T6" fmla="*/ 86145 w 68"/>
                <a:gd name="T7" fmla="*/ 59019 h 547"/>
                <a:gd name="T8" fmla="*/ 74659 w 68"/>
                <a:gd name="T9" fmla="*/ 11423 h 547"/>
                <a:gd name="T10" fmla="*/ 55516 w 68"/>
                <a:gd name="T11" fmla="*/ 17135 h 547"/>
                <a:gd name="T12" fmla="*/ 53601 w 68"/>
                <a:gd name="T13" fmla="*/ 68538 h 547"/>
                <a:gd name="T14" fmla="*/ 53601 w 68"/>
                <a:gd name="T15" fmla="*/ 154211 h 547"/>
                <a:gd name="T16" fmla="*/ 53601 w 68"/>
                <a:gd name="T17" fmla="*/ 211326 h 547"/>
                <a:gd name="T18" fmla="*/ 51687 w 68"/>
                <a:gd name="T19" fmla="*/ 262730 h 547"/>
                <a:gd name="T20" fmla="*/ 44030 w 68"/>
                <a:gd name="T21" fmla="*/ 354114 h 547"/>
                <a:gd name="T22" fmla="*/ 47858 w 68"/>
                <a:gd name="T23" fmla="*/ 434075 h 547"/>
                <a:gd name="T24" fmla="*/ 42115 w 68"/>
                <a:gd name="T25" fmla="*/ 483575 h 547"/>
                <a:gd name="T26" fmla="*/ 21058 w 68"/>
                <a:gd name="T27" fmla="*/ 561633 h 547"/>
                <a:gd name="T28" fmla="*/ 19143 w 68"/>
                <a:gd name="T29" fmla="*/ 613036 h 547"/>
                <a:gd name="T30" fmla="*/ 19143 w 68"/>
                <a:gd name="T31" fmla="*/ 692997 h 547"/>
                <a:gd name="T32" fmla="*/ 42115 w 68"/>
                <a:gd name="T33" fmla="*/ 687286 h 547"/>
                <a:gd name="T34" fmla="*/ 53601 w 68"/>
                <a:gd name="T35" fmla="*/ 710132 h 547"/>
                <a:gd name="T36" fmla="*/ 57430 w 68"/>
                <a:gd name="T37" fmla="*/ 727266 h 547"/>
                <a:gd name="T38" fmla="*/ 53601 w 68"/>
                <a:gd name="T39" fmla="*/ 778670 h 547"/>
                <a:gd name="T40" fmla="*/ 59344 w 68"/>
                <a:gd name="T41" fmla="*/ 811035 h 547"/>
                <a:gd name="T42" fmla="*/ 44030 w 68"/>
                <a:gd name="T43" fmla="*/ 862439 h 547"/>
                <a:gd name="T44" fmla="*/ 15315 w 68"/>
                <a:gd name="T45" fmla="*/ 839593 h 547"/>
                <a:gd name="T46" fmla="*/ 7657 w 68"/>
                <a:gd name="T47" fmla="*/ 860535 h 547"/>
                <a:gd name="T48" fmla="*/ 42115 w 68"/>
                <a:gd name="T49" fmla="*/ 870054 h 547"/>
                <a:gd name="T50" fmla="*/ 26801 w 68"/>
                <a:gd name="T51" fmla="*/ 892900 h 547"/>
                <a:gd name="T52" fmla="*/ 57430 w 68"/>
                <a:gd name="T53" fmla="*/ 911939 h 547"/>
                <a:gd name="T54" fmla="*/ 34458 w 68"/>
                <a:gd name="T55" fmla="*/ 917650 h 547"/>
                <a:gd name="T56" fmla="*/ 45944 w 68"/>
                <a:gd name="T57" fmla="*/ 955727 h 547"/>
                <a:gd name="T58" fmla="*/ 47858 w 68"/>
                <a:gd name="T59" fmla="*/ 967150 h 547"/>
                <a:gd name="T60" fmla="*/ 53601 w 68"/>
                <a:gd name="T61" fmla="*/ 995708 h 547"/>
                <a:gd name="T62" fmla="*/ 65088 w 68"/>
                <a:gd name="T63" fmla="*/ 1014746 h 547"/>
                <a:gd name="T64" fmla="*/ 84231 w 68"/>
                <a:gd name="T65" fmla="*/ 1031881 h 547"/>
                <a:gd name="T66" fmla="*/ 91888 w 68"/>
                <a:gd name="T67" fmla="*/ 1022362 h 547"/>
                <a:gd name="T68" fmla="*/ 91888 w 68"/>
                <a:gd name="T69" fmla="*/ 997612 h 547"/>
                <a:gd name="T70" fmla="*/ 63173 w 68"/>
                <a:gd name="T71" fmla="*/ 955727 h 547"/>
                <a:gd name="T72" fmla="*/ 88060 w 68"/>
                <a:gd name="T73" fmla="*/ 910035 h 547"/>
                <a:gd name="T74" fmla="*/ 86145 w 68"/>
                <a:gd name="T75" fmla="*/ 870054 h 547"/>
                <a:gd name="T76" fmla="*/ 82317 w 68"/>
                <a:gd name="T77" fmla="*/ 831978 h 547"/>
                <a:gd name="T78" fmla="*/ 84231 w 68"/>
                <a:gd name="T79" fmla="*/ 803420 h 547"/>
                <a:gd name="T80" fmla="*/ 93803 w 68"/>
                <a:gd name="T81" fmla="*/ 795805 h 547"/>
                <a:gd name="T82" fmla="*/ 74659 w 68"/>
                <a:gd name="T83" fmla="*/ 757728 h 547"/>
                <a:gd name="T84" fmla="*/ 67002 w 68"/>
                <a:gd name="T85" fmla="*/ 725363 h 547"/>
                <a:gd name="T86" fmla="*/ 65088 w 68"/>
                <a:gd name="T87" fmla="*/ 666344 h 547"/>
                <a:gd name="T88" fmla="*/ 65088 w 68"/>
                <a:gd name="T89" fmla="*/ 620652 h 547"/>
                <a:gd name="T90" fmla="*/ 65088 w 68"/>
                <a:gd name="T91" fmla="*/ 546402 h 547"/>
                <a:gd name="T92" fmla="*/ 78488 w 68"/>
                <a:gd name="T93" fmla="*/ 510229 h 547"/>
                <a:gd name="T94" fmla="*/ 80402 w 68"/>
                <a:gd name="T95" fmla="*/ 451210 h 547"/>
                <a:gd name="T96" fmla="*/ 74659 w 68"/>
                <a:gd name="T97" fmla="*/ 413133 h 547"/>
                <a:gd name="T98" fmla="*/ 80402 w 68"/>
                <a:gd name="T99" fmla="*/ 357922 h 547"/>
                <a:gd name="T100" fmla="*/ 78488 w 68"/>
                <a:gd name="T101" fmla="*/ 312230 h 547"/>
                <a:gd name="T102" fmla="*/ 111032 w 68"/>
                <a:gd name="T103" fmla="*/ 272249 h 547"/>
                <a:gd name="T104" fmla="*/ 99546 w 68"/>
                <a:gd name="T105" fmla="*/ 226557 h 547"/>
                <a:gd name="T106" fmla="*/ 95717 w 68"/>
                <a:gd name="T107" fmla="*/ 203711 h 547"/>
                <a:gd name="T108" fmla="*/ 130175 w 68"/>
                <a:gd name="T109" fmla="*/ 161826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4" name="Freeform 755"/>
            <p:cNvSpPr>
              <a:spLocks noChangeAspect="1"/>
            </p:cNvSpPr>
            <p:nvPr/>
          </p:nvSpPr>
          <p:spPr bwMode="auto">
            <a:xfrm>
              <a:off x="2347222" y="2864202"/>
              <a:ext cx="323546" cy="416566"/>
            </a:xfrm>
            <a:custGeom>
              <a:avLst/>
              <a:gdLst>
                <a:gd name="T0" fmla="*/ 148885 w 168"/>
                <a:gd name="T1" fmla="*/ 1906 h 269"/>
                <a:gd name="T2" fmla="*/ 166064 w 168"/>
                <a:gd name="T3" fmla="*/ 17156 h 269"/>
                <a:gd name="T4" fmla="*/ 183243 w 168"/>
                <a:gd name="T5" fmla="*/ 34311 h 269"/>
                <a:gd name="T6" fmla="*/ 196604 w 168"/>
                <a:gd name="T7" fmla="*/ 45748 h 269"/>
                <a:gd name="T8" fmla="*/ 194696 w 168"/>
                <a:gd name="T9" fmla="*/ 60998 h 269"/>
                <a:gd name="T10" fmla="*/ 219510 w 168"/>
                <a:gd name="T11" fmla="*/ 64810 h 269"/>
                <a:gd name="T12" fmla="*/ 240506 w 168"/>
                <a:gd name="T13" fmla="*/ 64810 h 269"/>
                <a:gd name="T14" fmla="*/ 265320 w 168"/>
                <a:gd name="T15" fmla="*/ 60998 h 269"/>
                <a:gd name="T16" fmla="*/ 272956 w 168"/>
                <a:gd name="T17" fmla="*/ 68622 h 269"/>
                <a:gd name="T18" fmla="*/ 269138 w 168"/>
                <a:gd name="T19" fmla="*/ 99121 h 269"/>
                <a:gd name="T20" fmla="*/ 274864 w 168"/>
                <a:gd name="T21" fmla="*/ 108652 h 269"/>
                <a:gd name="T22" fmla="*/ 267229 w 168"/>
                <a:gd name="T23" fmla="*/ 116277 h 269"/>
                <a:gd name="T24" fmla="*/ 234780 w 168"/>
                <a:gd name="T25" fmla="*/ 125808 h 269"/>
                <a:gd name="T26" fmla="*/ 208057 w 168"/>
                <a:gd name="T27" fmla="*/ 141057 h 269"/>
                <a:gd name="T28" fmla="*/ 198513 w 168"/>
                <a:gd name="T29" fmla="*/ 167744 h 269"/>
                <a:gd name="T30" fmla="*/ 183243 w 168"/>
                <a:gd name="T31" fmla="*/ 188712 h 269"/>
                <a:gd name="T32" fmla="*/ 183243 w 168"/>
                <a:gd name="T33" fmla="*/ 217304 h 269"/>
                <a:gd name="T34" fmla="*/ 208057 w 168"/>
                <a:gd name="T35" fmla="*/ 247803 h 269"/>
                <a:gd name="T36" fmla="*/ 221418 w 168"/>
                <a:gd name="T37" fmla="*/ 264959 h 269"/>
                <a:gd name="T38" fmla="*/ 244324 w 168"/>
                <a:gd name="T39" fmla="*/ 280208 h 269"/>
                <a:gd name="T40" fmla="*/ 263412 w 168"/>
                <a:gd name="T41" fmla="*/ 263053 h 269"/>
                <a:gd name="T42" fmla="*/ 282499 w 168"/>
                <a:gd name="T43" fmla="*/ 303082 h 269"/>
                <a:gd name="T44" fmla="*/ 320675 w 168"/>
                <a:gd name="T45" fmla="*/ 346924 h 269"/>
                <a:gd name="T46" fmla="*/ 309222 w 168"/>
                <a:gd name="T47" fmla="*/ 367892 h 269"/>
                <a:gd name="T48" fmla="*/ 305405 w 168"/>
                <a:gd name="T49" fmla="*/ 381236 h 269"/>
                <a:gd name="T50" fmla="*/ 301587 w 168"/>
                <a:gd name="T51" fmla="*/ 415547 h 269"/>
                <a:gd name="T52" fmla="*/ 305405 w 168"/>
                <a:gd name="T53" fmla="*/ 459389 h 269"/>
                <a:gd name="T54" fmla="*/ 293952 w 168"/>
                <a:gd name="T55" fmla="*/ 478451 h 269"/>
                <a:gd name="T56" fmla="*/ 290135 w 168"/>
                <a:gd name="T57" fmla="*/ 491794 h 269"/>
                <a:gd name="T58" fmla="*/ 276773 w 168"/>
                <a:gd name="T59" fmla="*/ 512762 h 269"/>
                <a:gd name="T60" fmla="*/ 251959 w 168"/>
                <a:gd name="T61" fmla="*/ 486075 h 269"/>
                <a:gd name="T62" fmla="*/ 208057 w 168"/>
                <a:gd name="T63" fmla="*/ 457483 h 269"/>
                <a:gd name="T64" fmla="*/ 154611 w 168"/>
                <a:gd name="T65" fmla="*/ 421265 h 269"/>
                <a:gd name="T66" fmla="*/ 131706 w 168"/>
                <a:gd name="T67" fmla="*/ 392673 h 269"/>
                <a:gd name="T68" fmla="*/ 137432 w 168"/>
                <a:gd name="T69" fmla="*/ 373611 h 269"/>
                <a:gd name="T70" fmla="*/ 97348 w 168"/>
                <a:gd name="T71" fmla="*/ 312613 h 269"/>
                <a:gd name="T72" fmla="*/ 66807 w 168"/>
                <a:gd name="T73" fmla="*/ 236366 h 269"/>
                <a:gd name="T74" fmla="*/ 49628 w 168"/>
                <a:gd name="T75" fmla="*/ 194430 h 269"/>
                <a:gd name="T76" fmla="*/ 26723 w 168"/>
                <a:gd name="T77" fmla="*/ 181087 h 269"/>
                <a:gd name="T78" fmla="*/ 7635 w 168"/>
                <a:gd name="T79" fmla="*/ 158213 h 269"/>
                <a:gd name="T80" fmla="*/ 11453 w 168"/>
                <a:gd name="T81" fmla="*/ 146776 h 269"/>
                <a:gd name="T82" fmla="*/ 7635 w 168"/>
                <a:gd name="T83" fmla="*/ 135339 h 269"/>
                <a:gd name="T84" fmla="*/ 17179 w 168"/>
                <a:gd name="T85" fmla="*/ 99121 h 269"/>
                <a:gd name="T86" fmla="*/ 32449 w 168"/>
                <a:gd name="T87" fmla="*/ 101027 h 269"/>
                <a:gd name="T88" fmla="*/ 20997 w 168"/>
                <a:gd name="T89" fmla="*/ 108652 h 269"/>
                <a:gd name="T90" fmla="*/ 24814 w 168"/>
                <a:gd name="T91" fmla="*/ 121995 h 269"/>
                <a:gd name="T92" fmla="*/ 47719 w 168"/>
                <a:gd name="T93" fmla="*/ 120089 h 269"/>
                <a:gd name="T94" fmla="*/ 55355 w 168"/>
                <a:gd name="T95" fmla="*/ 135339 h 269"/>
                <a:gd name="T96" fmla="*/ 70625 w 168"/>
                <a:gd name="T97" fmla="*/ 91497 h 269"/>
                <a:gd name="T98" fmla="*/ 116436 w 168"/>
                <a:gd name="T99" fmla="*/ 68622 h 269"/>
                <a:gd name="T100" fmla="*/ 129797 w 168"/>
                <a:gd name="T101" fmla="*/ 51467 h 269"/>
                <a:gd name="T102" fmla="*/ 141250 w 168"/>
                <a:gd name="T103" fmla="*/ 28593 h 269"/>
                <a:gd name="T104" fmla="*/ 146976 w 168"/>
                <a:gd name="T105" fmla="*/ 13343 h 269"/>
                <a:gd name="T106" fmla="*/ 141250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5" name="Freeform 756"/>
            <p:cNvSpPr>
              <a:spLocks noChangeAspect="1"/>
            </p:cNvSpPr>
            <p:nvPr/>
          </p:nvSpPr>
          <p:spPr bwMode="auto">
            <a:xfrm>
              <a:off x="2355230" y="2833250"/>
              <a:ext cx="142552" cy="140575"/>
            </a:xfrm>
            <a:custGeom>
              <a:avLst/>
              <a:gdLst>
                <a:gd name="T0" fmla="*/ 19093 w 74"/>
                <a:gd name="T1" fmla="*/ 129302 h 91"/>
                <a:gd name="T2" fmla="*/ 30549 w 74"/>
                <a:gd name="T3" fmla="*/ 123598 h 91"/>
                <a:gd name="T4" fmla="*/ 34367 w 74"/>
                <a:gd name="T5" fmla="*/ 106484 h 91"/>
                <a:gd name="T6" fmla="*/ 30549 w 74"/>
                <a:gd name="T7" fmla="*/ 102681 h 91"/>
                <a:gd name="T8" fmla="*/ 26730 w 74"/>
                <a:gd name="T9" fmla="*/ 106484 h 91"/>
                <a:gd name="T10" fmla="*/ 21002 w 74"/>
                <a:gd name="T11" fmla="*/ 104583 h 91"/>
                <a:gd name="T12" fmla="*/ 15274 w 74"/>
                <a:gd name="T13" fmla="*/ 110287 h 91"/>
                <a:gd name="T14" fmla="*/ 1909 w 74"/>
                <a:gd name="T15" fmla="*/ 102681 h 91"/>
                <a:gd name="T16" fmla="*/ 3819 w 74"/>
                <a:gd name="T17" fmla="*/ 95075 h 91"/>
                <a:gd name="T18" fmla="*/ 7637 w 74"/>
                <a:gd name="T19" fmla="*/ 85568 h 91"/>
                <a:gd name="T20" fmla="*/ 3819 w 74"/>
                <a:gd name="T21" fmla="*/ 79863 h 91"/>
                <a:gd name="T22" fmla="*/ 3819 w 74"/>
                <a:gd name="T23" fmla="*/ 68454 h 91"/>
                <a:gd name="T24" fmla="*/ 11456 w 74"/>
                <a:gd name="T25" fmla="*/ 55144 h 91"/>
                <a:gd name="T26" fmla="*/ 7637 w 74"/>
                <a:gd name="T27" fmla="*/ 49439 h 91"/>
                <a:gd name="T28" fmla="*/ 19093 w 74"/>
                <a:gd name="T29" fmla="*/ 38030 h 91"/>
                <a:gd name="T30" fmla="*/ 21002 w 74"/>
                <a:gd name="T31" fmla="*/ 26621 h 91"/>
                <a:gd name="T32" fmla="*/ 21002 w 74"/>
                <a:gd name="T33" fmla="*/ 17114 h 91"/>
                <a:gd name="T34" fmla="*/ 32458 w 74"/>
                <a:gd name="T35" fmla="*/ 11409 h 91"/>
                <a:gd name="T36" fmla="*/ 43914 w 74"/>
                <a:gd name="T37" fmla="*/ 3803 h 91"/>
                <a:gd name="T38" fmla="*/ 51551 w 74"/>
                <a:gd name="T39" fmla="*/ 0 h 91"/>
                <a:gd name="T40" fmla="*/ 64916 w 74"/>
                <a:gd name="T41" fmla="*/ 5705 h 91"/>
                <a:gd name="T42" fmla="*/ 70644 w 74"/>
                <a:gd name="T43" fmla="*/ 11409 h 91"/>
                <a:gd name="T44" fmla="*/ 80190 w 74"/>
                <a:gd name="T45" fmla="*/ 17114 h 91"/>
                <a:gd name="T46" fmla="*/ 85918 w 74"/>
                <a:gd name="T47" fmla="*/ 24720 h 91"/>
                <a:gd name="T48" fmla="*/ 93556 w 74"/>
                <a:gd name="T49" fmla="*/ 24720 h 91"/>
                <a:gd name="T50" fmla="*/ 101193 w 74"/>
                <a:gd name="T51" fmla="*/ 28523 h 91"/>
                <a:gd name="T52" fmla="*/ 108830 w 74"/>
                <a:gd name="T53" fmla="*/ 28523 h 91"/>
                <a:gd name="T54" fmla="*/ 110739 w 74"/>
                <a:gd name="T55" fmla="*/ 24720 h 91"/>
                <a:gd name="T56" fmla="*/ 118376 w 74"/>
                <a:gd name="T57" fmla="*/ 26621 h 91"/>
                <a:gd name="T58" fmla="*/ 133651 w 74"/>
                <a:gd name="T59" fmla="*/ 38030 h 91"/>
                <a:gd name="T60" fmla="*/ 133651 w 74"/>
                <a:gd name="T61" fmla="*/ 41833 h 91"/>
                <a:gd name="T62" fmla="*/ 139379 w 74"/>
                <a:gd name="T63" fmla="*/ 51341 h 91"/>
                <a:gd name="T64" fmla="*/ 139379 w 74"/>
                <a:gd name="T65" fmla="*/ 62750 h 91"/>
                <a:gd name="T66" fmla="*/ 133651 w 74"/>
                <a:gd name="T67" fmla="*/ 66553 h 91"/>
                <a:gd name="T68" fmla="*/ 129832 w 74"/>
                <a:gd name="T69" fmla="*/ 81765 h 91"/>
                <a:gd name="T70" fmla="*/ 122195 w 74"/>
                <a:gd name="T71" fmla="*/ 89371 h 91"/>
                <a:gd name="T72" fmla="*/ 110739 w 74"/>
                <a:gd name="T73" fmla="*/ 100780 h 91"/>
                <a:gd name="T74" fmla="*/ 108830 w 74"/>
                <a:gd name="T75" fmla="*/ 106484 h 91"/>
                <a:gd name="T76" fmla="*/ 72553 w 74"/>
                <a:gd name="T77" fmla="*/ 121696 h 91"/>
                <a:gd name="T78" fmla="*/ 63007 w 74"/>
                <a:gd name="T79" fmla="*/ 129302 h 91"/>
                <a:gd name="T80" fmla="*/ 57279 w 74"/>
                <a:gd name="T81" fmla="*/ 159726 h 91"/>
                <a:gd name="T82" fmla="*/ 47732 w 74"/>
                <a:gd name="T83" fmla="*/ 173037 h 91"/>
                <a:gd name="T84" fmla="*/ 43914 w 74"/>
                <a:gd name="T85" fmla="*/ 171135 h 91"/>
                <a:gd name="T86" fmla="*/ 40095 w 74"/>
                <a:gd name="T87" fmla="*/ 157825 h 91"/>
                <a:gd name="T88" fmla="*/ 26730 w 74"/>
                <a:gd name="T89" fmla="*/ 154022 h 91"/>
                <a:gd name="T90" fmla="*/ 17184 w 74"/>
                <a:gd name="T91" fmla="*/ 159726 h 91"/>
                <a:gd name="T92" fmla="*/ 17184 w 74"/>
                <a:gd name="T93" fmla="*/ 154022 h 91"/>
                <a:gd name="T94" fmla="*/ 13365 w 74"/>
                <a:gd name="T95" fmla="*/ 146416 h 91"/>
                <a:gd name="T96" fmla="*/ 22912 w 74"/>
                <a:gd name="T97" fmla="*/ 142613 h 91"/>
                <a:gd name="T98" fmla="*/ 24821 w 74"/>
                <a:gd name="T99" fmla="*/ 138810 h 91"/>
                <a:gd name="T100" fmla="*/ 19093 w 74"/>
                <a:gd name="T101" fmla="*/ 129302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6" name="Freeform 757"/>
            <p:cNvSpPr>
              <a:spLocks noChangeAspect="1"/>
            </p:cNvSpPr>
            <p:nvPr/>
          </p:nvSpPr>
          <p:spPr bwMode="auto">
            <a:xfrm>
              <a:off x="2585877" y="2417973"/>
              <a:ext cx="91298" cy="46429"/>
            </a:xfrm>
            <a:custGeom>
              <a:avLst/>
              <a:gdLst>
                <a:gd name="T0" fmla="*/ 7701 w 47"/>
                <a:gd name="T1" fmla="*/ 47625 h 30"/>
                <a:gd name="T2" fmla="*/ 13477 w 47"/>
                <a:gd name="T3" fmla="*/ 57150 h 30"/>
                <a:gd name="T4" fmla="*/ 23103 w 47"/>
                <a:gd name="T5" fmla="*/ 41910 h 30"/>
                <a:gd name="T6" fmla="*/ 38506 w 47"/>
                <a:gd name="T7" fmla="*/ 43815 h 30"/>
                <a:gd name="T8" fmla="*/ 53908 w 47"/>
                <a:gd name="T9" fmla="*/ 38100 h 30"/>
                <a:gd name="T10" fmla="*/ 78936 w 47"/>
                <a:gd name="T11" fmla="*/ 40005 h 30"/>
                <a:gd name="T12" fmla="*/ 88563 w 47"/>
                <a:gd name="T13" fmla="*/ 30480 h 30"/>
                <a:gd name="T14" fmla="*/ 75086 w 47"/>
                <a:gd name="T15" fmla="*/ 19050 h 30"/>
                <a:gd name="T16" fmla="*/ 57758 w 47"/>
                <a:gd name="T17" fmla="*/ 11430 h 30"/>
                <a:gd name="T18" fmla="*/ 46207 w 47"/>
                <a:gd name="T19" fmla="*/ 7620 h 30"/>
                <a:gd name="T20" fmla="*/ 25029 w 47"/>
                <a:gd name="T21" fmla="*/ 0 h 30"/>
                <a:gd name="T22" fmla="*/ 7701 w 47"/>
                <a:gd name="T23" fmla="*/ 1905 h 30"/>
                <a:gd name="T24" fmla="*/ 9626 w 47"/>
                <a:gd name="T25" fmla="*/ 15240 h 30"/>
                <a:gd name="T26" fmla="*/ 5776 w 47"/>
                <a:gd name="T27" fmla="*/ 20955 h 30"/>
                <a:gd name="T28" fmla="*/ 7701 w 47"/>
                <a:gd name="T29" fmla="*/ 26670 h 30"/>
                <a:gd name="T30" fmla="*/ 0 w 47"/>
                <a:gd name="T31" fmla="*/ 34290 h 30"/>
                <a:gd name="T32" fmla="*/ 9626 w 47"/>
                <a:gd name="T33" fmla="*/ 43815 h 30"/>
                <a:gd name="T34" fmla="*/ 7701 w 47"/>
                <a:gd name="T35" fmla="*/ 47625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7" name="Freeform 758"/>
            <p:cNvSpPr>
              <a:spLocks noChangeAspect="1"/>
            </p:cNvSpPr>
            <p:nvPr/>
          </p:nvSpPr>
          <p:spPr bwMode="auto">
            <a:xfrm>
              <a:off x="1539959" y="2114899"/>
              <a:ext cx="695143" cy="424305"/>
            </a:xfrm>
            <a:custGeom>
              <a:avLst/>
              <a:gdLst>
                <a:gd name="T0" fmla="*/ 656530 w 361"/>
                <a:gd name="T1" fmla="*/ 407918 h 274"/>
                <a:gd name="T2" fmla="*/ 667981 w 361"/>
                <a:gd name="T3" fmla="*/ 385044 h 274"/>
                <a:gd name="T4" fmla="*/ 688975 w 361"/>
                <a:gd name="T5" fmla="*/ 339297 h 274"/>
                <a:gd name="T6" fmla="*/ 627902 w 361"/>
                <a:gd name="T7" fmla="*/ 331672 h 274"/>
                <a:gd name="T8" fmla="*/ 589732 w 361"/>
                <a:gd name="T9" fmla="*/ 388857 h 274"/>
                <a:gd name="T10" fmla="*/ 578281 w 361"/>
                <a:gd name="T11" fmla="*/ 406012 h 274"/>
                <a:gd name="T12" fmla="*/ 553470 w 361"/>
                <a:gd name="T13" fmla="*/ 411731 h 274"/>
                <a:gd name="T14" fmla="*/ 538202 w 361"/>
                <a:gd name="T15" fmla="*/ 409824 h 274"/>
                <a:gd name="T16" fmla="*/ 469495 w 361"/>
                <a:gd name="T17" fmla="*/ 404106 h 274"/>
                <a:gd name="T18" fmla="*/ 427508 w 361"/>
                <a:gd name="T19" fmla="*/ 324047 h 274"/>
                <a:gd name="T20" fmla="*/ 435142 w 361"/>
                <a:gd name="T21" fmla="*/ 320235 h 274"/>
                <a:gd name="T22" fmla="*/ 429417 w 361"/>
                <a:gd name="T23" fmla="*/ 242082 h 274"/>
                <a:gd name="T24" fmla="*/ 446593 w 361"/>
                <a:gd name="T25" fmla="*/ 203959 h 274"/>
                <a:gd name="T26" fmla="*/ 398880 w 361"/>
                <a:gd name="T27" fmla="*/ 169648 h 274"/>
                <a:gd name="T28" fmla="*/ 372161 w 361"/>
                <a:gd name="T29" fmla="*/ 99120 h 274"/>
                <a:gd name="T30" fmla="*/ 330174 w 361"/>
                <a:gd name="T31" fmla="*/ 87683 h 274"/>
                <a:gd name="T32" fmla="*/ 301546 w 361"/>
                <a:gd name="T33" fmla="*/ 99120 h 274"/>
                <a:gd name="T34" fmla="*/ 257650 w 361"/>
                <a:gd name="T35" fmla="*/ 40029 h 274"/>
                <a:gd name="T36" fmla="*/ 141230 w 361"/>
                <a:gd name="T37" fmla="*/ 38123 h 274"/>
                <a:gd name="T38" fmla="*/ 9543 w 361"/>
                <a:gd name="T39" fmla="*/ 0 h 274"/>
                <a:gd name="T40" fmla="*/ 11451 w 361"/>
                <a:gd name="T41" fmla="*/ 34311 h 274"/>
                <a:gd name="T42" fmla="*/ 19085 w 361"/>
                <a:gd name="T43" fmla="*/ 72434 h 274"/>
                <a:gd name="T44" fmla="*/ 51530 w 361"/>
                <a:gd name="T45" fmla="*/ 121994 h 274"/>
                <a:gd name="T46" fmla="*/ 57256 w 361"/>
                <a:gd name="T47" fmla="*/ 144868 h 274"/>
                <a:gd name="T48" fmla="*/ 30536 w 361"/>
                <a:gd name="T49" fmla="*/ 142962 h 274"/>
                <a:gd name="T50" fmla="*/ 72524 w 361"/>
                <a:gd name="T51" fmla="*/ 169648 h 274"/>
                <a:gd name="T52" fmla="*/ 87792 w 361"/>
                <a:gd name="T53" fmla="*/ 221115 h 274"/>
                <a:gd name="T54" fmla="*/ 114511 w 361"/>
                <a:gd name="T55" fmla="*/ 249707 h 274"/>
                <a:gd name="T56" fmla="*/ 150773 w 361"/>
                <a:gd name="T57" fmla="*/ 272581 h 274"/>
                <a:gd name="T58" fmla="*/ 131688 w 361"/>
                <a:gd name="T59" fmla="*/ 249707 h 274"/>
                <a:gd name="T60" fmla="*/ 116420 w 361"/>
                <a:gd name="T61" fmla="*/ 188710 h 274"/>
                <a:gd name="T62" fmla="*/ 85883 w 361"/>
                <a:gd name="T63" fmla="*/ 144868 h 274"/>
                <a:gd name="T64" fmla="*/ 64890 w 361"/>
                <a:gd name="T65" fmla="*/ 95308 h 274"/>
                <a:gd name="T66" fmla="*/ 49621 w 361"/>
                <a:gd name="T67" fmla="*/ 28592 h 274"/>
                <a:gd name="T68" fmla="*/ 83975 w 361"/>
                <a:gd name="T69" fmla="*/ 41936 h 274"/>
                <a:gd name="T70" fmla="*/ 97334 w 361"/>
                <a:gd name="T71" fmla="*/ 106745 h 274"/>
                <a:gd name="T72" fmla="*/ 135505 w 361"/>
                <a:gd name="T73" fmla="*/ 148681 h 274"/>
                <a:gd name="T74" fmla="*/ 150773 w 361"/>
                <a:gd name="T75" fmla="*/ 173461 h 274"/>
                <a:gd name="T76" fmla="*/ 158407 w 361"/>
                <a:gd name="T77" fmla="*/ 192522 h 274"/>
                <a:gd name="T78" fmla="*/ 187035 w 361"/>
                <a:gd name="T79" fmla="*/ 219208 h 274"/>
                <a:gd name="T80" fmla="*/ 219480 w 361"/>
                <a:gd name="T81" fmla="*/ 272581 h 274"/>
                <a:gd name="T82" fmla="*/ 234748 w 361"/>
                <a:gd name="T83" fmla="*/ 345015 h 274"/>
                <a:gd name="T84" fmla="*/ 242382 w 361"/>
                <a:gd name="T85" fmla="*/ 379326 h 274"/>
                <a:gd name="T86" fmla="*/ 314905 w 361"/>
                <a:gd name="T87" fmla="*/ 423168 h 274"/>
                <a:gd name="T88" fmla="*/ 400789 w 361"/>
                <a:gd name="T89" fmla="*/ 468915 h 274"/>
                <a:gd name="T90" fmla="*/ 479038 w 361"/>
                <a:gd name="T91" fmla="*/ 476540 h 274"/>
                <a:gd name="T92" fmla="*/ 509574 w 361"/>
                <a:gd name="T93" fmla="*/ 482259 h 274"/>
                <a:gd name="T94" fmla="*/ 547745 w 361"/>
                <a:gd name="T95" fmla="*/ 505133 h 274"/>
                <a:gd name="T96" fmla="*/ 585915 w 361"/>
                <a:gd name="T97" fmla="*/ 463197 h 274"/>
                <a:gd name="T98" fmla="*/ 580190 w 361"/>
                <a:gd name="T99" fmla="*/ 434605 h 274"/>
                <a:gd name="T100" fmla="*/ 639354 w 361"/>
                <a:gd name="T101" fmla="*/ 421261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8" name="Freeform 759"/>
            <p:cNvSpPr>
              <a:spLocks noChangeAspect="1"/>
            </p:cNvSpPr>
            <p:nvPr/>
          </p:nvSpPr>
          <p:spPr bwMode="auto">
            <a:xfrm>
              <a:off x="2167830" y="2451505"/>
              <a:ext cx="32034" cy="55456"/>
            </a:xfrm>
            <a:custGeom>
              <a:avLst/>
              <a:gdLst>
                <a:gd name="T0" fmla="*/ 9338 w 17"/>
                <a:gd name="T1" fmla="*/ 68262 h 36"/>
                <a:gd name="T2" fmla="*/ 14941 w 17"/>
                <a:gd name="T3" fmla="*/ 58781 h 36"/>
                <a:gd name="T4" fmla="*/ 24279 w 17"/>
                <a:gd name="T5" fmla="*/ 51196 h 36"/>
                <a:gd name="T6" fmla="*/ 24279 w 17"/>
                <a:gd name="T7" fmla="*/ 32235 h 36"/>
                <a:gd name="T8" fmla="*/ 26147 w 17"/>
                <a:gd name="T9" fmla="*/ 20858 h 36"/>
                <a:gd name="T10" fmla="*/ 31750 w 17"/>
                <a:gd name="T11" fmla="*/ 3792 h 36"/>
                <a:gd name="T12" fmla="*/ 24279 w 17"/>
                <a:gd name="T13" fmla="*/ 5688 h 36"/>
                <a:gd name="T14" fmla="*/ 26147 w 17"/>
                <a:gd name="T15" fmla="*/ 0 h 36"/>
                <a:gd name="T16" fmla="*/ 16809 w 17"/>
                <a:gd name="T17" fmla="*/ 7585 h 36"/>
                <a:gd name="T18" fmla="*/ 13074 w 17"/>
                <a:gd name="T19" fmla="*/ 17066 h 36"/>
                <a:gd name="T20" fmla="*/ 7471 w 17"/>
                <a:gd name="T21" fmla="*/ 15169 h 36"/>
                <a:gd name="T22" fmla="*/ 3735 w 17"/>
                <a:gd name="T23" fmla="*/ 18962 h 36"/>
                <a:gd name="T24" fmla="*/ 5603 w 17"/>
                <a:gd name="T25" fmla="*/ 37923 h 36"/>
                <a:gd name="T26" fmla="*/ 0 w 17"/>
                <a:gd name="T27" fmla="*/ 68262 h 36"/>
                <a:gd name="T28" fmla="*/ 9338 w 17"/>
                <a:gd name="T29" fmla="*/ 68262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9" name="Freeform 760"/>
            <p:cNvSpPr>
              <a:spLocks noChangeAspect="1"/>
            </p:cNvSpPr>
            <p:nvPr/>
          </p:nvSpPr>
          <p:spPr bwMode="auto">
            <a:xfrm>
              <a:off x="2090948" y="2466981"/>
              <a:ext cx="100908" cy="88988"/>
            </a:xfrm>
            <a:custGeom>
              <a:avLst/>
              <a:gdLst>
                <a:gd name="T0" fmla="*/ 75481 w 53"/>
                <a:gd name="T1" fmla="*/ 88763 h 58"/>
                <a:gd name="T2" fmla="*/ 75481 w 53"/>
                <a:gd name="T3" fmla="*/ 77431 h 58"/>
                <a:gd name="T4" fmla="*/ 84916 w 53"/>
                <a:gd name="T5" fmla="*/ 71766 h 58"/>
                <a:gd name="T6" fmla="*/ 98125 w 53"/>
                <a:gd name="T7" fmla="*/ 62323 h 58"/>
                <a:gd name="T8" fmla="*/ 100012 w 53"/>
                <a:gd name="T9" fmla="*/ 56657 h 58"/>
                <a:gd name="T10" fmla="*/ 92464 w 53"/>
                <a:gd name="T11" fmla="*/ 52880 h 58"/>
                <a:gd name="T12" fmla="*/ 84916 w 53"/>
                <a:gd name="T13" fmla="*/ 49103 h 58"/>
                <a:gd name="T14" fmla="*/ 75481 w 53"/>
                <a:gd name="T15" fmla="*/ 49103 h 58"/>
                <a:gd name="T16" fmla="*/ 81142 w 53"/>
                <a:gd name="T17" fmla="*/ 18886 h 58"/>
                <a:gd name="T18" fmla="*/ 79255 w 53"/>
                <a:gd name="T19" fmla="*/ 0 h 58"/>
                <a:gd name="T20" fmla="*/ 33966 w 53"/>
                <a:gd name="T21" fmla="*/ 1889 h 58"/>
                <a:gd name="T22" fmla="*/ 32079 w 53"/>
                <a:gd name="T23" fmla="*/ 16997 h 58"/>
                <a:gd name="T24" fmla="*/ 22644 w 53"/>
                <a:gd name="T25" fmla="*/ 18886 h 58"/>
                <a:gd name="T26" fmla="*/ 32079 w 53"/>
                <a:gd name="T27" fmla="*/ 28329 h 58"/>
                <a:gd name="T28" fmla="*/ 39627 w 53"/>
                <a:gd name="T29" fmla="*/ 30217 h 58"/>
                <a:gd name="T30" fmla="*/ 41514 w 53"/>
                <a:gd name="T31" fmla="*/ 35883 h 58"/>
                <a:gd name="T32" fmla="*/ 43401 w 53"/>
                <a:gd name="T33" fmla="*/ 49103 h 58"/>
                <a:gd name="T34" fmla="*/ 13209 w 53"/>
                <a:gd name="T35" fmla="*/ 47214 h 58"/>
                <a:gd name="T36" fmla="*/ 1887 w 53"/>
                <a:gd name="T37" fmla="*/ 71766 h 58"/>
                <a:gd name="T38" fmla="*/ 3774 w 53"/>
                <a:gd name="T39" fmla="*/ 81208 h 58"/>
                <a:gd name="T40" fmla="*/ 0 w 53"/>
                <a:gd name="T41" fmla="*/ 88763 h 58"/>
                <a:gd name="T42" fmla="*/ 7548 w 53"/>
                <a:gd name="T43" fmla="*/ 96317 h 58"/>
                <a:gd name="T44" fmla="*/ 18870 w 53"/>
                <a:gd name="T45" fmla="*/ 103871 h 58"/>
                <a:gd name="T46" fmla="*/ 35853 w 53"/>
                <a:gd name="T47" fmla="*/ 107648 h 58"/>
                <a:gd name="T48" fmla="*/ 47175 w 53"/>
                <a:gd name="T49" fmla="*/ 109537 h 58"/>
                <a:gd name="T50" fmla="*/ 54724 w 53"/>
                <a:gd name="T51" fmla="*/ 103871 h 58"/>
                <a:gd name="T52" fmla="*/ 60385 w 53"/>
                <a:gd name="T53" fmla="*/ 103871 h 58"/>
                <a:gd name="T54" fmla="*/ 64159 w 53"/>
                <a:gd name="T55" fmla="*/ 90651 h 58"/>
                <a:gd name="T56" fmla="*/ 71707 w 53"/>
                <a:gd name="T57" fmla="*/ 88763 h 58"/>
                <a:gd name="T58" fmla="*/ 75481 w 53"/>
                <a:gd name="T59" fmla="*/ 88763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0" name="Freeform 761"/>
            <p:cNvSpPr>
              <a:spLocks noChangeAspect="1"/>
            </p:cNvSpPr>
            <p:nvPr/>
          </p:nvSpPr>
          <p:spPr bwMode="auto">
            <a:xfrm>
              <a:off x="2139000" y="2539203"/>
              <a:ext cx="62466" cy="33532"/>
            </a:xfrm>
            <a:custGeom>
              <a:avLst/>
              <a:gdLst>
                <a:gd name="T0" fmla="*/ 60036 w 33"/>
                <a:gd name="T1" fmla="*/ 31894 h 22"/>
                <a:gd name="T2" fmla="*/ 60036 w 33"/>
                <a:gd name="T3" fmla="*/ 22514 h 22"/>
                <a:gd name="T4" fmla="*/ 56284 w 33"/>
                <a:gd name="T5" fmla="*/ 16885 h 22"/>
                <a:gd name="T6" fmla="*/ 45027 w 33"/>
                <a:gd name="T7" fmla="*/ 18761 h 22"/>
                <a:gd name="T8" fmla="*/ 45027 w 33"/>
                <a:gd name="T9" fmla="*/ 11257 h 22"/>
                <a:gd name="T10" fmla="*/ 37522 w 33"/>
                <a:gd name="T11" fmla="*/ 9381 h 22"/>
                <a:gd name="T12" fmla="*/ 31894 w 33"/>
                <a:gd name="T13" fmla="*/ 5628 h 22"/>
                <a:gd name="T14" fmla="*/ 28142 w 33"/>
                <a:gd name="T15" fmla="*/ 0 h 22"/>
                <a:gd name="T16" fmla="*/ 24390 w 33"/>
                <a:gd name="T17" fmla="*/ 0 h 22"/>
                <a:gd name="T18" fmla="*/ 16885 w 33"/>
                <a:gd name="T19" fmla="*/ 1876 h 22"/>
                <a:gd name="T20" fmla="*/ 13133 w 33"/>
                <a:gd name="T21" fmla="*/ 15009 h 22"/>
                <a:gd name="T22" fmla="*/ 7504 w 33"/>
                <a:gd name="T23" fmla="*/ 15009 h 22"/>
                <a:gd name="T24" fmla="*/ 0 w 33"/>
                <a:gd name="T25" fmla="*/ 20638 h 22"/>
                <a:gd name="T26" fmla="*/ 9381 w 33"/>
                <a:gd name="T27" fmla="*/ 24390 h 22"/>
                <a:gd name="T28" fmla="*/ 13133 w 33"/>
                <a:gd name="T29" fmla="*/ 30018 h 22"/>
                <a:gd name="T30" fmla="*/ 26266 w 33"/>
                <a:gd name="T31" fmla="*/ 31894 h 22"/>
                <a:gd name="T32" fmla="*/ 30018 w 33"/>
                <a:gd name="T33" fmla="*/ 35647 h 22"/>
                <a:gd name="T34" fmla="*/ 41275 w 33"/>
                <a:gd name="T35" fmla="*/ 33770 h 22"/>
                <a:gd name="T36" fmla="*/ 48779 w 33"/>
                <a:gd name="T37" fmla="*/ 39399 h 22"/>
                <a:gd name="T38" fmla="*/ 54408 w 33"/>
                <a:gd name="T39" fmla="*/ 39399 h 22"/>
                <a:gd name="T40" fmla="*/ 56284 w 33"/>
                <a:gd name="T41" fmla="*/ 33770 h 22"/>
                <a:gd name="T42" fmla="*/ 60036 w 33"/>
                <a:gd name="T43" fmla="*/ 31894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1" name="Freeform 762"/>
            <p:cNvSpPr>
              <a:spLocks noChangeAspect="1"/>
            </p:cNvSpPr>
            <p:nvPr/>
          </p:nvSpPr>
          <p:spPr bwMode="auto">
            <a:xfrm>
              <a:off x="2167830" y="2508251"/>
              <a:ext cx="144153" cy="68353"/>
            </a:xfrm>
            <a:custGeom>
              <a:avLst/>
              <a:gdLst>
                <a:gd name="T0" fmla="*/ 32385 w 75"/>
                <a:gd name="T1" fmla="*/ 70752 h 44"/>
                <a:gd name="T2" fmla="*/ 32385 w 75"/>
                <a:gd name="T3" fmla="*/ 61191 h 44"/>
                <a:gd name="T4" fmla="*/ 28575 w 75"/>
                <a:gd name="T5" fmla="*/ 55454 h 44"/>
                <a:gd name="T6" fmla="*/ 17145 w 75"/>
                <a:gd name="T7" fmla="*/ 57366 h 44"/>
                <a:gd name="T8" fmla="*/ 17145 w 75"/>
                <a:gd name="T9" fmla="*/ 49717 h 44"/>
                <a:gd name="T10" fmla="*/ 9525 w 75"/>
                <a:gd name="T11" fmla="*/ 47805 h 44"/>
                <a:gd name="T12" fmla="*/ 3810 w 75"/>
                <a:gd name="T13" fmla="*/ 43981 h 44"/>
                <a:gd name="T14" fmla="*/ 0 w 75"/>
                <a:gd name="T15" fmla="*/ 38244 h 44"/>
                <a:gd name="T16" fmla="*/ 0 w 75"/>
                <a:gd name="T17" fmla="*/ 26771 h 44"/>
                <a:gd name="T18" fmla="*/ 9525 w 75"/>
                <a:gd name="T19" fmla="*/ 21034 h 44"/>
                <a:gd name="T20" fmla="*/ 22860 w 75"/>
                <a:gd name="T21" fmla="*/ 11473 h 44"/>
                <a:gd name="T22" fmla="*/ 24765 w 75"/>
                <a:gd name="T23" fmla="*/ 5737 h 44"/>
                <a:gd name="T24" fmla="*/ 34290 w 75"/>
                <a:gd name="T25" fmla="*/ 0 h 44"/>
                <a:gd name="T26" fmla="*/ 43815 w 75"/>
                <a:gd name="T27" fmla="*/ 1912 h 44"/>
                <a:gd name="T28" fmla="*/ 47625 w 75"/>
                <a:gd name="T29" fmla="*/ 5737 h 44"/>
                <a:gd name="T30" fmla="*/ 64770 w 75"/>
                <a:gd name="T31" fmla="*/ 5737 h 44"/>
                <a:gd name="T32" fmla="*/ 78105 w 75"/>
                <a:gd name="T33" fmla="*/ 0 h 44"/>
                <a:gd name="T34" fmla="*/ 85725 w 75"/>
                <a:gd name="T35" fmla="*/ 0 h 44"/>
                <a:gd name="T36" fmla="*/ 100965 w 75"/>
                <a:gd name="T37" fmla="*/ 1912 h 44"/>
                <a:gd name="T38" fmla="*/ 112395 w 75"/>
                <a:gd name="T39" fmla="*/ 3824 h 44"/>
                <a:gd name="T40" fmla="*/ 120015 w 75"/>
                <a:gd name="T41" fmla="*/ 3824 h 44"/>
                <a:gd name="T42" fmla="*/ 127635 w 75"/>
                <a:gd name="T43" fmla="*/ 9561 h 44"/>
                <a:gd name="T44" fmla="*/ 127635 w 75"/>
                <a:gd name="T45" fmla="*/ 11473 h 44"/>
                <a:gd name="T46" fmla="*/ 120015 w 75"/>
                <a:gd name="T47" fmla="*/ 9561 h 44"/>
                <a:gd name="T48" fmla="*/ 120015 w 75"/>
                <a:gd name="T49" fmla="*/ 17210 h 44"/>
                <a:gd name="T50" fmla="*/ 121920 w 75"/>
                <a:gd name="T51" fmla="*/ 19122 h 44"/>
                <a:gd name="T52" fmla="*/ 131445 w 75"/>
                <a:gd name="T53" fmla="*/ 19122 h 44"/>
                <a:gd name="T54" fmla="*/ 131445 w 75"/>
                <a:gd name="T55" fmla="*/ 17210 h 44"/>
                <a:gd name="T56" fmla="*/ 131445 w 75"/>
                <a:gd name="T57" fmla="*/ 13385 h 44"/>
                <a:gd name="T58" fmla="*/ 140970 w 75"/>
                <a:gd name="T59" fmla="*/ 21034 h 44"/>
                <a:gd name="T60" fmla="*/ 140970 w 75"/>
                <a:gd name="T61" fmla="*/ 28683 h 44"/>
                <a:gd name="T62" fmla="*/ 129540 w 75"/>
                <a:gd name="T63" fmla="*/ 28683 h 44"/>
                <a:gd name="T64" fmla="*/ 123825 w 75"/>
                <a:gd name="T65" fmla="*/ 32507 h 44"/>
                <a:gd name="T66" fmla="*/ 108585 w 75"/>
                <a:gd name="T67" fmla="*/ 38244 h 44"/>
                <a:gd name="T68" fmla="*/ 104775 w 75"/>
                <a:gd name="T69" fmla="*/ 32507 h 44"/>
                <a:gd name="T70" fmla="*/ 95250 w 75"/>
                <a:gd name="T71" fmla="*/ 40156 h 44"/>
                <a:gd name="T72" fmla="*/ 93345 w 75"/>
                <a:gd name="T73" fmla="*/ 47805 h 44"/>
                <a:gd name="T74" fmla="*/ 80010 w 75"/>
                <a:gd name="T75" fmla="*/ 55454 h 44"/>
                <a:gd name="T76" fmla="*/ 70485 w 75"/>
                <a:gd name="T77" fmla="*/ 55454 h 44"/>
                <a:gd name="T78" fmla="*/ 64770 w 75"/>
                <a:gd name="T79" fmla="*/ 61191 h 44"/>
                <a:gd name="T80" fmla="*/ 55245 w 75"/>
                <a:gd name="T81" fmla="*/ 61191 h 44"/>
                <a:gd name="T82" fmla="*/ 55245 w 75"/>
                <a:gd name="T83" fmla="*/ 74576 h 44"/>
                <a:gd name="T84" fmla="*/ 47625 w 75"/>
                <a:gd name="T85" fmla="*/ 84137 h 44"/>
                <a:gd name="T86" fmla="*/ 41910 w 75"/>
                <a:gd name="T87" fmla="*/ 84137 h 44"/>
                <a:gd name="T88" fmla="*/ 38100 w 75"/>
                <a:gd name="T89" fmla="*/ 78400 h 44"/>
                <a:gd name="T90" fmla="*/ 32385 w 75"/>
                <a:gd name="T91" fmla="*/ 70752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2" name="Freeform 763"/>
            <p:cNvSpPr>
              <a:spLocks noChangeAspect="1"/>
            </p:cNvSpPr>
            <p:nvPr/>
          </p:nvSpPr>
          <p:spPr bwMode="auto">
            <a:xfrm>
              <a:off x="2198262" y="2530175"/>
              <a:ext cx="110519" cy="96726"/>
            </a:xfrm>
            <a:custGeom>
              <a:avLst/>
              <a:gdLst>
                <a:gd name="T0" fmla="*/ 49103 w 58"/>
                <a:gd name="T1" fmla="*/ 103944 h 63"/>
                <a:gd name="T2" fmla="*/ 66101 w 58"/>
                <a:gd name="T3" fmla="*/ 111503 h 63"/>
                <a:gd name="T4" fmla="*/ 73655 w 58"/>
                <a:gd name="T5" fmla="*/ 111503 h 63"/>
                <a:gd name="T6" fmla="*/ 81209 w 58"/>
                <a:gd name="T7" fmla="*/ 117173 h 63"/>
                <a:gd name="T8" fmla="*/ 94429 w 58"/>
                <a:gd name="T9" fmla="*/ 117173 h 63"/>
                <a:gd name="T10" fmla="*/ 96318 w 58"/>
                <a:gd name="T11" fmla="*/ 111503 h 63"/>
                <a:gd name="T12" fmla="*/ 90652 w 58"/>
                <a:gd name="T13" fmla="*/ 100164 h 63"/>
                <a:gd name="T14" fmla="*/ 94429 w 58"/>
                <a:gd name="T15" fmla="*/ 86935 h 63"/>
                <a:gd name="T16" fmla="*/ 92541 w 58"/>
                <a:gd name="T17" fmla="*/ 75596 h 63"/>
                <a:gd name="T18" fmla="*/ 98206 w 58"/>
                <a:gd name="T19" fmla="*/ 66146 h 63"/>
                <a:gd name="T20" fmla="*/ 98206 w 58"/>
                <a:gd name="T21" fmla="*/ 41578 h 63"/>
                <a:gd name="T22" fmla="*/ 107649 w 58"/>
                <a:gd name="T23" fmla="*/ 24569 h 63"/>
                <a:gd name="T24" fmla="*/ 107649 w 58"/>
                <a:gd name="T25" fmla="*/ 11339 h 63"/>
                <a:gd name="T26" fmla="*/ 109538 w 58"/>
                <a:gd name="T27" fmla="*/ 1890 h 63"/>
                <a:gd name="T28" fmla="*/ 98206 w 58"/>
                <a:gd name="T29" fmla="*/ 1890 h 63"/>
                <a:gd name="T30" fmla="*/ 92541 w 58"/>
                <a:gd name="T31" fmla="*/ 5670 h 63"/>
                <a:gd name="T32" fmla="*/ 77432 w 58"/>
                <a:gd name="T33" fmla="*/ 11339 h 63"/>
                <a:gd name="T34" fmla="*/ 73655 w 58"/>
                <a:gd name="T35" fmla="*/ 5670 h 63"/>
                <a:gd name="T36" fmla="*/ 64212 w 58"/>
                <a:gd name="T37" fmla="*/ 13229 h 63"/>
                <a:gd name="T38" fmla="*/ 62323 w 58"/>
                <a:gd name="T39" fmla="*/ 20789 h 63"/>
                <a:gd name="T40" fmla="*/ 49103 w 58"/>
                <a:gd name="T41" fmla="*/ 28348 h 63"/>
                <a:gd name="T42" fmla="*/ 39660 w 58"/>
                <a:gd name="T43" fmla="*/ 28348 h 63"/>
                <a:gd name="T44" fmla="*/ 33995 w 58"/>
                <a:gd name="T45" fmla="*/ 34018 h 63"/>
                <a:gd name="T46" fmla="*/ 24552 w 58"/>
                <a:gd name="T47" fmla="*/ 34018 h 63"/>
                <a:gd name="T48" fmla="*/ 24552 w 58"/>
                <a:gd name="T49" fmla="*/ 47247 h 63"/>
                <a:gd name="T50" fmla="*/ 16997 w 58"/>
                <a:gd name="T51" fmla="*/ 56697 h 63"/>
                <a:gd name="T52" fmla="*/ 11332 w 58"/>
                <a:gd name="T53" fmla="*/ 56697 h 63"/>
                <a:gd name="T54" fmla="*/ 7554 w 58"/>
                <a:gd name="T55" fmla="*/ 58587 h 63"/>
                <a:gd name="T56" fmla="*/ 1889 w 58"/>
                <a:gd name="T57" fmla="*/ 52917 h 63"/>
                <a:gd name="T58" fmla="*/ 1889 w 58"/>
                <a:gd name="T59" fmla="*/ 60476 h 63"/>
                <a:gd name="T60" fmla="*/ 24552 w 58"/>
                <a:gd name="T61" fmla="*/ 85045 h 63"/>
                <a:gd name="T62" fmla="*/ 43437 w 58"/>
                <a:gd name="T63" fmla="*/ 105834 h 63"/>
                <a:gd name="T64" fmla="*/ 47215 w 58"/>
                <a:gd name="T65" fmla="*/ 103944 h 63"/>
                <a:gd name="T66" fmla="*/ 43437 w 58"/>
                <a:gd name="T67" fmla="*/ 94494 h 63"/>
                <a:gd name="T68" fmla="*/ 41549 w 58"/>
                <a:gd name="T69" fmla="*/ 81265 h 63"/>
                <a:gd name="T70" fmla="*/ 43437 w 58"/>
                <a:gd name="T71" fmla="*/ 79375 h 63"/>
                <a:gd name="T72" fmla="*/ 56658 w 58"/>
                <a:gd name="T73" fmla="*/ 88825 h 63"/>
                <a:gd name="T74" fmla="*/ 67989 w 58"/>
                <a:gd name="T75" fmla="*/ 102054 h 63"/>
                <a:gd name="T76" fmla="*/ 67989 w 58"/>
                <a:gd name="T77" fmla="*/ 107724 h 63"/>
                <a:gd name="T78" fmla="*/ 50992 w 58"/>
                <a:gd name="T79" fmla="*/ 100164 h 63"/>
                <a:gd name="T80" fmla="*/ 49103 w 58"/>
                <a:gd name="T81" fmla="*/ 103944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3" name="Freeform 764"/>
            <p:cNvSpPr>
              <a:spLocks noChangeAspect="1"/>
            </p:cNvSpPr>
            <p:nvPr/>
          </p:nvSpPr>
          <p:spPr bwMode="auto">
            <a:xfrm>
              <a:off x="2311984" y="2650116"/>
              <a:ext cx="134544" cy="56746"/>
            </a:xfrm>
            <a:custGeom>
              <a:avLst/>
              <a:gdLst>
                <a:gd name="T0" fmla="*/ 120015 w 70"/>
                <a:gd name="T1" fmla="*/ 64029 h 36"/>
                <a:gd name="T2" fmla="*/ 125730 w 70"/>
                <a:gd name="T3" fmla="*/ 56268 h 36"/>
                <a:gd name="T4" fmla="*/ 131445 w 70"/>
                <a:gd name="T5" fmla="*/ 56268 h 36"/>
                <a:gd name="T6" fmla="*/ 133350 w 70"/>
                <a:gd name="T7" fmla="*/ 42686 h 36"/>
                <a:gd name="T8" fmla="*/ 129540 w 70"/>
                <a:gd name="T9" fmla="*/ 34925 h 36"/>
                <a:gd name="T10" fmla="*/ 133350 w 70"/>
                <a:gd name="T11" fmla="*/ 29104 h 36"/>
                <a:gd name="T12" fmla="*/ 121920 w 70"/>
                <a:gd name="T13" fmla="*/ 15522 h 36"/>
                <a:gd name="T14" fmla="*/ 102870 w 70"/>
                <a:gd name="T15" fmla="*/ 9701 h 36"/>
                <a:gd name="T16" fmla="*/ 89535 w 70"/>
                <a:gd name="T17" fmla="*/ 1940 h 36"/>
                <a:gd name="T18" fmla="*/ 80010 w 70"/>
                <a:gd name="T19" fmla="*/ 7761 h 36"/>
                <a:gd name="T20" fmla="*/ 62865 w 70"/>
                <a:gd name="T21" fmla="*/ 11642 h 36"/>
                <a:gd name="T22" fmla="*/ 41910 w 70"/>
                <a:gd name="T23" fmla="*/ 23283 h 36"/>
                <a:gd name="T24" fmla="*/ 30480 w 70"/>
                <a:gd name="T25" fmla="*/ 19403 h 36"/>
                <a:gd name="T26" fmla="*/ 20955 w 70"/>
                <a:gd name="T27" fmla="*/ 19403 h 36"/>
                <a:gd name="T28" fmla="*/ 15240 w 70"/>
                <a:gd name="T29" fmla="*/ 7761 h 36"/>
                <a:gd name="T30" fmla="*/ 5715 w 70"/>
                <a:gd name="T31" fmla="*/ 1940 h 36"/>
                <a:gd name="T32" fmla="*/ 3810 w 70"/>
                <a:gd name="T33" fmla="*/ 13582 h 36"/>
                <a:gd name="T34" fmla="*/ 9525 w 70"/>
                <a:gd name="T35" fmla="*/ 21343 h 36"/>
                <a:gd name="T36" fmla="*/ 3810 w 70"/>
                <a:gd name="T37" fmla="*/ 27164 h 36"/>
                <a:gd name="T38" fmla="*/ 3810 w 70"/>
                <a:gd name="T39" fmla="*/ 34925 h 36"/>
                <a:gd name="T40" fmla="*/ 0 w 70"/>
                <a:gd name="T41" fmla="*/ 40746 h 36"/>
                <a:gd name="T42" fmla="*/ 17145 w 70"/>
                <a:gd name="T43" fmla="*/ 40746 h 36"/>
                <a:gd name="T44" fmla="*/ 30480 w 70"/>
                <a:gd name="T45" fmla="*/ 40746 h 36"/>
                <a:gd name="T46" fmla="*/ 34290 w 70"/>
                <a:gd name="T47" fmla="*/ 52387 h 36"/>
                <a:gd name="T48" fmla="*/ 38100 w 70"/>
                <a:gd name="T49" fmla="*/ 58208 h 36"/>
                <a:gd name="T50" fmla="*/ 43815 w 70"/>
                <a:gd name="T51" fmla="*/ 48507 h 36"/>
                <a:gd name="T52" fmla="*/ 47625 w 70"/>
                <a:gd name="T53" fmla="*/ 60149 h 36"/>
                <a:gd name="T54" fmla="*/ 55245 w 70"/>
                <a:gd name="T55" fmla="*/ 67910 h 36"/>
                <a:gd name="T56" fmla="*/ 70485 w 70"/>
                <a:gd name="T57" fmla="*/ 62089 h 36"/>
                <a:gd name="T58" fmla="*/ 64770 w 70"/>
                <a:gd name="T59" fmla="*/ 50447 h 36"/>
                <a:gd name="T60" fmla="*/ 59055 w 70"/>
                <a:gd name="T61" fmla="*/ 40746 h 36"/>
                <a:gd name="T62" fmla="*/ 66675 w 70"/>
                <a:gd name="T63" fmla="*/ 36865 h 36"/>
                <a:gd name="T64" fmla="*/ 74295 w 70"/>
                <a:gd name="T65" fmla="*/ 31044 h 36"/>
                <a:gd name="T66" fmla="*/ 74295 w 70"/>
                <a:gd name="T67" fmla="*/ 21343 h 36"/>
                <a:gd name="T68" fmla="*/ 89535 w 70"/>
                <a:gd name="T69" fmla="*/ 15522 h 36"/>
                <a:gd name="T70" fmla="*/ 102870 w 70"/>
                <a:gd name="T71" fmla="*/ 25224 h 36"/>
                <a:gd name="T72" fmla="*/ 110490 w 70"/>
                <a:gd name="T73" fmla="*/ 29104 h 36"/>
                <a:gd name="T74" fmla="*/ 114300 w 70"/>
                <a:gd name="T75" fmla="*/ 42686 h 36"/>
                <a:gd name="T76" fmla="*/ 108585 w 70"/>
                <a:gd name="T77" fmla="*/ 44626 h 36"/>
                <a:gd name="T78" fmla="*/ 112395 w 70"/>
                <a:gd name="T79" fmla="*/ 56268 h 36"/>
                <a:gd name="T80" fmla="*/ 120015 w 70"/>
                <a:gd name="T81" fmla="*/ 64029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4" name="Freeform 765"/>
            <p:cNvSpPr>
              <a:spLocks noChangeAspect="1"/>
            </p:cNvSpPr>
            <p:nvPr/>
          </p:nvSpPr>
          <p:spPr bwMode="auto">
            <a:xfrm>
              <a:off x="2239906" y="2615294"/>
              <a:ext cx="81688" cy="72222"/>
            </a:xfrm>
            <a:custGeom>
              <a:avLst/>
              <a:gdLst>
                <a:gd name="T0" fmla="*/ 77108 w 42"/>
                <a:gd name="T1" fmla="*/ 45396 h 47"/>
                <a:gd name="T2" fmla="*/ 75180 w 42"/>
                <a:gd name="T3" fmla="*/ 41613 h 47"/>
                <a:gd name="T4" fmla="*/ 69397 w 42"/>
                <a:gd name="T5" fmla="*/ 35938 h 47"/>
                <a:gd name="T6" fmla="*/ 57831 w 42"/>
                <a:gd name="T7" fmla="*/ 24589 h 47"/>
                <a:gd name="T8" fmla="*/ 57831 w 42"/>
                <a:gd name="T9" fmla="*/ 13240 h 47"/>
                <a:gd name="T10" fmla="*/ 55903 w 42"/>
                <a:gd name="T11" fmla="*/ 7566 h 47"/>
                <a:gd name="T12" fmla="*/ 53975 w 42"/>
                <a:gd name="T13" fmla="*/ 13240 h 47"/>
                <a:gd name="T14" fmla="*/ 40482 w 42"/>
                <a:gd name="T15" fmla="*/ 13240 h 47"/>
                <a:gd name="T16" fmla="*/ 32771 w 42"/>
                <a:gd name="T17" fmla="*/ 7566 h 47"/>
                <a:gd name="T18" fmla="*/ 25060 w 42"/>
                <a:gd name="T19" fmla="*/ 7566 h 47"/>
                <a:gd name="T20" fmla="*/ 7711 w 42"/>
                <a:gd name="T21" fmla="*/ 0 h 47"/>
                <a:gd name="T22" fmla="*/ 5783 w 42"/>
                <a:gd name="T23" fmla="*/ 0 h 47"/>
                <a:gd name="T24" fmla="*/ 1928 w 42"/>
                <a:gd name="T25" fmla="*/ 1891 h 47"/>
                <a:gd name="T26" fmla="*/ 0 w 42"/>
                <a:gd name="T27" fmla="*/ 7566 h 47"/>
                <a:gd name="T28" fmla="*/ 1928 w 42"/>
                <a:gd name="T29" fmla="*/ 13240 h 47"/>
                <a:gd name="T30" fmla="*/ 1928 w 42"/>
                <a:gd name="T31" fmla="*/ 18915 h 47"/>
                <a:gd name="T32" fmla="*/ 0 w 42"/>
                <a:gd name="T33" fmla="*/ 30264 h 47"/>
                <a:gd name="T34" fmla="*/ 1928 w 42"/>
                <a:gd name="T35" fmla="*/ 35938 h 47"/>
                <a:gd name="T36" fmla="*/ 11566 w 42"/>
                <a:gd name="T37" fmla="*/ 41613 h 47"/>
                <a:gd name="T38" fmla="*/ 19277 w 42"/>
                <a:gd name="T39" fmla="*/ 43504 h 47"/>
                <a:gd name="T40" fmla="*/ 19277 w 42"/>
                <a:gd name="T41" fmla="*/ 39721 h 47"/>
                <a:gd name="T42" fmla="*/ 15422 w 42"/>
                <a:gd name="T43" fmla="*/ 30264 h 47"/>
                <a:gd name="T44" fmla="*/ 17349 w 42"/>
                <a:gd name="T45" fmla="*/ 28372 h 47"/>
                <a:gd name="T46" fmla="*/ 25060 w 42"/>
                <a:gd name="T47" fmla="*/ 35938 h 47"/>
                <a:gd name="T48" fmla="*/ 28915 w 42"/>
                <a:gd name="T49" fmla="*/ 45396 h 47"/>
                <a:gd name="T50" fmla="*/ 44337 w 42"/>
                <a:gd name="T51" fmla="*/ 51070 h 47"/>
                <a:gd name="T52" fmla="*/ 53975 w 42"/>
                <a:gd name="T53" fmla="*/ 60528 h 47"/>
                <a:gd name="T54" fmla="*/ 53975 w 42"/>
                <a:gd name="T55" fmla="*/ 73768 h 47"/>
                <a:gd name="T56" fmla="*/ 61686 w 42"/>
                <a:gd name="T57" fmla="*/ 79443 h 47"/>
                <a:gd name="T58" fmla="*/ 57831 w 42"/>
                <a:gd name="T59" fmla="*/ 73768 h 47"/>
                <a:gd name="T60" fmla="*/ 57831 w 42"/>
                <a:gd name="T61" fmla="*/ 68094 h 47"/>
                <a:gd name="T62" fmla="*/ 63614 w 42"/>
                <a:gd name="T63" fmla="*/ 73768 h 47"/>
                <a:gd name="T64" fmla="*/ 71325 w 42"/>
                <a:gd name="T65" fmla="*/ 87009 h 47"/>
                <a:gd name="T66" fmla="*/ 71325 w 42"/>
                <a:gd name="T67" fmla="*/ 83226 h 47"/>
                <a:gd name="T68" fmla="*/ 75180 w 42"/>
                <a:gd name="T69" fmla="*/ 77551 h 47"/>
                <a:gd name="T70" fmla="*/ 75180 w 42"/>
                <a:gd name="T71" fmla="*/ 69985 h 47"/>
                <a:gd name="T72" fmla="*/ 80963 w 42"/>
                <a:gd name="T73" fmla="*/ 64311 h 47"/>
                <a:gd name="T74" fmla="*/ 75180 w 42"/>
                <a:gd name="T75" fmla="*/ 56745 h 47"/>
                <a:gd name="T76" fmla="*/ 77108 w 42"/>
                <a:gd name="T77" fmla="*/ 45396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5" name="Freeform 766"/>
            <p:cNvSpPr>
              <a:spLocks noChangeAspect="1"/>
            </p:cNvSpPr>
            <p:nvPr/>
          </p:nvSpPr>
          <p:spPr bwMode="auto">
            <a:xfrm>
              <a:off x="2404884" y="2586921"/>
              <a:ext cx="293112" cy="372718"/>
            </a:xfrm>
            <a:custGeom>
              <a:avLst/>
              <a:gdLst>
                <a:gd name="T0" fmla="*/ 51604 w 152"/>
                <a:gd name="T1" fmla="*/ 127547 h 241"/>
                <a:gd name="T2" fmla="*/ 64983 w 152"/>
                <a:gd name="T3" fmla="*/ 102799 h 241"/>
                <a:gd name="T4" fmla="*/ 80273 w 152"/>
                <a:gd name="T5" fmla="*/ 79955 h 241"/>
                <a:gd name="T6" fmla="*/ 97474 w 152"/>
                <a:gd name="T7" fmla="*/ 45688 h 241"/>
                <a:gd name="T8" fmla="*/ 116587 w 152"/>
                <a:gd name="T9" fmla="*/ 41881 h 241"/>
                <a:gd name="T10" fmla="*/ 150990 w 152"/>
                <a:gd name="T11" fmla="*/ 28555 h 241"/>
                <a:gd name="T12" fmla="*/ 173925 w 152"/>
                <a:gd name="T13" fmla="*/ 9518 h 241"/>
                <a:gd name="T14" fmla="*/ 193038 w 152"/>
                <a:gd name="T15" fmla="*/ 13326 h 241"/>
                <a:gd name="T16" fmla="*/ 164369 w 152"/>
                <a:gd name="T17" fmla="*/ 38074 h 241"/>
                <a:gd name="T18" fmla="*/ 135700 w 152"/>
                <a:gd name="T19" fmla="*/ 93281 h 241"/>
                <a:gd name="T20" fmla="*/ 154812 w 152"/>
                <a:gd name="T21" fmla="*/ 95184 h 241"/>
                <a:gd name="T22" fmla="*/ 164369 w 152"/>
                <a:gd name="T23" fmla="*/ 142776 h 241"/>
                <a:gd name="T24" fmla="*/ 193038 w 152"/>
                <a:gd name="T25" fmla="*/ 148487 h 241"/>
                <a:gd name="T26" fmla="*/ 215973 w 152"/>
                <a:gd name="T27" fmla="*/ 152295 h 241"/>
                <a:gd name="T28" fmla="*/ 242730 w 152"/>
                <a:gd name="T29" fmla="*/ 173235 h 241"/>
                <a:gd name="T30" fmla="*/ 277133 w 152"/>
                <a:gd name="T31" fmla="*/ 173235 h 241"/>
                <a:gd name="T32" fmla="*/ 271399 w 152"/>
                <a:gd name="T33" fmla="*/ 203694 h 241"/>
                <a:gd name="T34" fmla="*/ 273311 w 152"/>
                <a:gd name="T35" fmla="*/ 236057 h 241"/>
                <a:gd name="T36" fmla="*/ 265666 w 152"/>
                <a:gd name="T37" fmla="*/ 262709 h 241"/>
                <a:gd name="T38" fmla="*/ 290512 w 152"/>
                <a:gd name="T39" fmla="*/ 304590 h 241"/>
                <a:gd name="T40" fmla="*/ 273311 w 152"/>
                <a:gd name="T41" fmla="*/ 281745 h 241"/>
                <a:gd name="T42" fmla="*/ 258021 w 152"/>
                <a:gd name="T43" fmla="*/ 291264 h 241"/>
                <a:gd name="T44" fmla="*/ 231263 w 152"/>
                <a:gd name="T45" fmla="*/ 308397 h 241"/>
                <a:gd name="T46" fmla="*/ 221706 w 152"/>
                <a:gd name="T47" fmla="*/ 319819 h 241"/>
                <a:gd name="T48" fmla="*/ 225529 w 152"/>
                <a:gd name="T49" fmla="*/ 357893 h 241"/>
                <a:gd name="T50" fmla="*/ 219795 w 152"/>
                <a:gd name="T51" fmla="*/ 458788 h 241"/>
                <a:gd name="T52" fmla="*/ 212150 w 152"/>
                <a:gd name="T53" fmla="*/ 439751 h 241"/>
                <a:gd name="T54" fmla="*/ 208328 w 152"/>
                <a:gd name="T55" fmla="*/ 409292 h 241"/>
                <a:gd name="T56" fmla="*/ 183481 w 152"/>
                <a:gd name="T57" fmla="*/ 405485 h 241"/>
                <a:gd name="T58" fmla="*/ 147167 w 152"/>
                <a:gd name="T59" fmla="*/ 403581 h 241"/>
                <a:gd name="T60" fmla="*/ 139522 w 152"/>
                <a:gd name="T61" fmla="*/ 386448 h 241"/>
                <a:gd name="T62" fmla="*/ 112765 w 152"/>
                <a:gd name="T63" fmla="*/ 369315 h 241"/>
                <a:gd name="T64" fmla="*/ 91741 w 152"/>
                <a:gd name="T65" fmla="*/ 342663 h 241"/>
                <a:gd name="T66" fmla="*/ 61160 w 152"/>
                <a:gd name="T67" fmla="*/ 327434 h 241"/>
                <a:gd name="T68" fmla="*/ 43959 w 152"/>
                <a:gd name="T69" fmla="*/ 327434 h 241"/>
                <a:gd name="T70" fmla="*/ 21024 w 152"/>
                <a:gd name="T71" fmla="*/ 314108 h 241"/>
                <a:gd name="T72" fmla="*/ 1911 w 152"/>
                <a:gd name="T73" fmla="*/ 295071 h 241"/>
                <a:gd name="T74" fmla="*/ 5734 w 152"/>
                <a:gd name="T75" fmla="*/ 279842 h 241"/>
                <a:gd name="T76" fmla="*/ 30580 w 152"/>
                <a:gd name="T77" fmla="*/ 266516 h 241"/>
                <a:gd name="T78" fmla="*/ 45870 w 152"/>
                <a:gd name="T79" fmla="*/ 236057 h 241"/>
                <a:gd name="T80" fmla="*/ 32491 w 152"/>
                <a:gd name="T81" fmla="*/ 222731 h 241"/>
                <a:gd name="T82" fmla="*/ 32491 w 152"/>
                <a:gd name="T83" fmla="*/ 192272 h 241"/>
                <a:gd name="T84" fmla="*/ 40137 w 152"/>
                <a:gd name="T85" fmla="*/ 165621 h 241"/>
                <a:gd name="T86" fmla="*/ 26758 w 152"/>
                <a:gd name="T87" fmla="*/ 140873 h 241"/>
                <a:gd name="T88" fmla="*/ 40137 w 152"/>
                <a:gd name="T89" fmla="*/ 119932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6" name="Freeform 767"/>
            <p:cNvSpPr>
              <a:spLocks noChangeAspect="1"/>
            </p:cNvSpPr>
            <p:nvPr/>
          </p:nvSpPr>
          <p:spPr bwMode="auto">
            <a:xfrm>
              <a:off x="2542631" y="2594659"/>
              <a:ext cx="331554" cy="255356"/>
            </a:xfrm>
            <a:custGeom>
              <a:avLst/>
              <a:gdLst>
                <a:gd name="T0" fmla="*/ 288723 w 173"/>
                <a:gd name="T1" fmla="*/ 165735 h 165"/>
                <a:gd name="T2" fmla="*/ 303919 w 173"/>
                <a:gd name="T3" fmla="*/ 146685 h 165"/>
                <a:gd name="T4" fmla="*/ 302019 w 173"/>
                <a:gd name="T5" fmla="*/ 129540 h 165"/>
                <a:gd name="T6" fmla="*/ 328612 w 173"/>
                <a:gd name="T7" fmla="*/ 106680 h 165"/>
                <a:gd name="T8" fmla="*/ 298220 w 173"/>
                <a:gd name="T9" fmla="*/ 99060 h 165"/>
                <a:gd name="T10" fmla="*/ 303919 w 173"/>
                <a:gd name="T11" fmla="*/ 78105 h 165"/>
                <a:gd name="T12" fmla="*/ 265929 w 173"/>
                <a:gd name="T13" fmla="*/ 60960 h 165"/>
                <a:gd name="T14" fmla="*/ 275426 w 173"/>
                <a:gd name="T15" fmla="*/ 40005 h 165"/>
                <a:gd name="T16" fmla="*/ 227939 w 173"/>
                <a:gd name="T17" fmla="*/ 43815 h 165"/>
                <a:gd name="T18" fmla="*/ 212743 w 173"/>
                <a:gd name="T19" fmla="*/ 53340 h 165"/>
                <a:gd name="T20" fmla="*/ 174753 w 173"/>
                <a:gd name="T21" fmla="*/ 45720 h 165"/>
                <a:gd name="T22" fmla="*/ 131065 w 173"/>
                <a:gd name="T23" fmla="*/ 49530 h 165"/>
                <a:gd name="T24" fmla="*/ 112070 w 173"/>
                <a:gd name="T25" fmla="*/ 19050 h 165"/>
                <a:gd name="T26" fmla="*/ 89276 w 173"/>
                <a:gd name="T27" fmla="*/ 5715 h 165"/>
                <a:gd name="T28" fmla="*/ 79779 w 173"/>
                <a:gd name="T29" fmla="*/ 15240 h 165"/>
                <a:gd name="T30" fmla="*/ 81678 w 173"/>
                <a:gd name="T31" fmla="*/ 20955 h 165"/>
                <a:gd name="T32" fmla="*/ 53186 w 173"/>
                <a:gd name="T33" fmla="*/ 36195 h 165"/>
                <a:gd name="T34" fmla="*/ 55085 w 173"/>
                <a:gd name="T35" fmla="*/ 66675 h 165"/>
                <a:gd name="T36" fmla="*/ 37990 w 173"/>
                <a:gd name="T37" fmla="*/ 76200 h 165"/>
                <a:gd name="T38" fmla="*/ 43688 w 173"/>
                <a:gd name="T39" fmla="*/ 45720 h 165"/>
                <a:gd name="T40" fmla="*/ 36090 w 173"/>
                <a:gd name="T41" fmla="*/ 15240 h 165"/>
                <a:gd name="T42" fmla="*/ 34191 w 173"/>
                <a:gd name="T43" fmla="*/ 13335 h 165"/>
                <a:gd name="T44" fmla="*/ 13296 w 173"/>
                <a:gd name="T45" fmla="*/ 64770 h 165"/>
                <a:gd name="T46" fmla="*/ 9497 w 173"/>
                <a:gd name="T47" fmla="*/ 83820 h 165"/>
                <a:gd name="T48" fmla="*/ 24693 w 173"/>
                <a:gd name="T49" fmla="*/ 121920 h 165"/>
                <a:gd name="T50" fmla="*/ 47487 w 173"/>
                <a:gd name="T51" fmla="*/ 137160 h 165"/>
                <a:gd name="T52" fmla="*/ 70281 w 173"/>
                <a:gd name="T53" fmla="*/ 142875 h 165"/>
                <a:gd name="T54" fmla="*/ 102573 w 173"/>
                <a:gd name="T55" fmla="*/ 161925 h 165"/>
                <a:gd name="T56" fmla="*/ 134864 w 173"/>
                <a:gd name="T57" fmla="*/ 161925 h 165"/>
                <a:gd name="T58" fmla="*/ 132964 w 173"/>
                <a:gd name="T59" fmla="*/ 188595 h 165"/>
                <a:gd name="T60" fmla="*/ 136763 w 173"/>
                <a:gd name="T61" fmla="*/ 215265 h 165"/>
                <a:gd name="T62" fmla="*/ 140562 w 173"/>
                <a:gd name="T63" fmla="*/ 240030 h 165"/>
                <a:gd name="T64" fmla="*/ 144361 w 173"/>
                <a:gd name="T65" fmla="*/ 268605 h 165"/>
                <a:gd name="T66" fmla="*/ 184251 w 173"/>
                <a:gd name="T67" fmla="*/ 310515 h 165"/>
                <a:gd name="T68" fmla="*/ 212743 w 173"/>
                <a:gd name="T69" fmla="*/ 289560 h 165"/>
                <a:gd name="T70" fmla="*/ 218441 w 173"/>
                <a:gd name="T71" fmla="*/ 278130 h 165"/>
                <a:gd name="T72" fmla="*/ 239336 w 173"/>
                <a:gd name="T73" fmla="*/ 266700 h 165"/>
                <a:gd name="T74" fmla="*/ 218441 w 173"/>
                <a:gd name="T75" fmla="*/ 259080 h 165"/>
                <a:gd name="T76" fmla="*/ 220341 w 173"/>
                <a:gd name="T77" fmla="*/ 238125 h 165"/>
                <a:gd name="T78" fmla="*/ 218441 w 173"/>
                <a:gd name="T79" fmla="*/ 219075 h 165"/>
                <a:gd name="T80" fmla="*/ 254532 w 173"/>
                <a:gd name="T81" fmla="*/ 228600 h 165"/>
                <a:gd name="T82" fmla="*/ 290622 w 173"/>
                <a:gd name="T83" fmla="*/ 211455 h 165"/>
                <a:gd name="T84" fmla="*/ 303919 w 173"/>
                <a:gd name="T85" fmla="*/ 188595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7" name="Freeform 768"/>
            <p:cNvSpPr>
              <a:spLocks noChangeAspect="1"/>
            </p:cNvSpPr>
            <p:nvPr/>
          </p:nvSpPr>
          <p:spPr bwMode="auto">
            <a:xfrm>
              <a:off x="2830939" y="2681067"/>
              <a:ext cx="120128" cy="159920"/>
            </a:xfrm>
            <a:custGeom>
              <a:avLst/>
              <a:gdLst>
                <a:gd name="T0" fmla="*/ 119062 w 63"/>
                <a:gd name="T1" fmla="*/ 172005 h 103"/>
                <a:gd name="T2" fmla="*/ 113392 w 63"/>
                <a:gd name="T3" fmla="*/ 164360 h 103"/>
                <a:gd name="T4" fmla="*/ 107723 w 63"/>
                <a:gd name="T5" fmla="*/ 154804 h 103"/>
                <a:gd name="T6" fmla="*/ 103943 w 63"/>
                <a:gd name="T7" fmla="*/ 139515 h 103"/>
                <a:gd name="T8" fmla="*/ 100163 w 63"/>
                <a:gd name="T9" fmla="*/ 137604 h 103"/>
                <a:gd name="T10" fmla="*/ 100163 w 63"/>
                <a:gd name="T11" fmla="*/ 129959 h 103"/>
                <a:gd name="T12" fmla="*/ 94494 w 63"/>
                <a:gd name="T13" fmla="*/ 129959 h 103"/>
                <a:gd name="T14" fmla="*/ 83154 w 63"/>
                <a:gd name="T15" fmla="*/ 112759 h 103"/>
                <a:gd name="T16" fmla="*/ 86934 w 63"/>
                <a:gd name="T17" fmla="*/ 101292 h 103"/>
                <a:gd name="T18" fmla="*/ 88824 w 63"/>
                <a:gd name="T19" fmla="*/ 89825 h 103"/>
                <a:gd name="T20" fmla="*/ 98273 w 63"/>
                <a:gd name="T21" fmla="*/ 89825 h 103"/>
                <a:gd name="T22" fmla="*/ 102053 w 63"/>
                <a:gd name="T23" fmla="*/ 82180 h 103"/>
                <a:gd name="T24" fmla="*/ 100163 w 63"/>
                <a:gd name="T25" fmla="*/ 70713 h 103"/>
                <a:gd name="T26" fmla="*/ 105833 w 63"/>
                <a:gd name="T27" fmla="*/ 63068 h 103"/>
                <a:gd name="T28" fmla="*/ 102053 w 63"/>
                <a:gd name="T29" fmla="*/ 55424 h 103"/>
                <a:gd name="T30" fmla="*/ 94494 w 63"/>
                <a:gd name="T31" fmla="*/ 49690 h 103"/>
                <a:gd name="T32" fmla="*/ 83154 w 63"/>
                <a:gd name="T33" fmla="*/ 42046 h 103"/>
                <a:gd name="T34" fmla="*/ 73705 w 63"/>
                <a:gd name="T35" fmla="*/ 40134 h 103"/>
                <a:gd name="T36" fmla="*/ 69925 w 63"/>
                <a:gd name="T37" fmla="*/ 49690 h 103"/>
                <a:gd name="T38" fmla="*/ 69925 w 63"/>
                <a:gd name="T39" fmla="*/ 40134 h 103"/>
                <a:gd name="T40" fmla="*/ 69925 w 63"/>
                <a:gd name="T41" fmla="*/ 28667 h 103"/>
                <a:gd name="T42" fmla="*/ 62366 w 63"/>
                <a:gd name="T43" fmla="*/ 13378 h 103"/>
                <a:gd name="T44" fmla="*/ 56696 w 63"/>
                <a:gd name="T45" fmla="*/ 7645 h 103"/>
                <a:gd name="T46" fmla="*/ 47247 w 63"/>
                <a:gd name="T47" fmla="*/ 1911 h 103"/>
                <a:gd name="T48" fmla="*/ 43467 w 63"/>
                <a:gd name="T49" fmla="*/ 0 h 103"/>
                <a:gd name="T50" fmla="*/ 35908 w 63"/>
                <a:gd name="T51" fmla="*/ 3822 h 103"/>
                <a:gd name="T52" fmla="*/ 26458 w 63"/>
                <a:gd name="T53" fmla="*/ 11467 h 103"/>
                <a:gd name="T54" fmla="*/ 17009 w 63"/>
                <a:gd name="T55" fmla="*/ 22934 h 103"/>
                <a:gd name="T56" fmla="*/ 22678 w 63"/>
                <a:gd name="T57" fmla="*/ 30579 h 103"/>
                <a:gd name="T58" fmla="*/ 30238 w 63"/>
                <a:gd name="T59" fmla="*/ 34401 h 103"/>
                <a:gd name="T60" fmla="*/ 18899 w 63"/>
                <a:gd name="T61" fmla="*/ 40134 h 103"/>
                <a:gd name="T62" fmla="*/ 5670 w 63"/>
                <a:gd name="T63" fmla="*/ 43957 h 103"/>
                <a:gd name="T64" fmla="*/ 3780 w 63"/>
                <a:gd name="T65" fmla="*/ 49690 h 103"/>
                <a:gd name="T66" fmla="*/ 3780 w 63"/>
                <a:gd name="T67" fmla="*/ 59246 h 103"/>
                <a:gd name="T68" fmla="*/ 0 w 63"/>
                <a:gd name="T69" fmla="*/ 61157 h 103"/>
                <a:gd name="T70" fmla="*/ 18899 w 63"/>
                <a:gd name="T71" fmla="*/ 82180 h 103"/>
                <a:gd name="T72" fmla="*/ 32128 w 63"/>
                <a:gd name="T73" fmla="*/ 82180 h 103"/>
                <a:gd name="T74" fmla="*/ 34018 w 63"/>
                <a:gd name="T75" fmla="*/ 89825 h 103"/>
                <a:gd name="T76" fmla="*/ 30238 w 63"/>
                <a:gd name="T77" fmla="*/ 95558 h 103"/>
                <a:gd name="T78" fmla="*/ 32128 w 63"/>
                <a:gd name="T79" fmla="*/ 101292 h 103"/>
                <a:gd name="T80" fmla="*/ 43467 w 63"/>
                <a:gd name="T81" fmla="*/ 101292 h 103"/>
                <a:gd name="T82" fmla="*/ 43467 w 63"/>
                <a:gd name="T83" fmla="*/ 112759 h 103"/>
                <a:gd name="T84" fmla="*/ 51027 w 63"/>
                <a:gd name="T85" fmla="*/ 116581 h 103"/>
                <a:gd name="T86" fmla="*/ 35908 w 63"/>
                <a:gd name="T87" fmla="*/ 126137 h 103"/>
                <a:gd name="T88" fmla="*/ 35908 w 63"/>
                <a:gd name="T89" fmla="*/ 152893 h 103"/>
                <a:gd name="T90" fmla="*/ 41577 w 63"/>
                <a:gd name="T91" fmla="*/ 158627 h 103"/>
                <a:gd name="T92" fmla="*/ 41577 w 63"/>
                <a:gd name="T93" fmla="*/ 168183 h 103"/>
                <a:gd name="T94" fmla="*/ 45357 w 63"/>
                <a:gd name="T95" fmla="*/ 173916 h 103"/>
                <a:gd name="T96" fmla="*/ 56696 w 63"/>
                <a:gd name="T97" fmla="*/ 179650 h 103"/>
                <a:gd name="T98" fmla="*/ 56696 w 63"/>
                <a:gd name="T99" fmla="*/ 187294 h 103"/>
                <a:gd name="T100" fmla="*/ 64256 w 63"/>
                <a:gd name="T101" fmla="*/ 193028 h 103"/>
                <a:gd name="T102" fmla="*/ 71815 w 63"/>
                <a:gd name="T103" fmla="*/ 194939 h 103"/>
                <a:gd name="T104" fmla="*/ 69925 w 63"/>
                <a:gd name="T105" fmla="*/ 187294 h 103"/>
                <a:gd name="T106" fmla="*/ 79375 w 63"/>
                <a:gd name="T107" fmla="*/ 179650 h 103"/>
                <a:gd name="T108" fmla="*/ 85044 w 63"/>
                <a:gd name="T109" fmla="*/ 183472 h 103"/>
                <a:gd name="T110" fmla="*/ 88824 w 63"/>
                <a:gd name="T111" fmla="*/ 173916 h 103"/>
                <a:gd name="T112" fmla="*/ 96384 w 63"/>
                <a:gd name="T113" fmla="*/ 173916 h 103"/>
                <a:gd name="T114" fmla="*/ 100163 w 63"/>
                <a:gd name="T115" fmla="*/ 170094 h 103"/>
                <a:gd name="T116" fmla="*/ 107723 w 63"/>
                <a:gd name="T117" fmla="*/ 172005 h 103"/>
                <a:gd name="T118" fmla="*/ 119062 w 63"/>
                <a:gd name="T119" fmla="*/ 172005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8" name="Freeform 769"/>
            <p:cNvSpPr>
              <a:spLocks noChangeAspect="1"/>
            </p:cNvSpPr>
            <p:nvPr/>
          </p:nvSpPr>
          <p:spPr bwMode="auto">
            <a:xfrm>
              <a:off x="1410220" y="1697042"/>
              <a:ext cx="1353446" cy="604860"/>
            </a:xfrm>
            <a:custGeom>
              <a:avLst/>
              <a:gdLst>
                <a:gd name="T0" fmla="*/ 722166 w 704"/>
                <a:gd name="T1" fmla="*/ 0 h 391"/>
                <a:gd name="T2" fmla="*/ 817439 w 704"/>
                <a:gd name="T3" fmla="*/ 28563 h 391"/>
                <a:gd name="T4" fmla="*/ 806006 w 704"/>
                <a:gd name="T5" fmla="*/ 66647 h 391"/>
                <a:gd name="T6" fmla="*/ 882224 w 704"/>
                <a:gd name="T7" fmla="*/ 45701 h 391"/>
                <a:gd name="T8" fmla="*/ 939388 w 704"/>
                <a:gd name="T9" fmla="*/ 72359 h 391"/>
                <a:gd name="T10" fmla="*/ 926049 w 704"/>
                <a:gd name="T11" fmla="*/ 95209 h 391"/>
                <a:gd name="T12" fmla="*/ 878413 w 704"/>
                <a:gd name="T13" fmla="*/ 129485 h 391"/>
                <a:gd name="T14" fmla="*/ 861264 w 704"/>
                <a:gd name="T15" fmla="*/ 209461 h 391"/>
                <a:gd name="T16" fmla="*/ 897468 w 704"/>
                <a:gd name="T17" fmla="*/ 163760 h 391"/>
                <a:gd name="T18" fmla="*/ 931766 w 704"/>
                <a:gd name="T19" fmla="*/ 116156 h 391"/>
                <a:gd name="T20" fmla="*/ 971780 w 704"/>
                <a:gd name="T21" fmla="*/ 146623 h 391"/>
                <a:gd name="T22" fmla="*/ 981308 w 704"/>
                <a:gd name="T23" fmla="*/ 161856 h 391"/>
                <a:gd name="T24" fmla="*/ 954631 w 704"/>
                <a:gd name="T25" fmla="*/ 224694 h 391"/>
                <a:gd name="T26" fmla="*/ 1067053 w 704"/>
                <a:gd name="T27" fmla="*/ 201844 h 391"/>
                <a:gd name="T28" fmla="*/ 1110878 w 704"/>
                <a:gd name="T29" fmla="*/ 182802 h 391"/>
                <a:gd name="T30" fmla="*/ 1160420 w 704"/>
                <a:gd name="T31" fmla="*/ 131389 h 391"/>
                <a:gd name="T32" fmla="*/ 1267125 w 704"/>
                <a:gd name="T33" fmla="*/ 110443 h 391"/>
                <a:gd name="T34" fmla="*/ 1309045 w 704"/>
                <a:gd name="T35" fmla="*/ 49509 h 391"/>
                <a:gd name="T36" fmla="*/ 1339533 w 704"/>
                <a:gd name="T37" fmla="*/ 100922 h 391"/>
                <a:gd name="T38" fmla="*/ 1272842 w 704"/>
                <a:gd name="T39" fmla="*/ 169473 h 391"/>
                <a:gd name="T40" fmla="*/ 1240449 w 704"/>
                <a:gd name="T41" fmla="*/ 236119 h 391"/>
                <a:gd name="T42" fmla="*/ 1168042 w 704"/>
                <a:gd name="T43" fmla="*/ 270395 h 391"/>
                <a:gd name="T44" fmla="*/ 1135649 w 704"/>
                <a:gd name="T45" fmla="*/ 319904 h 391"/>
                <a:gd name="T46" fmla="*/ 1114689 w 704"/>
                <a:gd name="T47" fmla="*/ 333233 h 391"/>
                <a:gd name="T48" fmla="*/ 1107068 w 704"/>
                <a:gd name="T49" fmla="*/ 354179 h 391"/>
                <a:gd name="T50" fmla="*/ 1114689 w 704"/>
                <a:gd name="T51" fmla="*/ 413209 h 391"/>
                <a:gd name="T52" fmla="*/ 1091824 w 704"/>
                <a:gd name="T53" fmla="*/ 443676 h 391"/>
                <a:gd name="T54" fmla="*/ 1023228 w 704"/>
                <a:gd name="T55" fmla="*/ 493185 h 391"/>
                <a:gd name="T56" fmla="*/ 967969 w 704"/>
                <a:gd name="T57" fmla="*/ 571257 h 391"/>
                <a:gd name="T58" fmla="*/ 977497 w 704"/>
                <a:gd name="T59" fmla="*/ 653137 h 391"/>
                <a:gd name="T60" fmla="*/ 973686 w 704"/>
                <a:gd name="T61" fmla="*/ 744538 h 391"/>
                <a:gd name="T62" fmla="*/ 943198 w 704"/>
                <a:gd name="T63" fmla="*/ 712167 h 391"/>
                <a:gd name="T64" fmla="*/ 927955 w 704"/>
                <a:gd name="T65" fmla="*/ 656945 h 391"/>
                <a:gd name="T66" fmla="*/ 889846 w 704"/>
                <a:gd name="T67" fmla="*/ 597915 h 391"/>
                <a:gd name="T68" fmla="*/ 838399 w 704"/>
                <a:gd name="T69" fmla="*/ 586490 h 391"/>
                <a:gd name="T70" fmla="*/ 773613 w 704"/>
                <a:gd name="T71" fmla="*/ 588395 h 391"/>
                <a:gd name="T72" fmla="*/ 773613 w 704"/>
                <a:gd name="T73" fmla="*/ 599820 h 391"/>
                <a:gd name="T74" fmla="*/ 752653 w 704"/>
                <a:gd name="T75" fmla="*/ 616957 h 391"/>
                <a:gd name="T76" fmla="*/ 708828 w 704"/>
                <a:gd name="T77" fmla="*/ 605532 h 391"/>
                <a:gd name="T78" fmla="*/ 638326 w 704"/>
                <a:gd name="T79" fmla="*/ 605532 h 391"/>
                <a:gd name="T80" fmla="*/ 579257 w 704"/>
                <a:gd name="T81" fmla="*/ 658850 h 391"/>
                <a:gd name="T82" fmla="*/ 565919 w 704"/>
                <a:gd name="T83" fmla="*/ 710263 h 391"/>
                <a:gd name="T84" fmla="*/ 506850 w 704"/>
                <a:gd name="T85" fmla="*/ 632191 h 391"/>
                <a:gd name="T86" fmla="*/ 455403 w 704"/>
                <a:gd name="T87" fmla="*/ 607436 h 391"/>
                <a:gd name="T88" fmla="*/ 402050 w 704"/>
                <a:gd name="T89" fmla="*/ 571257 h 391"/>
                <a:gd name="T90" fmla="*/ 266763 w 704"/>
                <a:gd name="T91" fmla="*/ 552215 h 391"/>
                <a:gd name="T92" fmla="*/ 125760 w 704"/>
                <a:gd name="T93" fmla="*/ 502706 h 391"/>
                <a:gd name="T94" fmla="*/ 55258 w 704"/>
                <a:gd name="T95" fmla="*/ 441772 h 391"/>
                <a:gd name="T96" fmla="*/ 28582 w 704"/>
                <a:gd name="T97" fmla="*/ 354179 h 391"/>
                <a:gd name="T98" fmla="*/ 34298 w 704"/>
                <a:gd name="T99" fmla="*/ 344658 h 391"/>
                <a:gd name="T100" fmla="*/ 0 w 704"/>
                <a:gd name="T101" fmla="*/ 283724 h 391"/>
                <a:gd name="T102" fmla="*/ 9527 w 704"/>
                <a:gd name="T103" fmla="*/ 201844 h 391"/>
                <a:gd name="T104" fmla="*/ 45731 w 704"/>
                <a:gd name="T105" fmla="*/ 93305 h 391"/>
                <a:gd name="T106" fmla="*/ 55258 w 704"/>
                <a:gd name="T107" fmla="*/ 26659 h 391"/>
                <a:gd name="T108" fmla="*/ 78124 w 704"/>
                <a:gd name="T109" fmla="*/ 53317 h 391"/>
                <a:gd name="T110" fmla="*/ 93367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9" name="Freeform 770"/>
            <p:cNvSpPr>
              <a:spLocks noChangeAspect="1"/>
            </p:cNvSpPr>
            <p:nvPr/>
          </p:nvSpPr>
          <p:spPr bwMode="auto">
            <a:xfrm>
              <a:off x="2914228" y="2731365"/>
              <a:ext cx="99306" cy="88989"/>
            </a:xfrm>
            <a:custGeom>
              <a:avLst/>
              <a:gdLst>
                <a:gd name="T0" fmla="*/ 79126 w 51"/>
                <a:gd name="T1" fmla="*/ 96318 h 58"/>
                <a:gd name="T2" fmla="*/ 75266 w 51"/>
                <a:gd name="T3" fmla="*/ 90652 h 58"/>
                <a:gd name="T4" fmla="*/ 71406 w 51"/>
                <a:gd name="T5" fmla="*/ 92541 h 58"/>
                <a:gd name="T6" fmla="*/ 63687 w 51"/>
                <a:gd name="T7" fmla="*/ 94429 h 58"/>
                <a:gd name="T8" fmla="*/ 54037 w 51"/>
                <a:gd name="T9" fmla="*/ 90652 h 58"/>
                <a:gd name="T10" fmla="*/ 46318 w 51"/>
                <a:gd name="T11" fmla="*/ 100095 h 58"/>
                <a:gd name="T12" fmla="*/ 54037 w 51"/>
                <a:gd name="T13" fmla="*/ 105761 h 58"/>
                <a:gd name="T14" fmla="*/ 46318 w 51"/>
                <a:gd name="T15" fmla="*/ 109538 h 58"/>
                <a:gd name="T16" fmla="*/ 36668 w 51"/>
                <a:gd name="T17" fmla="*/ 109538 h 58"/>
                <a:gd name="T18" fmla="*/ 30878 w 51"/>
                <a:gd name="T19" fmla="*/ 101984 h 58"/>
                <a:gd name="T20" fmla="*/ 25089 w 51"/>
                <a:gd name="T21" fmla="*/ 92541 h 58"/>
                <a:gd name="T22" fmla="*/ 21229 w 51"/>
                <a:gd name="T23" fmla="*/ 77432 h 58"/>
                <a:gd name="T24" fmla="*/ 17369 w 51"/>
                <a:gd name="T25" fmla="*/ 75543 h 58"/>
                <a:gd name="T26" fmla="*/ 17369 w 51"/>
                <a:gd name="T27" fmla="*/ 67989 h 58"/>
                <a:gd name="T28" fmla="*/ 11579 w 51"/>
                <a:gd name="T29" fmla="*/ 67989 h 58"/>
                <a:gd name="T30" fmla="*/ 0 w 51"/>
                <a:gd name="T31" fmla="*/ 50992 h 58"/>
                <a:gd name="T32" fmla="*/ 3860 w 51"/>
                <a:gd name="T33" fmla="*/ 39660 h 58"/>
                <a:gd name="T34" fmla="*/ 5790 w 51"/>
                <a:gd name="T35" fmla="*/ 28329 h 58"/>
                <a:gd name="T36" fmla="*/ 15439 w 51"/>
                <a:gd name="T37" fmla="*/ 28329 h 58"/>
                <a:gd name="T38" fmla="*/ 19299 w 51"/>
                <a:gd name="T39" fmla="*/ 20774 h 58"/>
                <a:gd name="T40" fmla="*/ 17369 w 51"/>
                <a:gd name="T41" fmla="*/ 9443 h 58"/>
                <a:gd name="T42" fmla="*/ 23159 w 51"/>
                <a:gd name="T43" fmla="*/ 1889 h 58"/>
                <a:gd name="T44" fmla="*/ 38598 w 51"/>
                <a:gd name="T45" fmla="*/ 3777 h 58"/>
                <a:gd name="T46" fmla="*/ 50177 w 51"/>
                <a:gd name="T47" fmla="*/ 7554 h 58"/>
                <a:gd name="T48" fmla="*/ 59827 w 51"/>
                <a:gd name="T49" fmla="*/ 0 h 58"/>
                <a:gd name="T50" fmla="*/ 67547 w 51"/>
                <a:gd name="T51" fmla="*/ 3777 h 58"/>
                <a:gd name="T52" fmla="*/ 75266 w 51"/>
                <a:gd name="T53" fmla="*/ 3777 h 58"/>
                <a:gd name="T54" fmla="*/ 84916 w 51"/>
                <a:gd name="T55" fmla="*/ 3777 h 58"/>
                <a:gd name="T56" fmla="*/ 92635 w 51"/>
                <a:gd name="T57" fmla="*/ 3777 h 58"/>
                <a:gd name="T58" fmla="*/ 98425 w 51"/>
                <a:gd name="T59" fmla="*/ 9443 h 58"/>
                <a:gd name="T60" fmla="*/ 94565 w 51"/>
                <a:gd name="T61" fmla="*/ 18886 h 58"/>
                <a:gd name="T62" fmla="*/ 84916 w 51"/>
                <a:gd name="T63" fmla="*/ 32106 h 58"/>
                <a:gd name="T64" fmla="*/ 90705 w 51"/>
                <a:gd name="T65" fmla="*/ 52880 h 58"/>
                <a:gd name="T66" fmla="*/ 96495 w 51"/>
                <a:gd name="T67" fmla="*/ 64212 h 58"/>
                <a:gd name="T68" fmla="*/ 90705 w 51"/>
                <a:gd name="T69" fmla="*/ 75543 h 58"/>
                <a:gd name="T70" fmla="*/ 88775 w 51"/>
                <a:gd name="T71" fmla="*/ 92541 h 58"/>
                <a:gd name="T72" fmla="*/ 79126 w 51"/>
                <a:gd name="T73" fmla="*/ 96318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0" name="Freeform 771"/>
            <p:cNvSpPr>
              <a:spLocks noChangeAspect="1"/>
            </p:cNvSpPr>
            <p:nvPr/>
          </p:nvSpPr>
          <p:spPr bwMode="auto">
            <a:xfrm>
              <a:off x="2994313" y="2737813"/>
              <a:ext cx="80086" cy="79960"/>
            </a:xfrm>
            <a:custGeom>
              <a:avLst/>
              <a:gdLst>
                <a:gd name="T0" fmla="*/ 79375 w 42"/>
                <a:gd name="T1" fmla="*/ 43534 h 52"/>
                <a:gd name="T2" fmla="*/ 73705 w 42"/>
                <a:gd name="T3" fmla="*/ 34070 h 52"/>
                <a:gd name="T4" fmla="*/ 66146 w 42"/>
                <a:gd name="T5" fmla="*/ 34070 h 52"/>
                <a:gd name="T6" fmla="*/ 52917 w 42"/>
                <a:gd name="T7" fmla="*/ 20821 h 52"/>
                <a:gd name="T8" fmla="*/ 47247 w 42"/>
                <a:gd name="T9" fmla="*/ 11357 h 52"/>
                <a:gd name="T10" fmla="*/ 35908 w 42"/>
                <a:gd name="T11" fmla="*/ 9464 h 52"/>
                <a:gd name="T12" fmla="*/ 26458 w 42"/>
                <a:gd name="T13" fmla="*/ 1893 h 52"/>
                <a:gd name="T14" fmla="*/ 18899 w 42"/>
                <a:gd name="T15" fmla="*/ 1893 h 52"/>
                <a:gd name="T16" fmla="*/ 15119 w 42"/>
                <a:gd name="T17" fmla="*/ 11357 h 52"/>
                <a:gd name="T18" fmla="*/ 5670 w 42"/>
                <a:gd name="T19" fmla="*/ 24606 h 52"/>
                <a:gd name="T20" fmla="*/ 11339 w 42"/>
                <a:gd name="T21" fmla="*/ 45427 h 52"/>
                <a:gd name="T22" fmla="*/ 17009 w 42"/>
                <a:gd name="T23" fmla="*/ 56784 h 52"/>
                <a:gd name="T24" fmla="*/ 11339 w 42"/>
                <a:gd name="T25" fmla="*/ 68140 h 52"/>
                <a:gd name="T26" fmla="*/ 9449 w 42"/>
                <a:gd name="T27" fmla="*/ 85175 h 52"/>
                <a:gd name="T28" fmla="*/ 0 w 42"/>
                <a:gd name="T29" fmla="*/ 88961 h 52"/>
                <a:gd name="T30" fmla="*/ 9449 w 42"/>
                <a:gd name="T31" fmla="*/ 96532 h 52"/>
                <a:gd name="T32" fmla="*/ 18899 w 42"/>
                <a:gd name="T33" fmla="*/ 96532 h 52"/>
                <a:gd name="T34" fmla="*/ 24568 w 42"/>
                <a:gd name="T35" fmla="*/ 92747 h 52"/>
                <a:gd name="T36" fmla="*/ 32128 w 42"/>
                <a:gd name="T37" fmla="*/ 92747 h 52"/>
                <a:gd name="T38" fmla="*/ 35908 w 42"/>
                <a:gd name="T39" fmla="*/ 96532 h 52"/>
                <a:gd name="T40" fmla="*/ 47247 w 42"/>
                <a:gd name="T41" fmla="*/ 96532 h 52"/>
                <a:gd name="T42" fmla="*/ 52917 w 42"/>
                <a:gd name="T43" fmla="*/ 85175 h 52"/>
                <a:gd name="T44" fmla="*/ 56696 w 42"/>
                <a:gd name="T45" fmla="*/ 66248 h 52"/>
                <a:gd name="T46" fmla="*/ 66146 w 42"/>
                <a:gd name="T47" fmla="*/ 52998 h 52"/>
                <a:gd name="T48" fmla="*/ 79375 w 42"/>
                <a:gd name="T49" fmla="*/ 43534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1" name="Freeform 772"/>
            <p:cNvSpPr>
              <a:spLocks noChangeAspect="1"/>
            </p:cNvSpPr>
            <p:nvPr/>
          </p:nvSpPr>
          <p:spPr bwMode="auto">
            <a:xfrm>
              <a:off x="1200396" y="1003195"/>
              <a:ext cx="1854782" cy="874403"/>
            </a:xfrm>
            <a:custGeom>
              <a:avLst/>
              <a:gdLst>
                <a:gd name="T0" fmla="*/ 1489710 w 965"/>
                <a:gd name="T1" fmla="*/ 899160 h 565"/>
                <a:gd name="T2" fmla="*/ 1623060 w 965"/>
                <a:gd name="T3" fmla="*/ 807720 h 565"/>
                <a:gd name="T4" fmla="*/ 1777365 w 965"/>
                <a:gd name="T5" fmla="*/ 775335 h 565"/>
                <a:gd name="T6" fmla="*/ 1834515 w 965"/>
                <a:gd name="T7" fmla="*/ 712470 h 565"/>
                <a:gd name="T8" fmla="*/ 1765935 w 965"/>
                <a:gd name="T9" fmla="*/ 691515 h 565"/>
                <a:gd name="T10" fmla="*/ 1773555 w 965"/>
                <a:gd name="T11" fmla="*/ 645795 h 565"/>
                <a:gd name="T12" fmla="*/ 1704975 w 965"/>
                <a:gd name="T13" fmla="*/ 590550 h 565"/>
                <a:gd name="T14" fmla="*/ 1714500 w 965"/>
                <a:gd name="T15" fmla="*/ 539115 h 565"/>
                <a:gd name="T16" fmla="*/ 1685925 w 965"/>
                <a:gd name="T17" fmla="*/ 491490 h 565"/>
                <a:gd name="T18" fmla="*/ 1632585 w 965"/>
                <a:gd name="T19" fmla="*/ 521970 h 565"/>
                <a:gd name="T20" fmla="*/ 1548765 w 965"/>
                <a:gd name="T21" fmla="*/ 514350 h 565"/>
                <a:gd name="T22" fmla="*/ 1564005 w 965"/>
                <a:gd name="T23" fmla="*/ 445770 h 565"/>
                <a:gd name="T24" fmla="*/ 1504950 w 965"/>
                <a:gd name="T25" fmla="*/ 394335 h 565"/>
                <a:gd name="T26" fmla="*/ 1409700 w 965"/>
                <a:gd name="T27" fmla="*/ 375285 h 565"/>
                <a:gd name="T28" fmla="*/ 1392555 w 965"/>
                <a:gd name="T29" fmla="*/ 453390 h 565"/>
                <a:gd name="T30" fmla="*/ 1386840 w 965"/>
                <a:gd name="T31" fmla="*/ 554355 h 565"/>
                <a:gd name="T32" fmla="*/ 1320165 w 965"/>
                <a:gd name="T33" fmla="*/ 704850 h 565"/>
                <a:gd name="T34" fmla="*/ 1268730 w 965"/>
                <a:gd name="T35" fmla="*/ 779145 h 565"/>
                <a:gd name="T36" fmla="*/ 1253490 w 965"/>
                <a:gd name="T37" fmla="*/ 657225 h 565"/>
                <a:gd name="T38" fmla="*/ 1114425 w 965"/>
                <a:gd name="T39" fmla="*/ 588645 h 565"/>
                <a:gd name="T40" fmla="*/ 1036320 w 965"/>
                <a:gd name="T41" fmla="*/ 518160 h 565"/>
                <a:gd name="T42" fmla="*/ 1053465 w 965"/>
                <a:gd name="T43" fmla="*/ 401955 h 565"/>
                <a:gd name="T44" fmla="*/ 1089660 w 965"/>
                <a:gd name="T45" fmla="*/ 335280 h 565"/>
                <a:gd name="T46" fmla="*/ 1211580 w 965"/>
                <a:gd name="T47" fmla="*/ 291465 h 565"/>
                <a:gd name="T48" fmla="*/ 1242060 w 965"/>
                <a:gd name="T49" fmla="*/ 222885 h 565"/>
                <a:gd name="T50" fmla="*/ 1303020 w 965"/>
                <a:gd name="T51" fmla="*/ 230505 h 565"/>
                <a:gd name="T52" fmla="*/ 1356360 w 965"/>
                <a:gd name="T53" fmla="*/ 135255 h 565"/>
                <a:gd name="T54" fmla="*/ 1316355 w 965"/>
                <a:gd name="T55" fmla="*/ 91440 h 565"/>
                <a:gd name="T56" fmla="*/ 1240155 w 965"/>
                <a:gd name="T57" fmla="*/ 192405 h 565"/>
                <a:gd name="T58" fmla="*/ 1194435 w 965"/>
                <a:gd name="T59" fmla="*/ 129540 h 565"/>
                <a:gd name="T60" fmla="*/ 1144905 w 965"/>
                <a:gd name="T61" fmla="*/ 106680 h 565"/>
                <a:gd name="T62" fmla="*/ 1150620 w 965"/>
                <a:gd name="T63" fmla="*/ 32385 h 565"/>
                <a:gd name="T64" fmla="*/ 1085850 w 965"/>
                <a:gd name="T65" fmla="*/ 22860 h 565"/>
                <a:gd name="T66" fmla="*/ 1108710 w 965"/>
                <a:gd name="T67" fmla="*/ 102870 h 565"/>
                <a:gd name="T68" fmla="*/ 1104900 w 965"/>
                <a:gd name="T69" fmla="*/ 129540 h 565"/>
                <a:gd name="T70" fmla="*/ 1042035 w 965"/>
                <a:gd name="T71" fmla="*/ 211455 h 565"/>
                <a:gd name="T72" fmla="*/ 1003935 w 965"/>
                <a:gd name="T73" fmla="*/ 154305 h 565"/>
                <a:gd name="T74" fmla="*/ 895350 w 965"/>
                <a:gd name="T75" fmla="*/ 163830 h 565"/>
                <a:gd name="T76" fmla="*/ 853440 w 965"/>
                <a:gd name="T77" fmla="*/ 142875 h 565"/>
                <a:gd name="T78" fmla="*/ 792480 w 965"/>
                <a:gd name="T79" fmla="*/ 198120 h 565"/>
                <a:gd name="T80" fmla="*/ 640080 w 965"/>
                <a:gd name="T81" fmla="*/ 171450 h 565"/>
                <a:gd name="T82" fmla="*/ 558165 w 965"/>
                <a:gd name="T83" fmla="*/ 108585 h 565"/>
                <a:gd name="T84" fmla="*/ 447675 w 965"/>
                <a:gd name="T85" fmla="*/ 108585 h 565"/>
                <a:gd name="T86" fmla="*/ 323850 w 965"/>
                <a:gd name="T87" fmla="*/ 114300 h 565"/>
                <a:gd name="T88" fmla="*/ 344805 w 965"/>
                <a:gd name="T89" fmla="*/ 78105 h 565"/>
                <a:gd name="T90" fmla="*/ 169545 w 965"/>
                <a:gd name="T91" fmla="*/ 118110 h 565"/>
                <a:gd name="T92" fmla="*/ 43815 w 965"/>
                <a:gd name="T93" fmla="*/ 478155 h 565"/>
                <a:gd name="T94" fmla="*/ 137160 w 965"/>
                <a:gd name="T95" fmla="*/ 525780 h 565"/>
                <a:gd name="T96" fmla="*/ 207645 w 965"/>
                <a:gd name="T97" fmla="*/ 643890 h 565"/>
                <a:gd name="T98" fmla="*/ 209550 w 965"/>
                <a:gd name="T99" fmla="*/ 685800 h 565"/>
                <a:gd name="T100" fmla="*/ 211455 w 965"/>
                <a:gd name="T101" fmla="*/ 763905 h 565"/>
                <a:gd name="T102" fmla="*/ 268605 w 965"/>
                <a:gd name="T103" fmla="*/ 828675 h 565"/>
                <a:gd name="T104" fmla="*/ 942975 w 965"/>
                <a:gd name="T105" fmla="*/ 857250 h 565"/>
                <a:gd name="T106" fmla="*/ 1076325 w 965"/>
                <a:gd name="T107" fmla="*/ 861060 h 565"/>
                <a:gd name="T108" fmla="*/ 1156335 w 965"/>
                <a:gd name="T109" fmla="*/ 889635 h 565"/>
                <a:gd name="T110" fmla="*/ 1223010 w 965"/>
                <a:gd name="T111" fmla="*/ 950595 h 565"/>
                <a:gd name="T112" fmla="*/ 1230630 w 965"/>
                <a:gd name="T113" fmla="*/ 984885 h 565"/>
                <a:gd name="T114" fmla="*/ 1190625 w 965"/>
                <a:gd name="T115" fmla="*/ 1066800 h 565"/>
                <a:gd name="T116" fmla="*/ 1274445 w 965"/>
                <a:gd name="T117" fmla="*/ 1051560 h 565"/>
                <a:gd name="T118" fmla="*/ 1337310 w 965"/>
                <a:gd name="T119" fmla="*/ 100774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2" name="Freeform 773"/>
            <p:cNvSpPr>
              <a:spLocks noChangeAspect="1"/>
            </p:cNvSpPr>
            <p:nvPr/>
          </p:nvSpPr>
          <p:spPr bwMode="auto">
            <a:xfrm>
              <a:off x="2568258" y="1684145"/>
              <a:ext cx="342766" cy="159920"/>
            </a:xfrm>
            <a:custGeom>
              <a:avLst/>
              <a:gdLst>
                <a:gd name="T0" fmla="*/ 206125 w 178"/>
                <a:gd name="T1" fmla="*/ 143337 h 103"/>
                <a:gd name="T2" fmla="*/ 217577 w 178"/>
                <a:gd name="T3" fmla="*/ 133782 h 103"/>
                <a:gd name="T4" fmla="*/ 227120 w 178"/>
                <a:gd name="T5" fmla="*/ 131870 h 103"/>
                <a:gd name="T6" fmla="*/ 232845 w 178"/>
                <a:gd name="T7" fmla="*/ 139515 h 103"/>
                <a:gd name="T8" fmla="*/ 261474 w 178"/>
                <a:gd name="T9" fmla="*/ 122315 h 103"/>
                <a:gd name="T10" fmla="*/ 253839 w 178"/>
                <a:gd name="T11" fmla="*/ 133782 h 103"/>
                <a:gd name="T12" fmla="*/ 284377 w 178"/>
                <a:gd name="T13" fmla="*/ 137604 h 103"/>
                <a:gd name="T14" fmla="*/ 261474 w 178"/>
                <a:gd name="T15" fmla="*/ 147160 h 103"/>
                <a:gd name="T16" fmla="*/ 238571 w 178"/>
                <a:gd name="T17" fmla="*/ 145249 h 103"/>
                <a:gd name="T18" fmla="*/ 215668 w 178"/>
                <a:gd name="T19" fmla="*/ 173916 h 103"/>
                <a:gd name="T20" fmla="*/ 225211 w 178"/>
                <a:gd name="T21" fmla="*/ 194939 h 103"/>
                <a:gd name="T22" fmla="*/ 250022 w 178"/>
                <a:gd name="T23" fmla="*/ 173916 h 103"/>
                <a:gd name="T24" fmla="*/ 269108 w 178"/>
                <a:gd name="T25" fmla="*/ 162449 h 103"/>
                <a:gd name="T26" fmla="*/ 316822 w 178"/>
                <a:gd name="T27" fmla="*/ 145249 h 103"/>
                <a:gd name="T28" fmla="*/ 330182 w 178"/>
                <a:gd name="T29" fmla="*/ 128048 h 103"/>
                <a:gd name="T30" fmla="*/ 318731 w 178"/>
                <a:gd name="T31" fmla="*/ 118492 h 103"/>
                <a:gd name="T32" fmla="*/ 299645 w 178"/>
                <a:gd name="T33" fmla="*/ 120403 h 103"/>
                <a:gd name="T34" fmla="*/ 271017 w 178"/>
                <a:gd name="T35" fmla="*/ 112759 h 103"/>
                <a:gd name="T36" fmla="*/ 271017 w 178"/>
                <a:gd name="T37" fmla="*/ 107025 h 103"/>
                <a:gd name="T38" fmla="*/ 251931 w 178"/>
                <a:gd name="T39" fmla="*/ 93647 h 103"/>
                <a:gd name="T40" fmla="*/ 250022 w 178"/>
                <a:gd name="T41" fmla="*/ 78358 h 103"/>
                <a:gd name="T42" fmla="*/ 253839 w 178"/>
                <a:gd name="T43" fmla="*/ 68802 h 103"/>
                <a:gd name="T44" fmla="*/ 253839 w 178"/>
                <a:gd name="T45" fmla="*/ 53513 h 103"/>
                <a:gd name="T46" fmla="*/ 234754 w 178"/>
                <a:gd name="T47" fmla="*/ 55424 h 103"/>
                <a:gd name="T48" fmla="*/ 211851 w 178"/>
                <a:gd name="T49" fmla="*/ 43957 h 103"/>
                <a:gd name="T50" fmla="*/ 250022 w 178"/>
                <a:gd name="T51" fmla="*/ 42046 h 103"/>
                <a:gd name="T52" fmla="*/ 272925 w 178"/>
                <a:gd name="T53" fmla="*/ 19112 h 103"/>
                <a:gd name="T54" fmla="*/ 253839 w 178"/>
                <a:gd name="T55" fmla="*/ 1911 h 103"/>
                <a:gd name="T56" fmla="*/ 211851 w 178"/>
                <a:gd name="T57" fmla="*/ 15289 h 103"/>
                <a:gd name="T58" fmla="*/ 177497 w 178"/>
                <a:gd name="T59" fmla="*/ 30579 h 103"/>
                <a:gd name="T60" fmla="*/ 143143 w 178"/>
                <a:gd name="T61" fmla="*/ 61157 h 103"/>
                <a:gd name="T62" fmla="*/ 118331 w 178"/>
                <a:gd name="T63" fmla="*/ 84091 h 103"/>
                <a:gd name="T64" fmla="*/ 89703 w 178"/>
                <a:gd name="T65" fmla="*/ 95558 h 103"/>
                <a:gd name="T66" fmla="*/ 62983 w 178"/>
                <a:gd name="T67" fmla="*/ 112759 h 103"/>
                <a:gd name="T68" fmla="*/ 36263 w 178"/>
                <a:gd name="T69" fmla="*/ 137604 h 103"/>
                <a:gd name="T70" fmla="*/ 11451 w 178"/>
                <a:gd name="T71" fmla="*/ 147160 h 103"/>
                <a:gd name="T72" fmla="*/ 11451 w 178"/>
                <a:gd name="T73" fmla="*/ 147160 h 103"/>
                <a:gd name="T74" fmla="*/ 95428 w 178"/>
                <a:gd name="T75" fmla="*/ 147160 h 103"/>
                <a:gd name="T76" fmla="*/ 103063 w 178"/>
                <a:gd name="T77" fmla="*/ 135693 h 103"/>
                <a:gd name="T78" fmla="*/ 118331 w 178"/>
                <a:gd name="T79" fmla="*/ 126137 h 103"/>
                <a:gd name="T80" fmla="*/ 127874 w 178"/>
                <a:gd name="T81" fmla="*/ 108936 h 103"/>
                <a:gd name="T82" fmla="*/ 137417 w 178"/>
                <a:gd name="T83" fmla="*/ 91736 h 103"/>
                <a:gd name="T84" fmla="*/ 160320 w 178"/>
                <a:gd name="T85" fmla="*/ 64980 h 103"/>
                <a:gd name="T86" fmla="*/ 175588 w 178"/>
                <a:gd name="T87" fmla="*/ 68802 h 103"/>
                <a:gd name="T88" fmla="*/ 190857 w 178"/>
                <a:gd name="T89" fmla="*/ 74535 h 103"/>
                <a:gd name="T90" fmla="*/ 190857 w 178"/>
                <a:gd name="T91" fmla="*/ 116581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3" name="Freeform 774"/>
            <p:cNvSpPr>
              <a:spLocks noChangeAspect="1"/>
            </p:cNvSpPr>
            <p:nvPr/>
          </p:nvSpPr>
          <p:spPr bwMode="auto">
            <a:xfrm>
              <a:off x="641399" y="1026409"/>
              <a:ext cx="756008" cy="509423"/>
            </a:xfrm>
            <a:custGeom>
              <a:avLst/>
              <a:gdLst>
                <a:gd name="T0" fmla="*/ 730282 w 394"/>
                <a:gd name="T1" fmla="*/ 627063 h 329"/>
                <a:gd name="T2" fmla="*/ 724577 w 394"/>
                <a:gd name="T3" fmla="*/ 585132 h 329"/>
                <a:gd name="T4" fmla="*/ 709363 w 394"/>
                <a:gd name="T5" fmla="*/ 581320 h 329"/>
                <a:gd name="T6" fmla="*/ 686541 w 394"/>
                <a:gd name="T7" fmla="*/ 545106 h 329"/>
                <a:gd name="T8" fmla="*/ 665622 w 394"/>
                <a:gd name="T9" fmla="*/ 493645 h 329"/>
                <a:gd name="T10" fmla="*/ 667524 w 394"/>
                <a:gd name="T11" fmla="*/ 514611 h 329"/>
                <a:gd name="T12" fmla="*/ 659917 w 394"/>
                <a:gd name="T13" fmla="*/ 550824 h 329"/>
                <a:gd name="T14" fmla="*/ 640899 w 394"/>
                <a:gd name="T15" fmla="*/ 489833 h 329"/>
                <a:gd name="T16" fmla="*/ 623783 w 394"/>
                <a:gd name="T17" fmla="*/ 510799 h 329"/>
                <a:gd name="T18" fmla="*/ 566729 w 394"/>
                <a:gd name="T19" fmla="*/ 472680 h 329"/>
                <a:gd name="T20" fmla="*/ 540105 w 394"/>
                <a:gd name="T21" fmla="*/ 451714 h 329"/>
                <a:gd name="T22" fmla="*/ 467837 w 394"/>
                <a:gd name="T23" fmla="*/ 428842 h 329"/>
                <a:gd name="T24" fmla="*/ 435507 w 394"/>
                <a:gd name="T25" fmla="*/ 407877 h 329"/>
                <a:gd name="T26" fmla="*/ 393668 w 394"/>
                <a:gd name="T27" fmla="*/ 405971 h 329"/>
                <a:gd name="T28" fmla="*/ 365141 w 394"/>
                <a:gd name="T29" fmla="*/ 444090 h 329"/>
                <a:gd name="T30" fmla="*/ 298579 w 394"/>
                <a:gd name="T31" fmla="*/ 470774 h 329"/>
                <a:gd name="T32" fmla="*/ 317597 w 394"/>
                <a:gd name="T33" fmla="*/ 430748 h 329"/>
                <a:gd name="T34" fmla="*/ 382257 w 394"/>
                <a:gd name="T35" fmla="*/ 402159 h 329"/>
                <a:gd name="T36" fmla="*/ 348025 w 394"/>
                <a:gd name="T37" fmla="*/ 390723 h 329"/>
                <a:gd name="T38" fmla="*/ 292874 w 394"/>
                <a:gd name="T39" fmla="*/ 445996 h 329"/>
                <a:gd name="T40" fmla="*/ 260543 w 394"/>
                <a:gd name="T41" fmla="*/ 487927 h 329"/>
                <a:gd name="T42" fmla="*/ 205392 w 394"/>
                <a:gd name="T43" fmla="*/ 529859 h 329"/>
                <a:gd name="T44" fmla="*/ 135026 w 394"/>
                <a:gd name="T45" fmla="*/ 566072 h 329"/>
                <a:gd name="T46" fmla="*/ 91285 w 394"/>
                <a:gd name="T47" fmla="*/ 592756 h 329"/>
                <a:gd name="T48" fmla="*/ 24723 w 394"/>
                <a:gd name="T49" fmla="*/ 617533 h 329"/>
                <a:gd name="T50" fmla="*/ 43741 w 394"/>
                <a:gd name="T51" fmla="*/ 588944 h 329"/>
                <a:gd name="T52" fmla="*/ 135026 w 394"/>
                <a:gd name="T53" fmla="*/ 543201 h 329"/>
                <a:gd name="T54" fmla="*/ 182571 w 394"/>
                <a:gd name="T55" fmla="*/ 482209 h 329"/>
                <a:gd name="T56" fmla="*/ 135026 w 394"/>
                <a:gd name="T57" fmla="*/ 506987 h 329"/>
                <a:gd name="T58" fmla="*/ 110303 w 394"/>
                <a:gd name="T59" fmla="*/ 480304 h 329"/>
                <a:gd name="T60" fmla="*/ 74169 w 394"/>
                <a:gd name="T61" fmla="*/ 484115 h 329"/>
                <a:gd name="T62" fmla="*/ 81776 w 394"/>
                <a:gd name="T63" fmla="*/ 436466 h 329"/>
                <a:gd name="T64" fmla="*/ 45643 w 394"/>
                <a:gd name="T65" fmla="*/ 451714 h 329"/>
                <a:gd name="T66" fmla="*/ 47544 w 394"/>
                <a:gd name="T67" fmla="*/ 411689 h 329"/>
                <a:gd name="T68" fmla="*/ 26625 w 394"/>
                <a:gd name="T69" fmla="*/ 396441 h 329"/>
                <a:gd name="T70" fmla="*/ 66562 w 394"/>
                <a:gd name="T71" fmla="*/ 335450 h 329"/>
                <a:gd name="T72" fmla="*/ 144535 w 394"/>
                <a:gd name="T73" fmla="*/ 314484 h 329"/>
                <a:gd name="T74" fmla="*/ 167356 w 394"/>
                <a:gd name="T75" fmla="*/ 274459 h 329"/>
                <a:gd name="T76" fmla="*/ 119812 w 394"/>
                <a:gd name="T77" fmla="*/ 278271 h 329"/>
                <a:gd name="T78" fmla="*/ 64660 w 394"/>
                <a:gd name="T79" fmla="*/ 242058 h 329"/>
                <a:gd name="T80" fmla="*/ 95089 w 394"/>
                <a:gd name="T81" fmla="*/ 211562 h 329"/>
                <a:gd name="T82" fmla="*/ 127419 w 394"/>
                <a:gd name="T83" fmla="*/ 211562 h 329"/>
                <a:gd name="T84" fmla="*/ 174963 w 394"/>
                <a:gd name="T85" fmla="*/ 184879 h 329"/>
                <a:gd name="T86" fmla="*/ 182571 w 394"/>
                <a:gd name="T87" fmla="*/ 184879 h 329"/>
                <a:gd name="T88" fmla="*/ 136928 w 394"/>
                <a:gd name="T89" fmla="*/ 150571 h 329"/>
                <a:gd name="T90" fmla="*/ 176865 w 394"/>
                <a:gd name="T91" fmla="*/ 95298 h 329"/>
                <a:gd name="T92" fmla="*/ 262445 w 394"/>
                <a:gd name="T93" fmla="*/ 38119 h 329"/>
                <a:gd name="T94" fmla="*/ 344222 w 394"/>
                <a:gd name="T95" fmla="*/ 19060 h 329"/>
                <a:gd name="T96" fmla="*/ 374650 w 394"/>
                <a:gd name="T97" fmla="*/ 26684 h 329"/>
                <a:gd name="T98" fmla="*/ 405078 w 394"/>
                <a:gd name="T99" fmla="*/ 30495 h 329"/>
                <a:gd name="T100" fmla="*/ 446917 w 394"/>
                <a:gd name="T101" fmla="*/ 32401 h 329"/>
                <a:gd name="T102" fmla="*/ 509676 w 394"/>
                <a:gd name="T103" fmla="*/ 36213 h 329"/>
                <a:gd name="T104" fmla="*/ 593354 w 394"/>
                <a:gd name="T105" fmla="*/ 60991 h 329"/>
                <a:gd name="T106" fmla="*/ 671327 w 394"/>
                <a:gd name="T107" fmla="*/ 72427 h 329"/>
                <a:gd name="T108" fmla="*/ 581944 w 394"/>
                <a:gd name="T109" fmla="*/ 426936 h 329"/>
                <a:gd name="T110" fmla="*/ 616176 w 394"/>
                <a:gd name="T111" fmla="*/ 482209 h 329"/>
                <a:gd name="T112" fmla="*/ 648506 w 394"/>
                <a:gd name="T113" fmla="*/ 459338 h 329"/>
                <a:gd name="T114" fmla="*/ 684640 w 394"/>
                <a:gd name="T115" fmla="*/ 482209 h 329"/>
                <a:gd name="T116" fmla="*/ 718872 w 394"/>
                <a:gd name="T117" fmla="*/ 564166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4" name="Oval 775"/>
            <p:cNvSpPr>
              <a:spLocks noChangeAspect="1" noChangeArrowheads="1"/>
            </p:cNvSpPr>
            <p:nvPr/>
          </p:nvSpPr>
          <p:spPr bwMode="auto">
            <a:xfrm>
              <a:off x="3729499" y="2531465"/>
              <a:ext cx="9610" cy="644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5" name="Freeform 776"/>
            <p:cNvSpPr>
              <a:spLocks noChangeAspect="1"/>
            </p:cNvSpPr>
            <p:nvPr/>
          </p:nvSpPr>
          <p:spPr bwMode="auto">
            <a:xfrm>
              <a:off x="3751923" y="2526306"/>
              <a:ext cx="9610" cy="6448"/>
            </a:xfrm>
            <a:custGeom>
              <a:avLst/>
              <a:gdLst>
                <a:gd name="T0" fmla="*/ 3810 w 5"/>
                <a:gd name="T1" fmla="*/ 0 h 4"/>
                <a:gd name="T2" fmla="*/ 9525 w 5"/>
                <a:gd name="T3" fmla="*/ 3969 h 4"/>
                <a:gd name="T4" fmla="*/ 3810 w 5"/>
                <a:gd name="T5" fmla="*/ 7937 h 4"/>
                <a:gd name="T6" fmla="*/ 0 w 5"/>
                <a:gd name="T7" fmla="*/ 3969 h 4"/>
                <a:gd name="T8" fmla="*/ 3810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4"/>
                    <a:pt x="3" y="4"/>
                    <a:pt x="2" y="4"/>
                  </a:cubicBezTo>
                  <a:cubicBezTo>
                    <a:pt x="1" y="4"/>
                    <a:pt x="0" y="3"/>
                    <a:pt x="0" y="2"/>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6" name="Oval 777"/>
            <p:cNvSpPr>
              <a:spLocks noChangeAspect="1" noChangeArrowheads="1"/>
            </p:cNvSpPr>
            <p:nvPr/>
          </p:nvSpPr>
          <p:spPr bwMode="auto">
            <a:xfrm>
              <a:off x="3767940" y="2503092"/>
              <a:ext cx="9610"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7" name="Freeform 778"/>
            <p:cNvSpPr>
              <a:spLocks noChangeAspect="1"/>
            </p:cNvSpPr>
            <p:nvPr/>
          </p:nvSpPr>
          <p:spPr bwMode="auto">
            <a:xfrm>
              <a:off x="3735906" y="2494063"/>
              <a:ext cx="11213" cy="6449"/>
            </a:xfrm>
            <a:custGeom>
              <a:avLst/>
              <a:gdLst>
                <a:gd name="T0" fmla="*/ 5557 w 6"/>
                <a:gd name="T1" fmla="*/ 0 h 4"/>
                <a:gd name="T2" fmla="*/ 9261 w 6"/>
                <a:gd name="T3" fmla="*/ 3969 h 4"/>
                <a:gd name="T4" fmla="*/ 3704 w 6"/>
                <a:gd name="T5" fmla="*/ 5953 h 4"/>
                <a:gd name="T6" fmla="*/ 0 w 6"/>
                <a:gd name="T7" fmla="*/ 1985 h 4"/>
                <a:gd name="T8" fmla="*/ 5557 w 6"/>
                <a:gd name="T9" fmla="*/ 0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3" y="0"/>
                  </a:moveTo>
                  <a:cubicBezTo>
                    <a:pt x="4" y="0"/>
                    <a:pt x="6" y="1"/>
                    <a:pt x="5" y="2"/>
                  </a:cubicBezTo>
                  <a:cubicBezTo>
                    <a:pt x="5" y="3"/>
                    <a:pt x="3" y="4"/>
                    <a:pt x="2" y="3"/>
                  </a:cubicBezTo>
                  <a:cubicBezTo>
                    <a:pt x="1" y="3"/>
                    <a:pt x="0"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8" name="Freeform 779"/>
            <p:cNvSpPr>
              <a:spLocks noChangeAspect="1"/>
            </p:cNvSpPr>
            <p:nvPr/>
          </p:nvSpPr>
          <p:spPr bwMode="auto">
            <a:xfrm>
              <a:off x="3767940" y="2491484"/>
              <a:ext cx="6407" cy="3869"/>
            </a:xfrm>
            <a:custGeom>
              <a:avLst/>
              <a:gdLst>
                <a:gd name="T0" fmla="*/ 2117 w 3"/>
                <a:gd name="T1" fmla="*/ 0 h 3"/>
                <a:gd name="T2" fmla="*/ 6350 w 3"/>
                <a:gd name="T3" fmla="*/ 1588 h 3"/>
                <a:gd name="T4" fmla="*/ 4233 w 3"/>
                <a:gd name="T5" fmla="*/ 4763 h 3"/>
                <a:gd name="T6" fmla="*/ 0 w 3"/>
                <a:gd name="T7" fmla="*/ 1588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2"/>
                    <a:pt x="2" y="3"/>
                  </a:cubicBezTo>
                  <a:cubicBezTo>
                    <a:pt x="1" y="3"/>
                    <a:pt x="0" y="2"/>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9" name="Freeform 780"/>
            <p:cNvSpPr>
              <a:spLocks noChangeAspect="1"/>
            </p:cNvSpPr>
            <p:nvPr/>
          </p:nvSpPr>
          <p:spPr bwMode="auto">
            <a:xfrm>
              <a:off x="3719889" y="2487616"/>
              <a:ext cx="6407" cy="5158"/>
            </a:xfrm>
            <a:custGeom>
              <a:avLst/>
              <a:gdLst>
                <a:gd name="T0" fmla="*/ 2117 w 3"/>
                <a:gd name="T1" fmla="*/ 0 h 3"/>
                <a:gd name="T2" fmla="*/ 6350 w 3"/>
                <a:gd name="T3" fmla="*/ 2117 h 3"/>
                <a:gd name="T4" fmla="*/ 4233 w 3"/>
                <a:gd name="T5" fmla="*/ 6350 h 3"/>
                <a:gd name="T6" fmla="*/ 0 w 3"/>
                <a:gd name="T7" fmla="*/ 4233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3"/>
                    <a:pt x="2" y="3"/>
                  </a:cubicBezTo>
                  <a:cubicBezTo>
                    <a:pt x="1" y="3"/>
                    <a:pt x="0" y="2"/>
                    <a:pt x="0" y="2"/>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0" name="Freeform 781"/>
            <p:cNvSpPr>
              <a:spLocks noChangeAspect="1"/>
            </p:cNvSpPr>
            <p:nvPr/>
          </p:nvSpPr>
          <p:spPr bwMode="auto">
            <a:xfrm>
              <a:off x="3758329" y="2525016"/>
              <a:ext cx="8009" cy="5158"/>
            </a:xfrm>
            <a:custGeom>
              <a:avLst/>
              <a:gdLst>
                <a:gd name="T0" fmla="*/ 3969 w 4"/>
                <a:gd name="T1" fmla="*/ 0 h 3"/>
                <a:gd name="T2" fmla="*/ 7938 w 4"/>
                <a:gd name="T3" fmla="*/ 2117 h 3"/>
                <a:gd name="T4" fmla="*/ 3969 w 4"/>
                <a:gd name="T5" fmla="*/ 4233 h 3"/>
                <a:gd name="T6" fmla="*/ 0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2" y="0"/>
                    <a:pt x="4" y="0"/>
                    <a:pt x="4" y="1"/>
                  </a:cubicBezTo>
                  <a:cubicBezTo>
                    <a:pt x="4" y="2"/>
                    <a:pt x="3" y="2"/>
                    <a:pt x="2" y="2"/>
                  </a:cubicBezTo>
                  <a:cubicBezTo>
                    <a:pt x="1" y="3"/>
                    <a:pt x="0" y="2"/>
                    <a:pt x="0" y="1"/>
                  </a:cubicBezTo>
                  <a:cubicBezTo>
                    <a:pt x="0" y="1"/>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1" name="Freeform 782"/>
            <p:cNvSpPr>
              <a:spLocks noChangeAspect="1"/>
            </p:cNvSpPr>
            <p:nvPr/>
          </p:nvSpPr>
          <p:spPr bwMode="auto">
            <a:xfrm>
              <a:off x="3719889" y="2532755"/>
              <a:ext cx="6407" cy="3869"/>
            </a:xfrm>
            <a:custGeom>
              <a:avLst/>
              <a:gdLst>
                <a:gd name="T0" fmla="*/ 2117 w 3"/>
                <a:gd name="T1" fmla="*/ 0 h 2"/>
                <a:gd name="T2" fmla="*/ 6350 w 3"/>
                <a:gd name="T3" fmla="*/ 2382 h 2"/>
                <a:gd name="T4" fmla="*/ 4233 w 3"/>
                <a:gd name="T5" fmla="*/ 4763 h 2"/>
                <a:gd name="T6" fmla="*/ 0 w 3"/>
                <a:gd name="T7" fmla="*/ 4763 h 2"/>
                <a:gd name="T8" fmla="*/ 2117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2"/>
                    <a:pt x="0" y="2"/>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2" name="Freeform 783"/>
            <p:cNvSpPr>
              <a:spLocks noChangeAspect="1"/>
            </p:cNvSpPr>
            <p:nvPr/>
          </p:nvSpPr>
          <p:spPr bwMode="auto">
            <a:xfrm>
              <a:off x="3713482" y="2479878"/>
              <a:ext cx="9610" cy="6448"/>
            </a:xfrm>
            <a:custGeom>
              <a:avLst/>
              <a:gdLst>
                <a:gd name="T0" fmla="*/ 1905 w 5"/>
                <a:gd name="T1" fmla="*/ 1984 h 4"/>
                <a:gd name="T2" fmla="*/ 7620 w 5"/>
                <a:gd name="T3" fmla="*/ 1984 h 4"/>
                <a:gd name="T4" fmla="*/ 5715 w 5"/>
                <a:gd name="T5" fmla="*/ 7937 h 4"/>
                <a:gd name="T6" fmla="*/ 0 w 5"/>
                <a:gd name="T7" fmla="*/ 5953 h 4"/>
                <a:gd name="T8" fmla="*/ 1905 w 5"/>
                <a:gd name="T9" fmla="*/ 1984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1" y="1"/>
                  </a:moveTo>
                  <a:cubicBezTo>
                    <a:pt x="2" y="0"/>
                    <a:pt x="4" y="1"/>
                    <a:pt x="4" y="1"/>
                  </a:cubicBezTo>
                  <a:cubicBezTo>
                    <a:pt x="5" y="2"/>
                    <a:pt x="4" y="4"/>
                    <a:pt x="3" y="4"/>
                  </a:cubicBezTo>
                  <a:cubicBezTo>
                    <a:pt x="2" y="4"/>
                    <a:pt x="0" y="4"/>
                    <a:pt x="0" y="3"/>
                  </a:cubicBezTo>
                  <a:cubicBezTo>
                    <a:pt x="0"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3" name="Freeform 784"/>
            <p:cNvSpPr>
              <a:spLocks noChangeAspect="1"/>
            </p:cNvSpPr>
            <p:nvPr/>
          </p:nvSpPr>
          <p:spPr bwMode="auto">
            <a:xfrm>
              <a:off x="3649413" y="1969165"/>
              <a:ext cx="9610" cy="3868"/>
            </a:xfrm>
            <a:custGeom>
              <a:avLst/>
              <a:gdLst>
                <a:gd name="T0" fmla="*/ 7620 w 5"/>
                <a:gd name="T1" fmla="*/ 2381 h 2"/>
                <a:gd name="T2" fmla="*/ 9525 w 5"/>
                <a:gd name="T3" fmla="*/ 4762 h 2"/>
                <a:gd name="T4" fmla="*/ 5715 w 5"/>
                <a:gd name="T5" fmla="*/ 4762 h 2"/>
                <a:gd name="T6" fmla="*/ 1905 w 5"/>
                <a:gd name="T7" fmla="*/ 2381 h 2"/>
                <a:gd name="T8" fmla="*/ 7620 w 5"/>
                <a:gd name="T9" fmla="*/ 2381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1"/>
                  </a:moveTo>
                  <a:cubicBezTo>
                    <a:pt x="4" y="1"/>
                    <a:pt x="5" y="1"/>
                    <a:pt x="5" y="2"/>
                  </a:cubicBezTo>
                  <a:cubicBezTo>
                    <a:pt x="5" y="2"/>
                    <a:pt x="4" y="2"/>
                    <a:pt x="3" y="2"/>
                  </a:cubicBezTo>
                  <a:cubicBezTo>
                    <a:pt x="2" y="2"/>
                    <a:pt x="0" y="1"/>
                    <a:pt x="1" y="1"/>
                  </a:cubicBezTo>
                  <a:cubicBezTo>
                    <a:pt x="1" y="0"/>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4" name="Freeform 785"/>
            <p:cNvSpPr>
              <a:spLocks noChangeAspect="1"/>
            </p:cNvSpPr>
            <p:nvPr/>
          </p:nvSpPr>
          <p:spPr bwMode="auto">
            <a:xfrm>
              <a:off x="3659023" y="1962716"/>
              <a:ext cx="9610" cy="5158"/>
            </a:xfrm>
            <a:custGeom>
              <a:avLst/>
              <a:gdLst>
                <a:gd name="T0" fmla="*/ 7620 w 5"/>
                <a:gd name="T1" fmla="*/ 4233 h 3"/>
                <a:gd name="T2" fmla="*/ 9525 w 5"/>
                <a:gd name="T3" fmla="*/ 6350 h 3"/>
                <a:gd name="T4" fmla="*/ 5715 w 5"/>
                <a:gd name="T5" fmla="*/ 6350 h 3"/>
                <a:gd name="T6" fmla="*/ 1905 w 5"/>
                <a:gd name="T7" fmla="*/ 2117 h 3"/>
                <a:gd name="T8" fmla="*/ 762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5" y="2"/>
                    <a:pt x="5" y="3"/>
                  </a:cubicBezTo>
                  <a:cubicBezTo>
                    <a:pt x="5" y="3"/>
                    <a:pt x="3" y="3"/>
                    <a:pt x="3" y="3"/>
                  </a:cubicBezTo>
                  <a:cubicBezTo>
                    <a:pt x="2" y="2"/>
                    <a:pt x="0" y="2"/>
                    <a:pt x="1" y="1"/>
                  </a:cubicBezTo>
                  <a:cubicBezTo>
                    <a:pt x="1"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5" name="Freeform 786"/>
            <p:cNvSpPr>
              <a:spLocks noChangeAspect="1"/>
            </p:cNvSpPr>
            <p:nvPr/>
          </p:nvSpPr>
          <p:spPr bwMode="auto">
            <a:xfrm>
              <a:off x="3715084" y="1988510"/>
              <a:ext cx="12814" cy="6449"/>
            </a:xfrm>
            <a:custGeom>
              <a:avLst/>
              <a:gdLst>
                <a:gd name="T0" fmla="*/ 3629 w 7"/>
                <a:gd name="T1" fmla="*/ 3969 h 4"/>
                <a:gd name="T2" fmla="*/ 0 w 7"/>
                <a:gd name="T3" fmla="*/ 0 h 4"/>
                <a:gd name="T4" fmla="*/ 7257 w 7"/>
                <a:gd name="T5" fmla="*/ 0 h 4"/>
                <a:gd name="T6" fmla="*/ 10886 w 7"/>
                <a:gd name="T7" fmla="*/ 5953 h 4"/>
                <a:gd name="T8" fmla="*/ 3629 w 7"/>
                <a:gd name="T9" fmla="*/ 3969 h 4"/>
                <a:gd name="T10" fmla="*/ 0 60000 65536"/>
                <a:gd name="T11" fmla="*/ 0 60000 65536"/>
                <a:gd name="T12" fmla="*/ 0 60000 65536"/>
                <a:gd name="T13" fmla="*/ 0 60000 65536"/>
                <a:gd name="T14" fmla="*/ 0 60000 65536"/>
                <a:gd name="T15" fmla="*/ 0 w 7"/>
                <a:gd name="T16" fmla="*/ 0 h 4"/>
                <a:gd name="T17" fmla="*/ 7 w 7"/>
                <a:gd name="T18" fmla="*/ 4 h 4"/>
              </a:gdLst>
              <a:ahLst/>
              <a:cxnLst>
                <a:cxn ang="T10">
                  <a:pos x="T0" y="T1"/>
                </a:cxn>
                <a:cxn ang="T11">
                  <a:pos x="T2" y="T3"/>
                </a:cxn>
                <a:cxn ang="T12">
                  <a:pos x="T4" y="T5"/>
                </a:cxn>
                <a:cxn ang="T13">
                  <a:pos x="T6" y="T7"/>
                </a:cxn>
                <a:cxn ang="T14">
                  <a:pos x="T8" y="T9"/>
                </a:cxn>
              </a:cxnLst>
              <a:rect l="T15" t="T16" r="T17" b="T18"/>
              <a:pathLst>
                <a:path w="7" h="4">
                  <a:moveTo>
                    <a:pt x="2" y="2"/>
                  </a:moveTo>
                  <a:cubicBezTo>
                    <a:pt x="1" y="2"/>
                    <a:pt x="0" y="1"/>
                    <a:pt x="0" y="0"/>
                  </a:cubicBezTo>
                  <a:cubicBezTo>
                    <a:pt x="1" y="0"/>
                    <a:pt x="3" y="0"/>
                    <a:pt x="4" y="0"/>
                  </a:cubicBezTo>
                  <a:cubicBezTo>
                    <a:pt x="5" y="1"/>
                    <a:pt x="7" y="2"/>
                    <a:pt x="6" y="3"/>
                  </a:cubicBezTo>
                  <a:cubicBezTo>
                    <a:pt x="6" y="4"/>
                    <a:pt x="4" y="3"/>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6" name="Freeform 787"/>
            <p:cNvSpPr>
              <a:spLocks noChangeAspect="1"/>
            </p:cNvSpPr>
            <p:nvPr/>
          </p:nvSpPr>
          <p:spPr bwMode="auto">
            <a:xfrm>
              <a:off x="3585345" y="1939502"/>
              <a:ext cx="4806" cy="5158"/>
            </a:xfrm>
            <a:custGeom>
              <a:avLst/>
              <a:gdLst>
                <a:gd name="T0" fmla="*/ 4763 w 2"/>
                <a:gd name="T1" fmla="*/ 4233 h 3"/>
                <a:gd name="T2" fmla="*/ 2382 w 2"/>
                <a:gd name="T3" fmla="*/ 6350 h 3"/>
                <a:gd name="T4" fmla="*/ 0 w 2"/>
                <a:gd name="T5" fmla="*/ 4233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7" name="Freeform 788"/>
            <p:cNvSpPr>
              <a:spLocks noChangeAspect="1"/>
            </p:cNvSpPr>
            <p:nvPr/>
          </p:nvSpPr>
          <p:spPr bwMode="auto">
            <a:xfrm>
              <a:off x="3678244" y="1961427"/>
              <a:ext cx="6407" cy="5158"/>
            </a:xfrm>
            <a:custGeom>
              <a:avLst/>
              <a:gdLst>
                <a:gd name="T0" fmla="*/ 4233 w 3"/>
                <a:gd name="T1" fmla="*/ 2117 h 3"/>
                <a:gd name="T2" fmla="*/ 6350 w 3"/>
                <a:gd name="T3" fmla="*/ 4233 h 3"/>
                <a:gd name="T4" fmla="*/ 2117 w 3"/>
                <a:gd name="T5" fmla="*/ 6350 h 3"/>
                <a:gd name="T6" fmla="*/ 0 w 3"/>
                <a:gd name="T7" fmla="*/ 2117 h 3"/>
                <a:gd name="T8" fmla="*/ 4233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8" name="Freeform 789"/>
            <p:cNvSpPr>
              <a:spLocks noChangeAspect="1"/>
            </p:cNvSpPr>
            <p:nvPr/>
          </p:nvSpPr>
          <p:spPr bwMode="auto">
            <a:xfrm>
              <a:off x="3724694" y="2013015"/>
              <a:ext cx="3203" cy="5158"/>
            </a:xfrm>
            <a:custGeom>
              <a:avLst/>
              <a:gdLst>
                <a:gd name="T0" fmla="*/ 3175 w 2"/>
                <a:gd name="T1" fmla="*/ 2117 h 3"/>
                <a:gd name="T2" fmla="*/ 3175 w 2"/>
                <a:gd name="T3" fmla="*/ 4233 h 3"/>
                <a:gd name="T4" fmla="*/ 1588 w 2"/>
                <a:gd name="T5" fmla="*/ 4233 h 3"/>
                <a:gd name="T6" fmla="*/ 0 w 2"/>
                <a:gd name="T7" fmla="*/ 0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1" y="3"/>
                    <a:pt x="1" y="2"/>
                    <a:pt x="1" y="2"/>
                  </a:cubicBezTo>
                  <a:cubicBezTo>
                    <a:pt x="0" y="1"/>
                    <a:pt x="0" y="1"/>
                    <a:pt x="0"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9" name="Oval 790"/>
            <p:cNvSpPr>
              <a:spLocks noChangeAspect="1" noChangeArrowheads="1"/>
            </p:cNvSpPr>
            <p:nvPr/>
          </p:nvSpPr>
          <p:spPr bwMode="auto">
            <a:xfrm>
              <a:off x="3662227" y="1954978"/>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0" name="Freeform 791"/>
            <p:cNvSpPr>
              <a:spLocks noChangeAspect="1"/>
            </p:cNvSpPr>
            <p:nvPr/>
          </p:nvSpPr>
          <p:spPr bwMode="auto">
            <a:xfrm>
              <a:off x="1070658" y="1369464"/>
              <a:ext cx="16017" cy="10318"/>
            </a:xfrm>
            <a:custGeom>
              <a:avLst/>
              <a:gdLst>
                <a:gd name="T0" fmla="*/ 9922 w 8"/>
                <a:gd name="T1" fmla="*/ 9071 h 7"/>
                <a:gd name="T2" fmla="*/ 1984 w 8"/>
                <a:gd name="T3" fmla="*/ 10886 h 7"/>
                <a:gd name="T4" fmla="*/ 3969 w 8"/>
                <a:gd name="T5" fmla="*/ 5443 h 7"/>
                <a:gd name="T6" fmla="*/ 13891 w 8"/>
                <a:gd name="T7" fmla="*/ 1814 h 7"/>
                <a:gd name="T8" fmla="*/ 9922 w 8"/>
                <a:gd name="T9" fmla="*/ 9071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1" name="Freeform 792"/>
            <p:cNvSpPr>
              <a:spLocks noChangeAspect="1"/>
            </p:cNvSpPr>
            <p:nvPr/>
          </p:nvSpPr>
          <p:spPr bwMode="auto">
            <a:xfrm>
              <a:off x="2555444" y="2436028"/>
              <a:ext cx="9610" cy="5158"/>
            </a:xfrm>
            <a:custGeom>
              <a:avLst/>
              <a:gdLst>
                <a:gd name="T0" fmla="*/ 7620 w 5"/>
                <a:gd name="T1" fmla="*/ 3175 h 4"/>
                <a:gd name="T2" fmla="*/ 9525 w 5"/>
                <a:gd name="T3" fmla="*/ 6350 h 4"/>
                <a:gd name="T4" fmla="*/ 3810 w 5"/>
                <a:gd name="T5" fmla="*/ 4762 h 4"/>
                <a:gd name="T6" fmla="*/ 1905 w 5"/>
                <a:gd name="T7" fmla="*/ 0 h 4"/>
                <a:gd name="T8" fmla="*/ 7620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2" name="Freeform 793"/>
            <p:cNvSpPr>
              <a:spLocks noChangeAspect="1"/>
            </p:cNvSpPr>
            <p:nvPr/>
          </p:nvSpPr>
          <p:spPr bwMode="auto">
            <a:xfrm>
              <a:off x="1607231" y="2189699"/>
              <a:ext cx="11212" cy="9029"/>
            </a:xfrm>
            <a:custGeom>
              <a:avLst/>
              <a:gdLst>
                <a:gd name="T0" fmla="*/ 7408 w 6"/>
                <a:gd name="T1" fmla="*/ 5557 h 6"/>
                <a:gd name="T2" fmla="*/ 9260 w 6"/>
                <a:gd name="T3" fmla="*/ 11113 h 6"/>
                <a:gd name="T4" fmla="*/ 3704 w 6"/>
                <a:gd name="T5" fmla="*/ 7409 h 6"/>
                <a:gd name="T6" fmla="*/ 1852 w 6"/>
                <a:gd name="T7" fmla="*/ 0 h 6"/>
                <a:gd name="T8" fmla="*/ 7408 w 6"/>
                <a:gd name="T9" fmla="*/ 5557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3" name="Freeform 794"/>
            <p:cNvSpPr>
              <a:spLocks noChangeAspect="1"/>
            </p:cNvSpPr>
            <p:nvPr/>
          </p:nvSpPr>
          <p:spPr bwMode="auto">
            <a:xfrm>
              <a:off x="1567188" y="2214204"/>
              <a:ext cx="1602" cy="7738"/>
            </a:xfrm>
            <a:custGeom>
              <a:avLst/>
              <a:gdLst>
                <a:gd name="T0" fmla="*/ 1588 w 1"/>
                <a:gd name="T1" fmla="*/ 5715 h 5"/>
                <a:gd name="T2" fmla="*/ 1588 w 1"/>
                <a:gd name="T3" fmla="*/ 9525 h 5"/>
                <a:gd name="T4" fmla="*/ 0 w 1"/>
                <a:gd name="T5" fmla="*/ 5715 h 5"/>
                <a:gd name="T6" fmla="*/ 1588 w 1"/>
                <a:gd name="T7" fmla="*/ 1905 h 5"/>
                <a:gd name="T8" fmla="*/ 1588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4" name="Freeform 795"/>
            <p:cNvSpPr>
              <a:spLocks noChangeAspect="1"/>
            </p:cNvSpPr>
            <p:nvPr/>
          </p:nvSpPr>
          <p:spPr bwMode="auto">
            <a:xfrm>
              <a:off x="1493509" y="2198728"/>
              <a:ext cx="3203" cy="7738"/>
            </a:xfrm>
            <a:custGeom>
              <a:avLst/>
              <a:gdLst>
                <a:gd name="T0" fmla="*/ 3175 w 1"/>
                <a:gd name="T1" fmla="*/ 5715 h 5"/>
                <a:gd name="T2" fmla="*/ 0 w 1"/>
                <a:gd name="T3" fmla="*/ 9525 h 5"/>
                <a:gd name="T4" fmla="*/ 0 w 1"/>
                <a:gd name="T5" fmla="*/ 5715 h 5"/>
                <a:gd name="T6" fmla="*/ 3175 w 1"/>
                <a:gd name="T7" fmla="*/ 0 h 5"/>
                <a:gd name="T8" fmla="*/ 3175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5" name="Freeform 796"/>
            <p:cNvSpPr>
              <a:spLocks noChangeAspect="1"/>
            </p:cNvSpPr>
            <p:nvPr/>
          </p:nvSpPr>
          <p:spPr bwMode="auto">
            <a:xfrm>
              <a:off x="1498314" y="2121347"/>
              <a:ext cx="8008" cy="7738"/>
            </a:xfrm>
            <a:custGeom>
              <a:avLst/>
              <a:gdLst>
                <a:gd name="T0" fmla="*/ 3969 w 4"/>
                <a:gd name="T1" fmla="*/ 5715 h 5"/>
                <a:gd name="T2" fmla="*/ 0 w 4"/>
                <a:gd name="T3" fmla="*/ 7620 h 5"/>
                <a:gd name="T4" fmla="*/ 1984 w 4"/>
                <a:gd name="T5" fmla="*/ 3810 h 5"/>
                <a:gd name="T6" fmla="*/ 5953 w 4"/>
                <a:gd name="T7" fmla="*/ 1905 h 5"/>
                <a:gd name="T8" fmla="*/ 3969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6" name="Freeform 797"/>
            <p:cNvSpPr>
              <a:spLocks noChangeAspect="1"/>
            </p:cNvSpPr>
            <p:nvPr/>
          </p:nvSpPr>
          <p:spPr bwMode="auto">
            <a:xfrm>
              <a:off x="532482" y="2385731"/>
              <a:ext cx="9610" cy="3869"/>
            </a:xfrm>
            <a:custGeom>
              <a:avLst/>
              <a:gdLst>
                <a:gd name="T0" fmla="*/ 3810 w 5"/>
                <a:gd name="T1" fmla="*/ 4763 h 2"/>
                <a:gd name="T2" fmla="*/ 1905 w 5"/>
                <a:gd name="T3" fmla="*/ 2382 h 2"/>
                <a:gd name="T4" fmla="*/ 5715 w 5"/>
                <a:gd name="T5" fmla="*/ 0 h 2"/>
                <a:gd name="T6" fmla="*/ 9525 w 5"/>
                <a:gd name="T7" fmla="*/ 2382 h 2"/>
                <a:gd name="T8" fmla="*/ 3810 w 5"/>
                <a:gd name="T9" fmla="*/ 476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1"/>
                    <a:pt x="1" y="1"/>
                  </a:cubicBezTo>
                  <a:cubicBezTo>
                    <a:pt x="1" y="0"/>
                    <a:pt x="2" y="0"/>
                    <a:pt x="3" y="0"/>
                  </a:cubicBezTo>
                  <a:cubicBezTo>
                    <a:pt x="4" y="0"/>
                    <a:pt x="5" y="0"/>
                    <a:pt x="5" y="1"/>
                  </a:cubicBezTo>
                  <a:cubicBezTo>
                    <a:pt x="5"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7" name="Freeform 798"/>
            <p:cNvSpPr>
              <a:spLocks noChangeAspect="1"/>
            </p:cNvSpPr>
            <p:nvPr/>
          </p:nvSpPr>
          <p:spPr bwMode="auto">
            <a:xfrm>
              <a:off x="729493" y="1423631"/>
              <a:ext cx="14415" cy="9029"/>
            </a:xfrm>
            <a:custGeom>
              <a:avLst/>
              <a:gdLst>
                <a:gd name="T0" fmla="*/ 5358 w 8"/>
                <a:gd name="T1" fmla="*/ 7409 h 6"/>
                <a:gd name="T2" fmla="*/ 0 w 8"/>
                <a:gd name="T3" fmla="*/ 9261 h 6"/>
                <a:gd name="T4" fmla="*/ 5358 w 8"/>
                <a:gd name="T5" fmla="*/ 5557 h 6"/>
                <a:gd name="T6" fmla="*/ 14287 w 8"/>
                <a:gd name="T7" fmla="*/ 1852 h 6"/>
                <a:gd name="T8" fmla="*/ 5358 w 8"/>
                <a:gd name="T9" fmla="*/ 7409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8" name="Freeform 801"/>
            <p:cNvSpPr>
              <a:spLocks noChangeAspect="1"/>
            </p:cNvSpPr>
            <p:nvPr/>
          </p:nvSpPr>
          <p:spPr bwMode="auto">
            <a:xfrm>
              <a:off x="708671" y="1521646"/>
              <a:ext cx="6407" cy="7738"/>
            </a:xfrm>
            <a:custGeom>
              <a:avLst/>
              <a:gdLst>
                <a:gd name="T0" fmla="*/ 3175 w 4"/>
                <a:gd name="T1" fmla="*/ 5715 h 5"/>
                <a:gd name="T2" fmla="*/ 0 w 4"/>
                <a:gd name="T3" fmla="*/ 7620 h 5"/>
                <a:gd name="T4" fmla="*/ 1588 w 4"/>
                <a:gd name="T5" fmla="*/ 3810 h 5"/>
                <a:gd name="T6" fmla="*/ 4762 w 4"/>
                <a:gd name="T7" fmla="*/ 1905 h 5"/>
                <a:gd name="T8" fmla="*/ 3175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0" y="4"/>
                  </a:cubicBezTo>
                  <a:cubicBezTo>
                    <a:pt x="0" y="4"/>
                    <a:pt x="1" y="3"/>
                    <a:pt x="1" y="2"/>
                  </a:cubicBezTo>
                  <a:cubicBezTo>
                    <a:pt x="2" y="1"/>
                    <a:pt x="3" y="0"/>
                    <a:pt x="3" y="1"/>
                  </a:cubicBezTo>
                  <a:cubicBezTo>
                    <a:pt x="4" y="1"/>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19" name="Freeform 802"/>
            <p:cNvSpPr>
              <a:spLocks noChangeAspect="1"/>
            </p:cNvSpPr>
            <p:nvPr/>
          </p:nvSpPr>
          <p:spPr bwMode="auto">
            <a:xfrm>
              <a:off x="843214" y="1489404"/>
              <a:ext cx="9610" cy="5158"/>
            </a:xfrm>
            <a:custGeom>
              <a:avLst/>
              <a:gdLst>
                <a:gd name="T0" fmla="*/ 3810 w 5"/>
                <a:gd name="T1" fmla="*/ 4233 h 3"/>
                <a:gd name="T2" fmla="*/ 1905 w 5"/>
                <a:gd name="T3" fmla="*/ 6350 h 3"/>
                <a:gd name="T4" fmla="*/ 3810 w 5"/>
                <a:gd name="T5" fmla="*/ 2117 h 3"/>
                <a:gd name="T6" fmla="*/ 7620 w 5"/>
                <a:gd name="T7" fmla="*/ 0 h 3"/>
                <a:gd name="T8" fmla="*/ 3810 w 5"/>
                <a:gd name="T9" fmla="*/ 423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2"/>
                  </a:moveTo>
                  <a:cubicBezTo>
                    <a:pt x="2" y="3"/>
                    <a:pt x="1" y="3"/>
                    <a:pt x="1" y="3"/>
                  </a:cubicBezTo>
                  <a:cubicBezTo>
                    <a:pt x="0" y="2"/>
                    <a:pt x="1" y="1"/>
                    <a:pt x="2" y="1"/>
                  </a:cubicBezTo>
                  <a:cubicBezTo>
                    <a:pt x="3" y="0"/>
                    <a:pt x="4" y="0"/>
                    <a:pt x="4" y="0"/>
                  </a:cubicBezTo>
                  <a:cubicBezTo>
                    <a:pt x="5" y="1"/>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0" name="Freeform 803"/>
            <p:cNvSpPr>
              <a:spLocks noChangeAspect="1"/>
            </p:cNvSpPr>
            <p:nvPr/>
          </p:nvSpPr>
          <p:spPr bwMode="auto">
            <a:xfrm>
              <a:off x="1113904" y="1387520"/>
              <a:ext cx="4805" cy="6449"/>
            </a:xfrm>
            <a:custGeom>
              <a:avLst/>
              <a:gdLst>
                <a:gd name="T0" fmla="*/ 1587 w 3"/>
                <a:gd name="T1" fmla="*/ 5953 h 4"/>
                <a:gd name="T2" fmla="*/ 0 w 3"/>
                <a:gd name="T3" fmla="*/ 7938 h 4"/>
                <a:gd name="T4" fmla="*/ 1587 w 3"/>
                <a:gd name="T5" fmla="*/ 3969 h 4"/>
                <a:gd name="T6" fmla="*/ 4762 w 3"/>
                <a:gd name="T7" fmla="*/ 0 h 4"/>
                <a:gd name="T8" fmla="*/ 1587 w 3"/>
                <a:gd name="T9" fmla="*/ 595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3"/>
                  </a:moveTo>
                  <a:cubicBezTo>
                    <a:pt x="1" y="4"/>
                    <a:pt x="0" y="4"/>
                    <a:pt x="0" y="4"/>
                  </a:cubicBezTo>
                  <a:cubicBezTo>
                    <a:pt x="0" y="4"/>
                    <a:pt x="0" y="3"/>
                    <a:pt x="1" y="2"/>
                  </a:cubicBezTo>
                  <a:cubicBezTo>
                    <a:pt x="1" y="1"/>
                    <a:pt x="2" y="0"/>
                    <a:pt x="3" y="0"/>
                  </a:cubicBezTo>
                  <a:cubicBezTo>
                    <a:pt x="3" y="1"/>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1" name="Freeform 804"/>
            <p:cNvSpPr>
              <a:spLocks noChangeAspect="1"/>
            </p:cNvSpPr>
            <p:nvPr/>
          </p:nvSpPr>
          <p:spPr bwMode="auto">
            <a:xfrm>
              <a:off x="1048233" y="1370754"/>
              <a:ext cx="6407" cy="7738"/>
            </a:xfrm>
            <a:custGeom>
              <a:avLst/>
              <a:gdLst>
                <a:gd name="T0" fmla="*/ 4233 w 3"/>
                <a:gd name="T1" fmla="*/ 7620 h 5"/>
                <a:gd name="T2" fmla="*/ 0 w 3"/>
                <a:gd name="T3" fmla="*/ 9525 h 5"/>
                <a:gd name="T4" fmla="*/ 2117 w 3"/>
                <a:gd name="T5" fmla="*/ 3810 h 5"/>
                <a:gd name="T6" fmla="*/ 6350 w 3"/>
                <a:gd name="T7" fmla="*/ 1905 h 5"/>
                <a:gd name="T8" fmla="*/ 4233 w 3"/>
                <a:gd name="T9" fmla="*/ 762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2" y="4"/>
                    <a:pt x="1" y="5"/>
                    <a:pt x="0" y="5"/>
                  </a:cubicBezTo>
                  <a:cubicBezTo>
                    <a:pt x="0" y="4"/>
                    <a:pt x="0" y="3"/>
                    <a:pt x="1" y="2"/>
                  </a:cubicBezTo>
                  <a:cubicBezTo>
                    <a:pt x="1" y="2"/>
                    <a:pt x="2" y="0"/>
                    <a:pt x="3" y="1"/>
                  </a:cubicBezTo>
                  <a:cubicBezTo>
                    <a:pt x="3" y="1"/>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2" name="Freeform 805"/>
            <p:cNvSpPr>
              <a:spLocks noChangeAspect="1"/>
            </p:cNvSpPr>
            <p:nvPr/>
          </p:nvSpPr>
          <p:spPr bwMode="auto">
            <a:xfrm>
              <a:off x="1315720" y="1525516"/>
              <a:ext cx="9610" cy="9027"/>
            </a:xfrm>
            <a:custGeom>
              <a:avLst/>
              <a:gdLst>
                <a:gd name="T0" fmla="*/ 7620 w 5"/>
                <a:gd name="T1" fmla="*/ 7408 h 6"/>
                <a:gd name="T2" fmla="*/ 7620 w 5"/>
                <a:gd name="T3" fmla="*/ 11112 h 6"/>
                <a:gd name="T4" fmla="*/ 3810 w 5"/>
                <a:gd name="T5" fmla="*/ 7408 h 6"/>
                <a:gd name="T6" fmla="*/ 0 w 5"/>
                <a:gd name="T7" fmla="*/ 0 h 6"/>
                <a:gd name="T8" fmla="*/ 7620 w 5"/>
                <a:gd name="T9" fmla="*/ 7408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3" name="Freeform 806"/>
            <p:cNvSpPr>
              <a:spLocks noChangeAspect="1"/>
            </p:cNvSpPr>
            <p:nvPr/>
          </p:nvSpPr>
          <p:spPr bwMode="auto">
            <a:xfrm>
              <a:off x="1277279" y="1470059"/>
              <a:ext cx="3203" cy="7738"/>
            </a:xfrm>
            <a:custGeom>
              <a:avLst/>
              <a:gdLst>
                <a:gd name="T0" fmla="*/ 1588 w 2"/>
                <a:gd name="T1" fmla="*/ 7620 h 5"/>
                <a:gd name="T2" fmla="*/ 0 w 2"/>
                <a:gd name="T3" fmla="*/ 9525 h 5"/>
                <a:gd name="T4" fmla="*/ 0 w 2"/>
                <a:gd name="T5" fmla="*/ 5715 h 5"/>
                <a:gd name="T6" fmla="*/ 1588 w 2"/>
                <a:gd name="T7" fmla="*/ 1905 h 5"/>
                <a:gd name="T8" fmla="*/ 1588 w 2"/>
                <a:gd name="T9" fmla="*/ 762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4" name="Freeform 807"/>
            <p:cNvSpPr>
              <a:spLocks noChangeAspect="1"/>
            </p:cNvSpPr>
            <p:nvPr/>
          </p:nvSpPr>
          <p:spPr bwMode="auto">
            <a:xfrm>
              <a:off x="1344551" y="1490694"/>
              <a:ext cx="8008" cy="6449"/>
            </a:xfrm>
            <a:custGeom>
              <a:avLst/>
              <a:gdLst>
                <a:gd name="T0" fmla="*/ 5953 w 4"/>
                <a:gd name="T1" fmla="*/ 3969 h 4"/>
                <a:gd name="T2" fmla="*/ 5953 w 4"/>
                <a:gd name="T3" fmla="*/ 7938 h 4"/>
                <a:gd name="T4" fmla="*/ 1984 w 4"/>
                <a:gd name="T5" fmla="*/ 5953 h 4"/>
                <a:gd name="T6" fmla="*/ 0 w 4"/>
                <a:gd name="T7" fmla="*/ 1985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3" y="4"/>
                    <a:pt x="2" y="3"/>
                    <a:pt x="1" y="3"/>
                  </a:cubicBezTo>
                  <a:cubicBezTo>
                    <a:pt x="1" y="2"/>
                    <a:pt x="0" y="1"/>
                    <a:pt x="0"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5" name="Freeform 808"/>
            <p:cNvSpPr>
              <a:spLocks noChangeAspect="1"/>
            </p:cNvSpPr>
            <p:nvPr/>
          </p:nvSpPr>
          <p:spPr bwMode="auto">
            <a:xfrm>
              <a:off x="1368575" y="1566785"/>
              <a:ext cx="9610" cy="9027"/>
            </a:xfrm>
            <a:custGeom>
              <a:avLst/>
              <a:gdLst>
                <a:gd name="T0" fmla="*/ 7620 w 5"/>
                <a:gd name="T1" fmla="*/ 5556 h 6"/>
                <a:gd name="T2" fmla="*/ 7620 w 5"/>
                <a:gd name="T3" fmla="*/ 11112 h 6"/>
                <a:gd name="T4" fmla="*/ 3810 w 5"/>
                <a:gd name="T5" fmla="*/ 7408 h 6"/>
                <a:gd name="T6" fmla="*/ 1905 w 5"/>
                <a:gd name="T7" fmla="*/ 0 h 6"/>
                <a:gd name="T8" fmla="*/ 7620 w 5"/>
                <a:gd name="T9" fmla="*/ 555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4"/>
                    <a:pt x="2" y="4"/>
                  </a:cubicBezTo>
                  <a:cubicBezTo>
                    <a:pt x="1" y="2"/>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6" name="Freeform 809"/>
            <p:cNvSpPr>
              <a:spLocks noChangeAspect="1"/>
            </p:cNvSpPr>
            <p:nvPr/>
          </p:nvSpPr>
          <p:spPr bwMode="auto">
            <a:xfrm>
              <a:off x="1386195" y="1589999"/>
              <a:ext cx="6407" cy="7738"/>
            </a:xfrm>
            <a:custGeom>
              <a:avLst/>
              <a:gdLst>
                <a:gd name="T0" fmla="*/ 6350 w 3"/>
                <a:gd name="T1" fmla="*/ 5715 h 5"/>
                <a:gd name="T2" fmla="*/ 6350 w 3"/>
                <a:gd name="T3" fmla="*/ 9525 h 5"/>
                <a:gd name="T4" fmla="*/ 2117 w 3"/>
                <a:gd name="T5" fmla="*/ 5715 h 5"/>
                <a:gd name="T6" fmla="*/ 2117 w 3"/>
                <a:gd name="T7" fmla="*/ 1905 h 5"/>
                <a:gd name="T8" fmla="*/ 6350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4"/>
                    <a:pt x="3" y="5"/>
                    <a:pt x="3" y="5"/>
                  </a:cubicBezTo>
                  <a:cubicBezTo>
                    <a:pt x="2" y="5"/>
                    <a:pt x="1" y="4"/>
                    <a:pt x="1"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7" name="Freeform 810"/>
            <p:cNvSpPr>
              <a:spLocks noChangeAspect="1"/>
            </p:cNvSpPr>
            <p:nvPr/>
          </p:nvSpPr>
          <p:spPr bwMode="auto">
            <a:xfrm>
              <a:off x="1498314" y="1711230"/>
              <a:ext cx="3203" cy="10318"/>
            </a:xfrm>
            <a:custGeom>
              <a:avLst/>
              <a:gdLst>
                <a:gd name="T0" fmla="*/ 3175 w 2"/>
                <a:gd name="T1" fmla="*/ 7257 h 7"/>
                <a:gd name="T2" fmla="*/ 3175 w 2"/>
                <a:gd name="T3" fmla="*/ 10886 h 7"/>
                <a:gd name="T4" fmla="*/ 0 w 2"/>
                <a:gd name="T5" fmla="*/ 7257 h 7"/>
                <a:gd name="T6" fmla="*/ 0 w 2"/>
                <a:gd name="T7" fmla="*/ 0 h 7"/>
                <a:gd name="T8" fmla="*/ 3175 w 2"/>
                <a:gd name="T9" fmla="*/ 7257 h 7"/>
                <a:gd name="T10" fmla="*/ 0 60000 65536"/>
                <a:gd name="T11" fmla="*/ 0 60000 65536"/>
                <a:gd name="T12" fmla="*/ 0 60000 65536"/>
                <a:gd name="T13" fmla="*/ 0 60000 65536"/>
                <a:gd name="T14" fmla="*/ 0 60000 65536"/>
                <a:gd name="T15" fmla="*/ 0 w 2"/>
                <a:gd name="T16" fmla="*/ 0 h 7"/>
                <a:gd name="T17" fmla="*/ 2 w 2"/>
                <a:gd name="T18" fmla="*/ 7 h 7"/>
              </a:gdLst>
              <a:ahLst/>
              <a:cxnLst>
                <a:cxn ang="T10">
                  <a:pos x="T0" y="T1"/>
                </a:cxn>
                <a:cxn ang="T11">
                  <a:pos x="T2" y="T3"/>
                </a:cxn>
                <a:cxn ang="T12">
                  <a:pos x="T4" y="T5"/>
                </a:cxn>
                <a:cxn ang="T13">
                  <a:pos x="T6" y="T7"/>
                </a:cxn>
                <a:cxn ang="T14">
                  <a:pos x="T8" y="T9"/>
                </a:cxn>
              </a:cxnLst>
              <a:rect l="T15" t="T16" r="T17" b="T18"/>
              <a:pathLst>
                <a:path w="2" h="7">
                  <a:moveTo>
                    <a:pt x="2" y="4"/>
                  </a:moveTo>
                  <a:cubicBezTo>
                    <a:pt x="2" y="5"/>
                    <a:pt x="2" y="7"/>
                    <a:pt x="2" y="6"/>
                  </a:cubicBezTo>
                  <a:cubicBezTo>
                    <a:pt x="1" y="6"/>
                    <a:pt x="1" y="5"/>
                    <a:pt x="0" y="4"/>
                  </a:cubicBezTo>
                  <a:cubicBezTo>
                    <a:pt x="0" y="3"/>
                    <a:pt x="0" y="0"/>
                    <a:pt x="0" y="0"/>
                  </a:cubicBezTo>
                  <a:cubicBezTo>
                    <a:pt x="1" y="0"/>
                    <a:pt x="2"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8" name="Freeform 811"/>
            <p:cNvSpPr>
              <a:spLocks noChangeAspect="1"/>
            </p:cNvSpPr>
            <p:nvPr/>
          </p:nvSpPr>
          <p:spPr bwMode="auto">
            <a:xfrm>
              <a:off x="3345087" y="615003"/>
              <a:ext cx="8009" cy="5158"/>
            </a:xfrm>
            <a:custGeom>
              <a:avLst/>
              <a:gdLst>
                <a:gd name="T0" fmla="*/ 5953 w 4"/>
                <a:gd name="T1" fmla="*/ 4233 h 3"/>
                <a:gd name="T2" fmla="*/ 7938 w 4"/>
                <a:gd name="T3" fmla="*/ 6350 h 3"/>
                <a:gd name="T4" fmla="*/ 3969 w 4"/>
                <a:gd name="T5" fmla="*/ 4233 h 3"/>
                <a:gd name="T6" fmla="*/ 0 w 4"/>
                <a:gd name="T7" fmla="*/ 0 h 3"/>
                <a:gd name="T8" fmla="*/ 5953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29" name="Freeform 812"/>
            <p:cNvSpPr>
              <a:spLocks noChangeAspect="1"/>
            </p:cNvSpPr>
            <p:nvPr/>
          </p:nvSpPr>
          <p:spPr bwMode="auto">
            <a:xfrm>
              <a:off x="3367512" y="600816"/>
              <a:ext cx="14416" cy="9029"/>
            </a:xfrm>
            <a:custGeom>
              <a:avLst/>
              <a:gdLst>
                <a:gd name="T0" fmla="*/ 10716 w 8"/>
                <a:gd name="T1" fmla="*/ 5557 h 6"/>
                <a:gd name="T2" fmla="*/ 14288 w 8"/>
                <a:gd name="T3" fmla="*/ 11113 h 6"/>
                <a:gd name="T4" fmla="*/ 7144 w 8"/>
                <a:gd name="T5" fmla="*/ 7409 h 6"/>
                <a:gd name="T6" fmla="*/ 1786 w 8"/>
                <a:gd name="T7" fmla="*/ 1852 h 6"/>
                <a:gd name="T8" fmla="*/ 10716 w 8"/>
                <a:gd name="T9" fmla="*/ 5557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0" name="Freeform 813"/>
            <p:cNvSpPr>
              <a:spLocks noChangeAspect="1"/>
            </p:cNvSpPr>
            <p:nvPr/>
          </p:nvSpPr>
          <p:spPr bwMode="auto">
            <a:xfrm>
              <a:off x="3497252" y="584050"/>
              <a:ext cx="28831" cy="9027"/>
            </a:xfrm>
            <a:custGeom>
              <a:avLst/>
              <a:gdLst>
                <a:gd name="T0" fmla="*/ 17145 w 15"/>
                <a:gd name="T1" fmla="*/ 5556 h 6"/>
                <a:gd name="T2" fmla="*/ 26670 w 15"/>
                <a:gd name="T3" fmla="*/ 9260 h 6"/>
                <a:gd name="T4" fmla="*/ 15240 w 15"/>
                <a:gd name="T5" fmla="*/ 9260 h 6"/>
                <a:gd name="T6" fmla="*/ 1905 w 15"/>
                <a:gd name="T7" fmla="*/ 3704 h 6"/>
                <a:gd name="T8" fmla="*/ 17145 w 15"/>
                <a:gd name="T9" fmla="*/ 5556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1" name="Freeform 814"/>
            <p:cNvSpPr>
              <a:spLocks noChangeAspect="1"/>
            </p:cNvSpPr>
            <p:nvPr/>
          </p:nvSpPr>
          <p:spPr bwMode="auto">
            <a:xfrm>
              <a:off x="2284755" y="914208"/>
              <a:ext cx="9610" cy="5158"/>
            </a:xfrm>
            <a:custGeom>
              <a:avLst/>
              <a:gdLst>
                <a:gd name="T0" fmla="*/ 3810 w 5"/>
                <a:gd name="T1" fmla="*/ 4762 h 4"/>
                <a:gd name="T2" fmla="*/ 1905 w 5"/>
                <a:gd name="T3" fmla="*/ 6350 h 4"/>
                <a:gd name="T4" fmla="*/ 3810 w 5"/>
                <a:gd name="T5" fmla="*/ 3175 h 4"/>
                <a:gd name="T6" fmla="*/ 7620 w 5"/>
                <a:gd name="T7" fmla="*/ 1588 h 4"/>
                <a:gd name="T8" fmla="*/ 3810 w 5"/>
                <a:gd name="T9" fmla="*/ 476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3"/>
                  </a:moveTo>
                  <a:cubicBezTo>
                    <a:pt x="2" y="4"/>
                    <a:pt x="1" y="4"/>
                    <a:pt x="1" y="4"/>
                  </a:cubicBezTo>
                  <a:cubicBezTo>
                    <a:pt x="0" y="3"/>
                    <a:pt x="1" y="2"/>
                    <a:pt x="2" y="2"/>
                  </a:cubicBezTo>
                  <a:cubicBezTo>
                    <a:pt x="3" y="1"/>
                    <a:pt x="4" y="0"/>
                    <a:pt x="4"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2" name="Freeform 815"/>
            <p:cNvSpPr>
              <a:spLocks noChangeAspect="1"/>
            </p:cNvSpPr>
            <p:nvPr/>
          </p:nvSpPr>
          <p:spPr bwMode="auto">
            <a:xfrm>
              <a:off x="2294365" y="836827"/>
              <a:ext cx="9610" cy="2579"/>
            </a:xfrm>
            <a:custGeom>
              <a:avLst/>
              <a:gdLst>
                <a:gd name="T0" fmla="*/ 3810 w 5"/>
                <a:gd name="T1" fmla="*/ 3175 h 2"/>
                <a:gd name="T2" fmla="*/ 0 w 5"/>
                <a:gd name="T3" fmla="*/ 1588 h 2"/>
                <a:gd name="T4" fmla="*/ 3810 w 5"/>
                <a:gd name="T5" fmla="*/ 0 h 2"/>
                <a:gd name="T6" fmla="*/ 7620 w 5"/>
                <a:gd name="T7" fmla="*/ 1588 h 2"/>
                <a:gd name="T8" fmla="*/ 381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2"/>
                    <a:pt x="0" y="1"/>
                  </a:cubicBezTo>
                  <a:cubicBezTo>
                    <a:pt x="0" y="1"/>
                    <a:pt x="1" y="0"/>
                    <a:pt x="2" y="0"/>
                  </a:cubicBezTo>
                  <a:cubicBezTo>
                    <a:pt x="3" y="0"/>
                    <a:pt x="5" y="0"/>
                    <a:pt x="4" y="1"/>
                  </a:cubicBezTo>
                  <a:cubicBezTo>
                    <a:pt x="4" y="2"/>
                    <a:pt x="3"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3" name="Freeform 816"/>
            <p:cNvSpPr>
              <a:spLocks noChangeAspect="1"/>
            </p:cNvSpPr>
            <p:nvPr/>
          </p:nvSpPr>
          <p:spPr bwMode="auto">
            <a:xfrm>
              <a:off x="2681979" y="1302400"/>
              <a:ext cx="16017" cy="5158"/>
            </a:xfrm>
            <a:custGeom>
              <a:avLst/>
              <a:gdLst>
                <a:gd name="T0" fmla="*/ 11906 w 8"/>
                <a:gd name="T1" fmla="*/ 2117 h 3"/>
                <a:gd name="T2" fmla="*/ 15875 w 8"/>
                <a:gd name="T3" fmla="*/ 4233 h 3"/>
                <a:gd name="T4" fmla="*/ 7938 w 8"/>
                <a:gd name="T5" fmla="*/ 6350 h 3"/>
                <a:gd name="T6" fmla="*/ 1984 w 8"/>
                <a:gd name="T7" fmla="*/ 2117 h 3"/>
                <a:gd name="T8" fmla="*/ 11906 w 8"/>
                <a:gd name="T9" fmla="*/ 2117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4" name="Freeform 817"/>
            <p:cNvSpPr>
              <a:spLocks noChangeAspect="1"/>
            </p:cNvSpPr>
            <p:nvPr/>
          </p:nvSpPr>
          <p:spPr bwMode="auto">
            <a:xfrm>
              <a:off x="2478562" y="1203096"/>
              <a:ext cx="8008" cy="14186"/>
            </a:xfrm>
            <a:custGeom>
              <a:avLst/>
              <a:gdLst>
                <a:gd name="T0" fmla="*/ 5953 w 4"/>
                <a:gd name="T1" fmla="*/ 9701 h 9"/>
                <a:gd name="T2" fmla="*/ 3969 w 4"/>
                <a:gd name="T3" fmla="*/ 17462 h 9"/>
                <a:gd name="T4" fmla="*/ 0 w 4"/>
                <a:gd name="T5" fmla="*/ 9701 h 9"/>
                <a:gd name="T6" fmla="*/ 1984 w 4"/>
                <a:gd name="T7" fmla="*/ 0 h 9"/>
                <a:gd name="T8" fmla="*/ 5953 w 4"/>
                <a:gd name="T9" fmla="*/ 9701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5" name="Freeform 818"/>
            <p:cNvSpPr>
              <a:spLocks noChangeAspect="1"/>
            </p:cNvSpPr>
            <p:nvPr/>
          </p:nvSpPr>
          <p:spPr bwMode="auto">
            <a:xfrm>
              <a:off x="2206271" y="1134743"/>
              <a:ext cx="9610" cy="7738"/>
            </a:xfrm>
            <a:custGeom>
              <a:avLst/>
              <a:gdLst>
                <a:gd name="T0" fmla="*/ 7620 w 5"/>
                <a:gd name="T1" fmla="*/ 5715 h 5"/>
                <a:gd name="T2" fmla="*/ 7620 w 5"/>
                <a:gd name="T3" fmla="*/ 9525 h 5"/>
                <a:gd name="T4" fmla="*/ 3810 w 5"/>
                <a:gd name="T5" fmla="*/ 5715 h 5"/>
                <a:gd name="T6" fmla="*/ 1905 w 5"/>
                <a:gd name="T7" fmla="*/ 0 h 5"/>
                <a:gd name="T8" fmla="*/ 7620 w 5"/>
                <a:gd name="T9" fmla="*/ 571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3"/>
                  </a:moveTo>
                  <a:cubicBezTo>
                    <a:pt x="4" y="3"/>
                    <a:pt x="5" y="4"/>
                    <a:pt x="4" y="5"/>
                  </a:cubicBezTo>
                  <a:cubicBezTo>
                    <a:pt x="3" y="5"/>
                    <a:pt x="2" y="4"/>
                    <a:pt x="2" y="3"/>
                  </a:cubicBezTo>
                  <a:cubicBezTo>
                    <a:pt x="1" y="2"/>
                    <a:pt x="0" y="1"/>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6" name="Freeform 819"/>
            <p:cNvSpPr>
              <a:spLocks noChangeAspect="1"/>
            </p:cNvSpPr>
            <p:nvPr/>
          </p:nvSpPr>
          <p:spPr bwMode="auto">
            <a:xfrm>
              <a:off x="2494580" y="2330275"/>
              <a:ext cx="6407" cy="6448"/>
            </a:xfrm>
            <a:custGeom>
              <a:avLst/>
              <a:gdLst>
                <a:gd name="T0" fmla="*/ 4762 w 4"/>
                <a:gd name="T1" fmla="*/ 3969 h 4"/>
                <a:gd name="T2" fmla="*/ 6350 w 4"/>
                <a:gd name="T3" fmla="*/ 7937 h 4"/>
                <a:gd name="T4" fmla="*/ 1588 w 4"/>
                <a:gd name="T5" fmla="*/ 5953 h 4"/>
                <a:gd name="T6" fmla="*/ 0 w 4"/>
                <a:gd name="T7" fmla="*/ 1984 h 4"/>
                <a:gd name="T8" fmla="*/ 4762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7" name="Freeform 820"/>
            <p:cNvSpPr>
              <a:spLocks noChangeAspect="1"/>
            </p:cNvSpPr>
            <p:nvPr/>
          </p:nvSpPr>
          <p:spPr bwMode="auto">
            <a:xfrm>
              <a:off x="2500986" y="2307061"/>
              <a:ext cx="12814" cy="9027"/>
            </a:xfrm>
            <a:custGeom>
              <a:avLst/>
              <a:gdLst>
                <a:gd name="T0" fmla="*/ 8467 w 6"/>
                <a:gd name="T1" fmla="*/ 5556 h 6"/>
                <a:gd name="T2" fmla="*/ 12700 w 6"/>
                <a:gd name="T3" fmla="*/ 11112 h 6"/>
                <a:gd name="T4" fmla="*/ 6350 w 6"/>
                <a:gd name="T5" fmla="*/ 7408 h 6"/>
                <a:gd name="T6" fmla="*/ 2117 w 6"/>
                <a:gd name="T7" fmla="*/ 0 h 6"/>
                <a:gd name="T8" fmla="*/ 8467 w 6"/>
                <a:gd name="T9" fmla="*/ 555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8" name="Freeform 821"/>
            <p:cNvSpPr>
              <a:spLocks noChangeAspect="1"/>
            </p:cNvSpPr>
            <p:nvPr/>
          </p:nvSpPr>
          <p:spPr bwMode="auto">
            <a:xfrm>
              <a:off x="2513800" y="2336724"/>
              <a:ext cx="11212" cy="9029"/>
            </a:xfrm>
            <a:custGeom>
              <a:avLst/>
              <a:gdLst>
                <a:gd name="T0" fmla="*/ 7408 w 6"/>
                <a:gd name="T1" fmla="*/ 5557 h 6"/>
                <a:gd name="T2" fmla="*/ 9260 w 6"/>
                <a:gd name="T3" fmla="*/ 11113 h 6"/>
                <a:gd name="T4" fmla="*/ 3704 w 6"/>
                <a:gd name="T5" fmla="*/ 5557 h 6"/>
                <a:gd name="T6" fmla="*/ 1852 w 6"/>
                <a:gd name="T7" fmla="*/ 0 h 6"/>
                <a:gd name="T8" fmla="*/ 7408 w 6"/>
                <a:gd name="T9" fmla="*/ 5557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9" name="Freeform 822"/>
            <p:cNvSpPr>
              <a:spLocks noChangeAspect="1"/>
            </p:cNvSpPr>
            <p:nvPr/>
          </p:nvSpPr>
          <p:spPr bwMode="auto">
            <a:xfrm>
              <a:off x="2353629" y="2430870"/>
              <a:ext cx="9610" cy="2579"/>
            </a:xfrm>
            <a:custGeom>
              <a:avLst/>
              <a:gdLst>
                <a:gd name="T0" fmla="*/ 5715 w 5"/>
                <a:gd name="T1" fmla="*/ 0 h 2"/>
                <a:gd name="T2" fmla="*/ 9525 w 5"/>
                <a:gd name="T3" fmla="*/ 1588 h 2"/>
                <a:gd name="T4" fmla="*/ 3810 w 5"/>
                <a:gd name="T5" fmla="*/ 3175 h 2"/>
                <a:gd name="T6" fmla="*/ 0 w 5"/>
                <a:gd name="T7" fmla="*/ 0 h 2"/>
                <a:gd name="T8" fmla="*/ 5715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4" y="2"/>
                    <a:pt x="3" y="2"/>
                    <a:pt x="2" y="2"/>
                  </a:cubicBezTo>
                  <a:cubicBezTo>
                    <a:pt x="1" y="1"/>
                    <a:pt x="0" y="1"/>
                    <a:pt x="0" y="0"/>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0" name="Freeform 823"/>
            <p:cNvSpPr>
              <a:spLocks noChangeAspect="1"/>
            </p:cNvSpPr>
            <p:nvPr/>
          </p:nvSpPr>
          <p:spPr bwMode="auto">
            <a:xfrm>
              <a:off x="2228696" y="2494063"/>
              <a:ext cx="9610" cy="5158"/>
            </a:xfrm>
            <a:custGeom>
              <a:avLst/>
              <a:gdLst>
                <a:gd name="T0" fmla="*/ 5715 w 5"/>
                <a:gd name="T1" fmla="*/ 2117 h 3"/>
                <a:gd name="T2" fmla="*/ 9525 w 5"/>
                <a:gd name="T3" fmla="*/ 2117 h 3"/>
                <a:gd name="T4" fmla="*/ 5715 w 5"/>
                <a:gd name="T5" fmla="*/ 4233 h 3"/>
                <a:gd name="T6" fmla="*/ 0 w 5"/>
                <a:gd name="T7" fmla="*/ 6350 h 3"/>
                <a:gd name="T8" fmla="*/ 5715 w 5"/>
                <a:gd name="T9" fmla="*/ 2117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3" y="1"/>
                    <a:pt x="4" y="0"/>
                    <a:pt x="5" y="1"/>
                  </a:cubicBezTo>
                  <a:cubicBezTo>
                    <a:pt x="5" y="1"/>
                    <a:pt x="4" y="2"/>
                    <a:pt x="3" y="2"/>
                  </a:cubicBezTo>
                  <a:cubicBezTo>
                    <a:pt x="2" y="3"/>
                    <a:pt x="1" y="3"/>
                    <a:pt x="0" y="3"/>
                  </a:cubicBezTo>
                  <a:cubicBezTo>
                    <a:pt x="0" y="2"/>
                    <a:pt x="2"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1" name="Freeform 824"/>
            <p:cNvSpPr>
              <a:spLocks noChangeAspect="1"/>
            </p:cNvSpPr>
            <p:nvPr/>
          </p:nvSpPr>
          <p:spPr bwMode="auto">
            <a:xfrm>
              <a:off x="2227094" y="2405076"/>
              <a:ext cx="8009" cy="3868"/>
            </a:xfrm>
            <a:custGeom>
              <a:avLst/>
              <a:gdLst>
                <a:gd name="T0" fmla="*/ 3969 w 4"/>
                <a:gd name="T1" fmla="*/ 1587 h 3"/>
                <a:gd name="T2" fmla="*/ 7938 w 4"/>
                <a:gd name="T3" fmla="*/ 0 h 3"/>
                <a:gd name="T4" fmla="*/ 3969 w 4"/>
                <a:gd name="T5" fmla="*/ 3175 h 3"/>
                <a:gd name="T6" fmla="*/ 0 w 4"/>
                <a:gd name="T7" fmla="*/ 4762 h 3"/>
                <a:gd name="T8" fmla="*/ 3969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2" y="0"/>
                    <a:pt x="3" y="0"/>
                    <a:pt x="4" y="0"/>
                  </a:cubicBezTo>
                  <a:cubicBezTo>
                    <a:pt x="4" y="1"/>
                    <a:pt x="3" y="2"/>
                    <a:pt x="2" y="2"/>
                  </a:cubicBezTo>
                  <a:cubicBezTo>
                    <a:pt x="2" y="3"/>
                    <a:pt x="0" y="3"/>
                    <a:pt x="0" y="3"/>
                  </a:cubicBezTo>
                  <a:cubicBezTo>
                    <a:pt x="0" y="2"/>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2" name="Freeform 825"/>
            <p:cNvSpPr>
              <a:spLocks noChangeAspect="1"/>
            </p:cNvSpPr>
            <p:nvPr/>
          </p:nvSpPr>
          <p:spPr bwMode="auto">
            <a:xfrm>
              <a:off x="2199865" y="2468270"/>
              <a:ext cx="6407" cy="6449"/>
            </a:xfrm>
            <a:custGeom>
              <a:avLst/>
              <a:gdLst>
                <a:gd name="T0" fmla="*/ 4233 w 3"/>
                <a:gd name="T1" fmla="*/ 1985 h 4"/>
                <a:gd name="T2" fmla="*/ 6350 w 3"/>
                <a:gd name="T3" fmla="*/ 1985 h 4"/>
                <a:gd name="T4" fmla="*/ 4233 w 3"/>
                <a:gd name="T5" fmla="*/ 3969 h 4"/>
                <a:gd name="T6" fmla="*/ 2117 w 3"/>
                <a:gd name="T7" fmla="*/ 5953 h 4"/>
                <a:gd name="T8" fmla="*/ 4233 w 3"/>
                <a:gd name="T9" fmla="*/ 198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1"/>
                  </a:moveTo>
                  <a:cubicBezTo>
                    <a:pt x="2" y="1"/>
                    <a:pt x="3" y="0"/>
                    <a:pt x="3" y="1"/>
                  </a:cubicBezTo>
                  <a:cubicBezTo>
                    <a:pt x="3" y="1"/>
                    <a:pt x="3" y="2"/>
                    <a:pt x="2" y="2"/>
                  </a:cubicBezTo>
                  <a:cubicBezTo>
                    <a:pt x="2" y="3"/>
                    <a:pt x="1" y="4"/>
                    <a:pt x="1" y="3"/>
                  </a:cubicBezTo>
                  <a:cubicBezTo>
                    <a:pt x="0" y="3"/>
                    <a:pt x="1" y="2"/>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3" name="Freeform 826"/>
            <p:cNvSpPr>
              <a:spLocks noChangeAspect="1"/>
            </p:cNvSpPr>
            <p:nvPr/>
          </p:nvSpPr>
          <p:spPr bwMode="auto">
            <a:xfrm>
              <a:off x="2561852" y="2356069"/>
              <a:ext cx="14415" cy="3868"/>
            </a:xfrm>
            <a:custGeom>
              <a:avLst/>
              <a:gdLst>
                <a:gd name="T0" fmla="*/ 8929 w 8"/>
                <a:gd name="T1" fmla="*/ 2381 h 2"/>
                <a:gd name="T2" fmla="*/ 14287 w 8"/>
                <a:gd name="T3" fmla="*/ 4762 h 2"/>
                <a:gd name="T4" fmla="*/ 7144 w 8"/>
                <a:gd name="T5" fmla="*/ 4762 h 2"/>
                <a:gd name="T6" fmla="*/ 0 w 8"/>
                <a:gd name="T7" fmla="*/ 2381 h 2"/>
                <a:gd name="T8" fmla="*/ 8929 w 8"/>
                <a:gd name="T9" fmla="*/ 2381 h 2"/>
                <a:gd name="T10" fmla="*/ 0 60000 65536"/>
                <a:gd name="T11" fmla="*/ 0 60000 65536"/>
                <a:gd name="T12" fmla="*/ 0 60000 65536"/>
                <a:gd name="T13" fmla="*/ 0 60000 65536"/>
                <a:gd name="T14" fmla="*/ 0 60000 65536"/>
                <a:gd name="T15" fmla="*/ 0 w 8"/>
                <a:gd name="T16" fmla="*/ 0 h 2"/>
                <a:gd name="T17" fmla="*/ 8 w 8"/>
                <a:gd name="T18" fmla="*/ 2 h 2"/>
              </a:gdLst>
              <a:ahLst/>
              <a:cxnLst>
                <a:cxn ang="T10">
                  <a:pos x="T0" y="T1"/>
                </a:cxn>
                <a:cxn ang="T11">
                  <a:pos x="T2" y="T3"/>
                </a:cxn>
                <a:cxn ang="T12">
                  <a:pos x="T4" y="T5"/>
                </a:cxn>
                <a:cxn ang="T13">
                  <a:pos x="T6" y="T7"/>
                </a:cxn>
                <a:cxn ang="T14">
                  <a:pos x="T8" y="T9"/>
                </a:cxn>
              </a:cxnLst>
              <a:rect l="T15" t="T16" r="T17" b="T18"/>
              <a:pathLst>
                <a:path w="8" h="2">
                  <a:moveTo>
                    <a:pt x="5" y="1"/>
                  </a:moveTo>
                  <a:cubicBezTo>
                    <a:pt x="6" y="1"/>
                    <a:pt x="8" y="1"/>
                    <a:pt x="8" y="2"/>
                  </a:cubicBezTo>
                  <a:cubicBezTo>
                    <a:pt x="7" y="2"/>
                    <a:pt x="5" y="2"/>
                    <a:pt x="4" y="2"/>
                  </a:cubicBezTo>
                  <a:cubicBezTo>
                    <a:pt x="3" y="2"/>
                    <a:pt x="0" y="2"/>
                    <a:pt x="0" y="1"/>
                  </a:cubicBezTo>
                  <a:cubicBezTo>
                    <a:pt x="1" y="0"/>
                    <a:pt x="4"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4" name="Freeform 827"/>
            <p:cNvSpPr>
              <a:spLocks noChangeAspect="1"/>
            </p:cNvSpPr>
            <p:nvPr/>
          </p:nvSpPr>
          <p:spPr bwMode="auto">
            <a:xfrm>
              <a:off x="2536224" y="2354779"/>
              <a:ext cx="9610" cy="11608"/>
            </a:xfrm>
            <a:custGeom>
              <a:avLst/>
              <a:gdLst>
                <a:gd name="T0" fmla="*/ 5715 w 5"/>
                <a:gd name="T1" fmla="*/ 4082 h 7"/>
                <a:gd name="T2" fmla="*/ 9525 w 5"/>
                <a:gd name="T3" fmla="*/ 0 h 7"/>
                <a:gd name="T4" fmla="*/ 5715 w 5"/>
                <a:gd name="T5" fmla="*/ 6123 h 7"/>
                <a:gd name="T6" fmla="*/ 0 w 5"/>
                <a:gd name="T7" fmla="*/ 12247 h 7"/>
                <a:gd name="T8" fmla="*/ 5715 w 5"/>
                <a:gd name="T9" fmla="*/ 4082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5" name="Freeform 828"/>
            <p:cNvSpPr>
              <a:spLocks noChangeAspect="1"/>
            </p:cNvSpPr>
            <p:nvPr/>
          </p:nvSpPr>
          <p:spPr bwMode="auto">
            <a:xfrm>
              <a:off x="2845354" y="2534045"/>
              <a:ext cx="8009" cy="7738"/>
            </a:xfrm>
            <a:custGeom>
              <a:avLst/>
              <a:gdLst>
                <a:gd name="T0" fmla="*/ 5953 w 4"/>
                <a:gd name="T1" fmla="*/ 5715 h 5"/>
                <a:gd name="T2" fmla="*/ 7938 w 4"/>
                <a:gd name="T3" fmla="*/ 9525 h 5"/>
                <a:gd name="T4" fmla="*/ 3969 w 4"/>
                <a:gd name="T5" fmla="*/ 5715 h 5"/>
                <a:gd name="T6" fmla="*/ 1985 w 4"/>
                <a:gd name="T7" fmla="*/ 0 h 5"/>
                <a:gd name="T8" fmla="*/ 5953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4" y="4"/>
                    <a:pt x="4" y="5"/>
                    <a:pt x="4" y="5"/>
                  </a:cubicBezTo>
                  <a:cubicBezTo>
                    <a:pt x="3" y="5"/>
                    <a:pt x="2" y="4"/>
                    <a:pt x="2" y="3"/>
                  </a:cubicBezTo>
                  <a:cubicBezTo>
                    <a:pt x="1" y="2"/>
                    <a:pt x="0" y="1"/>
                    <a:pt x="1" y="0"/>
                  </a:cubicBezTo>
                  <a:cubicBezTo>
                    <a:pt x="2" y="0"/>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6" name="Freeform 829"/>
            <p:cNvSpPr>
              <a:spLocks noChangeAspect="1"/>
            </p:cNvSpPr>
            <p:nvPr/>
          </p:nvSpPr>
          <p:spPr bwMode="auto">
            <a:xfrm>
              <a:off x="2830939" y="2497934"/>
              <a:ext cx="1601" cy="9027"/>
            </a:xfrm>
            <a:custGeom>
              <a:avLst/>
              <a:gdLst>
                <a:gd name="T0" fmla="*/ 1587 w 1"/>
                <a:gd name="T1" fmla="*/ 7408 h 6"/>
                <a:gd name="T2" fmla="*/ 0 w 1"/>
                <a:gd name="T3" fmla="*/ 11112 h 6"/>
                <a:gd name="T4" fmla="*/ 0 w 1"/>
                <a:gd name="T5" fmla="*/ 5556 h 6"/>
                <a:gd name="T6" fmla="*/ 0 w 1"/>
                <a:gd name="T7" fmla="*/ 0 h 6"/>
                <a:gd name="T8" fmla="*/ 1587 w 1"/>
                <a:gd name="T9" fmla="*/ 7408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1"/>
                    <a:pt x="1"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7" name="Freeform 830"/>
            <p:cNvSpPr>
              <a:spLocks noChangeAspect="1"/>
            </p:cNvSpPr>
            <p:nvPr/>
          </p:nvSpPr>
          <p:spPr bwMode="auto">
            <a:xfrm>
              <a:off x="2846956" y="2549521"/>
              <a:ext cx="3203" cy="7738"/>
            </a:xfrm>
            <a:custGeom>
              <a:avLst/>
              <a:gdLst>
                <a:gd name="T0" fmla="*/ 3175 w 1"/>
                <a:gd name="T1" fmla="*/ 5715 h 5"/>
                <a:gd name="T2" fmla="*/ 0 w 1"/>
                <a:gd name="T3" fmla="*/ 9525 h 5"/>
                <a:gd name="T4" fmla="*/ 0 w 1"/>
                <a:gd name="T5" fmla="*/ 5715 h 5"/>
                <a:gd name="T6" fmla="*/ 3175 w 1"/>
                <a:gd name="T7" fmla="*/ 0 h 5"/>
                <a:gd name="T8" fmla="*/ 3175 w 1"/>
                <a:gd name="T9" fmla="*/ 5715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0"/>
                    <a:pt x="1"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8" name="Freeform 831"/>
            <p:cNvSpPr>
              <a:spLocks noChangeAspect="1"/>
            </p:cNvSpPr>
            <p:nvPr/>
          </p:nvSpPr>
          <p:spPr bwMode="auto">
            <a:xfrm>
              <a:off x="2645141" y="2592080"/>
              <a:ext cx="12814" cy="3869"/>
            </a:xfrm>
            <a:custGeom>
              <a:avLst/>
              <a:gdLst>
                <a:gd name="T0" fmla="*/ 8467 w 6"/>
                <a:gd name="T1" fmla="*/ 1588 h 3"/>
                <a:gd name="T2" fmla="*/ 12700 w 6"/>
                <a:gd name="T3" fmla="*/ 4763 h 3"/>
                <a:gd name="T4" fmla="*/ 6350 w 6"/>
                <a:gd name="T5" fmla="*/ 4763 h 3"/>
                <a:gd name="T6" fmla="*/ 0 w 6"/>
                <a:gd name="T7" fmla="*/ 1588 h 3"/>
                <a:gd name="T8" fmla="*/ 8467 w 6"/>
                <a:gd name="T9" fmla="*/ 1588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4" y="1"/>
                  </a:moveTo>
                  <a:cubicBezTo>
                    <a:pt x="5" y="2"/>
                    <a:pt x="6" y="2"/>
                    <a:pt x="6" y="3"/>
                  </a:cubicBezTo>
                  <a:cubicBezTo>
                    <a:pt x="5" y="3"/>
                    <a:pt x="4" y="3"/>
                    <a:pt x="3" y="3"/>
                  </a:cubicBezTo>
                  <a:cubicBezTo>
                    <a:pt x="2" y="2"/>
                    <a:pt x="0" y="1"/>
                    <a:pt x="0" y="1"/>
                  </a:cubicBezTo>
                  <a:cubicBezTo>
                    <a:pt x="1" y="0"/>
                    <a:pt x="3" y="1"/>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49" name="Freeform 832"/>
            <p:cNvSpPr>
              <a:spLocks noChangeAspect="1"/>
            </p:cNvSpPr>
            <p:nvPr/>
          </p:nvSpPr>
          <p:spPr bwMode="auto">
            <a:xfrm>
              <a:off x="3084010" y="2869361"/>
              <a:ext cx="8008" cy="7738"/>
            </a:xfrm>
            <a:custGeom>
              <a:avLst/>
              <a:gdLst>
                <a:gd name="T0" fmla="*/ 3969 w 4"/>
                <a:gd name="T1" fmla="*/ 7620 h 5"/>
                <a:gd name="T2" fmla="*/ 1984 w 4"/>
                <a:gd name="T3" fmla="*/ 9525 h 5"/>
                <a:gd name="T4" fmla="*/ 1984 w 4"/>
                <a:gd name="T5" fmla="*/ 5715 h 5"/>
                <a:gd name="T6" fmla="*/ 7937 w 4"/>
                <a:gd name="T7" fmla="*/ 1905 h 5"/>
                <a:gd name="T8" fmla="*/ 3969 w 4"/>
                <a:gd name="T9" fmla="*/ 762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0" name="Freeform 833"/>
            <p:cNvSpPr>
              <a:spLocks noChangeAspect="1"/>
            </p:cNvSpPr>
            <p:nvPr/>
          </p:nvSpPr>
          <p:spPr bwMode="auto">
            <a:xfrm>
              <a:off x="3082407" y="2864202"/>
              <a:ext cx="9610" cy="9027"/>
            </a:xfrm>
            <a:custGeom>
              <a:avLst/>
              <a:gdLst>
                <a:gd name="T0" fmla="*/ 5715 w 5"/>
                <a:gd name="T1" fmla="*/ 7408 h 6"/>
                <a:gd name="T2" fmla="*/ 1905 w 5"/>
                <a:gd name="T3" fmla="*/ 9260 h 6"/>
                <a:gd name="T4" fmla="*/ 3810 w 5"/>
                <a:gd name="T5" fmla="*/ 5556 h 6"/>
                <a:gd name="T6" fmla="*/ 7620 w 5"/>
                <a:gd name="T7" fmla="*/ 1852 h 6"/>
                <a:gd name="T8" fmla="*/ 5715 w 5"/>
                <a:gd name="T9" fmla="*/ 7408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1" name="Freeform 834"/>
            <p:cNvSpPr>
              <a:spLocks noChangeAspect="1"/>
            </p:cNvSpPr>
            <p:nvPr/>
          </p:nvSpPr>
          <p:spPr bwMode="auto">
            <a:xfrm>
              <a:off x="3098425" y="2812615"/>
              <a:ext cx="4806" cy="6448"/>
            </a:xfrm>
            <a:custGeom>
              <a:avLst/>
              <a:gdLst>
                <a:gd name="T0" fmla="*/ 4763 w 3"/>
                <a:gd name="T1" fmla="*/ 3969 h 4"/>
                <a:gd name="T2" fmla="*/ 4763 w 3"/>
                <a:gd name="T3" fmla="*/ 7937 h 4"/>
                <a:gd name="T4" fmla="*/ 1588 w 3"/>
                <a:gd name="T5" fmla="*/ 5953 h 4"/>
                <a:gd name="T6" fmla="*/ 0 w 3"/>
                <a:gd name="T7" fmla="*/ 0 h 4"/>
                <a:gd name="T8" fmla="*/ 476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2" name="Freeform 835"/>
            <p:cNvSpPr>
              <a:spLocks noChangeAspect="1"/>
            </p:cNvSpPr>
            <p:nvPr/>
          </p:nvSpPr>
          <p:spPr bwMode="auto">
            <a:xfrm>
              <a:off x="2145407" y="2878389"/>
              <a:ext cx="8008" cy="6449"/>
            </a:xfrm>
            <a:custGeom>
              <a:avLst/>
              <a:gdLst>
                <a:gd name="T0" fmla="*/ 3969 w 4"/>
                <a:gd name="T1" fmla="*/ 5953 h 4"/>
                <a:gd name="T2" fmla="*/ 0 w 4"/>
                <a:gd name="T3" fmla="*/ 5953 h 4"/>
                <a:gd name="T4" fmla="*/ 1984 w 4"/>
                <a:gd name="T5" fmla="*/ 3969 h 4"/>
                <a:gd name="T6" fmla="*/ 7937 w 4"/>
                <a:gd name="T7" fmla="*/ 1985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2"/>
                  </a:cubicBezTo>
                  <a:cubicBezTo>
                    <a:pt x="2" y="1"/>
                    <a:pt x="4" y="0"/>
                    <a:pt x="4" y="1"/>
                  </a:cubicBezTo>
                  <a:cubicBezTo>
                    <a:pt x="4"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3" name="Freeform 836"/>
            <p:cNvSpPr>
              <a:spLocks noChangeAspect="1"/>
            </p:cNvSpPr>
            <p:nvPr/>
          </p:nvSpPr>
          <p:spPr bwMode="auto">
            <a:xfrm>
              <a:off x="2606699" y="3932057"/>
              <a:ext cx="4805" cy="7738"/>
            </a:xfrm>
            <a:custGeom>
              <a:avLst/>
              <a:gdLst>
                <a:gd name="T0" fmla="*/ 4762 w 2"/>
                <a:gd name="T1" fmla="*/ 5715 h 5"/>
                <a:gd name="T2" fmla="*/ 4762 w 2"/>
                <a:gd name="T3" fmla="*/ 9525 h 5"/>
                <a:gd name="T4" fmla="*/ 0 w 2"/>
                <a:gd name="T5" fmla="*/ 5715 h 5"/>
                <a:gd name="T6" fmla="*/ 0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0" y="4"/>
                    <a:pt x="0" y="3"/>
                  </a:cubicBezTo>
                  <a:cubicBezTo>
                    <a:pt x="0" y="2"/>
                    <a:pt x="0" y="0"/>
                    <a:pt x="0" y="0"/>
                  </a:cubicBezTo>
                  <a:cubicBezTo>
                    <a:pt x="1"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4" name="Freeform 837"/>
            <p:cNvSpPr>
              <a:spLocks noChangeAspect="1"/>
            </p:cNvSpPr>
            <p:nvPr/>
          </p:nvSpPr>
          <p:spPr bwMode="auto">
            <a:xfrm>
              <a:off x="2606699" y="3889496"/>
              <a:ext cx="8008" cy="3869"/>
            </a:xfrm>
            <a:custGeom>
              <a:avLst/>
              <a:gdLst>
                <a:gd name="T0" fmla="*/ 3969 w 4"/>
                <a:gd name="T1" fmla="*/ 4763 h 3"/>
                <a:gd name="T2" fmla="*/ 0 w 4"/>
                <a:gd name="T3" fmla="*/ 4763 h 3"/>
                <a:gd name="T4" fmla="*/ 1984 w 4"/>
                <a:gd name="T5" fmla="*/ 1588 h 3"/>
                <a:gd name="T6" fmla="*/ 7937 w 4"/>
                <a:gd name="T7" fmla="*/ 1588 h 3"/>
                <a:gd name="T8" fmla="*/ 3969 w 4"/>
                <a:gd name="T9" fmla="*/ 476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0" y="3"/>
                    <a:pt x="0" y="3"/>
                  </a:cubicBezTo>
                  <a:cubicBezTo>
                    <a:pt x="0" y="2"/>
                    <a:pt x="1" y="1"/>
                    <a:pt x="1" y="1"/>
                  </a:cubicBezTo>
                  <a:cubicBezTo>
                    <a:pt x="2" y="1"/>
                    <a:pt x="4" y="0"/>
                    <a:pt x="4" y="1"/>
                  </a:cubicBezTo>
                  <a:cubicBezTo>
                    <a:pt x="4" y="2"/>
                    <a:pt x="3"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5" name="Freeform 838"/>
            <p:cNvSpPr>
              <a:spLocks noChangeAspect="1"/>
            </p:cNvSpPr>
            <p:nvPr/>
          </p:nvSpPr>
          <p:spPr bwMode="auto">
            <a:xfrm>
              <a:off x="2597088" y="3885628"/>
              <a:ext cx="9610" cy="7738"/>
            </a:xfrm>
            <a:custGeom>
              <a:avLst/>
              <a:gdLst>
                <a:gd name="T0" fmla="*/ 3810 w 5"/>
                <a:gd name="T1" fmla="*/ 7620 h 5"/>
                <a:gd name="T2" fmla="*/ 0 w 5"/>
                <a:gd name="T3" fmla="*/ 7620 h 5"/>
                <a:gd name="T4" fmla="*/ 3810 w 5"/>
                <a:gd name="T5" fmla="*/ 3810 h 5"/>
                <a:gd name="T6" fmla="*/ 9525 w 5"/>
                <a:gd name="T7" fmla="*/ 1905 h 5"/>
                <a:gd name="T8" fmla="*/ 3810 w 5"/>
                <a:gd name="T9" fmla="*/ 762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2" y="4"/>
                  </a:moveTo>
                  <a:cubicBezTo>
                    <a:pt x="2" y="4"/>
                    <a:pt x="0" y="5"/>
                    <a:pt x="0" y="4"/>
                  </a:cubicBezTo>
                  <a:cubicBezTo>
                    <a:pt x="0" y="3"/>
                    <a:pt x="1" y="2"/>
                    <a:pt x="2" y="2"/>
                  </a:cubicBezTo>
                  <a:cubicBezTo>
                    <a:pt x="3" y="1"/>
                    <a:pt x="5" y="0"/>
                    <a:pt x="5" y="1"/>
                  </a:cubicBezTo>
                  <a:cubicBezTo>
                    <a:pt x="5" y="2"/>
                    <a:pt x="4" y="3"/>
                    <a:pt x="2"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6" name="Freeform 839"/>
            <p:cNvSpPr>
              <a:spLocks noChangeAspect="1"/>
            </p:cNvSpPr>
            <p:nvPr/>
          </p:nvSpPr>
          <p:spPr bwMode="auto">
            <a:xfrm>
              <a:off x="2601894" y="3993961"/>
              <a:ext cx="8009" cy="7738"/>
            </a:xfrm>
            <a:custGeom>
              <a:avLst/>
              <a:gdLst>
                <a:gd name="T0" fmla="*/ 5953 w 4"/>
                <a:gd name="T1" fmla="*/ 5715 h 5"/>
                <a:gd name="T2" fmla="*/ 5953 w 4"/>
                <a:gd name="T3" fmla="*/ 9525 h 5"/>
                <a:gd name="T4" fmla="*/ 1985 w 4"/>
                <a:gd name="T5" fmla="*/ 5715 h 5"/>
                <a:gd name="T6" fmla="*/ 1985 w 4"/>
                <a:gd name="T7" fmla="*/ 1905 h 5"/>
                <a:gd name="T8" fmla="*/ 5953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2" y="5"/>
                    <a:pt x="2" y="4"/>
                    <a:pt x="1"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7" name="Freeform 840"/>
            <p:cNvSpPr>
              <a:spLocks noChangeAspect="1"/>
            </p:cNvSpPr>
            <p:nvPr/>
          </p:nvSpPr>
          <p:spPr bwMode="auto">
            <a:xfrm>
              <a:off x="2616310" y="4086817"/>
              <a:ext cx="6407" cy="7738"/>
            </a:xfrm>
            <a:custGeom>
              <a:avLst/>
              <a:gdLst>
                <a:gd name="T0" fmla="*/ 4233 w 3"/>
                <a:gd name="T1" fmla="*/ 5715 h 5"/>
                <a:gd name="T2" fmla="*/ 0 w 3"/>
                <a:gd name="T3" fmla="*/ 7620 h 5"/>
                <a:gd name="T4" fmla="*/ 2117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4"/>
                  </a:cubicBezTo>
                  <a:cubicBezTo>
                    <a:pt x="0" y="4"/>
                    <a:pt x="0" y="3"/>
                    <a:pt x="1" y="2"/>
                  </a:cubicBezTo>
                  <a:cubicBezTo>
                    <a:pt x="1" y="1"/>
                    <a:pt x="2" y="0"/>
                    <a:pt x="2" y="0"/>
                  </a:cubicBezTo>
                  <a:cubicBezTo>
                    <a:pt x="3"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8" name="Freeform 841"/>
            <p:cNvSpPr>
              <a:spLocks noChangeAspect="1"/>
            </p:cNvSpPr>
            <p:nvPr/>
          </p:nvSpPr>
          <p:spPr bwMode="auto">
            <a:xfrm>
              <a:off x="2600293" y="4044258"/>
              <a:ext cx="4805" cy="6449"/>
            </a:xfrm>
            <a:custGeom>
              <a:avLst/>
              <a:gdLst>
                <a:gd name="T0" fmla="*/ 4762 w 3"/>
                <a:gd name="T1" fmla="*/ 3969 h 4"/>
                <a:gd name="T2" fmla="*/ 4762 w 3"/>
                <a:gd name="T3" fmla="*/ 7938 h 4"/>
                <a:gd name="T4" fmla="*/ 1587 w 3"/>
                <a:gd name="T5" fmla="*/ 3969 h 4"/>
                <a:gd name="T6" fmla="*/ 1587 w 3"/>
                <a:gd name="T7" fmla="*/ 0 h 4"/>
                <a:gd name="T8" fmla="*/ 4762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2" y="3"/>
                    <a:pt x="1" y="2"/>
                  </a:cubicBezTo>
                  <a:cubicBezTo>
                    <a:pt x="1" y="1"/>
                    <a:pt x="0" y="0"/>
                    <a:pt x="1" y="0"/>
                  </a:cubicBezTo>
                  <a:cubicBezTo>
                    <a:pt x="2"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59" name="Freeform 842"/>
            <p:cNvSpPr>
              <a:spLocks noChangeAspect="1"/>
            </p:cNvSpPr>
            <p:nvPr/>
          </p:nvSpPr>
          <p:spPr bwMode="auto">
            <a:xfrm>
              <a:off x="2629124" y="4067472"/>
              <a:ext cx="6407" cy="7738"/>
            </a:xfrm>
            <a:custGeom>
              <a:avLst/>
              <a:gdLst>
                <a:gd name="T0" fmla="*/ 4762 w 4"/>
                <a:gd name="T1" fmla="*/ 5715 h 5"/>
                <a:gd name="T2" fmla="*/ 4762 w 4"/>
                <a:gd name="T3" fmla="*/ 9525 h 5"/>
                <a:gd name="T4" fmla="*/ 3175 w 4"/>
                <a:gd name="T5" fmla="*/ 5715 h 5"/>
                <a:gd name="T6" fmla="*/ 1588 w 4"/>
                <a:gd name="T7" fmla="*/ 1905 h 5"/>
                <a:gd name="T8" fmla="*/ 4762 w 4"/>
                <a:gd name="T9" fmla="*/ 571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3" y="5"/>
                    <a:pt x="2" y="4"/>
                    <a:pt x="2" y="3"/>
                  </a:cubicBezTo>
                  <a:cubicBezTo>
                    <a:pt x="1" y="2"/>
                    <a:pt x="0" y="1"/>
                    <a:pt x="1" y="1"/>
                  </a:cubicBezTo>
                  <a:cubicBezTo>
                    <a:pt x="2" y="0"/>
                    <a:pt x="2" y="2"/>
                    <a:pt x="3"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0" name="Freeform 843"/>
            <p:cNvSpPr>
              <a:spLocks noChangeAspect="1"/>
            </p:cNvSpPr>
            <p:nvPr/>
          </p:nvSpPr>
          <p:spPr bwMode="auto">
            <a:xfrm>
              <a:off x="2624317" y="4086817"/>
              <a:ext cx="8009" cy="5158"/>
            </a:xfrm>
            <a:custGeom>
              <a:avLst/>
              <a:gdLst>
                <a:gd name="T0" fmla="*/ 3969 w 4"/>
                <a:gd name="T1" fmla="*/ 4233 h 3"/>
                <a:gd name="T2" fmla="*/ 0 w 4"/>
                <a:gd name="T3" fmla="*/ 4233 h 3"/>
                <a:gd name="T4" fmla="*/ 3969 w 4"/>
                <a:gd name="T5" fmla="*/ 2117 h 3"/>
                <a:gd name="T6" fmla="*/ 7938 w 4"/>
                <a:gd name="T7" fmla="*/ 0 h 3"/>
                <a:gd name="T8" fmla="*/ 3969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2"/>
                    <a:pt x="0" y="3"/>
                    <a:pt x="0" y="2"/>
                  </a:cubicBezTo>
                  <a:cubicBezTo>
                    <a:pt x="0" y="2"/>
                    <a:pt x="1" y="1"/>
                    <a:pt x="2" y="1"/>
                  </a:cubicBezTo>
                  <a:cubicBezTo>
                    <a:pt x="2" y="0"/>
                    <a:pt x="4" y="0"/>
                    <a:pt x="4" y="0"/>
                  </a:cubicBezTo>
                  <a:cubicBezTo>
                    <a:pt x="4"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1" name="Freeform 844"/>
            <p:cNvSpPr>
              <a:spLocks noChangeAspect="1"/>
            </p:cNvSpPr>
            <p:nvPr/>
          </p:nvSpPr>
          <p:spPr bwMode="auto">
            <a:xfrm>
              <a:off x="2624317" y="4094556"/>
              <a:ext cx="4806" cy="14186"/>
            </a:xfrm>
            <a:custGeom>
              <a:avLst/>
              <a:gdLst>
                <a:gd name="T0" fmla="*/ 2382 w 2"/>
                <a:gd name="T1" fmla="*/ 11641 h 9"/>
                <a:gd name="T2" fmla="*/ 0 w 2"/>
                <a:gd name="T3" fmla="*/ 17462 h 9"/>
                <a:gd name="T4" fmla="*/ 0 w 2"/>
                <a:gd name="T5" fmla="*/ 9701 h 9"/>
                <a:gd name="T6" fmla="*/ 2382 w 2"/>
                <a:gd name="T7" fmla="*/ 1940 h 9"/>
                <a:gd name="T8" fmla="*/ 2382 w 2"/>
                <a:gd name="T9" fmla="*/ 11641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1" y="6"/>
                  </a:moveTo>
                  <a:cubicBezTo>
                    <a:pt x="1" y="7"/>
                    <a:pt x="1" y="9"/>
                    <a:pt x="0" y="9"/>
                  </a:cubicBezTo>
                  <a:cubicBezTo>
                    <a:pt x="0" y="8"/>
                    <a:pt x="0" y="6"/>
                    <a:pt x="0" y="5"/>
                  </a:cubicBezTo>
                  <a:cubicBezTo>
                    <a:pt x="0" y="3"/>
                    <a:pt x="1" y="0"/>
                    <a:pt x="1" y="1"/>
                  </a:cubicBezTo>
                  <a:cubicBezTo>
                    <a:pt x="2" y="1"/>
                    <a:pt x="2" y="4"/>
                    <a:pt x="1"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2" name="Freeform 845"/>
            <p:cNvSpPr>
              <a:spLocks noChangeAspect="1"/>
            </p:cNvSpPr>
            <p:nvPr/>
          </p:nvSpPr>
          <p:spPr bwMode="auto">
            <a:xfrm>
              <a:off x="2630725" y="4099714"/>
              <a:ext cx="1602" cy="9027"/>
            </a:xfrm>
            <a:custGeom>
              <a:avLst/>
              <a:gdLst>
                <a:gd name="T0" fmla="*/ 1588 w 1"/>
                <a:gd name="T1" fmla="*/ 7408 h 6"/>
                <a:gd name="T2" fmla="*/ 0 w 1"/>
                <a:gd name="T3" fmla="*/ 11112 h 6"/>
                <a:gd name="T4" fmla="*/ 0 w 1"/>
                <a:gd name="T5" fmla="*/ 5556 h 6"/>
                <a:gd name="T6" fmla="*/ 0 w 1"/>
                <a:gd name="T7" fmla="*/ 0 h 6"/>
                <a:gd name="T8" fmla="*/ 1588 w 1"/>
                <a:gd name="T9" fmla="*/ 7408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0"/>
                    <a:pt x="1" y="3"/>
                    <a:pt x="1" y="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3" name="Freeform 846"/>
            <p:cNvSpPr>
              <a:spLocks noChangeAspect="1"/>
            </p:cNvSpPr>
            <p:nvPr/>
          </p:nvSpPr>
          <p:spPr bwMode="auto">
            <a:xfrm>
              <a:off x="2648343" y="4112611"/>
              <a:ext cx="6407" cy="5158"/>
            </a:xfrm>
            <a:custGeom>
              <a:avLst/>
              <a:gdLst>
                <a:gd name="T0" fmla="*/ 4762 w 4"/>
                <a:gd name="T1" fmla="*/ 3175 h 4"/>
                <a:gd name="T2" fmla="*/ 6350 w 4"/>
                <a:gd name="T3" fmla="*/ 4762 h 4"/>
                <a:gd name="T4" fmla="*/ 3175 w 4"/>
                <a:gd name="T5" fmla="*/ 4762 h 4"/>
                <a:gd name="T6" fmla="*/ 1588 w 4"/>
                <a:gd name="T7" fmla="*/ 0 h 4"/>
                <a:gd name="T8" fmla="*/ 4762 w 4"/>
                <a:gd name="T9" fmla="*/ 317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3" y="4"/>
                    <a:pt x="2" y="3"/>
                    <a:pt x="2" y="3"/>
                  </a:cubicBezTo>
                  <a:cubicBezTo>
                    <a:pt x="1" y="2"/>
                    <a:pt x="0" y="1"/>
                    <a:pt x="1"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4" name="Freeform 847"/>
            <p:cNvSpPr>
              <a:spLocks noChangeAspect="1"/>
            </p:cNvSpPr>
            <p:nvPr/>
          </p:nvSpPr>
          <p:spPr bwMode="auto">
            <a:xfrm>
              <a:off x="2643539" y="4104873"/>
              <a:ext cx="9610" cy="5158"/>
            </a:xfrm>
            <a:custGeom>
              <a:avLst/>
              <a:gdLst>
                <a:gd name="T0" fmla="*/ 5715 w 5"/>
                <a:gd name="T1" fmla="*/ 3175 h 4"/>
                <a:gd name="T2" fmla="*/ 7620 w 5"/>
                <a:gd name="T3" fmla="*/ 6350 h 4"/>
                <a:gd name="T4" fmla="*/ 3810 w 5"/>
                <a:gd name="T5" fmla="*/ 4762 h 4"/>
                <a:gd name="T6" fmla="*/ 1905 w 5"/>
                <a:gd name="T7" fmla="*/ 1588 h 4"/>
                <a:gd name="T8" fmla="*/ 5715 w 5"/>
                <a:gd name="T9" fmla="*/ 3175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4"/>
                  </a:cubicBezTo>
                  <a:cubicBezTo>
                    <a:pt x="4" y="4"/>
                    <a:pt x="3" y="3"/>
                    <a:pt x="2" y="3"/>
                  </a:cubicBezTo>
                  <a:cubicBezTo>
                    <a:pt x="1" y="2"/>
                    <a:pt x="0" y="1"/>
                    <a:pt x="1" y="1"/>
                  </a:cubicBezTo>
                  <a:cubicBezTo>
                    <a:pt x="1"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5" name="Freeform 848"/>
            <p:cNvSpPr>
              <a:spLocks noChangeAspect="1"/>
            </p:cNvSpPr>
            <p:nvPr/>
          </p:nvSpPr>
          <p:spPr bwMode="auto">
            <a:xfrm>
              <a:off x="2633928" y="4098424"/>
              <a:ext cx="8009" cy="6449"/>
            </a:xfrm>
            <a:custGeom>
              <a:avLst/>
              <a:gdLst>
                <a:gd name="T0" fmla="*/ 5953 w 4"/>
                <a:gd name="T1" fmla="*/ 3969 h 4"/>
                <a:gd name="T2" fmla="*/ 7938 w 4"/>
                <a:gd name="T3" fmla="*/ 5953 h 4"/>
                <a:gd name="T4" fmla="*/ 3969 w 4"/>
                <a:gd name="T5" fmla="*/ 3969 h 4"/>
                <a:gd name="T6" fmla="*/ 1985 w 4"/>
                <a:gd name="T7" fmla="*/ 0 h 4"/>
                <a:gd name="T8" fmla="*/ 5953 w 4"/>
                <a:gd name="T9" fmla="*/ 396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4" y="4"/>
                    <a:pt x="3" y="3"/>
                    <a:pt x="2" y="2"/>
                  </a:cubicBezTo>
                  <a:cubicBezTo>
                    <a:pt x="1" y="2"/>
                    <a:pt x="0" y="1"/>
                    <a:pt x="1" y="0"/>
                  </a:cubicBezTo>
                  <a:cubicBezTo>
                    <a:pt x="1" y="0"/>
                    <a:pt x="2"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6" name="Freeform 849"/>
            <p:cNvSpPr>
              <a:spLocks noChangeAspect="1"/>
            </p:cNvSpPr>
            <p:nvPr/>
          </p:nvSpPr>
          <p:spPr bwMode="auto">
            <a:xfrm>
              <a:off x="2670768" y="4177095"/>
              <a:ext cx="9610" cy="2579"/>
            </a:xfrm>
            <a:custGeom>
              <a:avLst/>
              <a:gdLst>
                <a:gd name="T0" fmla="*/ 3810 w 5"/>
                <a:gd name="T1" fmla="*/ 3175 h 2"/>
                <a:gd name="T2" fmla="*/ 0 w 5"/>
                <a:gd name="T3" fmla="*/ 1588 h 2"/>
                <a:gd name="T4" fmla="*/ 3810 w 5"/>
                <a:gd name="T5" fmla="*/ 0 h 2"/>
                <a:gd name="T6" fmla="*/ 9525 w 5"/>
                <a:gd name="T7" fmla="*/ 1588 h 2"/>
                <a:gd name="T8" fmla="*/ 381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1"/>
                    <a:pt x="0" y="1"/>
                  </a:cubicBezTo>
                  <a:cubicBezTo>
                    <a:pt x="0" y="0"/>
                    <a:pt x="1" y="0"/>
                    <a:pt x="2" y="0"/>
                  </a:cubicBezTo>
                  <a:cubicBezTo>
                    <a:pt x="3" y="0"/>
                    <a:pt x="5" y="0"/>
                    <a:pt x="5" y="1"/>
                  </a:cubicBezTo>
                  <a:cubicBezTo>
                    <a:pt x="4" y="2"/>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7" name="Freeform 850"/>
            <p:cNvSpPr>
              <a:spLocks noChangeAspect="1"/>
            </p:cNvSpPr>
            <p:nvPr/>
          </p:nvSpPr>
          <p:spPr bwMode="auto">
            <a:xfrm>
              <a:off x="1632859" y="2198728"/>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8" name="Freeform 852"/>
            <p:cNvSpPr>
              <a:spLocks noChangeAspect="1"/>
            </p:cNvSpPr>
            <p:nvPr/>
          </p:nvSpPr>
          <p:spPr bwMode="auto">
            <a:xfrm>
              <a:off x="699061" y="1520357"/>
              <a:ext cx="4806" cy="5158"/>
            </a:xfrm>
            <a:custGeom>
              <a:avLst/>
              <a:gdLst>
                <a:gd name="T0" fmla="*/ 4763 w 3"/>
                <a:gd name="T1" fmla="*/ 4233 h 3"/>
                <a:gd name="T2" fmla="*/ 1588 w 3"/>
                <a:gd name="T3" fmla="*/ 6350 h 3"/>
                <a:gd name="T4" fmla="*/ 0 w 3"/>
                <a:gd name="T5" fmla="*/ 2117 h 3"/>
                <a:gd name="T6" fmla="*/ 3175 w 3"/>
                <a:gd name="T7" fmla="*/ 0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69" name="Freeform 853"/>
            <p:cNvSpPr>
              <a:spLocks noChangeAspect="1"/>
            </p:cNvSpPr>
            <p:nvPr/>
          </p:nvSpPr>
          <p:spPr bwMode="auto">
            <a:xfrm>
              <a:off x="1365372" y="1552598"/>
              <a:ext cx="3203" cy="6449"/>
            </a:xfrm>
            <a:custGeom>
              <a:avLst/>
              <a:gdLst>
                <a:gd name="T0" fmla="*/ 3175 w 2"/>
                <a:gd name="T1" fmla="*/ 5953 h 4"/>
                <a:gd name="T2" fmla="*/ 1588 w 2"/>
                <a:gd name="T3" fmla="*/ 7938 h 4"/>
                <a:gd name="T4" fmla="*/ 0 w 2"/>
                <a:gd name="T5" fmla="*/ 3969 h 4"/>
                <a:gd name="T6" fmla="*/ 1588 w 2"/>
                <a:gd name="T7" fmla="*/ 0 h 4"/>
                <a:gd name="T8" fmla="*/ 3175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0" name="Freeform 854"/>
            <p:cNvSpPr>
              <a:spLocks noChangeAspect="1"/>
            </p:cNvSpPr>
            <p:nvPr/>
          </p:nvSpPr>
          <p:spPr bwMode="auto">
            <a:xfrm>
              <a:off x="1333338" y="1490694"/>
              <a:ext cx="4806" cy="5158"/>
            </a:xfrm>
            <a:custGeom>
              <a:avLst/>
              <a:gdLst>
                <a:gd name="T0" fmla="*/ 3175 w 3"/>
                <a:gd name="T1" fmla="*/ 4233 h 3"/>
                <a:gd name="T2" fmla="*/ 0 w 3"/>
                <a:gd name="T3" fmla="*/ 6350 h 3"/>
                <a:gd name="T4" fmla="*/ 0 w 3"/>
                <a:gd name="T5" fmla="*/ 2117 h 3"/>
                <a:gd name="T6" fmla="*/ 3175 w 3"/>
                <a:gd name="T7" fmla="*/ 0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3"/>
                  </a:cubicBezTo>
                  <a:cubicBezTo>
                    <a:pt x="0" y="2"/>
                    <a:pt x="0" y="2"/>
                    <a:pt x="0" y="1"/>
                  </a:cubicBezTo>
                  <a:cubicBezTo>
                    <a:pt x="0" y="1"/>
                    <a:pt x="1" y="0"/>
                    <a:pt x="2"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1" name="Freeform 855"/>
            <p:cNvSpPr>
              <a:spLocks noChangeAspect="1"/>
            </p:cNvSpPr>
            <p:nvPr/>
          </p:nvSpPr>
          <p:spPr bwMode="auto">
            <a:xfrm>
              <a:off x="3514870" y="581471"/>
              <a:ext cx="8009" cy="3868"/>
            </a:xfrm>
            <a:custGeom>
              <a:avLst/>
              <a:gdLst>
                <a:gd name="T0" fmla="*/ 5953 w 4"/>
                <a:gd name="T1" fmla="*/ 1587 h 3"/>
                <a:gd name="T2" fmla="*/ 7938 w 4"/>
                <a:gd name="T3" fmla="*/ 4762 h 3"/>
                <a:gd name="T4" fmla="*/ 3969 w 4"/>
                <a:gd name="T5" fmla="*/ 4762 h 3"/>
                <a:gd name="T6" fmla="*/ 1985 w 4"/>
                <a:gd name="T7" fmla="*/ 1587 h 3"/>
                <a:gd name="T8" fmla="*/ 5953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2" name="Freeform 856"/>
            <p:cNvSpPr>
              <a:spLocks noChangeAspect="1"/>
            </p:cNvSpPr>
            <p:nvPr/>
          </p:nvSpPr>
          <p:spPr bwMode="auto">
            <a:xfrm>
              <a:off x="3321063" y="604685"/>
              <a:ext cx="4805" cy="3868"/>
            </a:xfrm>
            <a:custGeom>
              <a:avLst/>
              <a:gdLst>
                <a:gd name="T0" fmla="*/ 3175 w 3"/>
                <a:gd name="T1" fmla="*/ 1587 h 3"/>
                <a:gd name="T2" fmla="*/ 4762 w 3"/>
                <a:gd name="T3" fmla="*/ 3175 h 3"/>
                <a:gd name="T4" fmla="*/ 1587 w 3"/>
                <a:gd name="T5" fmla="*/ 4762 h 3"/>
                <a:gd name="T6" fmla="*/ 0 w 3"/>
                <a:gd name="T7" fmla="*/ 1587 h 3"/>
                <a:gd name="T8" fmla="*/ 3175 w 3"/>
                <a:gd name="T9" fmla="*/ 158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3" name="Freeform 857"/>
            <p:cNvSpPr>
              <a:spLocks noChangeAspect="1"/>
            </p:cNvSpPr>
            <p:nvPr/>
          </p:nvSpPr>
          <p:spPr bwMode="auto">
            <a:xfrm>
              <a:off x="3186519" y="1026409"/>
              <a:ext cx="8008" cy="10318"/>
            </a:xfrm>
            <a:custGeom>
              <a:avLst/>
              <a:gdLst>
                <a:gd name="T0" fmla="*/ 5953 w 4"/>
                <a:gd name="T1" fmla="*/ 8467 h 6"/>
                <a:gd name="T2" fmla="*/ 3969 w 4"/>
                <a:gd name="T3" fmla="*/ 12700 h 6"/>
                <a:gd name="T4" fmla="*/ 0 w 4"/>
                <a:gd name="T5" fmla="*/ 6350 h 6"/>
                <a:gd name="T6" fmla="*/ 3969 w 4"/>
                <a:gd name="T7" fmla="*/ 0 h 6"/>
                <a:gd name="T8" fmla="*/ 5953 w 4"/>
                <a:gd name="T9" fmla="*/ 846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4"/>
                  </a:moveTo>
                  <a:cubicBezTo>
                    <a:pt x="3" y="5"/>
                    <a:pt x="3" y="6"/>
                    <a:pt x="2" y="6"/>
                  </a:cubicBezTo>
                  <a:cubicBezTo>
                    <a:pt x="0" y="6"/>
                    <a:pt x="0" y="4"/>
                    <a:pt x="0" y="3"/>
                  </a:cubicBezTo>
                  <a:cubicBezTo>
                    <a:pt x="0" y="2"/>
                    <a:pt x="0" y="0"/>
                    <a:pt x="2" y="0"/>
                  </a:cubicBezTo>
                  <a:cubicBezTo>
                    <a:pt x="4" y="1"/>
                    <a:pt x="3" y="3"/>
                    <a:pt x="3"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4" name="Freeform 858"/>
            <p:cNvSpPr>
              <a:spLocks noChangeAspect="1"/>
            </p:cNvSpPr>
            <p:nvPr/>
          </p:nvSpPr>
          <p:spPr bwMode="auto">
            <a:xfrm>
              <a:off x="3229765" y="1077996"/>
              <a:ext cx="8009" cy="9029"/>
            </a:xfrm>
            <a:custGeom>
              <a:avLst/>
              <a:gdLst>
                <a:gd name="T0" fmla="*/ 7938 w 4"/>
                <a:gd name="T1" fmla="*/ 5557 h 6"/>
                <a:gd name="T2" fmla="*/ 3969 w 4"/>
                <a:gd name="T3" fmla="*/ 9261 h 6"/>
                <a:gd name="T4" fmla="*/ 1985 w 4"/>
                <a:gd name="T5" fmla="*/ 5557 h 6"/>
                <a:gd name="T6" fmla="*/ 3969 w 4"/>
                <a:gd name="T7" fmla="*/ 0 h 6"/>
                <a:gd name="T8" fmla="*/ 7938 w 4"/>
                <a:gd name="T9" fmla="*/ 555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3" y="6"/>
                    <a:pt x="2" y="5"/>
                  </a:cubicBezTo>
                  <a:cubicBezTo>
                    <a:pt x="1" y="5"/>
                    <a:pt x="0" y="4"/>
                    <a:pt x="1" y="3"/>
                  </a:cubicBezTo>
                  <a:cubicBezTo>
                    <a:pt x="1" y="2"/>
                    <a:pt x="1" y="0"/>
                    <a:pt x="2" y="0"/>
                  </a:cubicBezTo>
                  <a:cubicBezTo>
                    <a:pt x="4" y="0"/>
                    <a:pt x="4" y="2"/>
                    <a:pt x="4"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5" name="Freeform 859"/>
            <p:cNvSpPr>
              <a:spLocks noChangeAspect="1"/>
            </p:cNvSpPr>
            <p:nvPr/>
          </p:nvSpPr>
          <p:spPr bwMode="auto">
            <a:xfrm>
              <a:off x="3197730" y="1025119"/>
              <a:ext cx="12814" cy="7738"/>
            </a:xfrm>
            <a:custGeom>
              <a:avLst/>
              <a:gdLst>
                <a:gd name="T0" fmla="*/ 9071 w 7"/>
                <a:gd name="T1" fmla="*/ 1905 h 5"/>
                <a:gd name="T2" fmla="*/ 10886 w 7"/>
                <a:gd name="T3" fmla="*/ 5715 h 5"/>
                <a:gd name="T4" fmla="*/ 5443 w 7"/>
                <a:gd name="T5" fmla="*/ 7620 h 5"/>
                <a:gd name="T6" fmla="*/ 1814 w 7"/>
                <a:gd name="T7" fmla="*/ 3810 h 5"/>
                <a:gd name="T8" fmla="*/ 9071 w 7"/>
                <a:gd name="T9" fmla="*/ 1905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5" y="1"/>
                  </a:moveTo>
                  <a:cubicBezTo>
                    <a:pt x="5" y="1"/>
                    <a:pt x="7" y="2"/>
                    <a:pt x="6" y="3"/>
                  </a:cubicBezTo>
                  <a:cubicBezTo>
                    <a:pt x="6" y="5"/>
                    <a:pt x="4" y="5"/>
                    <a:pt x="3" y="4"/>
                  </a:cubicBezTo>
                  <a:cubicBezTo>
                    <a:pt x="2" y="4"/>
                    <a:pt x="0" y="3"/>
                    <a:pt x="1" y="2"/>
                  </a:cubicBezTo>
                  <a:cubicBezTo>
                    <a:pt x="1" y="0"/>
                    <a:pt x="3"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6" name="Freeform 860"/>
            <p:cNvSpPr>
              <a:spLocks noChangeAspect="1"/>
            </p:cNvSpPr>
            <p:nvPr/>
          </p:nvSpPr>
          <p:spPr bwMode="auto">
            <a:xfrm>
              <a:off x="3149679" y="974823"/>
              <a:ext cx="11213" cy="9029"/>
            </a:xfrm>
            <a:custGeom>
              <a:avLst/>
              <a:gdLst>
                <a:gd name="T0" fmla="*/ 5557 w 6"/>
                <a:gd name="T1" fmla="*/ 1852 h 6"/>
                <a:gd name="T2" fmla="*/ 9261 w 6"/>
                <a:gd name="T3" fmla="*/ 1852 h 6"/>
                <a:gd name="T4" fmla="*/ 9261 w 6"/>
                <a:gd name="T5" fmla="*/ 7409 h 6"/>
                <a:gd name="T6" fmla="*/ 1852 w 6"/>
                <a:gd name="T7" fmla="*/ 9261 h 6"/>
                <a:gd name="T8" fmla="*/ 5557 w 6"/>
                <a:gd name="T9" fmla="*/ 1852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3" y="1"/>
                  </a:moveTo>
                  <a:cubicBezTo>
                    <a:pt x="3" y="0"/>
                    <a:pt x="4" y="0"/>
                    <a:pt x="5" y="1"/>
                  </a:cubicBezTo>
                  <a:cubicBezTo>
                    <a:pt x="6" y="2"/>
                    <a:pt x="5" y="3"/>
                    <a:pt x="5" y="4"/>
                  </a:cubicBezTo>
                  <a:cubicBezTo>
                    <a:pt x="4" y="5"/>
                    <a:pt x="2" y="6"/>
                    <a:pt x="1" y="5"/>
                  </a:cubicBezTo>
                  <a:cubicBezTo>
                    <a:pt x="0" y="3"/>
                    <a:pt x="2" y="2"/>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7" name="Freeform 861"/>
            <p:cNvSpPr>
              <a:spLocks noChangeAspect="1"/>
            </p:cNvSpPr>
            <p:nvPr/>
          </p:nvSpPr>
          <p:spPr bwMode="auto">
            <a:xfrm>
              <a:off x="2140601" y="1044464"/>
              <a:ext cx="8009" cy="5158"/>
            </a:xfrm>
            <a:custGeom>
              <a:avLst/>
              <a:gdLst>
                <a:gd name="T0" fmla="*/ 5953 w 4"/>
                <a:gd name="T1" fmla="*/ 3175 h 4"/>
                <a:gd name="T2" fmla="*/ 5953 w 4"/>
                <a:gd name="T3" fmla="*/ 4762 h 4"/>
                <a:gd name="T4" fmla="*/ 3969 w 4"/>
                <a:gd name="T5" fmla="*/ 4762 h 4"/>
                <a:gd name="T6" fmla="*/ 1985 w 4"/>
                <a:gd name="T7" fmla="*/ 1588 h 4"/>
                <a:gd name="T8" fmla="*/ 5953 w 4"/>
                <a:gd name="T9" fmla="*/ 317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2" y="3"/>
                  </a:cubicBezTo>
                  <a:cubicBezTo>
                    <a:pt x="1" y="2"/>
                    <a:pt x="0" y="1"/>
                    <a:pt x="1" y="1"/>
                  </a:cubicBezTo>
                  <a:cubicBezTo>
                    <a:pt x="2"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8" name="Freeform 862"/>
            <p:cNvSpPr>
              <a:spLocks noChangeAspect="1"/>
            </p:cNvSpPr>
            <p:nvPr/>
          </p:nvSpPr>
          <p:spPr bwMode="auto">
            <a:xfrm>
              <a:off x="2193457" y="1048334"/>
              <a:ext cx="6407" cy="7738"/>
            </a:xfrm>
            <a:custGeom>
              <a:avLst/>
              <a:gdLst>
                <a:gd name="T0" fmla="*/ 4233 w 3"/>
                <a:gd name="T1" fmla="*/ 5715 h 5"/>
                <a:gd name="T2" fmla="*/ 2117 w 3"/>
                <a:gd name="T3" fmla="*/ 7620 h 5"/>
                <a:gd name="T4" fmla="*/ 0 w 3"/>
                <a:gd name="T5" fmla="*/ 3810 h 5"/>
                <a:gd name="T6" fmla="*/ 4233 w 3"/>
                <a:gd name="T7" fmla="*/ 0 h 5"/>
                <a:gd name="T8" fmla="*/ 4233 w 3"/>
                <a:gd name="T9" fmla="*/ 571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2" y="4"/>
                    <a:pt x="2" y="5"/>
                    <a:pt x="1" y="4"/>
                  </a:cubicBezTo>
                  <a:cubicBezTo>
                    <a:pt x="0" y="4"/>
                    <a:pt x="0" y="3"/>
                    <a:pt x="0" y="2"/>
                  </a:cubicBezTo>
                  <a:cubicBezTo>
                    <a:pt x="0" y="2"/>
                    <a:pt x="1" y="0"/>
                    <a:pt x="2" y="0"/>
                  </a:cubicBezTo>
                  <a:cubicBezTo>
                    <a:pt x="3" y="1"/>
                    <a:pt x="3"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79" name="Freeform 863"/>
            <p:cNvSpPr>
              <a:spLocks noChangeAspect="1"/>
            </p:cNvSpPr>
            <p:nvPr/>
          </p:nvSpPr>
          <p:spPr bwMode="auto">
            <a:xfrm>
              <a:off x="2331205" y="914208"/>
              <a:ext cx="6407" cy="3868"/>
            </a:xfrm>
            <a:custGeom>
              <a:avLst/>
              <a:gdLst>
                <a:gd name="T0" fmla="*/ 4762 w 4"/>
                <a:gd name="T1" fmla="*/ 1587 h 3"/>
                <a:gd name="T2" fmla="*/ 4762 w 4"/>
                <a:gd name="T3" fmla="*/ 4762 h 3"/>
                <a:gd name="T4" fmla="*/ 3175 w 4"/>
                <a:gd name="T5" fmla="*/ 3175 h 3"/>
                <a:gd name="T6" fmla="*/ 1588 w 4"/>
                <a:gd name="T7" fmla="*/ 1587 h 3"/>
                <a:gd name="T8" fmla="*/ 4762 w 4"/>
                <a:gd name="T9" fmla="*/ 158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3" y="3"/>
                  </a:cubicBezTo>
                  <a:cubicBezTo>
                    <a:pt x="3" y="3"/>
                    <a:pt x="2" y="3"/>
                    <a:pt x="2" y="2"/>
                  </a:cubicBezTo>
                  <a:cubicBezTo>
                    <a:pt x="1" y="2"/>
                    <a:pt x="0" y="1"/>
                    <a:pt x="1" y="1"/>
                  </a:cubicBezTo>
                  <a:cubicBezTo>
                    <a:pt x="2" y="0"/>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0" name="Freeform 864"/>
            <p:cNvSpPr>
              <a:spLocks noChangeAspect="1"/>
            </p:cNvSpPr>
            <p:nvPr/>
          </p:nvSpPr>
          <p:spPr bwMode="auto">
            <a:xfrm>
              <a:off x="2776481" y="1017382"/>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1" name="Freeform 865"/>
            <p:cNvSpPr>
              <a:spLocks noChangeAspect="1"/>
            </p:cNvSpPr>
            <p:nvPr/>
          </p:nvSpPr>
          <p:spPr bwMode="auto">
            <a:xfrm>
              <a:off x="2632327" y="1117977"/>
              <a:ext cx="6407" cy="5158"/>
            </a:xfrm>
            <a:custGeom>
              <a:avLst/>
              <a:gdLst>
                <a:gd name="T0" fmla="*/ 4233 w 3"/>
                <a:gd name="T1" fmla="*/ 4233 h 3"/>
                <a:gd name="T2" fmla="*/ 0 w 3"/>
                <a:gd name="T3" fmla="*/ 6350 h 3"/>
                <a:gd name="T4" fmla="*/ 0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0" y="3"/>
                  </a:cubicBezTo>
                  <a:cubicBezTo>
                    <a:pt x="0" y="3"/>
                    <a:pt x="0" y="2"/>
                    <a:pt x="0" y="1"/>
                  </a:cubicBezTo>
                  <a:cubicBezTo>
                    <a:pt x="0" y="1"/>
                    <a:pt x="1" y="0"/>
                    <a:pt x="2"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2" name="Freeform 866"/>
            <p:cNvSpPr>
              <a:spLocks noChangeAspect="1"/>
            </p:cNvSpPr>
            <p:nvPr/>
          </p:nvSpPr>
          <p:spPr bwMode="auto">
            <a:xfrm>
              <a:off x="2895008" y="1307559"/>
              <a:ext cx="12814" cy="7738"/>
            </a:xfrm>
            <a:custGeom>
              <a:avLst/>
              <a:gdLst>
                <a:gd name="T0" fmla="*/ 6350 w 6"/>
                <a:gd name="T1" fmla="*/ 9525 h 5"/>
                <a:gd name="T2" fmla="*/ 0 w 6"/>
                <a:gd name="T3" fmla="*/ 7620 h 5"/>
                <a:gd name="T4" fmla="*/ 4233 w 6"/>
                <a:gd name="T5" fmla="*/ 1905 h 5"/>
                <a:gd name="T6" fmla="*/ 12700 w 6"/>
                <a:gd name="T7" fmla="*/ 3810 h 5"/>
                <a:gd name="T8" fmla="*/ 6350 w 6"/>
                <a:gd name="T9" fmla="*/ 952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3" y="5"/>
                  </a:moveTo>
                  <a:cubicBezTo>
                    <a:pt x="2" y="5"/>
                    <a:pt x="1" y="5"/>
                    <a:pt x="0" y="4"/>
                  </a:cubicBezTo>
                  <a:cubicBezTo>
                    <a:pt x="0" y="3"/>
                    <a:pt x="1" y="2"/>
                    <a:pt x="2" y="1"/>
                  </a:cubicBezTo>
                  <a:cubicBezTo>
                    <a:pt x="3" y="1"/>
                    <a:pt x="5" y="0"/>
                    <a:pt x="6" y="2"/>
                  </a:cubicBezTo>
                  <a:cubicBezTo>
                    <a:pt x="6" y="3"/>
                    <a:pt x="4" y="4"/>
                    <a:pt x="3"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3" name="Freeform 867"/>
            <p:cNvSpPr>
              <a:spLocks noChangeAspect="1"/>
            </p:cNvSpPr>
            <p:nvPr/>
          </p:nvSpPr>
          <p:spPr bwMode="auto">
            <a:xfrm>
              <a:off x="2452935" y="2323827"/>
              <a:ext cx="4805" cy="7738"/>
            </a:xfrm>
            <a:custGeom>
              <a:avLst/>
              <a:gdLst>
                <a:gd name="T0" fmla="*/ 4762 w 2"/>
                <a:gd name="T1" fmla="*/ 5715 h 5"/>
                <a:gd name="T2" fmla="*/ 2381 w 2"/>
                <a:gd name="T3" fmla="*/ 9525 h 5"/>
                <a:gd name="T4" fmla="*/ 0 w 2"/>
                <a:gd name="T5" fmla="*/ 3810 h 5"/>
                <a:gd name="T6" fmla="*/ 2381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4" name="Freeform 868"/>
            <p:cNvSpPr>
              <a:spLocks noChangeAspect="1"/>
            </p:cNvSpPr>
            <p:nvPr/>
          </p:nvSpPr>
          <p:spPr bwMode="auto">
            <a:xfrm>
              <a:off x="2533021" y="2350910"/>
              <a:ext cx="6407" cy="2579"/>
            </a:xfrm>
            <a:custGeom>
              <a:avLst/>
              <a:gdLst>
                <a:gd name="T0" fmla="*/ 3175 w 4"/>
                <a:gd name="T1" fmla="*/ 3175 h 2"/>
                <a:gd name="T2" fmla="*/ 0 w 4"/>
                <a:gd name="T3" fmla="*/ 1588 h 2"/>
                <a:gd name="T4" fmla="*/ 3175 w 4"/>
                <a:gd name="T5" fmla="*/ 0 h 2"/>
                <a:gd name="T6" fmla="*/ 6350 w 4"/>
                <a:gd name="T7" fmla="*/ 1588 h 2"/>
                <a:gd name="T8" fmla="*/ 3175 w 4"/>
                <a:gd name="T9" fmla="*/ 3175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1"/>
                    <a:pt x="0" y="1"/>
                  </a:cubicBezTo>
                  <a:cubicBezTo>
                    <a:pt x="0" y="0"/>
                    <a:pt x="1" y="0"/>
                    <a:pt x="2" y="0"/>
                  </a:cubicBezTo>
                  <a:cubicBezTo>
                    <a:pt x="2" y="0"/>
                    <a:pt x="4" y="0"/>
                    <a:pt x="4" y="1"/>
                  </a:cubicBezTo>
                  <a:cubicBezTo>
                    <a:pt x="4"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5" name="Freeform 869"/>
            <p:cNvSpPr>
              <a:spLocks noChangeAspect="1"/>
            </p:cNvSpPr>
            <p:nvPr/>
          </p:nvSpPr>
          <p:spPr bwMode="auto">
            <a:xfrm>
              <a:off x="2834142" y="2494063"/>
              <a:ext cx="6407" cy="6449"/>
            </a:xfrm>
            <a:custGeom>
              <a:avLst/>
              <a:gdLst>
                <a:gd name="T0" fmla="*/ 6350 w 3"/>
                <a:gd name="T1" fmla="*/ 3969 h 4"/>
                <a:gd name="T2" fmla="*/ 6350 w 3"/>
                <a:gd name="T3" fmla="*/ 5953 h 4"/>
                <a:gd name="T4" fmla="*/ 2117 w 3"/>
                <a:gd name="T5" fmla="*/ 5953 h 4"/>
                <a:gd name="T6" fmla="*/ 2117 w 3"/>
                <a:gd name="T7" fmla="*/ 1985 h 4"/>
                <a:gd name="T8" fmla="*/ 6350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3"/>
                  </a:cubicBezTo>
                  <a:cubicBezTo>
                    <a:pt x="2" y="4"/>
                    <a:pt x="2" y="3"/>
                    <a:pt x="1" y="3"/>
                  </a:cubicBezTo>
                  <a:cubicBezTo>
                    <a:pt x="1" y="3"/>
                    <a:pt x="0" y="2"/>
                    <a:pt x="1" y="1"/>
                  </a:cubicBezTo>
                  <a:cubicBezTo>
                    <a:pt x="1"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6" name="Freeform 870"/>
            <p:cNvSpPr>
              <a:spLocks noChangeAspect="1"/>
            </p:cNvSpPr>
            <p:nvPr/>
          </p:nvSpPr>
          <p:spPr bwMode="auto">
            <a:xfrm>
              <a:off x="2832540" y="2517278"/>
              <a:ext cx="4806" cy="6449"/>
            </a:xfrm>
            <a:custGeom>
              <a:avLst/>
              <a:gdLst>
                <a:gd name="T0" fmla="*/ 4763 w 3"/>
                <a:gd name="T1" fmla="*/ 3969 h 4"/>
                <a:gd name="T2" fmla="*/ 3175 w 3"/>
                <a:gd name="T3" fmla="*/ 7938 h 4"/>
                <a:gd name="T4" fmla="*/ 0 w 3"/>
                <a:gd name="T5" fmla="*/ 3969 h 4"/>
                <a:gd name="T6" fmla="*/ 1588 w 3"/>
                <a:gd name="T7" fmla="*/ 0 h 4"/>
                <a:gd name="T8" fmla="*/ 4763 w 3"/>
                <a:gd name="T9" fmla="*/ 3969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2" y="4"/>
                  </a:cubicBezTo>
                  <a:cubicBezTo>
                    <a:pt x="1" y="4"/>
                    <a:pt x="1" y="3"/>
                    <a:pt x="0" y="2"/>
                  </a:cubicBezTo>
                  <a:cubicBezTo>
                    <a:pt x="0" y="2"/>
                    <a:pt x="0" y="0"/>
                    <a:pt x="1" y="0"/>
                  </a:cubicBezTo>
                  <a:cubicBezTo>
                    <a:pt x="2" y="0"/>
                    <a:pt x="2"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7" name="Freeform 871"/>
            <p:cNvSpPr>
              <a:spLocks noChangeAspect="1"/>
            </p:cNvSpPr>
            <p:nvPr/>
          </p:nvSpPr>
          <p:spPr bwMode="auto">
            <a:xfrm>
              <a:off x="2624317" y="2585632"/>
              <a:ext cx="9610" cy="2579"/>
            </a:xfrm>
            <a:custGeom>
              <a:avLst/>
              <a:gdLst>
                <a:gd name="T0" fmla="*/ 7620 w 5"/>
                <a:gd name="T1" fmla="*/ 3175 h 2"/>
                <a:gd name="T2" fmla="*/ 3810 w 5"/>
                <a:gd name="T3" fmla="*/ 3175 h 2"/>
                <a:gd name="T4" fmla="*/ 1905 w 5"/>
                <a:gd name="T5" fmla="*/ 1588 h 2"/>
                <a:gd name="T6" fmla="*/ 5715 w 5"/>
                <a:gd name="T7" fmla="*/ 0 h 2"/>
                <a:gd name="T8" fmla="*/ 7620 w 5"/>
                <a:gd name="T9" fmla="*/ 3175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2"/>
                  </a:moveTo>
                  <a:cubicBezTo>
                    <a:pt x="4" y="2"/>
                    <a:pt x="3" y="2"/>
                    <a:pt x="2" y="2"/>
                  </a:cubicBezTo>
                  <a:cubicBezTo>
                    <a:pt x="1" y="2"/>
                    <a:pt x="0" y="1"/>
                    <a:pt x="1" y="1"/>
                  </a:cubicBezTo>
                  <a:cubicBezTo>
                    <a:pt x="1" y="0"/>
                    <a:pt x="1" y="0"/>
                    <a:pt x="3" y="0"/>
                  </a:cubicBezTo>
                  <a:cubicBezTo>
                    <a:pt x="5" y="0"/>
                    <a:pt x="4" y="1"/>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8" name="Freeform 872"/>
            <p:cNvSpPr>
              <a:spLocks noChangeAspect="1"/>
            </p:cNvSpPr>
            <p:nvPr/>
          </p:nvSpPr>
          <p:spPr bwMode="auto">
            <a:xfrm>
              <a:off x="2669166" y="2593370"/>
              <a:ext cx="4806" cy="5158"/>
            </a:xfrm>
            <a:custGeom>
              <a:avLst/>
              <a:gdLst>
                <a:gd name="T0" fmla="*/ 4763 w 3"/>
                <a:gd name="T1" fmla="*/ 4233 h 3"/>
                <a:gd name="T2" fmla="*/ 1588 w 3"/>
                <a:gd name="T3" fmla="*/ 6350 h 3"/>
                <a:gd name="T4" fmla="*/ 0 w 3"/>
                <a:gd name="T5" fmla="*/ 2117 h 3"/>
                <a:gd name="T6" fmla="*/ 3175 w 3"/>
                <a:gd name="T7" fmla="*/ 2117 h 3"/>
                <a:gd name="T8" fmla="*/ 476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3"/>
                    <a:pt x="2" y="3"/>
                    <a:pt x="1" y="3"/>
                  </a:cubicBezTo>
                  <a:cubicBezTo>
                    <a:pt x="0" y="2"/>
                    <a:pt x="0" y="2"/>
                    <a:pt x="0" y="1"/>
                  </a:cubicBezTo>
                  <a:cubicBezTo>
                    <a:pt x="0" y="1"/>
                    <a:pt x="0" y="0"/>
                    <a:pt x="2" y="1"/>
                  </a:cubicBezTo>
                  <a:cubicBezTo>
                    <a:pt x="3" y="1"/>
                    <a:pt x="3"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89" name="Freeform 873"/>
            <p:cNvSpPr>
              <a:spLocks noChangeAspect="1"/>
            </p:cNvSpPr>
            <p:nvPr/>
          </p:nvSpPr>
          <p:spPr bwMode="auto">
            <a:xfrm>
              <a:off x="3117645" y="2862912"/>
              <a:ext cx="9610" cy="3869"/>
            </a:xfrm>
            <a:custGeom>
              <a:avLst/>
              <a:gdLst>
                <a:gd name="T0" fmla="*/ 3810 w 5"/>
                <a:gd name="T1" fmla="*/ 4763 h 3"/>
                <a:gd name="T2" fmla="*/ 0 w 5"/>
                <a:gd name="T3" fmla="*/ 3175 h 3"/>
                <a:gd name="T4" fmla="*/ 3810 w 5"/>
                <a:gd name="T5" fmla="*/ 0 h 3"/>
                <a:gd name="T6" fmla="*/ 9525 w 5"/>
                <a:gd name="T7" fmla="*/ 1588 h 3"/>
                <a:gd name="T8" fmla="*/ 3810 w 5"/>
                <a:gd name="T9" fmla="*/ 476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0" name="Freeform 874"/>
            <p:cNvSpPr>
              <a:spLocks noChangeAspect="1"/>
            </p:cNvSpPr>
            <p:nvPr/>
          </p:nvSpPr>
          <p:spPr bwMode="auto">
            <a:xfrm>
              <a:off x="2122983" y="2873230"/>
              <a:ext cx="6407" cy="5158"/>
            </a:xfrm>
            <a:custGeom>
              <a:avLst/>
              <a:gdLst>
                <a:gd name="T0" fmla="*/ 6350 w 3"/>
                <a:gd name="T1" fmla="*/ 4233 h 3"/>
                <a:gd name="T2" fmla="*/ 2117 w 3"/>
                <a:gd name="T3" fmla="*/ 6350 h 3"/>
                <a:gd name="T4" fmla="*/ 0 w 3"/>
                <a:gd name="T5" fmla="*/ 4233 h 3"/>
                <a:gd name="T6" fmla="*/ 4233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1" y="3"/>
                  </a:cubicBezTo>
                  <a:cubicBezTo>
                    <a:pt x="0" y="3"/>
                    <a:pt x="0" y="2"/>
                    <a:pt x="0" y="2"/>
                  </a:cubicBezTo>
                  <a:cubicBezTo>
                    <a:pt x="0" y="1"/>
                    <a:pt x="0" y="0"/>
                    <a:pt x="2" y="0"/>
                  </a:cubicBezTo>
                  <a:cubicBezTo>
                    <a:pt x="3" y="0"/>
                    <a:pt x="3" y="1"/>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1" name="Freeform 875"/>
            <p:cNvSpPr>
              <a:spLocks noChangeAspect="1"/>
            </p:cNvSpPr>
            <p:nvPr/>
          </p:nvSpPr>
          <p:spPr bwMode="auto">
            <a:xfrm>
              <a:off x="2606699" y="4059735"/>
              <a:ext cx="8008" cy="3869"/>
            </a:xfrm>
            <a:custGeom>
              <a:avLst/>
              <a:gdLst>
                <a:gd name="T0" fmla="*/ 3969 w 4"/>
                <a:gd name="T1" fmla="*/ 3175 h 3"/>
                <a:gd name="T2" fmla="*/ 1984 w 4"/>
                <a:gd name="T3" fmla="*/ 4763 h 3"/>
                <a:gd name="T4" fmla="*/ 1984 w 4"/>
                <a:gd name="T5" fmla="*/ 1588 h 3"/>
                <a:gd name="T6" fmla="*/ 5953 w 4"/>
                <a:gd name="T7" fmla="*/ 0 h 3"/>
                <a:gd name="T8" fmla="*/ 3969 w 4"/>
                <a:gd name="T9" fmla="*/ 317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3"/>
                  </a:cubicBezTo>
                  <a:cubicBezTo>
                    <a:pt x="0" y="2"/>
                    <a:pt x="1" y="1"/>
                    <a:pt x="1" y="1"/>
                  </a:cubicBezTo>
                  <a:cubicBezTo>
                    <a:pt x="1" y="0"/>
                    <a:pt x="2" y="0"/>
                    <a:pt x="3" y="0"/>
                  </a:cubicBezTo>
                  <a:cubicBezTo>
                    <a:pt x="4" y="1"/>
                    <a:pt x="3"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2" name="Freeform 876"/>
            <p:cNvSpPr>
              <a:spLocks noChangeAspect="1"/>
            </p:cNvSpPr>
            <p:nvPr/>
          </p:nvSpPr>
          <p:spPr bwMode="auto">
            <a:xfrm>
              <a:off x="2609902" y="4066183"/>
              <a:ext cx="3203" cy="7738"/>
            </a:xfrm>
            <a:custGeom>
              <a:avLst/>
              <a:gdLst>
                <a:gd name="T0" fmla="*/ 3175 w 2"/>
                <a:gd name="T1" fmla="*/ 5715 h 5"/>
                <a:gd name="T2" fmla="*/ 1588 w 2"/>
                <a:gd name="T3" fmla="*/ 9525 h 5"/>
                <a:gd name="T4" fmla="*/ 0 w 2"/>
                <a:gd name="T5" fmla="*/ 5715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5"/>
                    <a:pt x="0" y="4"/>
                    <a:pt x="0" y="3"/>
                  </a:cubicBezTo>
                  <a:cubicBezTo>
                    <a:pt x="0" y="2"/>
                    <a:pt x="0" y="0"/>
                    <a:pt x="1" y="0"/>
                  </a:cubicBezTo>
                  <a:cubicBezTo>
                    <a:pt x="2" y="1"/>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3" name="Freeform 877"/>
            <p:cNvSpPr>
              <a:spLocks noChangeAspect="1"/>
            </p:cNvSpPr>
            <p:nvPr/>
          </p:nvSpPr>
          <p:spPr bwMode="auto">
            <a:xfrm>
              <a:off x="2653148" y="4121638"/>
              <a:ext cx="4806" cy="6449"/>
            </a:xfrm>
            <a:custGeom>
              <a:avLst/>
              <a:gdLst>
                <a:gd name="T0" fmla="*/ 4763 w 2"/>
                <a:gd name="T1" fmla="*/ 5953 h 4"/>
                <a:gd name="T2" fmla="*/ 2382 w 2"/>
                <a:gd name="T3" fmla="*/ 7938 h 4"/>
                <a:gd name="T4" fmla="*/ 0 w 2"/>
                <a:gd name="T5" fmla="*/ 3969 h 4"/>
                <a:gd name="T6" fmla="*/ 2382 w 2"/>
                <a:gd name="T7" fmla="*/ 0 h 4"/>
                <a:gd name="T8" fmla="*/ 4763 w 2"/>
                <a:gd name="T9" fmla="*/ 595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1"/>
                    <a:pt x="0" y="0"/>
                    <a:pt x="1" y="0"/>
                  </a:cubicBezTo>
                  <a:cubicBezTo>
                    <a:pt x="2" y="0"/>
                    <a:pt x="2" y="2"/>
                    <a:pt x="2"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4" name="Freeform 878"/>
            <p:cNvSpPr>
              <a:spLocks noChangeAspect="1"/>
            </p:cNvSpPr>
            <p:nvPr/>
          </p:nvSpPr>
          <p:spPr bwMode="auto">
            <a:xfrm>
              <a:off x="2814922" y="4215786"/>
              <a:ext cx="3203" cy="6448"/>
            </a:xfrm>
            <a:custGeom>
              <a:avLst/>
              <a:gdLst>
                <a:gd name="T0" fmla="*/ 3175 w 2"/>
                <a:gd name="T1" fmla="*/ 3969 h 4"/>
                <a:gd name="T2" fmla="*/ 1588 w 2"/>
                <a:gd name="T3" fmla="*/ 7937 h 4"/>
                <a:gd name="T4" fmla="*/ 0 w 2"/>
                <a:gd name="T5" fmla="*/ 3969 h 4"/>
                <a:gd name="T6" fmla="*/ 1588 w 2"/>
                <a:gd name="T7" fmla="*/ 0 h 4"/>
                <a:gd name="T8" fmla="*/ 3175 w 2"/>
                <a:gd name="T9" fmla="*/ 396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0" y="3"/>
                    <a:pt x="0" y="3"/>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5" name="Freeform 879"/>
            <p:cNvSpPr>
              <a:spLocks noChangeAspect="1"/>
            </p:cNvSpPr>
            <p:nvPr/>
          </p:nvSpPr>
          <p:spPr bwMode="auto">
            <a:xfrm>
              <a:off x="2722023" y="4189992"/>
              <a:ext cx="6407" cy="2579"/>
            </a:xfrm>
            <a:custGeom>
              <a:avLst/>
              <a:gdLst>
                <a:gd name="T0" fmla="*/ 4233 w 3"/>
                <a:gd name="T1" fmla="*/ 0 h 2"/>
                <a:gd name="T2" fmla="*/ 6350 w 3"/>
                <a:gd name="T3" fmla="*/ 1588 h 2"/>
                <a:gd name="T4" fmla="*/ 4233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2"/>
                    <a:pt x="0" y="2"/>
                    <a:pt x="0" y="1"/>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6" name="Freeform 880"/>
            <p:cNvSpPr>
              <a:spLocks noChangeAspect="1"/>
            </p:cNvSpPr>
            <p:nvPr/>
          </p:nvSpPr>
          <p:spPr bwMode="auto">
            <a:xfrm>
              <a:off x="463609" y="2367675"/>
              <a:ext cx="3203" cy="3869"/>
            </a:xfrm>
            <a:custGeom>
              <a:avLst/>
              <a:gdLst>
                <a:gd name="T0" fmla="*/ 1588 w 2"/>
                <a:gd name="T1" fmla="*/ 3175 h 3"/>
                <a:gd name="T2" fmla="*/ 0 w 2"/>
                <a:gd name="T3" fmla="*/ 4763 h 3"/>
                <a:gd name="T4" fmla="*/ 0 w 2"/>
                <a:gd name="T5" fmla="*/ 1588 h 3"/>
                <a:gd name="T6" fmla="*/ 1588 w 2"/>
                <a:gd name="T7" fmla="*/ 1588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1"/>
                  </a:cubicBezTo>
                  <a:cubicBezTo>
                    <a:pt x="0" y="1"/>
                    <a:pt x="1" y="0"/>
                    <a:pt x="1"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7" name="Freeform 881"/>
            <p:cNvSpPr>
              <a:spLocks noChangeAspect="1"/>
            </p:cNvSpPr>
            <p:nvPr/>
          </p:nvSpPr>
          <p:spPr bwMode="auto">
            <a:xfrm>
              <a:off x="534084" y="2393469"/>
              <a:ext cx="6407" cy="3869"/>
            </a:xfrm>
            <a:custGeom>
              <a:avLst/>
              <a:gdLst>
                <a:gd name="T0" fmla="*/ 4233 w 3"/>
                <a:gd name="T1" fmla="*/ 2382 h 2"/>
                <a:gd name="T2" fmla="*/ 4233 w 3"/>
                <a:gd name="T3" fmla="*/ 4763 h 2"/>
                <a:gd name="T4" fmla="*/ 2117 w 3"/>
                <a:gd name="T5" fmla="*/ 4763 h 2"/>
                <a:gd name="T6" fmla="*/ 0 w 3"/>
                <a:gd name="T7" fmla="*/ 0 h 2"/>
                <a:gd name="T8" fmla="*/ 4233 w 3"/>
                <a:gd name="T9" fmla="*/ 238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1" y="1"/>
                    <a:pt x="0" y="1"/>
                    <a:pt x="0" y="0"/>
                  </a:cubicBezTo>
                  <a:cubicBezTo>
                    <a:pt x="1" y="0"/>
                    <a:pt x="2"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8" name="Freeform 883"/>
            <p:cNvSpPr>
              <a:spLocks noChangeAspect="1"/>
            </p:cNvSpPr>
            <p:nvPr/>
          </p:nvSpPr>
          <p:spPr bwMode="auto">
            <a:xfrm>
              <a:off x="503651" y="1463611"/>
              <a:ext cx="11213" cy="3868"/>
            </a:xfrm>
            <a:custGeom>
              <a:avLst/>
              <a:gdLst>
                <a:gd name="T0" fmla="*/ 5557 w 6"/>
                <a:gd name="T1" fmla="*/ 3175 h 3"/>
                <a:gd name="T2" fmla="*/ 1852 w 6"/>
                <a:gd name="T3" fmla="*/ 4762 h 3"/>
                <a:gd name="T4" fmla="*/ 3704 w 6"/>
                <a:gd name="T5" fmla="*/ 1587 h 3"/>
                <a:gd name="T6" fmla="*/ 9261 w 6"/>
                <a:gd name="T7" fmla="*/ 0 h 3"/>
                <a:gd name="T8" fmla="*/ 5557 w 6"/>
                <a:gd name="T9" fmla="*/ 3175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3" y="2"/>
                  </a:moveTo>
                  <a:cubicBezTo>
                    <a:pt x="3" y="3"/>
                    <a:pt x="1" y="3"/>
                    <a:pt x="1" y="3"/>
                  </a:cubicBezTo>
                  <a:cubicBezTo>
                    <a:pt x="0" y="2"/>
                    <a:pt x="2" y="1"/>
                    <a:pt x="2" y="1"/>
                  </a:cubicBezTo>
                  <a:cubicBezTo>
                    <a:pt x="4" y="0"/>
                    <a:pt x="5" y="0"/>
                    <a:pt x="5" y="0"/>
                  </a:cubicBezTo>
                  <a:cubicBezTo>
                    <a:pt x="6" y="1"/>
                    <a:pt x="5" y="2"/>
                    <a:pt x="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99" name="Oval 884"/>
            <p:cNvSpPr>
              <a:spLocks noChangeAspect="1" noChangeArrowheads="1"/>
            </p:cNvSpPr>
            <p:nvPr/>
          </p:nvSpPr>
          <p:spPr bwMode="auto">
            <a:xfrm>
              <a:off x="511659" y="1481667"/>
              <a:ext cx="6407" cy="128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0" name="Freeform 887"/>
            <p:cNvSpPr>
              <a:spLocks noChangeAspect="1"/>
            </p:cNvSpPr>
            <p:nvPr/>
          </p:nvSpPr>
          <p:spPr bwMode="auto">
            <a:xfrm>
              <a:off x="570923" y="1550019"/>
              <a:ext cx="4806" cy="1290"/>
            </a:xfrm>
            <a:custGeom>
              <a:avLst/>
              <a:gdLst>
                <a:gd name="T0" fmla="*/ 0 w 2"/>
                <a:gd name="T1" fmla="*/ 1588 h 1"/>
                <a:gd name="T2" fmla="*/ 0 w 2"/>
                <a:gd name="T3" fmla="*/ 1588 h 1"/>
                <a:gd name="T4" fmla="*/ 2382 w 2"/>
                <a:gd name="T5" fmla="*/ 0 h 1"/>
                <a:gd name="T6" fmla="*/ 4763 w 2"/>
                <a:gd name="T7" fmla="*/ 1588 h 1"/>
                <a:gd name="T8" fmla="*/ 0 w 2"/>
                <a:gd name="T9" fmla="*/ 1588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0" y="1"/>
                    <a:pt x="0" y="1"/>
                    <a:pt x="0" y="1"/>
                  </a:cubicBezTo>
                  <a:cubicBezTo>
                    <a:pt x="0" y="0"/>
                    <a:pt x="0" y="0"/>
                    <a:pt x="1" y="0"/>
                  </a:cubicBezTo>
                  <a:cubicBezTo>
                    <a:pt x="1" y="0"/>
                    <a:pt x="2" y="0"/>
                    <a:pt x="2" y="1"/>
                  </a:cubicBezTo>
                  <a:cubicBezTo>
                    <a:pt x="2" y="1"/>
                    <a:pt x="1"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1" name="Freeform 888"/>
            <p:cNvSpPr>
              <a:spLocks noChangeAspect="1"/>
            </p:cNvSpPr>
            <p:nvPr/>
          </p:nvSpPr>
          <p:spPr bwMode="auto">
            <a:xfrm>
              <a:off x="465210" y="1589999"/>
              <a:ext cx="4806" cy="3868"/>
            </a:xfrm>
            <a:custGeom>
              <a:avLst/>
              <a:gdLst>
                <a:gd name="T0" fmla="*/ 2382 w 2"/>
                <a:gd name="T1" fmla="*/ 4762 h 2"/>
                <a:gd name="T2" fmla="*/ 0 w 2"/>
                <a:gd name="T3" fmla="*/ 2381 h 2"/>
                <a:gd name="T4" fmla="*/ 2382 w 2"/>
                <a:gd name="T5" fmla="*/ 0 h 2"/>
                <a:gd name="T6" fmla="*/ 4763 w 2"/>
                <a:gd name="T7" fmla="*/ 2381 h 2"/>
                <a:gd name="T8" fmla="*/ 2382 w 2"/>
                <a:gd name="T9" fmla="*/ 476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0" y="2"/>
                    <a:pt x="0" y="2"/>
                    <a:pt x="0" y="1"/>
                  </a:cubicBezTo>
                  <a:cubicBezTo>
                    <a:pt x="0" y="1"/>
                    <a:pt x="0" y="0"/>
                    <a:pt x="1" y="0"/>
                  </a:cubicBezTo>
                  <a:cubicBezTo>
                    <a:pt x="1" y="0"/>
                    <a:pt x="2" y="0"/>
                    <a:pt x="2" y="1"/>
                  </a:cubicBezTo>
                  <a:cubicBezTo>
                    <a:pt x="2" y="2"/>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2" name="Freeform 889"/>
            <p:cNvSpPr>
              <a:spLocks noChangeAspect="1"/>
            </p:cNvSpPr>
            <p:nvPr/>
          </p:nvSpPr>
          <p:spPr bwMode="auto">
            <a:xfrm>
              <a:off x="820790" y="1504881"/>
              <a:ext cx="4806" cy="5158"/>
            </a:xfrm>
            <a:custGeom>
              <a:avLst/>
              <a:gdLst>
                <a:gd name="T0" fmla="*/ 4763 w 2"/>
                <a:gd name="T1" fmla="*/ 4233 h 3"/>
                <a:gd name="T2" fmla="*/ 2382 w 2"/>
                <a:gd name="T3" fmla="*/ 6350 h 3"/>
                <a:gd name="T4" fmla="*/ 2382 w 2"/>
                <a:gd name="T5" fmla="*/ 4233 h 3"/>
                <a:gd name="T6" fmla="*/ 4763 w 2"/>
                <a:gd name="T7" fmla="*/ 2117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1" y="2"/>
                  </a:cubicBezTo>
                  <a:cubicBezTo>
                    <a:pt x="1" y="1"/>
                    <a:pt x="1" y="0"/>
                    <a:pt x="2" y="1"/>
                  </a:cubicBezTo>
                  <a:cubicBezTo>
                    <a:pt x="2"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3" name="Freeform 890"/>
            <p:cNvSpPr>
              <a:spLocks noChangeAspect="1"/>
            </p:cNvSpPr>
            <p:nvPr/>
          </p:nvSpPr>
          <p:spPr bwMode="auto">
            <a:xfrm>
              <a:off x="1366974" y="1539702"/>
              <a:ext cx="1601" cy="3869"/>
            </a:xfrm>
            <a:custGeom>
              <a:avLst/>
              <a:gdLst>
                <a:gd name="T0" fmla="*/ 1587 w 1"/>
                <a:gd name="T1" fmla="*/ 3175 h 3"/>
                <a:gd name="T2" fmla="*/ 0 w 1"/>
                <a:gd name="T3" fmla="*/ 3175 h 3"/>
                <a:gd name="T4" fmla="*/ 0 w 1"/>
                <a:gd name="T5" fmla="*/ 1588 h 3"/>
                <a:gd name="T6" fmla="*/ 0 w 1"/>
                <a:gd name="T7" fmla="*/ 0 h 3"/>
                <a:gd name="T8" fmla="*/ 1587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4" name="Oval 891"/>
            <p:cNvSpPr>
              <a:spLocks noChangeAspect="1" noChangeArrowheads="1"/>
            </p:cNvSpPr>
            <p:nvPr/>
          </p:nvSpPr>
          <p:spPr bwMode="auto">
            <a:xfrm>
              <a:off x="1355761" y="1525516"/>
              <a:ext cx="3203" cy="386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5" name="Freeform 892"/>
            <p:cNvSpPr>
              <a:spLocks noChangeAspect="1"/>
            </p:cNvSpPr>
            <p:nvPr/>
          </p:nvSpPr>
          <p:spPr bwMode="auto">
            <a:xfrm>
              <a:off x="1349355" y="1521646"/>
              <a:ext cx="4806" cy="5158"/>
            </a:xfrm>
            <a:custGeom>
              <a:avLst/>
              <a:gdLst>
                <a:gd name="T0" fmla="*/ 4763 w 2"/>
                <a:gd name="T1" fmla="*/ 4233 h 3"/>
                <a:gd name="T2" fmla="*/ 2382 w 2"/>
                <a:gd name="T3" fmla="*/ 4233 h 3"/>
                <a:gd name="T4" fmla="*/ 0 w 2"/>
                <a:gd name="T5" fmla="*/ 2117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6" name="Freeform 893"/>
            <p:cNvSpPr>
              <a:spLocks noChangeAspect="1"/>
            </p:cNvSpPr>
            <p:nvPr/>
          </p:nvSpPr>
          <p:spPr bwMode="auto">
            <a:xfrm>
              <a:off x="1402212" y="1622241"/>
              <a:ext cx="3203" cy="5158"/>
            </a:xfrm>
            <a:custGeom>
              <a:avLst/>
              <a:gdLst>
                <a:gd name="T0" fmla="*/ 3175 w 2"/>
                <a:gd name="T1" fmla="*/ 4233 h 3"/>
                <a:gd name="T2" fmla="*/ 1588 w 2"/>
                <a:gd name="T3" fmla="*/ 6350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7" name="Freeform 894"/>
            <p:cNvSpPr>
              <a:spLocks noChangeAspect="1"/>
            </p:cNvSpPr>
            <p:nvPr/>
          </p:nvSpPr>
          <p:spPr bwMode="auto">
            <a:xfrm>
              <a:off x="1491908" y="1706070"/>
              <a:ext cx="1601" cy="3868"/>
            </a:xfrm>
            <a:custGeom>
              <a:avLst/>
              <a:gdLst>
                <a:gd name="T0" fmla="*/ 1587 w 1"/>
                <a:gd name="T1" fmla="*/ 2381 h 2"/>
                <a:gd name="T2" fmla="*/ 1587 w 1"/>
                <a:gd name="T3" fmla="*/ 4762 h 2"/>
                <a:gd name="T4" fmla="*/ 0 w 1"/>
                <a:gd name="T5" fmla="*/ 2381 h 2"/>
                <a:gd name="T6" fmla="*/ 0 w 1"/>
                <a:gd name="T7" fmla="*/ 0 h 2"/>
                <a:gd name="T8" fmla="*/ 1587 w 1"/>
                <a:gd name="T9" fmla="*/ 238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0" y="2"/>
                    <a:pt x="0" y="2"/>
                    <a:pt x="0" y="1"/>
                  </a:cubicBezTo>
                  <a:cubicBezTo>
                    <a:pt x="0" y="1"/>
                    <a:pt x="0" y="0"/>
                    <a:pt x="0" y="0"/>
                  </a:cubicBezTo>
                  <a:cubicBezTo>
                    <a:pt x="1" y="0"/>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8" name="Freeform 895"/>
            <p:cNvSpPr>
              <a:spLocks noChangeAspect="1"/>
            </p:cNvSpPr>
            <p:nvPr/>
          </p:nvSpPr>
          <p:spPr bwMode="auto">
            <a:xfrm>
              <a:off x="3498853" y="1212123"/>
              <a:ext cx="9610" cy="6449"/>
            </a:xfrm>
            <a:custGeom>
              <a:avLst/>
              <a:gdLst>
                <a:gd name="T0" fmla="*/ 7620 w 5"/>
                <a:gd name="T1" fmla="*/ 3969 h 4"/>
                <a:gd name="T2" fmla="*/ 7620 w 5"/>
                <a:gd name="T3" fmla="*/ 7938 h 4"/>
                <a:gd name="T4" fmla="*/ 3810 w 5"/>
                <a:gd name="T5" fmla="*/ 5953 h 4"/>
                <a:gd name="T6" fmla="*/ 1905 w 5"/>
                <a:gd name="T7" fmla="*/ 0 h 4"/>
                <a:gd name="T8" fmla="*/ 7620 w 5"/>
                <a:gd name="T9" fmla="*/ 3969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09" name="Freeform 896"/>
            <p:cNvSpPr>
              <a:spLocks noChangeAspect="1"/>
            </p:cNvSpPr>
            <p:nvPr/>
          </p:nvSpPr>
          <p:spPr bwMode="auto">
            <a:xfrm>
              <a:off x="3146475" y="937423"/>
              <a:ext cx="4806" cy="2579"/>
            </a:xfrm>
            <a:custGeom>
              <a:avLst/>
              <a:gdLst>
                <a:gd name="T0" fmla="*/ 3175 w 3"/>
                <a:gd name="T1" fmla="*/ 0 h 2"/>
                <a:gd name="T2" fmla="*/ 4763 w 3"/>
                <a:gd name="T3" fmla="*/ 1588 h 2"/>
                <a:gd name="T4" fmla="*/ 1588 w 3"/>
                <a:gd name="T5" fmla="*/ 3175 h 2"/>
                <a:gd name="T6" fmla="*/ 0 w 3"/>
                <a:gd name="T7" fmla="*/ 1588 h 2"/>
                <a:gd name="T8" fmla="*/ 317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1"/>
                  </a:cubicBezTo>
                  <a:cubicBezTo>
                    <a:pt x="2" y="2"/>
                    <a:pt x="2" y="2"/>
                    <a:pt x="1" y="2"/>
                  </a:cubicBezTo>
                  <a:cubicBezTo>
                    <a:pt x="1" y="2"/>
                    <a:pt x="0" y="1"/>
                    <a:pt x="0" y="1"/>
                  </a:cubicBezTo>
                  <a:cubicBezTo>
                    <a:pt x="1"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0" name="Freeform 897"/>
            <p:cNvSpPr>
              <a:spLocks noChangeAspect="1"/>
            </p:cNvSpPr>
            <p:nvPr/>
          </p:nvSpPr>
          <p:spPr bwMode="auto">
            <a:xfrm>
              <a:off x="1990040" y="821351"/>
              <a:ext cx="6407" cy="2579"/>
            </a:xfrm>
            <a:custGeom>
              <a:avLst/>
              <a:gdLst>
                <a:gd name="T0" fmla="*/ 4233 w 3"/>
                <a:gd name="T1" fmla="*/ 1588 h 2"/>
                <a:gd name="T2" fmla="*/ 4233 w 3"/>
                <a:gd name="T3" fmla="*/ 3175 h 2"/>
                <a:gd name="T4" fmla="*/ 2117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2" y="2"/>
                    <a:pt x="1" y="2"/>
                  </a:cubicBezTo>
                  <a:cubicBezTo>
                    <a:pt x="1" y="2"/>
                    <a:pt x="0" y="2"/>
                    <a:pt x="0" y="1"/>
                  </a:cubicBezTo>
                  <a:cubicBezTo>
                    <a:pt x="0"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1" name="Freeform 898"/>
            <p:cNvSpPr>
              <a:spLocks noChangeAspect="1"/>
            </p:cNvSpPr>
            <p:nvPr/>
          </p:nvSpPr>
          <p:spPr bwMode="auto">
            <a:xfrm>
              <a:off x="2190255" y="822640"/>
              <a:ext cx="3203" cy="2579"/>
            </a:xfrm>
            <a:custGeom>
              <a:avLst/>
              <a:gdLst>
                <a:gd name="T0" fmla="*/ 1588 w 2"/>
                <a:gd name="T1" fmla="*/ 0 h 2"/>
                <a:gd name="T2" fmla="*/ 3175 w 2"/>
                <a:gd name="T3" fmla="*/ 0 h 2"/>
                <a:gd name="T4" fmla="*/ 3175 w 2"/>
                <a:gd name="T5" fmla="*/ 3175 h 2"/>
                <a:gd name="T6" fmla="*/ 0 w 2"/>
                <a:gd name="T7" fmla="*/ 1588 h 2"/>
                <a:gd name="T8" fmla="*/ 1588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2"/>
                  </a:cubicBezTo>
                  <a:cubicBezTo>
                    <a:pt x="1" y="2"/>
                    <a:pt x="0" y="2"/>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2" name="Freeform 899"/>
            <p:cNvSpPr>
              <a:spLocks noChangeAspect="1"/>
            </p:cNvSpPr>
            <p:nvPr/>
          </p:nvSpPr>
          <p:spPr bwMode="auto">
            <a:xfrm>
              <a:off x="2318391" y="829089"/>
              <a:ext cx="4805" cy="2579"/>
            </a:xfrm>
            <a:custGeom>
              <a:avLst/>
              <a:gdLst>
                <a:gd name="T0" fmla="*/ 2381 w 2"/>
                <a:gd name="T1" fmla="*/ 0 h 2"/>
                <a:gd name="T2" fmla="*/ 4762 w 2"/>
                <a:gd name="T3" fmla="*/ 0 h 2"/>
                <a:gd name="T4" fmla="*/ 4762 w 2"/>
                <a:gd name="T5" fmla="*/ 1588 h 2"/>
                <a:gd name="T6" fmla="*/ 0 w 2"/>
                <a:gd name="T7" fmla="*/ 1588 h 2"/>
                <a:gd name="T8" fmla="*/ 238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1"/>
                  </a:cubicBezTo>
                  <a:cubicBezTo>
                    <a:pt x="1" y="2"/>
                    <a:pt x="0" y="2"/>
                    <a:pt x="0" y="1"/>
                  </a:cubicBezTo>
                  <a:cubicBezTo>
                    <a:pt x="0" y="0"/>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3" name="Freeform 900"/>
            <p:cNvSpPr>
              <a:spLocks noChangeAspect="1"/>
            </p:cNvSpPr>
            <p:nvPr/>
          </p:nvSpPr>
          <p:spPr bwMode="auto">
            <a:xfrm>
              <a:off x="2344018" y="863909"/>
              <a:ext cx="3203" cy="3869"/>
            </a:xfrm>
            <a:custGeom>
              <a:avLst/>
              <a:gdLst>
                <a:gd name="T0" fmla="*/ 0 w 2"/>
                <a:gd name="T1" fmla="*/ 2382 h 2"/>
                <a:gd name="T2" fmla="*/ 1588 w 2"/>
                <a:gd name="T3" fmla="*/ 0 h 2"/>
                <a:gd name="T4" fmla="*/ 3175 w 2"/>
                <a:gd name="T5" fmla="*/ 2382 h 2"/>
                <a:gd name="T6" fmla="*/ 1588 w 2"/>
                <a:gd name="T7" fmla="*/ 4763 h 2"/>
                <a:gd name="T8" fmla="*/ 0 w 2"/>
                <a:gd name="T9" fmla="*/ 238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cubicBezTo>
                    <a:pt x="0" y="1"/>
                    <a:pt x="0" y="0"/>
                    <a:pt x="1" y="0"/>
                  </a:cubicBezTo>
                  <a:cubicBezTo>
                    <a:pt x="1" y="0"/>
                    <a:pt x="2" y="0"/>
                    <a:pt x="2" y="1"/>
                  </a:cubicBezTo>
                  <a:cubicBezTo>
                    <a:pt x="2" y="1"/>
                    <a:pt x="2" y="2"/>
                    <a:pt x="1" y="2"/>
                  </a:cubicBezTo>
                  <a:cubicBezTo>
                    <a:pt x="0" y="2"/>
                    <a:pt x="0" y="1"/>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4" name="Freeform 901"/>
            <p:cNvSpPr>
              <a:spLocks noChangeAspect="1"/>
            </p:cNvSpPr>
            <p:nvPr/>
          </p:nvSpPr>
          <p:spPr bwMode="auto">
            <a:xfrm>
              <a:off x="2395273" y="780081"/>
              <a:ext cx="4805" cy="5158"/>
            </a:xfrm>
            <a:custGeom>
              <a:avLst/>
              <a:gdLst>
                <a:gd name="T0" fmla="*/ 0 w 2"/>
                <a:gd name="T1" fmla="*/ 4233 h 3"/>
                <a:gd name="T2" fmla="*/ 0 w 2"/>
                <a:gd name="T3" fmla="*/ 2117 h 3"/>
                <a:gd name="T4" fmla="*/ 4762 w 2"/>
                <a:gd name="T5" fmla="*/ 2117 h 3"/>
                <a:gd name="T6" fmla="*/ 4762 w 2"/>
                <a:gd name="T7" fmla="*/ 6350 h 3"/>
                <a:gd name="T8" fmla="*/ 0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0" y="2"/>
                  </a:moveTo>
                  <a:cubicBezTo>
                    <a:pt x="0" y="2"/>
                    <a:pt x="0" y="1"/>
                    <a:pt x="0" y="1"/>
                  </a:cubicBezTo>
                  <a:cubicBezTo>
                    <a:pt x="1" y="0"/>
                    <a:pt x="1" y="1"/>
                    <a:pt x="2" y="1"/>
                  </a:cubicBezTo>
                  <a:cubicBezTo>
                    <a:pt x="2" y="2"/>
                    <a:pt x="2" y="3"/>
                    <a:pt x="2" y="3"/>
                  </a:cubicBezTo>
                  <a:cubicBezTo>
                    <a:pt x="1" y="3"/>
                    <a:pt x="0" y="2"/>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5" name="Freeform 902"/>
            <p:cNvSpPr>
              <a:spLocks noChangeAspect="1"/>
            </p:cNvSpPr>
            <p:nvPr/>
          </p:nvSpPr>
          <p:spPr bwMode="auto">
            <a:xfrm>
              <a:off x="2392070" y="700121"/>
              <a:ext cx="11212" cy="7738"/>
            </a:xfrm>
            <a:custGeom>
              <a:avLst/>
              <a:gdLst>
                <a:gd name="T0" fmla="*/ 3704 w 6"/>
                <a:gd name="T1" fmla="*/ 7620 h 5"/>
                <a:gd name="T2" fmla="*/ 1852 w 6"/>
                <a:gd name="T3" fmla="*/ 1905 h 5"/>
                <a:gd name="T4" fmla="*/ 5556 w 6"/>
                <a:gd name="T5" fmla="*/ 1905 h 5"/>
                <a:gd name="T6" fmla="*/ 9260 w 6"/>
                <a:gd name="T7" fmla="*/ 7620 h 5"/>
                <a:gd name="T8" fmla="*/ 3704 w 6"/>
                <a:gd name="T9" fmla="*/ 762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2"/>
                    <a:pt x="1" y="1"/>
                  </a:cubicBezTo>
                  <a:cubicBezTo>
                    <a:pt x="1" y="0"/>
                    <a:pt x="3" y="0"/>
                    <a:pt x="3" y="1"/>
                  </a:cubicBezTo>
                  <a:cubicBezTo>
                    <a:pt x="4" y="1"/>
                    <a:pt x="6" y="2"/>
                    <a:pt x="5" y="4"/>
                  </a:cubicBezTo>
                  <a:cubicBezTo>
                    <a:pt x="5" y="5"/>
                    <a:pt x="3" y="4"/>
                    <a:pt x="2"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6" name="Freeform 903"/>
            <p:cNvSpPr>
              <a:spLocks noChangeAspect="1"/>
            </p:cNvSpPr>
            <p:nvPr/>
          </p:nvSpPr>
          <p:spPr bwMode="auto">
            <a:xfrm>
              <a:off x="2806913" y="762026"/>
              <a:ext cx="8009" cy="5158"/>
            </a:xfrm>
            <a:custGeom>
              <a:avLst/>
              <a:gdLst>
                <a:gd name="T0" fmla="*/ 1985 w 4"/>
                <a:gd name="T1" fmla="*/ 4233 h 3"/>
                <a:gd name="T2" fmla="*/ 1985 w 4"/>
                <a:gd name="T3" fmla="*/ 0 h 3"/>
                <a:gd name="T4" fmla="*/ 3969 w 4"/>
                <a:gd name="T5" fmla="*/ 0 h 3"/>
                <a:gd name="T6" fmla="*/ 5953 w 4"/>
                <a:gd name="T7" fmla="*/ 4233 h 3"/>
                <a:gd name="T8" fmla="*/ 1985 w 4"/>
                <a:gd name="T9" fmla="*/ 423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2"/>
                  </a:moveTo>
                  <a:cubicBezTo>
                    <a:pt x="1" y="1"/>
                    <a:pt x="0" y="1"/>
                    <a:pt x="1" y="0"/>
                  </a:cubicBezTo>
                  <a:cubicBezTo>
                    <a:pt x="1" y="0"/>
                    <a:pt x="2" y="0"/>
                    <a:pt x="2" y="0"/>
                  </a:cubicBezTo>
                  <a:cubicBezTo>
                    <a:pt x="3" y="1"/>
                    <a:pt x="4" y="1"/>
                    <a:pt x="3" y="2"/>
                  </a:cubicBezTo>
                  <a:cubicBezTo>
                    <a:pt x="3" y="3"/>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7" name="Freeform 904"/>
            <p:cNvSpPr>
              <a:spLocks noChangeAspect="1"/>
            </p:cNvSpPr>
            <p:nvPr/>
          </p:nvSpPr>
          <p:spPr bwMode="auto">
            <a:xfrm>
              <a:off x="2574665" y="808454"/>
              <a:ext cx="8008" cy="6448"/>
            </a:xfrm>
            <a:custGeom>
              <a:avLst/>
              <a:gdLst>
                <a:gd name="T0" fmla="*/ 1984 w 4"/>
                <a:gd name="T1" fmla="*/ 5953 h 4"/>
                <a:gd name="T2" fmla="*/ 0 w 4"/>
                <a:gd name="T3" fmla="*/ 1984 h 4"/>
                <a:gd name="T4" fmla="*/ 3969 w 4"/>
                <a:gd name="T5" fmla="*/ 1984 h 4"/>
                <a:gd name="T6" fmla="*/ 7937 w 4"/>
                <a:gd name="T7" fmla="*/ 5953 h 4"/>
                <a:gd name="T8" fmla="*/ 1984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3"/>
                  </a:moveTo>
                  <a:cubicBezTo>
                    <a:pt x="1" y="2"/>
                    <a:pt x="0" y="1"/>
                    <a:pt x="0" y="1"/>
                  </a:cubicBezTo>
                  <a:cubicBezTo>
                    <a:pt x="0" y="0"/>
                    <a:pt x="1" y="0"/>
                    <a:pt x="2" y="1"/>
                  </a:cubicBezTo>
                  <a:cubicBezTo>
                    <a:pt x="3" y="1"/>
                    <a:pt x="4" y="2"/>
                    <a:pt x="4" y="3"/>
                  </a:cubicBezTo>
                  <a:cubicBezTo>
                    <a:pt x="4" y="4"/>
                    <a:pt x="2" y="3"/>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8" name="Freeform 905"/>
            <p:cNvSpPr>
              <a:spLocks noChangeAspect="1"/>
            </p:cNvSpPr>
            <p:nvPr/>
          </p:nvSpPr>
          <p:spPr bwMode="auto">
            <a:xfrm>
              <a:off x="2225492" y="782660"/>
              <a:ext cx="4805" cy="5158"/>
            </a:xfrm>
            <a:custGeom>
              <a:avLst/>
              <a:gdLst>
                <a:gd name="T0" fmla="*/ 1587 w 3"/>
                <a:gd name="T1" fmla="*/ 1588 h 4"/>
                <a:gd name="T2" fmla="*/ 4762 w 3"/>
                <a:gd name="T3" fmla="*/ 0 h 4"/>
                <a:gd name="T4" fmla="*/ 3175 w 3"/>
                <a:gd name="T5" fmla="*/ 3175 h 4"/>
                <a:gd name="T6" fmla="*/ 1587 w 3"/>
                <a:gd name="T7" fmla="*/ 4762 h 4"/>
                <a:gd name="T8" fmla="*/ 1587 w 3"/>
                <a:gd name="T9" fmla="*/ 1588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1"/>
                  </a:moveTo>
                  <a:cubicBezTo>
                    <a:pt x="1" y="0"/>
                    <a:pt x="2" y="0"/>
                    <a:pt x="3" y="0"/>
                  </a:cubicBezTo>
                  <a:cubicBezTo>
                    <a:pt x="3" y="1"/>
                    <a:pt x="3" y="2"/>
                    <a:pt x="2" y="2"/>
                  </a:cubicBezTo>
                  <a:cubicBezTo>
                    <a:pt x="2" y="3"/>
                    <a:pt x="1" y="4"/>
                    <a:pt x="1" y="3"/>
                  </a:cubicBezTo>
                  <a:cubicBezTo>
                    <a:pt x="0" y="2"/>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19" name="Freeform 906"/>
            <p:cNvSpPr>
              <a:spLocks noChangeAspect="1"/>
            </p:cNvSpPr>
            <p:nvPr/>
          </p:nvSpPr>
          <p:spPr bwMode="auto">
            <a:xfrm>
              <a:off x="2001252" y="822640"/>
              <a:ext cx="6407" cy="2579"/>
            </a:xfrm>
            <a:custGeom>
              <a:avLst/>
              <a:gdLst>
                <a:gd name="T0" fmla="*/ 4233 w 3"/>
                <a:gd name="T1" fmla="*/ 0 h 2"/>
                <a:gd name="T2" fmla="*/ 6350 w 3"/>
                <a:gd name="T3" fmla="*/ 1588 h 2"/>
                <a:gd name="T4" fmla="*/ 2117 w 3"/>
                <a:gd name="T5" fmla="*/ 3175 h 2"/>
                <a:gd name="T6" fmla="*/ 0 w 3"/>
                <a:gd name="T7" fmla="*/ 1588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2" y="2"/>
                    <a:pt x="2" y="2"/>
                    <a:pt x="1" y="2"/>
                  </a:cubicBezTo>
                  <a:cubicBezTo>
                    <a:pt x="1" y="2"/>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0" name="Freeform 907"/>
            <p:cNvSpPr>
              <a:spLocks noChangeAspect="1"/>
            </p:cNvSpPr>
            <p:nvPr/>
          </p:nvSpPr>
          <p:spPr bwMode="auto">
            <a:xfrm>
              <a:off x="1873115" y="1139901"/>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1" name="Freeform 908"/>
            <p:cNvSpPr>
              <a:spLocks noChangeAspect="1"/>
            </p:cNvSpPr>
            <p:nvPr/>
          </p:nvSpPr>
          <p:spPr bwMode="auto">
            <a:xfrm>
              <a:off x="1921167" y="1130873"/>
              <a:ext cx="3203" cy="2579"/>
            </a:xfrm>
            <a:custGeom>
              <a:avLst/>
              <a:gdLst>
                <a:gd name="T0" fmla="*/ 1588 w 2"/>
                <a:gd name="T1" fmla="*/ 3175 h 2"/>
                <a:gd name="T2" fmla="*/ 0 w 2"/>
                <a:gd name="T3" fmla="*/ 3175 h 2"/>
                <a:gd name="T4" fmla="*/ 1588 w 2"/>
                <a:gd name="T5" fmla="*/ 1588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1"/>
                  </a:cubicBezTo>
                  <a:cubicBezTo>
                    <a:pt x="1" y="0"/>
                    <a:pt x="2" y="0"/>
                    <a:pt x="2" y="1"/>
                  </a:cubicBezTo>
                  <a:cubicBezTo>
                    <a:pt x="2"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2" name="Freeform 909"/>
            <p:cNvSpPr>
              <a:spLocks noChangeAspect="1"/>
            </p:cNvSpPr>
            <p:nvPr/>
          </p:nvSpPr>
          <p:spPr bwMode="auto">
            <a:xfrm>
              <a:off x="1884327" y="1139901"/>
              <a:ext cx="6407" cy="2579"/>
            </a:xfrm>
            <a:custGeom>
              <a:avLst/>
              <a:gdLst>
                <a:gd name="T0" fmla="*/ 2117 w 3"/>
                <a:gd name="T1" fmla="*/ 3175 h 2"/>
                <a:gd name="T2" fmla="*/ 0 w 3"/>
                <a:gd name="T3" fmla="*/ 1588 h 2"/>
                <a:gd name="T4" fmla="*/ 2117 w 3"/>
                <a:gd name="T5" fmla="*/ 0 h 2"/>
                <a:gd name="T6" fmla="*/ 6350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3" name="Freeform 910"/>
            <p:cNvSpPr>
              <a:spLocks noChangeAspect="1"/>
            </p:cNvSpPr>
            <p:nvPr/>
          </p:nvSpPr>
          <p:spPr bwMode="auto">
            <a:xfrm>
              <a:off x="2180643" y="1099922"/>
              <a:ext cx="3203" cy="7738"/>
            </a:xfrm>
            <a:custGeom>
              <a:avLst/>
              <a:gdLst>
                <a:gd name="T0" fmla="*/ 3175 w 2"/>
                <a:gd name="T1" fmla="*/ 5715 h 5"/>
                <a:gd name="T2" fmla="*/ 1588 w 2"/>
                <a:gd name="T3" fmla="*/ 7620 h 5"/>
                <a:gd name="T4" fmla="*/ 0 w 2"/>
                <a:gd name="T5" fmla="*/ 3810 h 5"/>
                <a:gd name="T6" fmla="*/ 1588 w 2"/>
                <a:gd name="T7" fmla="*/ 0 h 5"/>
                <a:gd name="T8" fmla="*/ 3175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1" y="4"/>
                  </a:cubicBezTo>
                  <a:cubicBezTo>
                    <a:pt x="0" y="4"/>
                    <a:pt x="0" y="3"/>
                    <a:pt x="0" y="2"/>
                  </a:cubicBezTo>
                  <a:cubicBezTo>
                    <a:pt x="0" y="2"/>
                    <a:pt x="0" y="0"/>
                    <a:pt x="1" y="0"/>
                  </a:cubicBezTo>
                  <a:cubicBezTo>
                    <a:pt x="2" y="0"/>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4" name="Freeform 911"/>
            <p:cNvSpPr>
              <a:spLocks noChangeAspect="1"/>
            </p:cNvSpPr>
            <p:nvPr/>
          </p:nvSpPr>
          <p:spPr bwMode="auto">
            <a:xfrm>
              <a:off x="2044498" y="999326"/>
              <a:ext cx="1602" cy="3868"/>
            </a:xfrm>
            <a:custGeom>
              <a:avLst/>
              <a:gdLst>
                <a:gd name="T0" fmla="*/ 1588 w 1"/>
                <a:gd name="T1" fmla="*/ 3175 h 3"/>
                <a:gd name="T2" fmla="*/ 0 w 1"/>
                <a:gd name="T3" fmla="*/ 4762 h 3"/>
                <a:gd name="T4" fmla="*/ 0 w 1"/>
                <a:gd name="T5" fmla="*/ 3175 h 3"/>
                <a:gd name="T6" fmla="*/ 0 w 1"/>
                <a:gd name="T7" fmla="*/ 1587 h 3"/>
                <a:gd name="T8" fmla="*/ 1588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0"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5" name="Freeform 912"/>
            <p:cNvSpPr>
              <a:spLocks noChangeAspect="1"/>
            </p:cNvSpPr>
            <p:nvPr/>
          </p:nvSpPr>
          <p:spPr bwMode="auto">
            <a:xfrm>
              <a:off x="2065321" y="947740"/>
              <a:ext cx="6407" cy="2579"/>
            </a:xfrm>
            <a:custGeom>
              <a:avLst/>
              <a:gdLst>
                <a:gd name="T0" fmla="*/ 4233 w 3"/>
                <a:gd name="T1" fmla="*/ 3175 h 2"/>
                <a:gd name="T2" fmla="*/ 2117 w 3"/>
                <a:gd name="T3" fmla="*/ 3175 h 2"/>
                <a:gd name="T4" fmla="*/ 2117 w 3"/>
                <a:gd name="T5" fmla="*/ 1588 h 2"/>
                <a:gd name="T6" fmla="*/ 6350 w 3"/>
                <a:gd name="T7" fmla="*/ 1588 h 2"/>
                <a:gd name="T8" fmla="*/ 4233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3" y="0"/>
                    <a:pt x="3" y="1"/>
                  </a:cubicBezTo>
                  <a:cubicBezTo>
                    <a:pt x="3"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6" name="Freeform 913"/>
            <p:cNvSpPr>
              <a:spLocks noChangeAspect="1"/>
            </p:cNvSpPr>
            <p:nvPr/>
          </p:nvSpPr>
          <p:spPr bwMode="auto">
            <a:xfrm>
              <a:off x="1825064" y="870359"/>
              <a:ext cx="6407" cy="2579"/>
            </a:xfrm>
            <a:custGeom>
              <a:avLst/>
              <a:gdLst>
                <a:gd name="T0" fmla="*/ 4233 w 3"/>
                <a:gd name="T1" fmla="*/ 3175 h 2"/>
                <a:gd name="T2" fmla="*/ 2117 w 3"/>
                <a:gd name="T3" fmla="*/ 3175 h 2"/>
                <a:gd name="T4" fmla="*/ 2117 w 3"/>
                <a:gd name="T5" fmla="*/ 1588 h 2"/>
                <a:gd name="T6" fmla="*/ 6350 w 3"/>
                <a:gd name="T7" fmla="*/ 0 h 2"/>
                <a:gd name="T8" fmla="*/ 4233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1" y="0"/>
                    <a:pt x="2" y="0"/>
                    <a:pt x="3"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7" name="Freeform 914"/>
            <p:cNvSpPr>
              <a:spLocks noChangeAspect="1"/>
            </p:cNvSpPr>
            <p:nvPr/>
          </p:nvSpPr>
          <p:spPr bwMode="auto">
            <a:xfrm>
              <a:off x="2180643" y="1059940"/>
              <a:ext cx="3203" cy="2579"/>
            </a:xfrm>
            <a:custGeom>
              <a:avLst/>
              <a:gdLst>
                <a:gd name="T0" fmla="*/ 3175 w 2"/>
                <a:gd name="T1" fmla="*/ 1588 h 2"/>
                <a:gd name="T2" fmla="*/ 3175 w 2"/>
                <a:gd name="T3" fmla="*/ 3175 h 2"/>
                <a:gd name="T4" fmla="*/ 1588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2" y="2"/>
                  </a:cubicBezTo>
                  <a:cubicBezTo>
                    <a:pt x="1" y="2"/>
                    <a:pt x="1" y="2"/>
                    <a:pt x="1" y="1"/>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8" name="Freeform 915"/>
            <p:cNvSpPr>
              <a:spLocks noChangeAspect="1"/>
            </p:cNvSpPr>
            <p:nvPr/>
          </p:nvSpPr>
          <p:spPr bwMode="auto">
            <a:xfrm>
              <a:off x="2235102" y="937423"/>
              <a:ext cx="4805" cy="2579"/>
            </a:xfrm>
            <a:custGeom>
              <a:avLst/>
              <a:gdLst>
                <a:gd name="T0" fmla="*/ 1587 w 3"/>
                <a:gd name="T1" fmla="*/ 3175 h 2"/>
                <a:gd name="T2" fmla="*/ 0 w 3"/>
                <a:gd name="T3" fmla="*/ 3175 h 2"/>
                <a:gd name="T4" fmla="*/ 1587 w 3"/>
                <a:gd name="T5" fmla="*/ 0 h 2"/>
                <a:gd name="T6" fmla="*/ 4762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1" y="1"/>
                    <a:pt x="1" y="0"/>
                  </a:cubicBezTo>
                  <a:cubicBezTo>
                    <a:pt x="1" y="0"/>
                    <a:pt x="2" y="0"/>
                    <a:pt x="3"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29" name="Freeform 916"/>
            <p:cNvSpPr>
              <a:spLocks noChangeAspect="1"/>
            </p:cNvSpPr>
            <p:nvPr/>
          </p:nvSpPr>
          <p:spPr bwMode="auto">
            <a:xfrm>
              <a:off x="2289560" y="974823"/>
              <a:ext cx="6407" cy="3869"/>
            </a:xfrm>
            <a:custGeom>
              <a:avLst/>
              <a:gdLst>
                <a:gd name="T0" fmla="*/ 4233 w 3"/>
                <a:gd name="T1" fmla="*/ 3175 h 3"/>
                <a:gd name="T2" fmla="*/ 2117 w 3"/>
                <a:gd name="T3" fmla="*/ 4763 h 3"/>
                <a:gd name="T4" fmla="*/ 0 w 3"/>
                <a:gd name="T5" fmla="*/ 1588 h 3"/>
                <a:gd name="T6" fmla="*/ 2117 w 3"/>
                <a:gd name="T7" fmla="*/ 0 h 3"/>
                <a:gd name="T8" fmla="*/ 4233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2" y="3"/>
                    <a:pt x="1" y="3"/>
                  </a:cubicBezTo>
                  <a:cubicBezTo>
                    <a:pt x="0" y="2"/>
                    <a:pt x="0" y="2"/>
                    <a:pt x="0" y="1"/>
                  </a:cubicBezTo>
                  <a:cubicBezTo>
                    <a:pt x="0" y="1"/>
                    <a:pt x="0" y="0"/>
                    <a:pt x="1" y="0"/>
                  </a:cubicBezTo>
                  <a:cubicBezTo>
                    <a:pt x="3" y="0"/>
                    <a:pt x="3"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0" name="Freeform 917"/>
            <p:cNvSpPr>
              <a:spLocks noChangeAspect="1"/>
            </p:cNvSpPr>
            <p:nvPr/>
          </p:nvSpPr>
          <p:spPr bwMode="auto">
            <a:xfrm>
              <a:off x="2443325" y="930973"/>
              <a:ext cx="6407" cy="1290"/>
            </a:xfrm>
            <a:custGeom>
              <a:avLst/>
              <a:gdLst>
                <a:gd name="T0" fmla="*/ 4233 w 3"/>
                <a:gd name="T1" fmla="*/ 0 h 1"/>
                <a:gd name="T2" fmla="*/ 6350 w 3"/>
                <a:gd name="T3" fmla="*/ 1588 h 1"/>
                <a:gd name="T4" fmla="*/ 2117 w 3"/>
                <a:gd name="T5" fmla="*/ 1588 h 1"/>
                <a:gd name="T6" fmla="*/ 0 w 3"/>
                <a:gd name="T7" fmla="*/ 1588 h 1"/>
                <a:gd name="T8" fmla="*/ 4233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2" y="0"/>
                  </a:moveTo>
                  <a:cubicBezTo>
                    <a:pt x="2" y="0"/>
                    <a:pt x="3" y="0"/>
                    <a:pt x="3" y="1"/>
                  </a:cubicBezTo>
                  <a:cubicBezTo>
                    <a:pt x="2" y="1"/>
                    <a:pt x="2" y="1"/>
                    <a:pt x="1" y="1"/>
                  </a:cubicBezTo>
                  <a:cubicBezTo>
                    <a:pt x="1" y="1"/>
                    <a:pt x="0" y="1"/>
                    <a:pt x="0" y="1"/>
                  </a:cubicBezTo>
                  <a:cubicBezTo>
                    <a:pt x="0" y="0"/>
                    <a:pt x="1"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1" name="Freeform 918"/>
            <p:cNvSpPr>
              <a:spLocks noChangeAspect="1"/>
            </p:cNvSpPr>
            <p:nvPr/>
          </p:nvSpPr>
          <p:spPr bwMode="auto">
            <a:xfrm>
              <a:off x="2657955" y="987719"/>
              <a:ext cx="4805" cy="3869"/>
            </a:xfrm>
            <a:custGeom>
              <a:avLst/>
              <a:gdLst>
                <a:gd name="T0" fmla="*/ 1587 w 3"/>
                <a:gd name="T1" fmla="*/ 4763 h 2"/>
                <a:gd name="T2" fmla="*/ 0 w 3"/>
                <a:gd name="T3" fmla="*/ 2382 h 2"/>
                <a:gd name="T4" fmla="*/ 3175 w 3"/>
                <a:gd name="T5" fmla="*/ 2382 h 2"/>
                <a:gd name="T6" fmla="*/ 4762 w 3"/>
                <a:gd name="T7" fmla="*/ 2382 h 2"/>
                <a:gd name="T8" fmla="*/ 1587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1" y="1"/>
                    <a:pt x="1" y="1"/>
                    <a:pt x="2" y="1"/>
                  </a:cubicBezTo>
                  <a:cubicBezTo>
                    <a:pt x="2" y="0"/>
                    <a:pt x="3" y="1"/>
                    <a:pt x="3" y="1"/>
                  </a:cubicBezTo>
                  <a:cubicBezTo>
                    <a:pt x="3"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2" name="Freeform 919"/>
            <p:cNvSpPr>
              <a:spLocks noChangeAspect="1"/>
            </p:cNvSpPr>
            <p:nvPr/>
          </p:nvSpPr>
          <p:spPr bwMode="auto">
            <a:xfrm>
              <a:off x="2883795" y="1084445"/>
              <a:ext cx="6407" cy="2579"/>
            </a:xfrm>
            <a:custGeom>
              <a:avLst/>
              <a:gdLst>
                <a:gd name="T0" fmla="*/ 2117 w 3"/>
                <a:gd name="T1" fmla="*/ 3175 h 2"/>
                <a:gd name="T2" fmla="*/ 0 w 3"/>
                <a:gd name="T3" fmla="*/ 1588 h 2"/>
                <a:gd name="T4" fmla="*/ 2117 w 3"/>
                <a:gd name="T5" fmla="*/ 0 h 2"/>
                <a:gd name="T6" fmla="*/ 4233 w 3"/>
                <a:gd name="T7" fmla="*/ 0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3" name="Freeform 920"/>
            <p:cNvSpPr>
              <a:spLocks noChangeAspect="1"/>
            </p:cNvSpPr>
            <p:nvPr/>
          </p:nvSpPr>
          <p:spPr bwMode="auto">
            <a:xfrm>
              <a:off x="2874185" y="1080576"/>
              <a:ext cx="6407" cy="5158"/>
            </a:xfrm>
            <a:custGeom>
              <a:avLst/>
              <a:gdLst>
                <a:gd name="T0" fmla="*/ 4233 w 3"/>
                <a:gd name="T1" fmla="*/ 4233 h 3"/>
                <a:gd name="T2" fmla="*/ 2117 w 3"/>
                <a:gd name="T3" fmla="*/ 4233 h 3"/>
                <a:gd name="T4" fmla="*/ 2117 w 3"/>
                <a:gd name="T5" fmla="*/ 2117 h 3"/>
                <a:gd name="T6" fmla="*/ 6350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4" name="Freeform 921"/>
            <p:cNvSpPr>
              <a:spLocks noChangeAspect="1"/>
            </p:cNvSpPr>
            <p:nvPr/>
          </p:nvSpPr>
          <p:spPr bwMode="auto">
            <a:xfrm>
              <a:off x="2914228" y="1270159"/>
              <a:ext cx="4805" cy="3868"/>
            </a:xfrm>
            <a:custGeom>
              <a:avLst/>
              <a:gdLst>
                <a:gd name="T0" fmla="*/ 4762 w 2"/>
                <a:gd name="T1" fmla="*/ 1587 h 3"/>
                <a:gd name="T2" fmla="*/ 4762 w 2"/>
                <a:gd name="T3" fmla="*/ 3175 h 3"/>
                <a:gd name="T4" fmla="*/ 0 w 2"/>
                <a:gd name="T5" fmla="*/ 3175 h 3"/>
                <a:gd name="T6" fmla="*/ 2381 w 2"/>
                <a:gd name="T7" fmla="*/ 0 h 3"/>
                <a:gd name="T8" fmla="*/ 4762 w 2"/>
                <a:gd name="T9" fmla="*/ 158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0" y="2"/>
                  </a:cubicBezTo>
                  <a:cubicBezTo>
                    <a:pt x="0" y="1"/>
                    <a:pt x="0" y="0"/>
                    <a:pt x="1"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5" name="Freeform 922"/>
            <p:cNvSpPr>
              <a:spLocks noChangeAspect="1"/>
            </p:cNvSpPr>
            <p:nvPr/>
          </p:nvSpPr>
          <p:spPr bwMode="auto">
            <a:xfrm>
              <a:off x="2907821" y="1257262"/>
              <a:ext cx="4805" cy="5158"/>
            </a:xfrm>
            <a:custGeom>
              <a:avLst/>
              <a:gdLst>
                <a:gd name="T0" fmla="*/ 3175 w 3"/>
                <a:gd name="T1" fmla="*/ 2117 h 3"/>
                <a:gd name="T2" fmla="*/ 3175 w 3"/>
                <a:gd name="T3" fmla="*/ 4233 h 3"/>
                <a:gd name="T4" fmla="*/ 1587 w 3"/>
                <a:gd name="T5" fmla="*/ 4233 h 3"/>
                <a:gd name="T6" fmla="*/ 1587 w 3"/>
                <a:gd name="T7" fmla="*/ 0 h 3"/>
                <a:gd name="T8" fmla="*/ 3175 w 3"/>
                <a:gd name="T9" fmla="*/ 211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6" name="Freeform 923"/>
            <p:cNvSpPr>
              <a:spLocks noChangeAspect="1"/>
            </p:cNvSpPr>
            <p:nvPr/>
          </p:nvSpPr>
          <p:spPr bwMode="auto">
            <a:xfrm>
              <a:off x="2853363" y="1292083"/>
              <a:ext cx="3203" cy="3869"/>
            </a:xfrm>
            <a:custGeom>
              <a:avLst/>
              <a:gdLst>
                <a:gd name="T0" fmla="*/ 3175 w 2"/>
                <a:gd name="T1" fmla="*/ 1588 h 3"/>
                <a:gd name="T2" fmla="*/ 3175 w 2"/>
                <a:gd name="T3" fmla="*/ 3175 h 3"/>
                <a:gd name="T4" fmla="*/ 1588 w 2"/>
                <a:gd name="T5" fmla="*/ 3175 h 3"/>
                <a:gd name="T6" fmla="*/ 1588 w 2"/>
                <a:gd name="T7" fmla="*/ 0 h 3"/>
                <a:gd name="T8" fmla="*/ 3175 w 2"/>
                <a:gd name="T9" fmla="*/ 1588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1" y="2"/>
                  </a:cubicBezTo>
                  <a:cubicBezTo>
                    <a:pt x="1"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7" name="Freeform 924"/>
            <p:cNvSpPr>
              <a:spLocks noChangeAspect="1"/>
            </p:cNvSpPr>
            <p:nvPr/>
          </p:nvSpPr>
          <p:spPr bwMode="auto">
            <a:xfrm>
              <a:off x="2895008" y="1243076"/>
              <a:ext cx="6407" cy="5158"/>
            </a:xfrm>
            <a:custGeom>
              <a:avLst/>
              <a:gdLst>
                <a:gd name="T0" fmla="*/ 4233 w 3"/>
                <a:gd name="T1" fmla="*/ 6350 h 3"/>
                <a:gd name="T2" fmla="*/ 0 w 3"/>
                <a:gd name="T3" fmla="*/ 6350 h 3"/>
                <a:gd name="T4" fmla="*/ 2117 w 3"/>
                <a:gd name="T5" fmla="*/ 2117 h 3"/>
                <a:gd name="T6" fmla="*/ 4233 w 3"/>
                <a:gd name="T7" fmla="*/ 2117 h 3"/>
                <a:gd name="T8" fmla="*/ 4233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1" y="3"/>
                    <a:pt x="1" y="3"/>
                    <a:pt x="0" y="3"/>
                  </a:cubicBezTo>
                  <a:cubicBezTo>
                    <a:pt x="0" y="2"/>
                    <a:pt x="1" y="1"/>
                    <a:pt x="1" y="1"/>
                  </a:cubicBezTo>
                  <a:cubicBezTo>
                    <a:pt x="1" y="1"/>
                    <a:pt x="2" y="0"/>
                    <a:pt x="2" y="1"/>
                  </a:cubicBezTo>
                  <a:cubicBezTo>
                    <a:pt x="3" y="2"/>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8" name="Freeform 925"/>
            <p:cNvSpPr>
              <a:spLocks noChangeAspect="1"/>
            </p:cNvSpPr>
            <p:nvPr/>
          </p:nvSpPr>
          <p:spPr bwMode="auto">
            <a:xfrm>
              <a:off x="2965483" y="1163115"/>
              <a:ext cx="6407" cy="5158"/>
            </a:xfrm>
            <a:custGeom>
              <a:avLst/>
              <a:gdLst>
                <a:gd name="T0" fmla="*/ 4762 w 4"/>
                <a:gd name="T1" fmla="*/ 6350 h 3"/>
                <a:gd name="T2" fmla="*/ 1588 w 4"/>
                <a:gd name="T3" fmla="*/ 6350 h 3"/>
                <a:gd name="T4" fmla="*/ 3175 w 4"/>
                <a:gd name="T5" fmla="*/ 2117 h 3"/>
                <a:gd name="T6" fmla="*/ 6350 w 4"/>
                <a:gd name="T7" fmla="*/ 0 h 3"/>
                <a:gd name="T8" fmla="*/ 4762 w 4"/>
                <a:gd name="T9" fmla="*/ 635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3"/>
                  </a:moveTo>
                  <a:cubicBezTo>
                    <a:pt x="2" y="3"/>
                    <a:pt x="1" y="3"/>
                    <a:pt x="1" y="3"/>
                  </a:cubicBezTo>
                  <a:cubicBezTo>
                    <a:pt x="0" y="2"/>
                    <a:pt x="1" y="1"/>
                    <a:pt x="2" y="1"/>
                  </a:cubicBezTo>
                  <a:cubicBezTo>
                    <a:pt x="2" y="0"/>
                    <a:pt x="3" y="0"/>
                    <a:pt x="4" y="0"/>
                  </a:cubicBezTo>
                  <a:cubicBezTo>
                    <a:pt x="4" y="1"/>
                    <a:pt x="3" y="2"/>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9" name="Freeform 926"/>
            <p:cNvSpPr>
              <a:spLocks noChangeAspect="1"/>
            </p:cNvSpPr>
            <p:nvPr/>
          </p:nvSpPr>
          <p:spPr bwMode="auto">
            <a:xfrm>
              <a:off x="2555444" y="1077996"/>
              <a:ext cx="6407" cy="2579"/>
            </a:xfrm>
            <a:custGeom>
              <a:avLst/>
              <a:gdLst>
                <a:gd name="T0" fmla="*/ 4233 w 3"/>
                <a:gd name="T1" fmla="*/ 0 h 2"/>
                <a:gd name="T2" fmla="*/ 6350 w 3"/>
                <a:gd name="T3" fmla="*/ 1588 h 2"/>
                <a:gd name="T4" fmla="*/ 4233 w 3"/>
                <a:gd name="T5" fmla="*/ 3175 h 2"/>
                <a:gd name="T6" fmla="*/ 2117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1"/>
                    <a:pt x="3" y="1"/>
                    <a:pt x="3" y="1"/>
                  </a:cubicBezTo>
                  <a:cubicBezTo>
                    <a:pt x="3" y="2"/>
                    <a:pt x="2" y="2"/>
                    <a:pt x="2" y="2"/>
                  </a:cubicBezTo>
                  <a:cubicBezTo>
                    <a:pt x="1" y="1"/>
                    <a:pt x="0" y="1"/>
                    <a:pt x="1" y="0"/>
                  </a:cubicBezTo>
                  <a:cubicBezTo>
                    <a:pt x="1" y="0"/>
                    <a:pt x="2"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0" name="Freeform 927"/>
            <p:cNvSpPr>
              <a:spLocks noChangeAspect="1"/>
            </p:cNvSpPr>
            <p:nvPr/>
          </p:nvSpPr>
          <p:spPr bwMode="auto">
            <a:xfrm>
              <a:off x="2573063" y="1090893"/>
              <a:ext cx="9610" cy="2579"/>
            </a:xfrm>
            <a:custGeom>
              <a:avLst/>
              <a:gdLst>
                <a:gd name="T0" fmla="*/ 5715 w 5"/>
                <a:gd name="T1" fmla="*/ 1588 h 2"/>
                <a:gd name="T2" fmla="*/ 9525 w 5"/>
                <a:gd name="T3" fmla="*/ 3175 h 2"/>
                <a:gd name="T4" fmla="*/ 5715 w 5"/>
                <a:gd name="T5" fmla="*/ 3175 h 2"/>
                <a:gd name="T6" fmla="*/ 1905 w 5"/>
                <a:gd name="T7" fmla="*/ 1588 h 2"/>
                <a:gd name="T8" fmla="*/ 5715 w 5"/>
                <a:gd name="T9" fmla="*/ 1588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4" y="1"/>
                    <a:pt x="5" y="1"/>
                    <a:pt x="5" y="2"/>
                  </a:cubicBezTo>
                  <a:cubicBezTo>
                    <a:pt x="4" y="2"/>
                    <a:pt x="3" y="2"/>
                    <a:pt x="3" y="2"/>
                  </a:cubicBezTo>
                  <a:cubicBezTo>
                    <a:pt x="2" y="2"/>
                    <a:pt x="0" y="2"/>
                    <a:pt x="1" y="1"/>
                  </a:cubicBezTo>
                  <a:cubicBezTo>
                    <a:pt x="1" y="0"/>
                    <a:pt x="3"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1" name="Freeform 928"/>
            <p:cNvSpPr>
              <a:spLocks noChangeAspect="1"/>
            </p:cNvSpPr>
            <p:nvPr/>
          </p:nvSpPr>
          <p:spPr bwMode="auto">
            <a:xfrm>
              <a:off x="2888601" y="1363016"/>
              <a:ext cx="3203" cy="2579"/>
            </a:xfrm>
            <a:custGeom>
              <a:avLst/>
              <a:gdLst>
                <a:gd name="T0" fmla="*/ 3175 w 2"/>
                <a:gd name="T1" fmla="*/ 1588 h 2"/>
                <a:gd name="T2" fmla="*/ 3175 w 2"/>
                <a:gd name="T3" fmla="*/ 3175 h 2"/>
                <a:gd name="T4" fmla="*/ 1588 w 2"/>
                <a:gd name="T5" fmla="*/ 3175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2"/>
                  </a:cubicBezTo>
                  <a:cubicBezTo>
                    <a:pt x="0" y="1"/>
                    <a:pt x="0" y="0"/>
                    <a:pt x="1" y="0"/>
                  </a:cubicBezTo>
                  <a:cubicBezTo>
                    <a:pt x="1"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2" name="Freeform 929"/>
            <p:cNvSpPr>
              <a:spLocks noChangeAspect="1"/>
            </p:cNvSpPr>
            <p:nvPr/>
          </p:nvSpPr>
          <p:spPr bwMode="auto">
            <a:xfrm>
              <a:off x="2621115" y="1265000"/>
              <a:ext cx="3203" cy="5158"/>
            </a:xfrm>
            <a:custGeom>
              <a:avLst/>
              <a:gdLst>
                <a:gd name="T0" fmla="*/ 3175 w 2"/>
                <a:gd name="T1" fmla="*/ 4233 h 3"/>
                <a:gd name="T2" fmla="*/ 1588 w 2"/>
                <a:gd name="T3" fmla="*/ 6350 h 3"/>
                <a:gd name="T4" fmla="*/ 0 w 2"/>
                <a:gd name="T5" fmla="*/ 2117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3" name="Freeform 930"/>
            <p:cNvSpPr>
              <a:spLocks noChangeAspect="1"/>
            </p:cNvSpPr>
            <p:nvPr/>
          </p:nvSpPr>
          <p:spPr bwMode="auto">
            <a:xfrm>
              <a:off x="2888601" y="1328194"/>
              <a:ext cx="3203" cy="5158"/>
            </a:xfrm>
            <a:custGeom>
              <a:avLst/>
              <a:gdLst>
                <a:gd name="T0" fmla="*/ 3175 w 2"/>
                <a:gd name="T1" fmla="*/ 2117 h 3"/>
                <a:gd name="T2" fmla="*/ 3175 w 2"/>
                <a:gd name="T3" fmla="*/ 4233 h 3"/>
                <a:gd name="T4" fmla="*/ 1588 w 2"/>
                <a:gd name="T5" fmla="*/ 4233 h 3"/>
                <a:gd name="T6" fmla="*/ 0 w 2"/>
                <a:gd name="T7" fmla="*/ 2117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2" y="3"/>
                    <a:pt x="1" y="3"/>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4" name="Freeform 931"/>
            <p:cNvSpPr>
              <a:spLocks noChangeAspect="1"/>
            </p:cNvSpPr>
            <p:nvPr/>
          </p:nvSpPr>
          <p:spPr bwMode="auto">
            <a:xfrm>
              <a:off x="2549038" y="1493274"/>
              <a:ext cx="4805" cy="7738"/>
            </a:xfrm>
            <a:custGeom>
              <a:avLst/>
              <a:gdLst>
                <a:gd name="T0" fmla="*/ 4762 w 2"/>
                <a:gd name="T1" fmla="*/ 5715 h 5"/>
                <a:gd name="T2" fmla="*/ 2381 w 2"/>
                <a:gd name="T3" fmla="*/ 9525 h 5"/>
                <a:gd name="T4" fmla="*/ 2381 w 2"/>
                <a:gd name="T5" fmla="*/ 3810 h 5"/>
                <a:gd name="T6" fmla="*/ 4762 w 2"/>
                <a:gd name="T7" fmla="*/ 0 h 5"/>
                <a:gd name="T8" fmla="*/ 4762 w 2"/>
                <a:gd name="T9" fmla="*/ 571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5" name="Freeform 932"/>
            <p:cNvSpPr>
              <a:spLocks noChangeAspect="1"/>
            </p:cNvSpPr>
            <p:nvPr/>
          </p:nvSpPr>
          <p:spPr bwMode="auto">
            <a:xfrm>
              <a:off x="2505791" y="1613213"/>
              <a:ext cx="9610" cy="5158"/>
            </a:xfrm>
            <a:custGeom>
              <a:avLst/>
              <a:gdLst>
                <a:gd name="T0" fmla="*/ 3810 w 5"/>
                <a:gd name="T1" fmla="*/ 6350 h 3"/>
                <a:gd name="T2" fmla="*/ 1905 w 5"/>
                <a:gd name="T3" fmla="*/ 6350 h 3"/>
                <a:gd name="T4" fmla="*/ 5715 w 5"/>
                <a:gd name="T5" fmla="*/ 2117 h 3"/>
                <a:gd name="T6" fmla="*/ 9525 w 5"/>
                <a:gd name="T7" fmla="*/ 2117 h 3"/>
                <a:gd name="T8" fmla="*/ 3810 w 5"/>
                <a:gd name="T9" fmla="*/ 6350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6" name="Freeform 933"/>
            <p:cNvSpPr>
              <a:spLocks noChangeAspect="1"/>
            </p:cNvSpPr>
            <p:nvPr/>
          </p:nvSpPr>
          <p:spPr bwMode="auto">
            <a:xfrm>
              <a:off x="2520207" y="1490694"/>
              <a:ext cx="8008" cy="6449"/>
            </a:xfrm>
            <a:custGeom>
              <a:avLst/>
              <a:gdLst>
                <a:gd name="T0" fmla="*/ 3969 w 4"/>
                <a:gd name="T1" fmla="*/ 5953 h 4"/>
                <a:gd name="T2" fmla="*/ 0 w 4"/>
                <a:gd name="T3" fmla="*/ 5953 h 4"/>
                <a:gd name="T4" fmla="*/ 1984 w 4"/>
                <a:gd name="T5" fmla="*/ 1985 h 4"/>
                <a:gd name="T6" fmla="*/ 7937 w 4"/>
                <a:gd name="T7" fmla="*/ 0 h 4"/>
                <a:gd name="T8" fmla="*/ 3969 w 4"/>
                <a:gd name="T9" fmla="*/ 595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7" name="Oval 934"/>
            <p:cNvSpPr>
              <a:spLocks noChangeAspect="1" noChangeArrowheads="1"/>
            </p:cNvSpPr>
            <p:nvPr/>
          </p:nvSpPr>
          <p:spPr bwMode="auto">
            <a:xfrm>
              <a:off x="3018339" y="1749920"/>
              <a:ext cx="1602"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8" name="Freeform 935"/>
            <p:cNvSpPr>
              <a:spLocks noChangeAspect="1"/>
            </p:cNvSpPr>
            <p:nvPr/>
          </p:nvSpPr>
          <p:spPr bwMode="auto">
            <a:xfrm>
              <a:off x="3077602" y="1672539"/>
              <a:ext cx="6407" cy="3868"/>
            </a:xfrm>
            <a:custGeom>
              <a:avLst/>
              <a:gdLst>
                <a:gd name="T0" fmla="*/ 2117 w 3"/>
                <a:gd name="T1" fmla="*/ 3175 h 3"/>
                <a:gd name="T2" fmla="*/ 0 w 3"/>
                <a:gd name="T3" fmla="*/ 3175 h 3"/>
                <a:gd name="T4" fmla="*/ 2117 w 3"/>
                <a:gd name="T5" fmla="*/ 1587 h 3"/>
                <a:gd name="T6" fmla="*/ 4233 w 3"/>
                <a:gd name="T7" fmla="*/ 1587 h 3"/>
                <a:gd name="T8" fmla="*/ 2117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9" name="Oval 936"/>
            <p:cNvSpPr>
              <a:spLocks noChangeAspect="1" noChangeArrowheads="1"/>
            </p:cNvSpPr>
            <p:nvPr/>
          </p:nvSpPr>
          <p:spPr bwMode="auto">
            <a:xfrm>
              <a:off x="2779684" y="2122636"/>
              <a:ext cx="3203" cy="386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0" name="Oval 937"/>
            <p:cNvSpPr>
              <a:spLocks noChangeAspect="1" noChangeArrowheads="1"/>
            </p:cNvSpPr>
            <p:nvPr/>
          </p:nvSpPr>
          <p:spPr bwMode="auto">
            <a:xfrm>
              <a:off x="2533021" y="2316088"/>
              <a:ext cx="1601" cy="5158"/>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1" name="Freeform 938"/>
            <p:cNvSpPr>
              <a:spLocks noChangeAspect="1"/>
            </p:cNvSpPr>
            <p:nvPr/>
          </p:nvSpPr>
          <p:spPr bwMode="auto">
            <a:xfrm>
              <a:off x="2355230" y="2377993"/>
              <a:ext cx="6407" cy="3869"/>
            </a:xfrm>
            <a:custGeom>
              <a:avLst/>
              <a:gdLst>
                <a:gd name="T0" fmla="*/ 4233 w 3"/>
                <a:gd name="T1" fmla="*/ 4763 h 2"/>
                <a:gd name="T2" fmla="*/ 2117 w 3"/>
                <a:gd name="T3" fmla="*/ 4763 h 2"/>
                <a:gd name="T4" fmla="*/ 2117 w 3"/>
                <a:gd name="T5" fmla="*/ 0 h 2"/>
                <a:gd name="T6" fmla="*/ 6350 w 3"/>
                <a:gd name="T7" fmla="*/ 0 h 2"/>
                <a:gd name="T8" fmla="*/ 4233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0"/>
                  </a:cubicBezTo>
                  <a:cubicBezTo>
                    <a:pt x="1" y="0"/>
                    <a:pt x="2" y="0"/>
                    <a:pt x="3" y="0"/>
                  </a:cubicBezTo>
                  <a:cubicBezTo>
                    <a:pt x="3" y="1"/>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2" name="Freeform 939"/>
            <p:cNvSpPr>
              <a:spLocks noChangeAspect="1"/>
            </p:cNvSpPr>
            <p:nvPr/>
          </p:nvSpPr>
          <p:spPr bwMode="auto">
            <a:xfrm>
              <a:off x="2428909" y="2354779"/>
              <a:ext cx="4806" cy="3869"/>
            </a:xfrm>
            <a:custGeom>
              <a:avLst/>
              <a:gdLst>
                <a:gd name="T0" fmla="*/ 3175 w 3"/>
                <a:gd name="T1" fmla="*/ 4763 h 2"/>
                <a:gd name="T2" fmla="*/ 0 w 3"/>
                <a:gd name="T3" fmla="*/ 2382 h 2"/>
                <a:gd name="T4" fmla="*/ 1588 w 3"/>
                <a:gd name="T5" fmla="*/ 0 h 2"/>
                <a:gd name="T6" fmla="*/ 4763 w 3"/>
                <a:gd name="T7" fmla="*/ 2382 h 2"/>
                <a:gd name="T8" fmla="*/ 3175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0" y="2"/>
                    <a:pt x="0" y="1"/>
                  </a:cubicBezTo>
                  <a:cubicBezTo>
                    <a:pt x="0" y="1"/>
                    <a:pt x="1" y="0"/>
                    <a:pt x="1" y="0"/>
                  </a:cubicBezTo>
                  <a:cubicBezTo>
                    <a:pt x="2" y="0"/>
                    <a:pt x="3" y="0"/>
                    <a:pt x="3" y="1"/>
                  </a:cubicBezTo>
                  <a:cubicBezTo>
                    <a:pt x="3" y="2"/>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3" name="Freeform 940"/>
            <p:cNvSpPr>
              <a:spLocks noChangeAspect="1"/>
            </p:cNvSpPr>
            <p:nvPr/>
          </p:nvSpPr>
          <p:spPr bwMode="auto">
            <a:xfrm>
              <a:off x="2246314" y="2492774"/>
              <a:ext cx="4806" cy="2579"/>
            </a:xfrm>
            <a:custGeom>
              <a:avLst/>
              <a:gdLst>
                <a:gd name="T0" fmla="*/ 3175 w 3"/>
                <a:gd name="T1" fmla="*/ 3175 h 2"/>
                <a:gd name="T2" fmla="*/ 0 w 3"/>
                <a:gd name="T3" fmla="*/ 3175 h 2"/>
                <a:gd name="T4" fmla="*/ 1588 w 3"/>
                <a:gd name="T5" fmla="*/ 0 h 2"/>
                <a:gd name="T6" fmla="*/ 4763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1" y="1"/>
                    <a:pt x="1" y="0"/>
                  </a:cubicBezTo>
                  <a:cubicBezTo>
                    <a:pt x="2" y="0"/>
                    <a:pt x="2" y="0"/>
                    <a:pt x="3"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4" name="Freeform 941"/>
            <p:cNvSpPr>
              <a:spLocks noChangeAspect="1"/>
            </p:cNvSpPr>
            <p:nvPr/>
          </p:nvSpPr>
          <p:spPr bwMode="auto">
            <a:xfrm>
              <a:off x="2563453" y="2379283"/>
              <a:ext cx="4806" cy="3868"/>
            </a:xfrm>
            <a:custGeom>
              <a:avLst/>
              <a:gdLst>
                <a:gd name="T0" fmla="*/ 3175 w 3"/>
                <a:gd name="T1" fmla="*/ 4762 h 2"/>
                <a:gd name="T2" fmla="*/ 1588 w 3"/>
                <a:gd name="T3" fmla="*/ 4762 h 2"/>
                <a:gd name="T4" fmla="*/ 1588 w 3"/>
                <a:gd name="T5" fmla="*/ 2381 h 2"/>
                <a:gd name="T6" fmla="*/ 3175 w 3"/>
                <a:gd name="T7" fmla="*/ 0 h 2"/>
                <a:gd name="T8" fmla="*/ 3175 w 3"/>
                <a:gd name="T9" fmla="*/ 476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2" y="2"/>
                    <a:pt x="1" y="2"/>
                    <a:pt x="1" y="2"/>
                  </a:cubicBezTo>
                  <a:cubicBezTo>
                    <a:pt x="0" y="2"/>
                    <a:pt x="1" y="1"/>
                    <a:pt x="1" y="1"/>
                  </a:cubicBezTo>
                  <a:cubicBezTo>
                    <a:pt x="1" y="0"/>
                    <a:pt x="2" y="0"/>
                    <a:pt x="2"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5" name="Freeform 942"/>
            <p:cNvSpPr>
              <a:spLocks noChangeAspect="1"/>
            </p:cNvSpPr>
            <p:nvPr/>
          </p:nvSpPr>
          <p:spPr bwMode="auto">
            <a:xfrm>
              <a:off x="2544231" y="2350910"/>
              <a:ext cx="3203" cy="3868"/>
            </a:xfrm>
            <a:custGeom>
              <a:avLst/>
              <a:gdLst>
                <a:gd name="T0" fmla="*/ 3175 w 2"/>
                <a:gd name="T1" fmla="*/ 3175 h 3"/>
                <a:gd name="T2" fmla="*/ 1588 w 2"/>
                <a:gd name="T3" fmla="*/ 4762 h 3"/>
                <a:gd name="T4" fmla="*/ 0 w 2"/>
                <a:gd name="T5" fmla="*/ 1587 h 3"/>
                <a:gd name="T6" fmla="*/ 1588 w 2"/>
                <a:gd name="T7" fmla="*/ 0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1"/>
                  </a:cubicBezTo>
                  <a:cubicBezTo>
                    <a:pt x="0" y="1"/>
                    <a:pt x="1" y="0"/>
                    <a:pt x="1" y="0"/>
                  </a:cubicBezTo>
                  <a:cubicBezTo>
                    <a:pt x="2"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6" name="Freeform 943"/>
            <p:cNvSpPr>
              <a:spLocks noChangeAspect="1"/>
            </p:cNvSpPr>
            <p:nvPr/>
          </p:nvSpPr>
          <p:spPr bwMode="auto">
            <a:xfrm>
              <a:off x="2597088" y="2374125"/>
              <a:ext cx="6407" cy="2579"/>
            </a:xfrm>
            <a:custGeom>
              <a:avLst/>
              <a:gdLst>
                <a:gd name="T0" fmla="*/ 4233 w 3"/>
                <a:gd name="T1" fmla="*/ 1588 h 2"/>
                <a:gd name="T2" fmla="*/ 4233 w 3"/>
                <a:gd name="T3" fmla="*/ 1588 h 2"/>
                <a:gd name="T4" fmla="*/ 2117 w 3"/>
                <a:gd name="T5" fmla="*/ 3175 h 2"/>
                <a:gd name="T6" fmla="*/ 0 w 3"/>
                <a:gd name="T7" fmla="*/ 1588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1"/>
                  </a:cubicBezTo>
                  <a:cubicBezTo>
                    <a:pt x="2" y="2"/>
                    <a:pt x="2" y="2"/>
                    <a:pt x="1" y="2"/>
                  </a:cubicBezTo>
                  <a:cubicBezTo>
                    <a:pt x="1" y="2"/>
                    <a:pt x="0" y="2"/>
                    <a:pt x="0" y="1"/>
                  </a:cubicBezTo>
                  <a:cubicBezTo>
                    <a:pt x="0" y="0"/>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7" name="Freeform 944"/>
            <p:cNvSpPr>
              <a:spLocks noChangeAspect="1"/>
            </p:cNvSpPr>
            <p:nvPr/>
          </p:nvSpPr>
          <p:spPr bwMode="auto">
            <a:xfrm>
              <a:off x="2582672" y="2374125"/>
              <a:ext cx="3203" cy="1289"/>
            </a:xfrm>
            <a:custGeom>
              <a:avLst/>
              <a:gdLst>
                <a:gd name="T0" fmla="*/ 1588 w 2"/>
                <a:gd name="T1" fmla="*/ 0 h 1"/>
                <a:gd name="T2" fmla="*/ 3175 w 2"/>
                <a:gd name="T3" fmla="*/ 0 h 1"/>
                <a:gd name="T4" fmla="*/ 1588 w 2"/>
                <a:gd name="T5" fmla="*/ 1587 h 1"/>
                <a:gd name="T6" fmla="*/ 0 w 2"/>
                <a:gd name="T7" fmla="*/ 1587 h 1"/>
                <a:gd name="T8" fmla="*/ 1588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1" y="0"/>
                    <a:pt x="2" y="0"/>
                    <a:pt x="2" y="0"/>
                  </a:cubicBezTo>
                  <a:cubicBezTo>
                    <a:pt x="2" y="1"/>
                    <a:pt x="2" y="1"/>
                    <a:pt x="1" y="1"/>
                  </a:cubicBezTo>
                  <a:cubicBezTo>
                    <a:pt x="1" y="1"/>
                    <a:pt x="0" y="1"/>
                    <a:pt x="0" y="1"/>
                  </a:cubicBezTo>
                  <a:cubicBezTo>
                    <a:pt x="0" y="0"/>
                    <a:pt x="0"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8" name="Oval 945"/>
            <p:cNvSpPr>
              <a:spLocks noChangeAspect="1" noChangeArrowheads="1"/>
            </p:cNvSpPr>
            <p:nvPr/>
          </p:nvSpPr>
          <p:spPr bwMode="auto">
            <a:xfrm>
              <a:off x="2755658" y="2464402"/>
              <a:ext cx="3203" cy="2579"/>
            </a:xfrm>
            <a:prstGeom prst="ellipse">
              <a:avLst/>
            </a:pr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9" name="Freeform 946"/>
            <p:cNvSpPr>
              <a:spLocks noChangeAspect="1"/>
            </p:cNvSpPr>
            <p:nvPr/>
          </p:nvSpPr>
          <p:spPr bwMode="auto">
            <a:xfrm>
              <a:off x="2795701" y="2456663"/>
              <a:ext cx="6407" cy="5158"/>
            </a:xfrm>
            <a:custGeom>
              <a:avLst/>
              <a:gdLst>
                <a:gd name="T0" fmla="*/ 2117 w 3"/>
                <a:gd name="T1" fmla="*/ 6350 h 3"/>
                <a:gd name="T2" fmla="*/ 0 w 3"/>
                <a:gd name="T3" fmla="*/ 6350 h 3"/>
                <a:gd name="T4" fmla="*/ 2117 w 3"/>
                <a:gd name="T5" fmla="*/ 2117 h 3"/>
                <a:gd name="T6" fmla="*/ 4233 w 3"/>
                <a:gd name="T7" fmla="*/ 2117 h 3"/>
                <a:gd name="T8" fmla="*/ 2117 w 3"/>
                <a:gd name="T9" fmla="*/ 635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1" y="3"/>
                    <a:pt x="0" y="3"/>
                  </a:cubicBezTo>
                  <a:cubicBezTo>
                    <a:pt x="0" y="2"/>
                    <a:pt x="0" y="1"/>
                    <a:pt x="1" y="1"/>
                  </a:cubicBezTo>
                  <a:cubicBezTo>
                    <a:pt x="1" y="1"/>
                    <a:pt x="2" y="0"/>
                    <a:pt x="2" y="1"/>
                  </a:cubicBezTo>
                  <a:cubicBezTo>
                    <a:pt x="3" y="2"/>
                    <a:pt x="2" y="2"/>
                    <a:pt x="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0" name="Freeform 947"/>
            <p:cNvSpPr>
              <a:spLocks noChangeAspect="1"/>
            </p:cNvSpPr>
            <p:nvPr/>
          </p:nvSpPr>
          <p:spPr bwMode="auto">
            <a:xfrm>
              <a:off x="2827736" y="2482457"/>
              <a:ext cx="4805" cy="2579"/>
            </a:xfrm>
            <a:custGeom>
              <a:avLst/>
              <a:gdLst>
                <a:gd name="T0" fmla="*/ 2381 w 2"/>
                <a:gd name="T1" fmla="*/ 1588 h 2"/>
                <a:gd name="T2" fmla="*/ 0 w 2"/>
                <a:gd name="T3" fmla="*/ 1588 h 2"/>
                <a:gd name="T4" fmla="*/ 2381 w 2"/>
                <a:gd name="T5" fmla="*/ 0 h 2"/>
                <a:gd name="T6" fmla="*/ 4762 w 2"/>
                <a:gd name="T7" fmla="*/ 1588 h 2"/>
                <a:gd name="T8" fmla="*/ 2381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0" y="1"/>
                    <a:pt x="0" y="1"/>
                  </a:cubicBezTo>
                  <a:cubicBezTo>
                    <a:pt x="0" y="0"/>
                    <a:pt x="0" y="0"/>
                    <a:pt x="1" y="0"/>
                  </a:cubicBezTo>
                  <a:cubicBezTo>
                    <a:pt x="1" y="0"/>
                    <a:pt x="2" y="0"/>
                    <a:pt x="2" y="1"/>
                  </a:cubicBezTo>
                  <a:cubicBezTo>
                    <a:pt x="2" y="1"/>
                    <a:pt x="1"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1" name="Freeform 948"/>
            <p:cNvSpPr>
              <a:spLocks noChangeAspect="1"/>
            </p:cNvSpPr>
            <p:nvPr/>
          </p:nvSpPr>
          <p:spPr bwMode="auto">
            <a:xfrm>
              <a:off x="2827736" y="2468270"/>
              <a:ext cx="4805" cy="2579"/>
            </a:xfrm>
            <a:custGeom>
              <a:avLst/>
              <a:gdLst>
                <a:gd name="T0" fmla="*/ 4762 w 2"/>
                <a:gd name="T1" fmla="*/ 1588 h 2"/>
                <a:gd name="T2" fmla="*/ 4762 w 2"/>
                <a:gd name="T3" fmla="*/ 3175 h 2"/>
                <a:gd name="T4" fmla="*/ 2381 w 2"/>
                <a:gd name="T5" fmla="*/ 1588 h 2"/>
                <a:gd name="T6" fmla="*/ 2381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2" name="Freeform 949"/>
            <p:cNvSpPr>
              <a:spLocks noChangeAspect="1"/>
            </p:cNvSpPr>
            <p:nvPr/>
          </p:nvSpPr>
          <p:spPr bwMode="auto">
            <a:xfrm>
              <a:off x="2758861" y="2601108"/>
              <a:ext cx="4806" cy="2579"/>
            </a:xfrm>
            <a:custGeom>
              <a:avLst/>
              <a:gdLst>
                <a:gd name="T0" fmla="*/ 4763 w 2"/>
                <a:gd name="T1" fmla="*/ 1588 h 2"/>
                <a:gd name="T2" fmla="*/ 2382 w 2"/>
                <a:gd name="T3" fmla="*/ 3175 h 2"/>
                <a:gd name="T4" fmla="*/ 0 w 2"/>
                <a:gd name="T5" fmla="*/ 1588 h 2"/>
                <a:gd name="T6" fmla="*/ 2382 w 2"/>
                <a:gd name="T7" fmla="*/ 0 h 2"/>
                <a:gd name="T8" fmla="*/ 4763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3" name="Freeform 950"/>
            <p:cNvSpPr>
              <a:spLocks noChangeAspect="1"/>
            </p:cNvSpPr>
            <p:nvPr/>
          </p:nvSpPr>
          <p:spPr bwMode="auto">
            <a:xfrm>
              <a:off x="2832540" y="2585632"/>
              <a:ext cx="1602" cy="5158"/>
            </a:xfrm>
            <a:custGeom>
              <a:avLst/>
              <a:gdLst>
                <a:gd name="T0" fmla="*/ 1588 w 1"/>
                <a:gd name="T1" fmla="*/ 4233 h 3"/>
                <a:gd name="T2" fmla="*/ 1588 w 1"/>
                <a:gd name="T3" fmla="*/ 6350 h 3"/>
                <a:gd name="T4" fmla="*/ 0 w 1"/>
                <a:gd name="T5" fmla="*/ 2117 h 3"/>
                <a:gd name="T6" fmla="*/ 1588 w 1"/>
                <a:gd name="T7" fmla="*/ 0 h 3"/>
                <a:gd name="T8" fmla="*/ 1588 w 1"/>
                <a:gd name="T9" fmla="*/ 423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4" name="Freeform 951"/>
            <p:cNvSpPr>
              <a:spLocks noChangeAspect="1"/>
            </p:cNvSpPr>
            <p:nvPr/>
          </p:nvSpPr>
          <p:spPr bwMode="auto">
            <a:xfrm>
              <a:off x="2840549" y="2567577"/>
              <a:ext cx="1601" cy="3868"/>
            </a:xfrm>
            <a:custGeom>
              <a:avLst/>
              <a:gdLst>
                <a:gd name="T0" fmla="*/ 1587 w 1"/>
                <a:gd name="T1" fmla="*/ 3175 h 3"/>
                <a:gd name="T2" fmla="*/ 0 w 1"/>
                <a:gd name="T3" fmla="*/ 4762 h 3"/>
                <a:gd name="T4" fmla="*/ 0 w 1"/>
                <a:gd name="T5" fmla="*/ 3175 h 3"/>
                <a:gd name="T6" fmla="*/ 1587 w 1"/>
                <a:gd name="T7" fmla="*/ 1587 h 3"/>
                <a:gd name="T8" fmla="*/ 1587 w 1"/>
                <a:gd name="T9" fmla="*/ 317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5" name="Freeform 952"/>
            <p:cNvSpPr>
              <a:spLocks noChangeAspect="1"/>
            </p:cNvSpPr>
            <p:nvPr/>
          </p:nvSpPr>
          <p:spPr bwMode="auto">
            <a:xfrm>
              <a:off x="2827736" y="2593370"/>
              <a:ext cx="4805" cy="5158"/>
            </a:xfrm>
            <a:custGeom>
              <a:avLst/>
              <a:gdLst>
                <a:gd name="T0" fmla="*/ 2381 w 2"/>
                <a:gd name="T1" fmla="*/ 4233 h 3"/>
                <a:gd name="T2" fmla="*/ 2381 w 2"/>
                <a:gd name="T3" fmla="*/ 6350 h 3"/>
                <a:gd name="T4" fmla="*/ 0 w 2"/>
                <a:gd name="T5" fmla="*/ 2117 h 3"/>
                <a:gd name="T6" fmla="*/ 2381 w 2"/>
                <a:gd name="T7" fmla="*/ 0 h 3"/>
                <a:gd name="T8" fmla="*/ 2381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2"/>
                    <a:pt x="0" y="2"/>
                    <a:pt x="0" y="1"/>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6" name="Freeform 953"/>
            <p:cNvSpPr>
              <a:spLocks noChangeAspect="1"/>
            </p:cNvSpPr>
            <p:nvPr/>
          </p:nvSpPr>
          <p:spPr bwMode="auto">
            <a:xfrm>
              <a:off x="2850160" y="2611425"/>
              <a:ext cx="4805" cy="5158"/>
            </a:xfrm>
            <a:custGeom>
              <a:avLst/>
              <a:gdLst>
                <a:gd name="T0" fmla="*/ 3175 w 3"/>
                <a:gd name="T1" fmla="*/ 4233 h 3"/>
                <a:gd name="T2" fmla="*/ 0 w 3"/>
                <a:gd name="T3" fmla="*/ 4233 h 3"/>
                <a:gd name="T4" fmla="*/ 1587 w 3"/>
                <a:gd name="T5" fmla="*/ 2117 h 3"/>
                <a:gd name="T6" fmla="*/ 3175 w 3"/>
                <a:gd name="T7" fmla="*/ 2117 h 3"/>
                <a:gd name="T8" fmla="*/ 3175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2"/>
                    <a:pt x="1" y="3"/>
                    <a:pt x="0" y="2"/>
                  </a:cubicBezTo>
                  <a:cubicBezTo>
                    <a:pt x="0" y="2"/>
                    <a:pt x="0" y="1"/>
                    <a:pt x="1" y="1"/>
                  </a:cubicBezTo>
                  <a:cubicBezTo>
                    <a:pt x="1" y="1"/>
                    <a:pt x="2" y="0"/>
                    <a:pt x="2" y="1"/>
                  </a:cubicBezTo>
                  <a:cubicBezTo>
                    <a:pt x="3" y="1"/>
                    <a:pt x="2" y="2"/>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7" name="Freeform 954"/>
            <p:cNvSpPr>
              <a:spLocks noChangeAspect="1"/>
            </p:cNvSpPr>
            <p:nvPr/>
          </p:nvSpPr>
          <p:spPr bwMode="auto">
            <a:xfrm>
              <a:off x="3103230" y="2848726"/>
              <a:ext cx="6407" cy="5158"/>
            </a:xfrm>
            <a:custGeom>
              <a:avLst/>
              <a:gdLst>
                <a:gd name="T0" fmla="*/ 4233 w 3"/>
                <a:gd name="T1" fmla="*/ 4233 h 3"/>
                <a:gd name="T2" fmla="*/ 2117 w 3"/>
                <a:gd name="T3" fmla="*/ 4233 h 3"/>
                <a:gd name="T4" fmla="*/ 2117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8" name="Freeform 955"/>
            <p:cNvSpPr>
              <a:spLocks noChangeAspect="1"/>
            </p:cNvSpPr>
            <p:nvPr/>
          </p:nvSpPr>
          <p:spPr bwMode="auto">
            <a:xfrm>
              <a:off x="2094152" y="2870650"/>
              <a:ext cx="3203" cy="3869"/>
            </a:xfrm>
            <a:custGeom>
              <a:avLst/>
              <a:gdLst>
                <a:gd name="T0" fmla="*/ 1588 w 2"/>
                <a:gd name="T1" fmla="*/ 3175 h 3"/>
                <a:gd name="T2" fmla="*/ 0 w 2"/>
                <a:gd name="T3" fmla="*/ 3175 h 3"/>
                <a:gd name="T4" fmla="*/ 0 w 2"/>
                <a:gd name="T5" fmla="*/ 1588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2"/>
                  </a:cubicBezTo>
                  <a:cubicBezTo>
                    <a:pt x="0" y="2"/>
                    <a:pt x="0" y="1"/>
                    <a:pt x="0" y="1"/>
                  </a:cubicBezTo>
                  <a:cubicBezTo>
                    <a:pt x="0" y="0"/>
                    <a:pt x="1" y="0"/>
                    <a:pt x="1" y="0"/>
                  </a:cubicBezTo>
                  <a:cubicBezTo>
                    <a:pt x="2" y="1"/>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9" name="Freeform 956"/>
            <p:cNvSpPr>
              <a:spLocks noChangeAspect="1"/>
            </p:cNvSpPr>
            <p:nvPr/>
          </p:nvSpPr>
          <p:spPr bwMode="auto">
            <a:xfrm>
              <a:off x="2114973" y="2865491"/>
              <a:ext cx="4806" cy="5158"/>
            </a:xfrm>
            <a:custGeom>
              <a:avLst/>
              <a:gdLst>
                <a:gd name="T0" fmla="*/ 4763 w 2"/>
                <a:gd name="T1" fmla="*/ 2117 h 3"/>
                <a:gd name="T2" fmla="*/ 4763 w 2"/>
                <a:gd name="T3" fmla="*/ 6350 h 3"/>
                <a:gd name="T4" fmla="*/ 2382 w 2"/>
                <a:gd name="T5" fmla="*/ 4233 h 3"/>
                <a:gd name="T6" fmla="*/ 0 w 2"/>
                <a:gd name="T7" fmla="*/ 2117 h 3"/>
                <a:gd name="T8" fmla="*/ 4763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3"/>
                    <a:pt x="1" y="2"/>
                  </a:cubicBezTo>
                  <a:cubicBezTo>
                    <a:pt x="0" y="2"/>
                    <a:pt x="0" y="1"/>
                    <a:pt x="0" y="1"/>
                  </a:cubicBezTo>
                  <a:cubicBezTo>
                    <a:pt x="1" y="0"/>
                    <a:pt x="1"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0" name="Freeform 957"/>
            <p:cNvSpPr>
              <a:spLocks noChangeAspect="1"/>
            </p:cNvSpPr>
            <p:nvPr/>
          </p:nvSpPr>
          <p:spPr bwMode="auto">
            <a:xfrm>
              <a:off x="2371247" y="2926107"/>
              <a:ext cx="3203" cy="2579"/>
            </a:xfrm>
            <a:custGeom>
              <a:avLst/>
              <a:gdLst>
                <a:gd name="T0" fmla="*/ 1588 w 2"/>
                <a:gd name="T1" fmla="*/ 3175 h 2"/>
                <a:gd name="T2" fmla="*/ 0 w 2"/>
                <a:gd name="T3" fmla="*/ 3175 h 2"/>
                <a:gd name="T4" fmla="*/ 1588 w 2"/>
                <a:gd name="T5" fmla="*/ 0 h 2"/>
                <a:gd name="T6" fmla="*/ 3175 w 2"/>
                <a:gd name="T7" fmla="*/ 1588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1" name="Freeform 958"/>
            <p:cNvSpPr>
              <a:spLocks noChangeAspect="1"/>
            </p:cNvSpPr>
            <p:nvPr/>
          </p:nvSpPr>
          <p:spPr bwMode="auto">
            <a:xfrm>
              <a:off x="2376053" y="2923527"/>
              <a:ext cx="6407" cy="2579"/>
            </a:xfrm>
            <a:custGeom>
              <a:avLst/>
              <a:gdLst>
                <a:gd name="T0" fmla="*/ 2117 w 3"/>
                <a:gd name="T1" fmla="*/ 3175 h 2"/>
                <a:gd name="T2" fmla="*/ 0 w 3"/>
                <a:gd name="T3" fmla="*/ 1588 h 2"/>
                <a:gd name="T4" fmla="*/ 2117 w 3"/>
                <a:gd name="T5" fmla="*/ 0 h 2"/>
                <a:gd name="T6" fmla="*/ 4233 w 3"/>
                <a:gd name="T7" fmla="*/ 1588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2" name="Freeform 959"/>
            <p:cNvSpPr>
              <a:spLocks noChangeAspect="1"/>
            </p:cNvSpPr>
            <p:nvPr/>
          </p:nvSpPr>
          <p:spPr bwMode="auto">
            <a:xfrm>
              <a:off x="2622716" y="3943663"/>
              <a:ext cx="3203" cy="2579"/>
            </a:xfrm>
            <a:custGeom>
              <a:avLst/>
              <a:gdLst>
                <a:gd name="T0" fmla="*/ 3175 w 2"/>
                <a:gd name="T1" fmla="*/ 1588 h 2"/>
                <a:gd name="T2" fmla="*/ 1588 w 2"/>
                <a:gd name="T3" fmla="*/ 3175 h 2"/>
                <a:gd name="T4" fmla="*/ 0 w 2"/>
                <a:gd name="T5" fmla="*/ 1588 h 2"/>
                <a:gd name="T6" fmla="*/ 1588 w 2"/>
                <a:gd name="T7" fmla="*/ 0 h 2"/>
                <a:gd name="T8" fmla="*/ 3175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3" name="Freeform 960"/>
            <p:cNvSpPr>
              <a:spLocks noChangeAspect="1"/>
            </p:cNvSpPr>
            <p:nvPr/>
          </p:nvSpPr>
          <p:spPr bwMode="auto">
            <a:xfrm>
              <a:off x="2624317" y="3852096"/>
              <a:ext cx="4806" cy="3868"/>
            </a:xfrm>
            <a:custGeom>
              <a:avLst/>
              <a:gdLst>
                <a:gd name="T0" fmla="*/ 4763 w 2"/>
                <a:gd name="T1" fmla="*/ 3175 h 3"/>
                <a:gd name="T2" fmla="*/ 2382 w 2"/>
                <a:gd name="T3" fmla="*/ 4762 h 3"/>
                <a:gd name="T4" fmla="*/ 0 w 2"/>
                <a:gd name="T5" fmla="*/ 3175 h 3"/>
                <a:gd name="T6" fmla="*/ 2382 w 2"/>
                <a:gd name="T7" fmla="*/ 0 h 3"/>
                <a:gd name="T8" fmla="*/ 4763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4" name="Freeform 961"/>
            <p:cNvSpPr>
              <a:spLocks noChangeAspect="1"/>
            </p:cNvSpPr>
            <p:nvPr/>
          </p:nvSpPr>
          <p:spPr bwMode="auto">
            <a:xfrm>
              <a:off x="2601894" y="3906262"/>
              <a:ext cx="3203" cy="2579"/>
            </a:xfrm>
            <a:custGeom>
              <a:avLst/>
              <a:gdLst>
                <a:gd name="T0" fmla="*/ 1588 w 2"/>
                <a:gd name="T1" fmla="*/ 3175 h 2"/>
                <a:gd name="T2" fmla="*/ 0 w 2"/>
                <a:gd name="T3" fmla="*/ 3175 h 2"/>
                <a:gd name="T4" fmla="*/ 0 w 2"/>
                <a:gd name="T5" fmla="*/ 1588 h 2"/>
                <a:gd name="T6" fmla="*/ 3175 w 2"/>
                <a:gd name="T7" fmla="*/ 0 h 2"/>
                <a:gd name="T8" fmla="*/ 1588 w 2"/>
                <a:gd name="T9" fmla="*/ 3175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2" y="0"/>
                    <a:pt x="2" y="0"/>
                  </a:cubicBezTo>
                  <a:cubicBezTo>
                    <a:pt x="2"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5" name="Freeform 962"/>
            <p:cNvSpPr>
              <a:spLocks noChangeAspect="1"/>
            </p:cNvSpPr>
            <p:nvPr/>
          </p:nvSpPr>
          <p:spPr bwMode="auto">
            <a:xfrm>
              <a:off x="2609902" y="3920449"/>
              <a:ext cx="4805" cy="2579"/>
            </a:xfrm>
            <a:custGeom>
              <a:avLst/>
              <a:gdLst>
                <a:gd name="T0" fmla="*/ 3175 w 3"/>
                <a:gd name="T1" fmla="*/ 3175 h 2"/>
                <a:gd name="T2" fmla="*/ 0 w 3"/>
                <a:gd name="T3" fmla="*/ 1588 h 2"/>
                <a:gd name="T4" fmla="*/ 1587 w 3"/>
                <a:gd name="T5" fmla="*/ 0 h 2"/>
                <a:gd name="T6" fmla="*/ 4762 w 3"/>
                <a:gd name="T7" fmla="*/ 1588 h 2"/>
                <a:gd name="T8" fmla="*/ 3175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1"/>
                  </a:cubicBezTo>
                  <a:cubicBezTo>
                    <a:pt x="0" y="1"/>
                    <a:pt x="1" y="0"/>
                    <a:pt x="1" y="0"/>
                  </a:cubicBezTo>
                  <a:cubicBezTo>
                    <a:pt x="2" y="0"/>
                    <a:pt x="3" y="0"/>
                    <a:pt x="3" y="1"/>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6" name="Freeform 963"/>
            <p:cNvSpPr>
              <a:spLocks noChangeAspect="1"/>
            </p:cNvSpPr>
            <p:nvPr/>
          </p:nvSpPr>
          <p:spPr bwMode="auto">
            <a:xfrm>
              <a:off x="2605098" y="3925607"/>
              <a:ext cx="6407" cy="3869"/>
            </a:xfrm>
            <a:custGeom>
              <a:avLst/>
              <a:gdLst>
                <a:gd name="T0" fmla="*/ 2117 w 3"/>
                <a:gd name="T1" fmla="*/ 4763 h 2"/>
                <a:gd name="T2" fmla="*/ 0 w 3"/>
                <a:gd name="T3" fmla="*/ 4763 h 2"/>
                <a:gd name="T4" fmla="*/ 2117 w 3"/>
                <a:gd name="T5" fmla="*/ 2382 h 2"/>
                <a:gd name="T6" fmla="*/ 4233 w 3"/>
                <a:gd name="T7" fmla="*/ 0 h 2"/>
                <a:gd name="T8" fmla="*/ 2117 w 3"/>
                <a:gd name="T9" fmla="*/ 476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1"/>
                    <a:pt x="1" y="1"/>
                  </a:cubicBezTo>
                  <a:cubicBezTo>
                    <a:pt x="1" y="0"/>
                    <a:pt x="2" y="0"/>
                    <a:pt x="2" y="0"/>
                  </a:cubicBezTo>
                  <a:cubicBezTo>
                    <a:pt x="3" y="1"/>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7" name="Freeform 964"/>
            <p:cNvSpPr>
              <a:spLocks noChangeAspect="1"/>
            </p:cNvSpPr>
            <p:nvPr/>
          </p:nvSpPr>
          <p:spPr bwMode="auto">
            <a:xfrm>
              <a:off x="2621115" y="3912711"/>
              <a:ext cx="3203" cy="3869"/>
            </a:xfrm>
            <a:custGeom>
              <a:avLst/>
              <a:gdLst>
                <a:gd name="T0" fmla="*/ 1588 w 2"/>
                <a:gd name="T1" fmla="*/ 3175 h 3"/>
                <a:gd name="T2" fmla="*/ 1588 w 2"/>
                <a:gd name="T3" fmla="*/ 4763 h 3"/>
                <a:gd name="T4" fmla="*/ 0 w 2"/>
                <a:gd name="T5" fmla="*/ 3175 h 3"/>
                <a:gd name="T6" fmla="*/ 1588 w 2"/>
                <a:gd name="T7" fmla="*/ 0 h 3"/>
                <a:gd name="T8" fmla="*/ 1588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8" name="Oval 965"/>
            <p:cNvSpPr>
              <a:spLocks noChangeAspect="1" noChangeArrowheads="1"/>
            </p:cNvSpPr>
            <p:nvPr/>
          </p:nvSpPr>
          <p:spPr bwMode="auto">
            <a:xfrm>
              <a:off x="2619513" y="3916580"/>
              <a:ext cx="1601"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9" name="Freeform 966"/>
            <p:cNvSpPr>
              <a:spLocks noChangeAspect="1"/>
            </p:cNvSpPr>
            <p:nvPr/>
          </p:nvSpPr>
          <p:spPr bwMode="auto">
            <a:xfrm>
              <a:off x="2619513" y="3894655"/>
              <a:ext cx="3203" cy="5158"/>
            </a:xfrm>
            <a:custGeom>
              <a:avLst/>
              <a:gdLst>
                <a:gd name="T0" fmla="*/ 3175 w 2"/>
                <a:gd name="T1" fmla="*/ 4233 h 3"/>
                <a:gd name="T2" fmla="*/ 3175 w 2"/>
                <a:gd name="T3" fmla="*/ 6350 h 3"/>
                <a:gd name="T4" fmla="*/ 0 w 2"/>
                <a:gd name="T5" fmla="*/ 4233 h 3"/>
                <a:gd name="T6" fmla="*/ 1588 w 2"/>
                <a:gd name="T7" fmla="*/ 2117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2" y="3"/>
                  </a:cubicBezTo>
                  <a:cubicBezTo>
                    <a:pt x="1" y="3"/>
                    <a:pt x="1" y="3"/>
                    <a:pt x="0" y="2"/>
                  </a:cubicBezTo>
                  <a:cubicBezTo>
                    <a:pt x="0" y="2"/>
                    <a:pt x="0" y="1"/>
                    <a:pt x="1" y="1"/>
                  </a:cubicBezTo>
                  <a:cubicBezTo>
                    <a:pt x="1"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0" name="Freeform 967"/>
            <p:cNvSpPr>
              <a:spLocks noChangeAspect="1"/>
            </p:cNvSpPr>
            <p:nvPr/>
          </p:nvSpPr>
          <p:spPr bwMode="auto">
            <a:xfrm>
              <a:off x="2616310" y="3933346"/>
              <a:ext cx="4805" cy="3869"/>
            </a:xfrm>
            <a:custGeom>
              <a:avLst/>
              <a:gdLst>
                <a:gd name="T0" fmla="*/ 2381 w 2"/>
                <a:gd name="T1" fmla="*/ 0 h 2"/>
                <a:gd name="T2" fmla="*/ 4762 w 2"/>
                <a:gd name="T3" fmla="*/ 2382 h 2"/>
                <a:gd name="T4" fmla="*/ 2381 w 2"/>
                <a:gd name="T5" fmla="*/ 2382 h 2"/>
                <a:gd name="T6" fmla="*/ 0 w 2"/>
                <a:gd name="T7" fmla="*/ 0 h 2"/>
                <a:gd name="T8" fmla="*/ 238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1"/>
                  </a:cubicBezTo>
                  <a:cubicBezTo>
                    <a:pt x="2" y="2"/>
                    <a:pt x="1" y="2"/>
                    <a:pt x="1" y="1"/>
                  </a:cubicBezTo>
                  <a:cubicBezTo>
                    <a:pt x="0" y="1"/>
                    <a:pt x="0" y="1"/>
                    <a:pt x="0" y="0"/>
                  </a:cubicBezTo>
                  <a:cubicBezTo>
                    <a:pt x="0" y="0"/>
                    <a:pt x="1"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1" name="Freeform 968"/>
            <p:cNvSpPr>
              <a:spLocks noChangeAspect="1"/>
            </p:cNvSpPr>
            <p:nvPr/>
          </p:nvSpPr>
          <p:spPr bwMode="auto">
            <a:xfrm>
              <a:off x="2614708" y="3929477"/>
              <a:ext cx="6407" cy="2579"/>
            </a:xfrm>
            <a:custGeom>
              <a:avLst/>
              <a:gdLst>
                <a:gd name="T0" fmla="*/ 4233 w 3"/>
                <a:gd name="T1" fmla="*/ 0 h 2"/>
                <a:gd name="T2" fmla="*/ 4233 w 3"/>
                <a:gd name="T3" fmla="*/ 1588 h 2"/>
                <a:gd name="T4" fmla="*/ 2117 w 3"/>
                <a:gd name="T5" fmla="*/ 1588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1"/>
                  </a:cubicBezTo>
                  <a:cubicBezTo>
                    <a:pt x="1" y="1"/>
                    <a:pt x="0" y="1"/>
                    <a:pt x="0" y="0"/>
                  </a:cubicBezTo>
                  <a:cubicBezTo>
                    <a:pt x="0" y="0"/>
                    <a:pt x="1"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2" name="Freeform 969"/>
            <p:cNvSpPr>
              <a:spLocks noChangeAspect="1"/>
            </p:cNvSpPr>
            <p:nvPr/>
          </p:nvSpPr>
          <p:spPr bwMode="auto">
            <a:xfrm>
              <a:off x="2614708" y="3924318"/>
              <a:ext cx="6407" cy="3868"/>
            </a:xfrm>
            <a:custGeom>
              <a:avLst/>
              <a:gdLst>
                <a:gd name="T0" fmla="*/ 4233 w 3"/>
                <a:gd name="T1" fmla="*/ 0 h 2"/>
                <a:gd name="T2" fmla="*/ 6350 w 3"/>
                <a:gd name="T3" fmla="*/ 2381 h 2"/>
                <a:gd name="T4" fmla="*/ 4233 w 3"/>
                <a:gd name="T5" fmla="*/ 4762 h 2"/>
                <a:gd name="T6" fmla="*/ 0 w 3"/>
                <a:gd name="T7" fmla="*/ 0 h 2"/>
                <a:gd name="T8" fmla="*/ 423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1"/>
                    <a:pt x="0" y="1"/>
                    <a:pt x="0" y="0"/>
                  </a:cubicBezTo>
                  <a:cubicBezTo>
                    <a:pt x="1" y="0"/>
                    <a:pt x="2" y="0"/>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3" name="Oval 970"/>
            <p:cNvSpPr>
              <a:spLocks noChangeAspect="1" noChangeArrowheads="1"/>
            </p:cNvSpPr>
            <p:nvPr/>
          </p:nvSpPr>
          <p:spPr bwMode="auto">
            <a:xfrm>
              <a:off x="2587479" y="3916580"/>
              <a:ext cx="3203" cy="386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4" name="Freeform 971"/>
            <p:cNvSpPr>
              <a:spLocks noChangeAspect="1"/>
            </p:cNvSpPr>
            <p:nvPr/>
          </p:nvSpPr>
          <p:spPr bwMode="auto">
            <a:xfrm>
              <a:off x="2587479" y="3885628"/>
              <a:ext cx="6407" cy="5158"/>
            </a:xfrm>
            <a:custGeom>
              <a:avLst/>
              <a:gdLst>
                <a:gd name="T0" fmla="*/ 4233 w 3"/>
                <a:gd name="T1" fmla="*/ 4233 h 3"/>
                <a:gd name="T2" fmla="*/ 0 w 3"/>
                <a:gd name="T3" fmla="*/ 4233 h 3"/>
                <a:gd name="T4" fmla="*/ 2117 w 3"/>
                <a:gd name="T5" fmla="*/ 2117 h 3"/>
                <a:gd name="T6" fmla="*/ 4233 w 3"/>
                <a:gd name="T7" fmla="*/ 2117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2"/>
                  </a:cubicBezTo>
                  <a:cubicBezTo>
                    <a:pt x="0" y="2"/>
                    <a:pt x="1" y="1"/>
                    <a:pt x="1" y="1"/>
                  </a:cubicBezTo>
                  <a:cubicBezTo>
                    <a:pt x="1" y="1"/>
                    <a:pt x="2" y="0"/>
                    <a:pt x="2" y="1"/>
                  </a:cubicBezTo>
                  <a:cubicBezTo>
                    <a:pt x="3" y="2"/>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5" name="Freeform 972"/>
            <p:cNvSpPr>
              <a:spLocks noChangeAspect="1"/>
            </p:cNvSpPr>
            <p:nvPr/>
          </p:nvSpPr>
          <p:spPr bwMode="auto">
            <a:xfrm>
              <a:off x="2635530" y="3995250"/>
              <a:ext cx="6407" cy="5158"/>
            </a:xfrm>
            <a:custGeom>
              <a:avLst/>
              <a:gdLst>
                <a:gd name="T0" fmla="*/ 6350 w 3"/>
                <a:gd name="T1" fmla="*/ 4233 h 3"/>
                <a:gd name="T2" fmla="*/ 2117 w 3"/>
                <a:gd name="T3" fmla="*/ 6350 h 3"/>
                <a:gd name="T4" fmla="*/ 0 w 3"/>
                <a:gd name="T5" fmla="*/ 4233 h 3"/>
                <a:gd name="T6" fmla="*/ 2117 w 3"/>
                <a:gd name="T7" fmla="*/ 0 h 3"/>
                <a:gd name="T8" fmla="*/ 6350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2"/>
                  </a:cubicBezTo>
                  <a:cubicBezTo>
                    <a:pt x="0" y="1"/>
                    <a:pt x="0" y="0"/>
                    <a:pt x="1" y="0"/>
                  </a:cubicBezTo>
                  <a:cubicBezTo>
                    <a:pt x="3" y="0"/>
                    <a:pt x="3" y="1"/>
                    <a:pt x="3"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6" name="Freeform 973"/>
            <p:cNvSpPr>
              <a:spLocks noChangeAspect="1"/>
            </p:cNvSpPr>
            <p:nvPr/>
          </p:nvSpPr>
          <p:spPr bwMode="auto">
            <a:xfrm>
              <a:off x="2597088" y="4022334"/>
              <a:ext cx="4805" cy="2579"/>
            </a:xfrm>
            <a:custGeom>
              <a:avLst/>
              <a:gdLst>
                <a:gd name="T0" fmla="*/ 4762 w 2"/>
                <a:gd name="T1" fmla="*/ 1588 h 2"/>
                <a:gd name="T2" fmla="*/ 2381 w 2"/>
                <a:gd name="T3" fmla="*/ 3175 h 2"/>
                <a:gd name="T4" fmla="*/ 0 w 2"/>
                <a:gd name="T5" fmla="*/ 3175 h 2"/>
                <a:gd name="T6" fmla="*/ 0 w 2"/>
                <a:gd name="T7" fmla="*/ 0 h 2"/>
                <a:gd name="T8" fmla="*/ 4762 w 2"/>
                <a:gd name="T9" fmla="*/ 1588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0" y="2"/>
                    <a:pt x="0" y="2"/>
                  </a:cubicBezTo>
                  <a:cubicBezTo>
                    <a:pt x="0" y="1"/>
                    <a:pt x="0" y="0"/>
                    <a:pt x="0" y="0"/>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7" name="Freeform 974"/>
            <p:cNvSpPr>
              <a:spLocks noChangeAspect="1"/>
            </p:cNvSpPr>
            <p:nvPr/>
          </p:nvSpPr>
          <p:spPr bwMode="auto">
            <a:xfrm>
              <a:off x="2595487" y="4027493"/>
              <a:ext cx="4806" cy="3868"/>
            </a:xfrm>
            <a:custGeom>
              <a:avLst/>
              <a:gdLst>
                <a:gd name="T0" fmla="*/ 2382 w 2"/>
                <a:gd name="T1" fmla="*/ 3175 h 3"/>
                <a:gd name="T2" fmla="*/ 2382 w 2"/>
                <a:gd name="T3" fmla="*/ 4762 h 3"/>
                <a:gd name="T4" fmla="*/ 0 w 2"/>
                <a:gd name="T5" fmla="*/ 3175 h 3"/>
                <a:gd name="T6" fmla="*/ 2382 w 2"/>
                <a:gd name="T7" fmla="*/ 0 h 3"/>
                <a:gd name="T8" fmla="*/ 2382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1"/>
                    <a:pt x="1"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8" name="Freeform 975"/>
            <p:cNvSpPr>
              <a:spLocks noChangeAspect="1"/>
            </p:cNvSpPr>
            <p:nvPr/>
          </p:nvSpPr>
          <p:spPr bwMode="auto">
            <a:xfrm>
              <a:off x="2601894" y="4019755"/>
              <a:ext cx="3203" cy="3868"/>
            </a:xfrm>
            <a:custGeom>
              <a:avLst/>
              <a:gdLst>
                <a:gd name="T0" fmla="*/ 3175 w 2"/>
                <a:gd name="T1" fmla="*/ 3175 h 3"/>
                <a:gd name="T2" fmla="*/ 1588 w 2"/>
                <a:gd name="T3" fmla="*/ 4762 h 3"/>
                <a:gd name="T4" fmla="*/ 0 w 2"/>
                <a:gd name="T5" fmla="*/ 3175 h 3"/>
                <a:gd name="T6" fmla="*/ 1588 w 2"/>
                <a:gd name="T7" fmla="*/ 1587 h 3"/>
                <a:gd name="T8" fmla="*/ 3175 w 2"/>
                <a:gd name="T9" fmla="*/ 317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9" name="Freeform 976"/>
            <p:cNvSpPr>
              <a:spLocks noChangeAspect="1"/>
            </p:cNvSpPr>
            <p:nvPr/>
          </p:nvSpPr>
          <p:spPr bwMode="auto">
            <a:xfrm>
              <a:off x="2603496" y="4014596"/>
              <a:ext cx="3203" cy="5158"/>
            </a:xfrm>
            <a:custGeom>
              <a:avLst/>
              <a:gdLst>
                <a:gd name="T0" fmla="*/ 3175 w 2"/>
                <a:gd name="T1" fmla="*/ 4233 h 3"/>
                <a:gd name="T2" fmla="*/ 1588 w 2"/>
                <a:gd name="T3" fmla="*/ 6350 h 3"/>
                <a:gd name="T4" fmla="*/ 0 w 2"/>
                <a:gd name="T5" fmla="*/ 4233 h 3"/>
                <a:gd name="T6" fmla="*/ 1588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1"/>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0" name="Freeform 977"/>
            <p:cNvSpPr>
              <a:spLocks noChangeAspect="1"/>
            </p:cNvSpPr>
            <p:nvPr/>
          </p:nvSpPr>
          <p:spPr bwMode="auto">
            <a:xfrm>
              <a:off x="2605098" y="4024914"/>
              <a:ext cx="4806" cy="5158"/>
            </a:xfrm>
            <a:custGeom>
              <a:avLst/>
              <a:gdLst>
                <a:gd name="T0" fmla="*/ 4763 w 2"/>
                <a:gd name="T1" fmla="*/ 4233 h 3"/>
                <a:gd name="T2" fmla="*/ 2382 w 2"/>
                <a:gd name="T3" fmla="*/ 6350 h 3"/>
                <a:gd name="T4" fmla="*/ 0 w 2"/>
                <a:gd name="T5" fmla="*/ 4233 h 3"/>
                <a:gd name="T6" fmla="*/ 2382 w 2"/>
                <a:gd name="T7" fmla="*/ 0 h 3"/>
                <a:gd name="T8" fmla="*/ 4763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1" name="Oval 978"/>
            <p:cNvSpPr>
              <a:spLocks noChangeAspect="1" noChangeArrowheads="1"/>
            </p:cNvSpPr>
            <p:nvPr/>
          </p:nvSpPr>
          <p:spPr bwMode="auto">
            <a:xfrm>
              <a:off x="2603496" y="4001699"/>
              <a:ext cx="1601" cy="5158"/>
            </a:xfrm>
            <a:prstGeom prst="ellipse">
              <a:avLst/>
            </a:pr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2" name="Freeform 979"/>
            <p:cNvSpPr>
              <a:spLocks noChangeAspect="1"/>
            </p:cNvSpPr>
            <p:nvPr/>
          </p:nvSpPr>
          <p:spPr bwMode="auto">
            <a:xfrm>
              <a:off x="2597088" y="3990092"/>
              <a:ext cx="6407" cy="2579"/>
            </a:xfrm>
            <a:custGeom>
              <a:avLst/>
              <a:gdLst>
                <a:gd name="T0" fmla="*/ 2117 w 3"/>
                <a:gd name="T1" fmla="*/ 1588 h 2"/>
                <a:gd name="T2" fmla="*/ 0 w 3"/>
                <a:gd name="T3" fmla="*/ 1588 h 2"/>
                <a:gd name="T4" fmla="*/ 2117 w 3"/>
                <a:gd name="T5" fmla="*/ 0 h 2"/>
                <a:gd name="T6" fmla="*/ 6350 w 3"/>
                <a:gd name="T7" fmla="*/ 0 h 2"/>
                <a:gd name="T8" fmla="*/ 2117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2" y="0"/>
                    <a:pt x="3" y="0"/>
                    <a:pt x="3" y="0"/>
                  </a:cubicBezTo>
                  <a:cubicBezTo>
                    <a:pt x="3" y="1"/>
                    <a:pt x="2"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3" name="Freeform 980"/>
            <p:cNvSpPr>
              <a:spLocks noChangeAspect="1"/>
            </p:cNvSpPr>
            <p:nvPr/>
          </p:nvSpPr>
          <p:spPr bwMode="auto">
            <a:xfrm>
              <a:off x="2611503" y="3972036"/>
              <a:ext cx="3203" cy="5158"/>
            </a:xfrm>
            <a:custGeom>
              <a:avLst/>
              <a:gdLst>
                <a:gd name="T0" fmla="*/ 1588 w 2"/>
                <a:gd name="T1" fmla="*/ 6350 h 3"/>
                <a:gd name="T2" fmla="*/ 0 w 2"/>
                <a:gd name="T3" fmla="*/ 6350 h 3"/>
                <a:gd name="T4" fmla="*/ 0 w 2"/>
                <a:gd name="T5" fmla="*/ 2117 h 3"/>
                <a:gd name="T6" fmla="*/ 3175 w 2"/>
                <a:gd name="T7" fmla="*/ 2117 h 3"/>
                <a:gd name="T8" fmla="*/ 1588 w 2"/>
                <a:gd name="T9" fmla="*/ 635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2"/>
                    <a:pt x="0" y="2"/>
                    <a:pt x="0" y="1"/>
                  </a:cubicBezTo>
                  <a:cubicBezTo>
                    <a:pt x="1" y="1"/>
                    <a:pt x="1" y="0"/>
                    <a:pt x="2" y="1"/>
                  </a:cubicBezTo>
                  <a:cubicBezTo>
                    <a:pt x="2" y="1"/>
                    <a:pt x="2" y="2"/>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4" name="Freeform 981"/>
            <p:cNvSpPr>
              <a:spLocks noChangeAspect="1"/>
            </p:cNvSpPr>
            <p:nvPr/>
          </p:nvSpPr>
          <p:spPr bwMode="auto">
            <a:xfrm>
              <a:off x="2606700" y="4053286"/>
              <a:ext cx="6407" cy="2579"/>
            </a:xfrm>
            <a:custGeom>
              <a:avLst/>
              <a:gdLst>
                <a:gd name="T0" fmla="*/ 4233 w 3"/>
                <a:gd name="T1" fmla="*/ 1588 h 2"/>
                <a:gd name="T2" fmla="*/ 4233 w 3"/>
                <a:gd name="T3" fmla="*/ 3175 h 2"/>
                <a:gd name="T4" fmla="*/ 2117 w 3"/>
                <a:gd name="T5" fmla="*/ 3175 h 2"/>
                <a:gd name="T6" fmla="*/ 0 w 3"/>
                <a:gd name="T7" fmla="*/ 0 h 2"/>
                <a:gd name="T8" fmla="*/ 4233 w 3"/>
                <a:gd name="T9" fmla="*/ 158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0" y="1"/>
                    <a:pt x="0" y="1"/>
                    <a:pt x="0" y="0"/>
                  </a:cubicBezTo>
                  <a:cubicBezTo>
                    <a:pt x="1" y="0"/>
                    <a:pt x="2"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5" name="Freeform 982"/>
            <p:cNvSpPr>
              <a:spLocks noChangeAspect="1"/>
            </p:cNvSpPr>
            <p:nvPr/>
          </p:nvSpPr>
          <p:spPr bwMode="auto">
            <a:xfrm>
              <a:off x="2638734" y="4086817"/>
              <a:ext cx="3203" cy="5158"/>
            </a:xfrm>
            <a:custGeom>
              <a:avLst/>
              <a:gdLst>
                <a:gd name="T0" fmla="*/ 3175 w 2"/>
                <a:gd name="T1" fmla="*/ 2117 h 3"/>
                <a:gd name="T2" fmla="*/ 1588 w 2"/>
                <a:gd name="T3" fmla="*/ 6350 h 3"/>
                <a:gd name="T4" fmla="*/ 0 w 2"/>
                <a:gd name="T5" fmla="*/ 4233 h 3"/>
                <a:gd name="T6" fmla="*/ 0 w 2"/>
                <a:gd name="T7" fmla="*/ 0 h 3"/>
                <a:gd name="T8" fmla="*/ 3175 w 2"/>
                <a:gd name="T9" fmla="*/ 211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3"/>
                  </a:cubicBezTo>
                  <a:cubicBezTo>
                    <a:pt x="1" y="3"/>
                    <a:pt x="0" y="2"/>
                    <a:pt x="0" y="2"/>
                  </a:cubicBezTo>
                  <a:cubicBezTo>
                    <a:pt x="0" y="1"/>
                    <a:pt x="0" y="0"/>
                    <a:pt x="0" y="0"/>
                  </a:cubicBezTo>
                  <a:cubicBezTo>
                    <a:pt x="1" y="0"/>
                    <a:pt x="1"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6" name="Freeform 983"/>
            <p:cNvSpPr>
              <a:spLocks noChangeAspect="1"/>
            </p:cNvSpPr>
            <p:nvPr/>
          </p:nvSpPr>
          <p:spPr bwMode="auto">
            <a:xfrm>
              <a:off x="2621115" y="4062314"/>
              <a:ext cx="3203" cy="5158"/>
            </a:xfrm>
            <a:custGeom>
              <a:avLst/>
              <a:gdLst>
                <a:gd name="T0" fmla="*/ 3175 w 2"/>
                <a:gd name="T1" fmla="*/ 4233 h 3"/>
                <a:gd name="T2" fmla="*/ 1588 w 2"/>
                <a:gd name="T3" fmla="*/ 4233 h 3"/>
                <a:gd name="T4" fmla="*/ 1588 w 2"/>
                <a:gd name="T5" fmla="*/ 2117 h 3"/>
                <a:gd name="T6" fmla="*/ 3175 w 2"/>
                <a:gd name="T7" fmla="*/ 0 h 3"/>
                <a:gd name="T8" fmla="*/ 3175 w 2"/>
                <a:gd name="T9" fmla="*/ 423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1" y="1"/>
                  </a:cubicBezTo>
                  <a:cubicBezTo>
                    <a:pt x="1" y="1"/>
                    <a:pt x="1" y="0"/>
                    <a:pt x="2" y="0"/>
                  </a:cubicBezTo>
                  <a:cubicBezTo>
                    <a:pt x="2" y="0"/>
                    <a:pt x="2" y="1"/>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7" name="Freeform 984"/>
            <p:cNvSpPr>
              <a:spLocks noChangeAspect="1"/>
            </p:cNvSpPr>
            <p:nvPr/>
          </p:nvSpPr>
          <p:spPr bwMode="auto">
            <a:xfrm>
              <a:off x="2629124" y="4112611"/>
              <a:ext cx="4805" cy="2579"/>
            </a:xfrm>
            <a:custGeom>
              <a:avLst/>
              <a:gdLst>
                <a:gd name="T0" fmla="*/ 1587 w 3"/>
                <a:gd name="T1" fmla="*/ 3175 h 2"/>
                <a:gd name="T2" fmla="*/ 0 w 3"/>
                <a:gd name="T3" fmla="*/ 1588 h 2"/>
                <a:gd name="T4" fmla="*/ 1587 w 3"/>
                <a:gd name="T5" fmla="*/ 0 h 2"/>
                <a:gd name="T6" fmla="*/ 4762 w 3"/>
                <a:gd name="T7" fmla="*/ 1588 h 2"/>
                <a:gd name="T8" fmla="*/ 158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8" name="Freeform 985"/>
            <p:cNvSpPr>
              <a:spLocks noChangeAspect="1"/>
            </p:cNvSpPr>
            <p:nvPr/>
          </p:nvSpPr>
          <p:spPr bwMode="auto">
            <a:xfrm>
              <a:off x="2818125" y="4201599"/>
              <a:ext cx="6407" cy="5158"/>
            </a:xfrm>
            <a:custGeom>
              <a:avLst/>
              <a:gdLst>
                <a:gd name="T0" fmla="*/ 4233 w 3"/>
                <a:gd name="T1" fmla="*/ 4233 h 3"/>
                <a:gd name="T2" fmla="*/ 2117 w 3"/>
                <a:gd name="T3" fmla="*/ 4233 h 3"/>
                <a:gd name="T4" fmla="*/ 2117 w 3"/>
                <a:gd name="T5" fmla="*/ 2117 h 3"/>
                <a:gd name="T6" fmla="*/ 4233 w 3"/>
                <a:gd name="T7" fmla="*/ 0 h 3"/>
                <a:gd name="T8" fmla="*/ 4233 w 3"/>
                <a:gd name="T9" fmla="*/ 423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1"/>
                    <a:pt x="2" y="0"/>
                    <a:pt x="2" y="0"/>
                  </a:cubicBezTo>
                  <a:cubicBezTo>
                    <a:pt x="3" y="1"/>
                    <a:pt x="2" y="2"/>
                    <a:pt x="2"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9" name="Freeform 986"/>
            <p:cNvSpPr>
              <a:spLocks noChangeAspect="1"/>
            </p:cNvSpPr>
            <p:nvPr/>
          </p:nvSpPr>
          <p:spPr bwMode="auto">
            <a:xfrm>
              <a:off x="2806913" y="4222234"/>
              <a:ext cx="6407" cy="2579"/>
            </a:xfrm>
            <a:custGeom>
              <a:avLst/>
              <a:gdLst>
                <a:gd name="T0" fmla="*/ 2117 w 3"/>
                <a:gd name="T1" fmla="*/ 3175 h 2"/>
                <a:gd name="T2" fmla="*/ 0 w 3"/>
                <a:gd name="T3" fmla="*/ 3175 h 2"/>
                <a:gd name="T4" fmla="*/ 2117 w 3"/>
                <a:gd name="T5" fmla="*/ 0 h 2"/>
                <a:gd name="T6" fmla="*/ 4233 w 3"/>
                <a:gd name="T7" fmla="*/ 0 h 2"/>
                <a:gd name="T8" fmla="*/ 2117 w 3"/>
                <a:gd name="T9" fmla="*/ 3175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0"/>
                    <a:pt x="1" y="0"/>
                  </a:cubicBezTo>
                  <a:cubicBezTo>
                    <a:pt x="1" y="0"/>
                    <a:pt x="2" y="0"/>
                    <a:pt x="2" y="0"/>
                  </a:cubicBezTo>
                  <a:cubicBezTo>
                    <a:pt x="3" y="1"/>
                    <a:pt x="2" y="1"/>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0" name="Freeform 987"/>
            <p:cNvSpPr>
              <a:spLocks noChangeAspect="1"/>
            </p:cNvSpPr>
            <p:nvPr/>
          </p:nvSpPr>
          <p:spPr bwMode="auto">
            <a:xfrm>
              <a:off x="2770074" y="4128088"/>
              <a:ext cx="91296" cy="69643"/>
            </a:xfrm>
            <a:custGeom>
              <a:avLst/>
              <a:gdLst>
                <a:gd name="T0" fmla="*/ 46206 w 47"/>
                <a:gd name="T1" fmla="*/ 83820 h 45"/>
                <a:gd name="T2" fmla="*/ 69309 w 47"/>
                <a:gd name="T3" fmla="*/ 85725 h 45"/>
                <a:gd name="T4" fmla="*/ 88562 w 47"/>
                <a:gd name="T5" fmla="*/ 76200 h 45"/>
                <a:gd name="T6" fmla="*/ 88562 w 47"/>
                <a:gd name="T7" fmla="*/ 70485 h 45"/>
                <a:gd name="T8" fmla="*/ 71234 w 47"/>
                <a:gd name="T9" fmla="*/ 68580 h 45"/>
                <a:gd name="T10" fmla="*/ 51982 w 47"/>
                <a:gd name="T11" fmla="*/ 57150 h 45"/>
                <a:gd name="T12" fmla="*/ 26954 w 47"/>
                <a:gd name="T13" fmla="*/ 40005 h 45"/>
                <a:gd name="T14" fmla="*/ 13477 w 47"/>
                <a:gd name="T15" fmla="*/ 26670 h 45"/>
                <a:gd name="T16" fmla="*/ 7701 w 47"/>
                <a:gd name="T17" fmla="*/ 19050 h 45"/>
                <a:gd name="T18" fmla="*/ 11552 w 47"/>
                <a:gd name="T19" fmla="*/ 13335 h 45"/>
                <a:gd name="T20" fmla="*/ 5776 w 47"/>
                <a:gd name="T21" fmla="*/ 1905 h 45"/>
                <a:gd name="T22" fmla="*/ 0 w 47"/>
                <a:gd name="T23" fmla="*/ 0 h 45"/>
                <a:gd name="T24" fmla="*/ 11552 w 47"/>
                <a:gd name="T25" fmla="*/ 76200 h 45"/>
                <a:gd name="T26" fmla="*/ 19253 w 47"/>
                <a:gd name="T27" fmla="*/ 76200 h 45"/>
                <a:gd name="T28" fmla="*/ 26954 w 47"/>
                <a:gd name="T29" fmla="*/ 80010 h 45"/>
                <a:gd name="T30" fmla="*/ 38505 w 47"/>
                <a:gd name="T31" fmla="*/ 80010 h 45"/>
                <a:gd name="T32" fmla="*/ 46206 w 47"/>
                <a:gd name="T33" fmla="*/ 8382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1" name="Freeform 988"/>
            <p:cNvSpPr>
              <a:spLocks noChangeAspect="1"/>
            </p:cNvSpPr>
            <p:nvPr/>
          </p:nvSpPr>
          <p:spPr bwMode="auto">
            <a:xfrm>
              <a:off x="2797302" y="4192571"/>
              <a:ext cx="20823" cy="10318"/>
            </a:xfrm>
            <a:custGeom>
              <a:avLst/>
              <a:gdLst>
                <a:gd name="T0" fmla="*/ 18762 w 11"/>
                <a:gd name="T1" fmla="*/ 3629 h 7"/>
                <a:gd name="T2" fmla="*/ 18762 w 11"/>
                <a:gd name="T3" fmla="*/ 12700 h 7"/>
                <a:gd name="T4" fmla="*/ 11257 w 11"/>
                <a:gd name="T5" fmla="*/ 9071 h 7"/>
                <a:gd name="T6" fmla="*/ 1876 w 11"/>
                <a:gd name="T7" fmla="*/ 10886 h 7"/>
                <a:gd name="T8" fmla="*/ 0 w 11"/>
                <a:gd name="T9" fmla="*/ 5443 h 7"/>
                <a:gd name="T10" fmla="*/ 0 w 11"/>
                <a:gd name="T11" fmla="*/ 0 h 7"/>
                <a:gd name="T12" fmla="*/ 11257 w 11"/>
                <a:gd name="T13" fmla="*/ 0 h 7"/>
                <a:gd name="T14" fmla="*/ 18762 w 11"/>
                <a:gd name="T15" fmla="*/ 3629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2" name="Freeform 989"/>
            <p:cNvSpPr>
              <a:spLocks noChangeAspect="1"/>
            </p:cNvSpPr>
            <p:nvPr/>
          </p:nvSpPr>
          <p:spPr bwMode="auto">
            <a:xfrm>
              <a:off x="2680379" y="4098424"/>
              <a:ext cx="76882" cy="63195"/>
            </a:xfrm>
            <a:custGeom>
              <a:avLst/>
              <a:gdLst>
                <a:gd name="T0" fmla="*/ 76200 w 40"/>
                <a:gd name="T1" fmla="*/ 22767 h 41"/>
                <a:gd name="T2" fmla="*/ 68580 w 40"/>
                <a:gd name="T3" fmla="*/ 28459 h 41"/>
                <a:gd name="T4" fmla="*/ 47625 w 40"/>
                <a:gd name="T5" fmla="*/ 34151 h 41"/>
                <a:gd name="T6" fmla="*/ 43815 w 40"/>
                <a:gd name="T7" fmla="*/ 51226 h 41"/>
                <a:gd name="T8" fmla="*/ 47625 w 40"/>
                <a:gd name="T9" fmla="*/ 72096 h 41"/>
                <a:gd name="T10" fmla="*/ 36195 w 40"/>
                <a:gd name="T11" fmla="*/ 77788 h 41"/>
                <a:gd name="T12" fmla="*/ 20955 w 40"/>
                <a:gd name="T13" fmla="*/ 64507 h 41"/>
                <a:gd name="T14" fmla="*/ 15240 w 40"/>
                <a:gd name="T15" fmla="*/ 56918 h 41"/>
                <a:gd name="T16" fmla="*/ 20955 w 40"/>
                <a:gd name="T17" fmla="*/ 53124 h 41"/>
                <a:gd name="T18" fmla="*/ 20955 w 40"/>
                <a:gd name="T19" fmla="*/ 60713 h 41"/>
                <a:gd name="T20" fmla="*/ 26670 w 40"/>
                <a:gd name="T21" fmla="*/ 58815 h 41"/>
                <a:gd name="T22" fmla="*/ 32385 w 40"/>
                <a:gd name="T23" fmla="*/ 49329 h 41"/>
                <a:gd name="T24" fmla="*/ 38100 w 40"/>
                <a:gd name="T25" fmla="*/ 37945 h 41"/>
                <a:gd name="T26" fmla="*/ 30480 w 40"/>
                <a:gd name="T27" fmla="*/ 34151 h 41"/>
                <a:gd name="T28" fmla="*/ 28575 w 40"/>
                <a:gd name="T29" fmla="*/ 30356 h 41"/>
                <a:gd name="T30" fmla="*/ 9525 w 40"/>
                <a:gd name="T31" fmla="*/ 30356 h 41"/>
                <a:gd name="T32" fmla="*/ 7620 w 40"/>
                <a:gd name="T33" fmla="*/ 34151 h 41"/>
                <a:gd name="T34" fmla="*/ 1905 w 40"/>
                <a:gd name="T35" fmla="*/ 28459 h 41"/>
                <a:gd name="T36" fmla="*/ 1905 w 40"/>
                <a:gd name="T37" fmla="*/ 24664 h 41"/>
                <a:gd name="T38" fmla="*/ 7620 w 40"/>
                <a:gd name="T39" fmla="*/ 20870 h 41"/>
                <a:gd name="T40" fmla="*/ 5715 w 40"/>
                <a:gd name="T41" fmla="*/ 13281 h 41"/>
                <a:gd name="T42" fmla="*/ 1905 w 40"/>
                <a:gd name="T43" fmla="*/ 7589 h 41"/>
                <a:gd name="T44" fmla="*/ 7620 w 40"/>
                <a:gd name="T45" fmla="*/ 0 h 41"/>
                <a:gd name="T46" fmla="*/ 17145 w 40"/>
                <a:gd name="T47" fmla="*/ 17075 h 41"/>
                <a:gd name="T48" fmla="*/ 59055 w 40"/>
                <a:gd name="T49" fmla="*/ 17075 h 41"/>
                <a:gd name="T50" fmla="*/ 76200 w 40"/>
                <a:gd name="T51" fmla="*/ 2276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3" name="Freeform 990"/>
            <p:cNvSpPr>
              <a:spLocks noChangeAspect="1"/>
            </p:cNvSpPr>
            <p:nvPr/>
          </p:nvSpPr>
          <p:spPr bwMode="auto">
            <a:xfrm>
              <a:off x="2750854" y="4192571"/>
              <a:ext cx="54458" cy="25793"/>
            </a:xfrm>
            <a:custGeom>
              <a:avLst/>
              <a:gdLst>
                <a:gd name="T0" fmla="*/ 1928 w 28"/>
                <a:gd name="T1" fmla="*/ 11206 h 17"/>
                <a:gd name="T2" fmla="*/ 25060 w 28"/>
                <a:gd name="T3" fmla="*/ 3735 h 17"/>
                <a:gd name="T4" fmla="*/ 38554 w 28"/>
                <a:gd name="T5" fmla="*/ 1868 h 17"/>
                <a:gd name="T6" fmla="*/ 36626 w 28"/>
                <a:gd name="T7" fmla="*/ 7471 h 17"/>
                <a:gd name="T8" fmla="*/ 26988 w 28"/>
                <a:gd name="T9" fmla="*/ 7471 h 17"/>
                <a:gd name="T10" fmla="*/ 40481 w 28"/>
                <a:gd name="T11" fmla="*/ 9338 h 17"/>
                <a:gd name="T12" fmla="*/ 36626 w 28"/>
                <a:gd name="T13" fmla="*/ 13074 h 17"/>
                <a:gd name="T14" fmla="*/ 48192 w 28"/>
                <a:gd name="T15" fmla="*/ 18676 h 17"/>
                <a:gd name="T16" fmla="*/ 50120 w 28"/>
                <a:gd name="T17" fmla="*/ 29882 h 17"/>
                <a:gd name="T18" fmla="*/ 42409 w 28"/>
                <a:gd name="T19" fmla="*/ 22412 h 17"/>
                <a:gd name="T20" fmla="*/ 32771 w 28"/>
                <a:gd name="T21" fmla="*/ 22412 h 17"/>
                <a:gd name="T22" fmla="*/ 30843 w 28"/>
                <a:gd name="T23" fmla="*/ 11206 h 17"/>
                <a:gd name="T24" fmla="*/ 25060 w 28"/>
                <a:gd name="T25" fmla="*/ 13074 h 17"/>
                <a:gd name="T26" fmla="*/ 17349 w 28"/>
                <a:gd name="T27" fmla="*/ 13074 h 17"/>
                <a:gd name="T28" fmla="*/ 25060 w 28"/>
                <a:gd name="T29" fmla="*/ 24279 h 17"/>
                <a:gd name="T30" fmla="*/ 15421 w 28"/>
                <a:gd name="T31" fmla="*/ 24279 h 17"/>
                <a:gd name="T32" fmla="*/ 11566 w 28"/>
                <a:gd name="T33" fmla="*/ 13074 h 17"/>
                <a:gd name="T34" fmla="*/ 1928 w 28"/>
                <a:gd name="T35" fmla="*/ 11206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4" name="Freeform 991"/>
            <p:cNvSpPr>
              <a:spLocks noChangeAspect="1"/>
            </p:cNvSpPr>
            <p:nvPr/>
          </p:nvSpPr>
          <p:spPr bwMode="auto">
            <a:xfrm>
              <a:off x="2661157" y="4147432"/>
              <a:ext cx="38441" cy="23214"/>
            </a:xfrm>
            <a:custGeom>
              <a:avLst/>
              <a:gdLst>
                <a:gd name="T0" fmla="*/ 15240 w 20"/>
                <a:gd name="T1" fmla="*/ 0 h 15"/>
                <a:gd name="T2" fmla="*/ 28575 w 20"/>
                <a:gd name="T3" fmla="*/ 7620 h 15"/>
                <a:gd name="T4" fmla="*/ 36195 w 20"/>
                <a:gd name="T5" fmla="*/ 15240 h 15"/>
                <a:gd name="T6" fmla="*/ 32385 w 20"/>
                <a:gd name="T7" fmla="*/ 24765 h 15"/>
                <a:gd name="T8" fmla="*/ 24765 w 20"/>
                <a:gd name="T9" fmla="*/ 19050 h 15"/>
                <a:gd name="T10" fmla="*/ 22860 w 20"/>
                <a:gd name="T11" fmla="*/ 28575 h 15"/>
                <a:gd name="T12" fmla="*/ 19050 w 20"/>
                <a:gd name="T13" fmla="*/ 20955 h 15"/>
                <a:gd name="T14" fmla="*/ 13335 w 20"/>
                <a:gd name="T15" fmla="*/ 22860 h 15"/>
                <a:gd name="T16" fmla="*/ 11430 w 20"/>
                <a:gd name="T17" fmla="*/ 11430 h 15"/>
                <a:gd name="T18" fmla="*/ 0 w 20"/>
                <a:gd name="T19" fmla="*/ 1905 h 15"/>
                <a:gd name="T20" fmla="*/ 3810 w 20"/>
                <a:gd name="T21" fmla="*/ 0 h 15"/>
                <a:gd name="T22" fmla="*/ 13335 w 20"/>
                <a:gd name="T23" fmla="*/ 3810 h 15"/>
                <a:gd name="T24" fmla="*/ 1524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5" name="Freeform 992"/>
            <p:cNvSpPr>
              <a:spLocks noChangeAspect="1"/>
            </p:cNvSpPr>
            <p:nvPr/>
          </p:nvSpPr>
          <p:spPr bwMode="auto">
            <a:xfrm>
              <a:off x="2730030" y="4148722"/>
              <a:ext cx="14416" cy="23214"/>
            </a:xfrm>
            <a:custGeom>
              <a:avLst/>
              <a:gdLst>
                <a:gd name="T0" fmla="*/ 4082 w 7"/>
                <a:gd name="T1" fmla="*/ 1905 h 15"/>
                <a:gd name="T2" fmla="*/ 8165 w 7"/>
                <a:gd name="T3" fmla="*/ 20955 h 15"/>
                <a:gd name="T4" fmla="*/ 10206 w 7"/>
                <a:gd name="T5" fmla="*/ 28575 h 15"/>
                <a:gd name="T6" fmla="*/ 0 w 7"/>
                <a:gd name="T7" fmla="*/ 19050 h 15"/>
                <a:gd name="T8" fmla="*/ 2041 w 7"/>
                <a:gd name="T9" fmla="*/ 13335 h 15"/>
                <a:gd name="T10" fmla="*/ 4082 w 7"/>
                <a:gd name="T11" fmla="*/ 1905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6" name="Freeform 993"/>
            <p:cNvSpPr>
              <a:spLocks noChangeAspect="1"/>
            </p:cNvSpPr>
            <p:nvPr/>
          </p:nvSpPr>
          <p:spPr bwMode="auto">
            <a:xfrm>
              <a:off x="2699598" y="4160329"/>
              <a:ext cx="16017" cy="14187"/>
            </a:xfrm>
            <a:custGeom>
              <a:avLst/>
              <a:gdLst>
                <a:gd name="T0" fmla="*/ 1984 w 8"/>
                <a:gd name="T1" fmla="*/ 5821 h 9"/>
                <a:gd name="T2" fmla="*/ 11906 w 8"/>
                <a:gd name="T3" fmla="*/ 1940 h 9"/>
                <a:gd name="T4" fmla="*/ 13891 w 8"/>
                <a:gd name="T5" fmla="*/ 15523 h 9"/>
                <a:gd name="T6" fmla="*/ 3969 w 8"/>
                <a:gd name="T7" fmla="*/ 13582 h 9"/>
                <a:gd name="T8" fmla="*/ 1984 w 8"/>
                <a:gd name="T9" fmla="*/ 582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3"/>
                  </a:moveTo>
                  <a:cubicBezTo>
                    <a:pt x="2" y="1"/>
                    <a:pt x="5" y="0"/>
                    <a:pt x="6" y="1"/>
                  </a:cubicBezTo>
                  <a:cubicBezTo>
                    <a:pt x="8" y="3"/>
                    <a:pt x="8" y="6"/>
                    <a:pt x="7" y="8"/>
                  </a:cubicBezTo>
                  <a:cubicBezTo>
                    <a:pt x="6" y="9"/>
                    <a:pt x="3" y="8"/>
                    <a:pt x="2" y="7"/>
                  </a:cubicBezTo>
                  <a:cubicBezTo>
                    <a:pt x="1" y="6"/>
                    <a:pt x="0" y="4"/>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7" name="Freeform 994"/>
            <p:cNvSpPr>
              <a:spLocks noChangeAspect="1"/>
            </p:cNvSpPr>
            <p:nvPr/>
          </p:nvSpPr>
          <p:spPr bwMode="auto">
            <a:xfrm>
              <a:off x="2717217" y="4164199"/>
              <a:ext cx="12814" cy="11607"/>
            </a:xfrm>
            <a:custGeom>
              <a:avLst/>
              <a:gdLst>
                <a:gd name="T0" fmla="*/ 3629 w 7"/>
                <a:gd name="T1" fmla="*/ 2041 h 7"/>
                <a:gd name="T2" fmla="*/ 10886 w 7"/>
                <a:gd name="T3" fmla="*/ 8164 h 7"/>
                <a:gd name="T4" fmla="*/ 10886 w 7"/>
                <a:gd name="T5" fmla="*/ 14287 h 7"/>
                <a:gd name="T6" fmla="*/ 3629 w 7"/>
                <a:gd name="T7" fmla="*/ 8164 h 7"/>
                <a:gd name="T8" fmla="*/ 3629 w 7"/>
                <a:gd name="T9" fmla="*/ 204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1"/>
                  </a:moveTo>
                  <a:cubicBezTo>
                    <a:pt x="3" y="0"/>
                    <a:pt x="5" y="2"/>
                    <a:pt x="6" y="4"/>
                  </a:cubicBezTo>
                  <a:cubicBezTo>
                    <a:pt x="6" y="5"/>
                    <a:pt x="7" y="7"/>
                    <a:pt x="6" y="7"/>
                  </a:cubicBezTo>
                  <a:cubicBezTo>
                    <a:pt x="4" y="7"/>
                    <a:pt x="3" y="6"/>
                    <a:pt x="2" y="4"/>
                  </a:cubicBezTo>
                  <a:cubicBezTo>
                    <a:pt x="1" y="3"/>
                    <a:pt x="0" y="1"/>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8" name="Freeform 995"/>
            <p:cNvSpPr>
              <a:spLocks noChangeAspect="1"/>
            </p:cNvSpPr>
            <p:nvPr/>
          </p:nvSpPr>
          <p:spPr bwMode="auto">
            <a:xfrm>
              <a:off x="2709210" y="4175805"/>
              <a:ext cx="19221" cy="7738"/>
            </a:xfrm>
            <a:custGeom>
              <a:avLst/>
              <a:gdLst>
                <a:gd name="T0" fmla="*/ 17145 w 10"/>
                <a:gd name="T1" fmla="*/ 3810 h 5"/>
                <a:gd name="T2" fmla="*/ 17145 w 10"/>
                <a:gd name="T3" fmla="*/ 9525 h 5"/>
                <a:gd name="T4" fmla="*/ 1905 w 10"/>
                <a:gd name="T5" fmla="*/ 7620 h 5"/>
                <a:gd name="T6" fmla="*/ 1905 w 10"/>
                <a:gd name="T7" fmla="*/ 1905 h 5"/>
                <a:gd name="T8" fmla="*/ 17145 w 10"/>
                <a:gd name="T9" fmla="*/ 3810 h 5"/>
                <a:gd name="T10" fmla="*/ 0 60000 65536"/>
                <a:gd name="T11" fmla="*/ 0 60000 65536"/>
                <a:gd name="T12" fmla="*/ 0 60000 65536"/>
                <a:gd name="T13" fmla="*/ 0 60000 65536"/>
                <a:gd name="T14" fmla="*/ 0 60000 65536"/>
                <a:gd name="T15" fmla="*/ 0 w 10"/>
                <a:gd name="T16" fmla="*/ 0 h 5"/>
                <a:gd name="T17" fmla="*/ 10 w 10"/>
                <a:gd name="T18" fmla="*/ 5 h 5"/>
              </a:gdLst>
              <a:ahLst/>
              <a:cxnLst>
                <a:cxn ang="T10">
                  <a:pos x="T0" y="T1"/>
                </a:cxn>
                <a:cxn ang="T11">
                  <a:pos x="T2" y="T3"/>
                </a:cxn>
                <a:cxn ang="T12">
                  <a:pos x="T4" y="T5"/>
                </a:cxn>
                <a:cxn ang="T13">
                  <a:pos x="T6" y="T7"/>
                </a:cxn>
                <a:cxn ang="T14">
                  <a:pos x="T8" y="T9"/>
                </a:cxn>
              </a:cxnLst>
              <a:rect l="T15" t="T16" r="T17" b="T18"/>
              <a:pathLst>
                <a:path w="10" h="5">
                  <a:moveTo>
                    <a:pt x="9" y="2"/>
                  </a:moveTo>
                  <a:cubicBezTo>
                    <a:pt x="9" y="3"/>
                    <a:pt x="10" y="4"/>
                    <a:pt x="9" y="5"/>
                  </a:cubicBezTo>
                  <a:cubicBezTo>
                    <a:pt x="6" y="5"/>
                    <a:pt x="3" y="5"/>
                    <a:pt x="1" y="4"/>
                  </a:cubicBezTo>
                  <a:cubicBezTo>
                    <a:pt x="0" y="4"/>
                    <a:pt x="0" y="1"/>
                    <a:pt x="1" y="1"/>
                  </a:cubicBezTo>
                  <a:cubicBezTo>
                    <a:pt x="3" y="0"/>
                    <a:pt x="6" y="1"/>
                    <a:pt x="9"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9" name="Freeform 996"/>
            <p:cNvSpPr>
              <a:spLocks noChangeAspect="1"/>
            </p:cNvSpPr>
            <p:nvPr/>
          </p:nvSpPr>
          <p:spPr bwMode="auto">
            <a:xfrm>
              <a:off x="2730030" y="4192571"/>
              <a:ext cx="17619" cy="10318"/>
            </a:xfrm>
            <a:custGeom>
              <a:avLst/>
              <a:gdLst>
                <a:gd name="T0" fmla="*/ 9702 w 9"/>
                <a:gd name="T1" fmla="*/ 0 h 7"/>
                <a:gd name="T2" fmla="*/ 1940 w 9"/>
                <a:gd name="T3" fmla="*/ 5443 h 7"/>
                <a:gd name="T4" fmla="*/ 13582 w 9"/>
                <a:gd name="T5" fmla="*/ 12700 h 7"/>
                <a:gd name="T6" fmla="*/ 11642 w 9"/>
                <a:gd name="T7" fmla="*/ 7257 h 7"/>
                <a:gd name="T8" fmla="*/ 13582 w 9"/>
                <a:gd name="T9" fmla="*/ 1814 h 7"/>
                <a:gd name="T10" fmla="*/ 9702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5" y="0"/>
                  </a:moveTo>
                  <a:cubicBezTo>
                    <a:pt x="4" y="0"/>
                    <a:pt x="0" y="1"/>
                    <a:pt x="1" y="3"/>
                  </a:cubicBezTo>
                  <a:cubicBezTo>
                    <a:pt x="1" y="5"/>
                    <a:pt x="5" y="6"/>
                    <a:pt x="7" y="7"/>
                  </a:cubicBezTo>
                  <a:cubicBezTo>
                    <a:pt x="9" y="7"/>
                    <a:pt x="6" y="5"/>
                    <a:pt x="6" y="4"/>
                  </a:cubicBezTo>
                  <a:cubicBezTo>
                    <a:pt x="6" y="3"/>
                    <a:pt x="7" y="2"/>
                    <a:pt x="7" y="1"/>
                  </a:cubicBezTo>
                  <a:cubicBezTo>
                    <a:pt x="7" y="0"/>
                    <a:pt x="6" y="0"/>
                    <a:pt x="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0" name="Freeform 997"/>
            <p:cNvSpPr>
              <a:spLocks noChangeAspect="1"/>
            </p:cNvSpPr>
            <p:nvPr/>
          </p:nvSpPr>
          <p:spPr bwMode="auto">
            <a:xfrm>
              <a:off x="2750854" y="4191281"/>
              <a:ext cx="16017" cy="6449"/>
            </a:xfrm>
            <a:custGeom>
              <a:avLst/>
              <a:gdLst>
                <a:gd name="T0" fmla="*/ 1984 w 8"/>
                <a:gd name="T1" fmla="*/ 1985 h 4"/>
                <a:gd name="T2" fmla="*/ 1984 w 8"/>
                <a:gd name="T3" fmla="*/ 7938 h 4"/>
                <a:gd name="T4" fmla="*/ 13891 w 8"/>
                <a:gd name="T5" fmla="*/ 3969 h 4"/>
                <a:gd name="T6" fmla="*/ 11906 w 8"/>
                <a:gd name="T7" fmla="*/ 1985 h 4"/>
                <a:gd name="T8" fmla="*/ 1984 w 8"/>
                <a:gd name="T9" fmla="*/ 198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1" y="1"/>
                  </a:moveTo>
                  <a:cubicBezTo>
                    <a:pt x="0" y="2"/>
                    <a:pt x="0" y="4"/>
                    <a:pt x="1" y="4"/>
                  </a:cubicBezTo>
                  <a:cubicBezTo>
                    <a:pt x="3" y="4"/>
                    <a:pt x="6" y="3"/>
                    <a:pt x="7" y="2"/>
                  </a:cubicBezTo>
                  <a:cubicBezTo>
                    <a:pt x="8" y="2"/>
                    <a:pt x="6" y="1"/>
                    <a:pt x="6" y="1"/>
                  </a:cubicBezTo>
                  <a:cubicBezTo>
                    <a:pt x="4" y="1"/>
                    <a:pt x="2"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1" name="Freeform 998"/>
            <p:cNvSpPr>
              <a:spLocks noChangeAspect="1"/>
            </p:cNvSpPr>
            <p:nvPr/>
          </p:nvSpPr>
          <p:spPr bwMode="auto">
            <a:xfrm>
              <a:off x="2678775" y="4124217"/>
              <a:ext cx="32034" cy="24504"/>
            </a:xfrm>
            <a:custGeom>
              <a:avLst/>
              <a:gdLst>
                <a:gd name="T0" fmla="*/ 28015 w 17"/>
                <a:gd name="T1" fmla="*/ 0 h 16"/>
                <a:gd name="T2" fmla="*/ 29882 w 17"/>
                <a:gd name="T3" fmla="*/ 7541 h 16"/>
                <a:gd name="T4" fmla="*/ 18676 w 17"/>
                <a:gd name="T5" fmla="*/ 16967 h 16"/>
                <a:gd name="T6" fmla="*/ 11206 w 17"/>
                <a:gd name="T7" fmla="*/ 15082 h 16"/>
                <a:gd name="T8" fmla="*/ 11206 w 17"/>
                <a:gd name="T9" fmla="*/ 24507 h 16"/>
                <a:gd name="T10" fmla="*/ 13074 w 17"/>
                <a:gd name="T11" fmla="*/ 28278 h 16"/>
                <a:gd name="T12" fmla="*/ 7471 w 17"/>
                <a:gd name="T13" fmla="*/ 24507 h 16"/>
                <a:gd name="T14" fmla="*/ 1868 w 17"/>
                <a:gd name="T15" fmla="*/ 18852 h 16"/>
                <a:gd name="T16" fmla="*/ 3735 w 17"/>
                <a:gd name="T17" fmla="*/ 7541 h 16"/>
                <a:gd name="T18" fmla="*/ 14941 w 17"/>
                <a:gd name="T19" fmla="*/ 3770 h 16"/>
                <a:gd name="T20" fmla="*/ 24279 w 17"/>
                <a:gd name="T21" fmla="*/ 3770 h 16"/>
                <a:gd name="T22" fmla="*/ 28015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2" name="Freeform 999"/>
            <p:cNvSpPr>
              <a:spLocks noChangeAspect="1"/>
            </p:cNvSpPr>
            <p:nvPr/>
          </p:nvSpPr>
          <p:spPr bwMode="auto">
            <a:xfrm>
              <a:off x="2633928" y="4124217"/>
              <a:ext cx="43247" cy="19346"/>
            </a:xfrm>
            <a:custGeom>
              <a:avLst/>
              <a:gdLst>
                <a:gd name="T0" fmla="*/ 1948 w 22"/>
                <a:gd name="T1" fmla="*/ 1984 h 12"/>
                <a:gd name="T2" fmla="*/ 5845 w 22"/>
                <a:gd name="T3" fmla="*/ 9922 h 12"/>
                <a:gd name="T4" fmla="*/ 17535 w 22"/>
                <a:gd name="T5" fmla="*/ 19844 h 12"/>
                <a:gd name="T6" fmla="*/ 40915 w 22"/>
                <a:gd name="T7" fmla="*/ 23813 h 12"/>
                <a:gd name="T8" fmla="*/ 40915 w 22"/>
                <a:gd name="T9" fmla="*/ 19844 h 12"/>
                <a:gd name="T10" fmla="*/ 25328 w 22"/>
                <a:gd name="T11" fmla="*/ 11907 h 12"/>
                <a:gd name="T12" fmla="*/ 11690 w 22"/>
                <a:gd name="T13" fmla="*/ 9922 h 12"/>
                <a:gd name="T14" fmla="*/ 5845 w 22"/>
                <a:gd name="T15" fmla="*/ 3969 h 12"/>
                <a:gd name="T16" fmla="*/ 1948 w 22"/>
                <a:gd name="T17" fmla="*/ 198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3" name="Freeform 1000"/>
            <p:cNvSpPr>
              <a:spLocks noChangeAspect="1"/>
            </p:cNvSpPr>
            <p:nvPr/>
          </p:nvSpPr>
          <p:spPr bwMode="auto">
            <a:xfrm>
              <a:off x="2659556" y="4106162"/>
              <a:ext cx="22424" cy="29663"/>
            </a:xfrm>
            <a:custGeom>
              <a:avLst/>
              <a:gdLst>
                <a:gd name="T0" fmla="*/ 18521 w 12"/>
                <a:gd name="T1" fmla="*/ 0 h 19"/>
                <a:gd name="T2" fmla="*/ 22225 w 12"/>
                <a:gd name="T3" fmla="*/ 7687 h 19"/>
                <a:gd name="T4" fmla="*/ 16669 w 12"/>
                <a:gd name="T5" fmla="*/ 17296 h 19"/>
                <a:gd name="T6" fmla="*/ 16669 w 12"/>
                <a:gd name="T7" fmla="*/ 28826 h 19"/>
                <a:gd name="T8" fmla="*/ 16669 w 12"/>
                <a:gd name="T9" fmla="*/ 36513 h 19"/>
                <a:gd name="T10" fmla="*/ 5556 w 12"/>
                <a:gd name="T11" fmla="*/ 28826 h 19"/>
                <a:gd name="T12" fmla="*/ 3704 w 12"/>
                <a:gd name="T13" fmla="*/ 23061 h 19"/>
                <a:gd name="T14" fmla="*/ 1852 w 12"/>
                <a:gd name="T15" fmla="*/ 9609 h 19"/>
                <a:gd name="T16" fmla="*/ 12965 w 12"/>
                <a:gd name="T17" fmla="*/ 7687 h 19"/>
                <a:gd name="T18" fmla="*/ 18521 w 12"/>
                <a:gd name="T19" fmla="*/ 7687 h 19"/>
                <a:gd name="T20" fmla="*/ 18521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4" name="Freeform 1001"/>
            <p:cNvSpPr>
              <a:spLocks noChangeAspect="1"/>
            </p:cNvSpPr>
            <p:nvPr/>
          </p:nvSpPr>
          <p:spPr bwMode="auto">
            <a:xfrm>
              <a:off x="2638734" y="4093266"/>
              <a:ext cx="9610" cy="9029"/>
            </a:xfrm>
            <a:custGeom>
              <a:avLst/>
              <a:gdLst>
                <a:gd name="T0" fmla="*/ 1905 w 5"/>
                <a:gd name="T1" fmla="*/ 3704 h 6"/>
                <a:gd name="T2" fmla="*/ 9525 w 5"/>
                <a:gd name="T3" fmla="*/ 11113 h 6"/>
                <a:gd name="T4" fmla="*/ 9525 w 5"/>
                <a:gd name="T5" fmla="*/ 7409 h 6"/>
                <a:gd name="T6" fmla="*/ 5715 w 5"/>
                <a:gd name="T7" fmla="*/ 0 h 6"/>
                <a:gd name="T8" fmla="*/ 1905 w 5"/>
                <a:gd name="T9" fmla="*/ 370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2"/>
                  </a:moveTo>
                  <a:cubicBezTo>
                    <a:pt x="1" y="4"/>
                    <a:pt x="3" y="5"/>
                    <a:pt x="5" y="6"/>
                  </a:cubicBezTo>
                  <a:cubicBezTo>
                    <a:pt x="5" y="6"/>
                    <a:pt x="5" y="5"/>
                    <a:pt x="5" y="4"/>
                  </a:cubicBezTo>
                  <a:cubicBezTo>
                    <a:pt x="5" y="3"/>
                    <a:pt x="4" y="1"/>
                    <a:pt x="3" y="0"/>
                  </a:cubicBezTo>
                  <a:cubicBezTo>
                    <a:pt x="2" y="0"/>
                    <a:pt x="0" y="2"/>
                    <a:pt x="1" y="2"/>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5" name="Freeform 1002"/>
            <p:cNvSpPr>
              <a:spLocks noChangeAspect="1"/>
            </p:cNvSpPr>
            <p:nvPr/>
          </p:nvSpPr>
          <p:spPr bwMode="auto">
            <a:xfrm>
              <a:off x="2619513" y="4070051"/>
              <a:ext cx="12814" cy="14187"/>
            </a:xfrm>
            <a:custGeom>
              <a:avLst/>
              <a:gdLst>
                <a:gd name="T0" fmla="*/ 1814 w 7"/>
                <a:gd name="T1" fmla="*/ 0 h 9"/>
                <a:gd name="T2" fmla="*/ 10886 w 7"/>
                <a:gd name="T3" fmla="*/ 3881 h 9"/>
                <a:gd name="T4" fmla="*/ 12700 w 7"/>
                <a:gd name="T5" fmla="*/ 15523 h 9"/>
                <a:gd name="T6" fmla="*/ 5443 w 7"/>
                <a:gd name="T7" fmla="*/ 15523 h 9"/>
                <a:gd name="T8" fmla="*/ 1814 w 7"/>
                <a:gd name="T9" fmla="*/ 9702 h 9"/>
                <a:gd name="T10" fmla="*/ 1814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1" y="0"/>
                  </a:moveTo>
                  <a:cubicBezTo>
                    <a:pt x="3" y="0"/>
                    <a:pt x="5" y="1"/>
                    <a:pt x="6" y="2"/>
                  </a:cubicBezTo>
                  <a:cubicBezTo>
                    <a:pt x="7" y="4"/>
                    <a:pt x="7" y="6"/>
                    <a:pt x="7" y="8"/>
                  </a:cubicBezTo>
                  <a:cubicBezTo>
                    <a:pt x="6" y="9"/>
                    <a:pt x="4" y="8"/>
                    <a:pt x="3" y="8"/>
                  </a:cubicBezTo>
                  <a:cubicBezTo>
                    <a:pt x="2" y="7"/>
                    <a:pt x="2" y="6"/>
                    <a:pt x="1" y="5"/>
                  </a:cubicBezTo>
                  <a:cubicBezTo>
                    <a:pt x="1" y="3"/>
                    <a:pt x="0" y="1"/>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6" name="Freeform 1003"/>
            <p:cNvSpPr>
              <a:spLocks noChangeAspect="1"/>
            </p:cNvSpPr>
            <p:nvPr/>
          </p:nvSpPr>
          <p:spPr bwMode="auto">
            <a:xfrm>
              <a:off x="2600293" y="4015884"/>
              <a:ext cx="25627" cy="38690"/>
            </a:xfrm>
            <a:custGeom>
              <a:avLst/>
              <a:gdLst>
                <a:gd name="T0" fmla="*/ 18143 w 14"/>
                <a:gd name="T1" fmla="*/ 1905 h 25"/>
                <a:gd name="T2" fmla="*/ 25400 w 14"/>
                <a:gd name="T3" fmla="*/ 41910 h 25"/>
                <a:gd name="T4" fmla="*/ 19957 w 14"/>
                <a:gd name="T5" fmla="*/ 47625 h 25"/>
                <a:gd name="T6" fmla="*/ 14514 w 14"/>
                <a:gd name="T7" fmla="*/ 41910 h 25"/>
                <a:gd name="T8" fmla="*/ 16329 w 14"/>
                <a:gd name="T9" fmla="*/ 28575 h 25"/>
                <a:gd name="T10" fmla="*/ 12700 w 14"/>
                <a:gd name="T11" fmla="*/ 28575 h 25"/>
                <a:gd name="T12" fmla="*/ 10886 w 14"/>
                <a:gd name="T13" fmla="*/ 36195 h 25"/>
                <a:gd name="T14" fmla="*/ 10886 w 14"/>
                <a:gd name="T15" fmla="*/ 40005 h 25"/>
                <a:gd name="T16" fmla="*/ 5443 w 14"/>
                <a:gd name="T17" fmla="*/ 30480 h 25"/>
                <a:gd name="T18" fmla="*/ 1814 w 14"/>
                <a:gd name="T19" fmla="*/ 19050 h 25"/>
                <a:gd name="T20" fmla="*/ 9071 w 14"/>
                <a:gd name="T21" fmla="*/ 20955 h 25"/>
                <a:gd name="T22" fmla="*/ 10886 w 14"/>
                <a:gd name="T23" fmla="*/ 24765 h 25"/>
                <a:gd name="T24" fmla="*/ 12700 w 14"/>
                <a:gd name="T25" fmla="*/ 13335 h 25"/>
                <a:gd name="T26" fmla="*/ 10886 w 14"/>
                <a:gd name="T27" fmla="*/ 3810 h 25"/>
                <a:gd name="T28" fmla="*/ 18143 w 14"/>
                <a:gd name="T29" fmla="*/ 1905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7" name="Freeform 1004"/>
            <p:cNvSpPr>
              <a:spLocks noChangeAspect="1"/>
            </p:cNvSpPr>
            <p:nvPr/>
          </p:nvSpPr>
          <p:spPr bwMode="auto">
            <a:xfrm>
              <a:off x="2593885" y="3999119"/>
              <a:ext cx="9610" cy="20635"/>
            </a:xfrm>
            <a:custGeom>
              <a:avLst/>
              <a:gdLst>
                <a:gd name="T0" fmla="*/ 3810 w 5"/>
                <a:gd name="T1" fmla="*/ 1954 h 13"/>
                <a:gd name="T2" fmla="*/ 0 w 5"/>
                <a:gd name="T3" fmla="*/ 1954 h 13"/>
                <a:gd name="T4" fmla="*/ 3810 w 5"/>
                <a:gd name="T5" fmla="*/ 11723 h 13"/>
                <a:gd name="T6" fmla="*/ 3810 w 5"/>
                <a:gd name="T7" fmla="*/ 23446 h 13"/>
                <a:gd name="T8" fmla="*/ 7620 w 5"/>
                <a:gd name="T9" fmla="*/ 21492 h 13"/>
                <a:gd name="T10" fmla="*/ 9525 w 5"/>
                <a:gd name="T11" fmla="*/ 15631 h 13"/>
                <a:gd name="T12" fmla="*/ 3810 w 5"/>
                <a:gd name="T13" fmla="*/ 1954 h 13"/>
                <a:gd name="T14" fmla="*/ 0 60000 65536"/>
                <a:gd name="T15" fmla="*/ 0 60000 65536"/>
                <a:gd name="T16" fmla="*/ 0 60000 65536"/>
                <a:gd name="T17" fmla="*/ 0 60000 65536"/>
                <a:gd name="T18" fmla="*/ 0 60000 65536"/>
                <a:gd name="T19" fmla="*/ 0 60000 65536"/>
                <a:gd name="T20" fmla="*/ 0 60000 65536"/>
                <a:gd name="T21" fmla="*/ 0 w 5"/>
                <a:gd name="T22" fmla="*/ 0 h 13"/>
                <a:gd name="T23" fmla="*/ 5 w 5"/>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3">
                  <a:moveTo>
                    <a:pt x="2" y="1"/>
                  </a:moveTo>
                  <a:cubicBezTo>
                    <a:pt x="2" y="0"/>
                    <a:pt x="0" y="0"/>
                    <a:pt x="0" y="1"/>
                  </a:cubicBezTo>
                  <a:cubicBezTo>
                    <a:pt x="0" y="3"/>
                    <a:pt x="2" y="4"/>
                    <a:pt x="2" y="6"/>
                  </a:cubicBezTo>
                  <a:cubicBezTo>
                    <a:pt x="2" y="8"/>
                    <a:pt x="1" y="10"/>
                    <a:pt x="2" y="12"/>
                  </a:cubicBezTo>
                  <a:cubicBezTo>
                    <a:pt x="2" y="13"/>
                    <a:pt x="3" y="12"/>
                    <a:pt x="4" y="11"/>
                  </a:cubicBezTo>
                  <a:cubicBezTo>
                    <a:pt x="4" y="10"/>
                    <a:pt x="5" y="9"/>
                    <a:pt x="5" y="8"/>
                  </a:cubicBezTo>
                  <a:cubicBezTo>
                    <a:pt x="4" y="5"/>
                    <a:pt x="4" y="3"/>
                    <a:pt x="2"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8" name="Freeform 1005"/>
            <p:cNvSpPr>
              <a:spLocks noChangeAspect="1"/>
            </p:cNvSpPr>
            <p:nvPr/>
          </p:nvSpPr>
          <p:spPr bwMode="auto">
            <a:xfrm>
              <a:off x="2606700" y="4005567"/>
              <a:ext cx="9610" cy="9029"/>
            </a:xfrm>
            <a:custGeom>
              <a:avLst/>
              <a:gdLst>
                <a:gd name="T0" fmla="*/ 0 w 5"/>
                <a:gd name="T1" fmla="*/ 5557 h 6"/>
                <a:gd name="T2" fmla="*/ 7620 w 5"/>
                <a:gd name="T3" fmla="*/ 11113 h 6"/>
                <a:gd name="T4" fmla="*/ 7620 w 5"/>
                <a:gd name="T5" fmla="*/ 5557 h 6"/>
                <a:gd name="T6" fmla="*/ 5715 w 5"/>
                <a:gd name="T7" fmla="*/ 0 h 6"/>
                <a:gd name="T8" fmla="*/ 0 w 5"/>
                <a:gd name="T9" fmla="*/ 555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3"/>
                  </a:moveTo>
                  <a:cubicBezTo>
                    <a:pt x="1" y="4"/>
                    <a:pt x="3" y="6"/>
                    <a:pt x="4" y="6"/>
                  </a:cubicBezTo>
                  <a:cubicBezTo>
                    <a:pt x="5" y="6"/>
                    <a:pt x="4" y="4"/>
                    <a:pt x="4" y="3"/>
                  </a:cubicBezTo>
                  <a:cubicBezTo>
                    <a:pt x="4" y="2"/>
                    <a:pt x="4" y="0"/>
                    <a:pt x="3" y="0"/>
                  </a:cubicBezTo>
                  <a:cubicBezTo>
                    <a:pt x="2" y="0"/>
                    <a:pt x="0" y="2"/>
                    <a:pt x="0"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9" name="Freeform 1006"/>
            <p:cNvSpPr>
              <a:spLocks noChangeAspect="1"/>
            </p:cNvSpPr>
            <p:nvPr/>
          </p:nvSpPr>
          <p:spPr bwMode="auto">
            <a:xfrm>
              <a:off x="2595487" y="3840489"/>
              <a:ext cx="24026" cy="43849"/>
            </a:xfrm>
            <a:custGeom>
              <a:avLst/>
              <a:gdLst>
                <a:gd name="T0" fmla="*/ 9922 w 12"/>
                <a:gd name="T1" fmla="*/ 1928 h 28"/>
                <a:gd name="T2" fmla="*/ 3969 w 12"/>
                <a:gd name="T3" fmla="*/ 15421 h 28"/>
                <a:gd name="T4" fmla="*/ 7938 w 12"/>
                <a:gd name="T5" fmla="*/ 34698 h 28"/>
                <a:gd name="T6" fmla="*/ 1984 w 12"/>
                <a:gd name="T7" fmla="*/ 50120 h 28"/>
                <a:gd name="T8" fmla="*/ 17860 w 12"/>
                <a:gd name="T9" fmla="*/ 52047 h 28"/>
                <a:gd name="T10" fmla="*/ 19844 w 12"/>
                <a:gd name="T11" fmla="*/ 40481 h 28"/>
                <a:gd name="T12" fmla="*/ 17860 w 12"/>
                <a:gd name="T13" fmla="*/ 32771 h 28"/>
                <a:gd name="T14" fmla="*/ 21829 w 12"/>
                <a:gd name="T15" fmla="*/ 30843 h 28"/>
                <a:gd name="T16" fmla="*/ 15875 w 12"/>
                <a:gd name="T17" fmla="*/ 23132 h 28"/>
                <a:gd name="T18" fmla="*/ 19844 w 12"/>
                <a:gd name="T19" fmla="*/ 19277 h 28"/>
                <a:gd name="T20" fmla="*/ 23813 w 12"/>
                <a:gd name="T21" fmla="*/ 15421 h 28"/>
                <a:gd name="T22" fmla="*/ 17860 w 12"/>
                <a:gd name="T23" fmla="*/ 3855 h 28"/>
                <a:gd name="T24" fmla="*/ 9922 w 12"/>
                <a:gd name="T25" fmla="*/ 1928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0" name="Freeform 1007"/>
            <p:cNvSpPr>
              <a:spLocks noChangeAspect="1"/>
            </p:cNvSpPr>
            <p:nvPr/>
          </p:nvSpPr>
          <p:spPr bwMode="auto">
            <a:xfrm>
              <a:off x="2630725" y="3908842"/>
              <a:ext cx="12814" cy="12897"/>
            </a:xfrm>
            <a:custGeom>
              <a:avLst/>
              <a:gdLst>
                <a:gd name="T0" fmla="*/ 3629 w 7"/>
                <a:gd name="T1" fmla="*/ 13891 h 8"/>
                <a:gd name="T2" fmla="*/ 9071 w 7"/>
                <a:gd name="T3" fmla="*/ 9922 h 8"/>
                <a:gd name="T4" fmla="*/ 10886 w 7"/>
                <a:gd name="T5" fmla="*/ 1984 h 8"/>
                <a:gd name="T6" fmla="*/ 3629 w 7"/>
                <a:gd name="T7" fmla="*/ 0 h 8"/>
                <a:gd name="T8" fmla="*/ 0 w 7"/>
                <a:gd name="T9" fmla="*/ 5953 h 8"/>
                <a:gd name="T10" fmla="*/ 1814 w 7"/>
                <a:gd name="T11" fmla="*/ 11906 h 8"/>
                <a:gd name="T12" fmla="*/ 3629 w 7"/>
                <a:gd name="T13" fmla="*/ 13891 h 8"/>
                <a:gd name="T14" fmla="*/ 0 60000 65536"/>
                <a:gd name="T15" fmla="*/ 0 60000 65536"/>
                <a:gd name="T16" fmla="*/ 0 60000 65536"/>
                <a:gd name="T17" fmla="*/ 0 60000 65536"/>
                <a:gd name="T18" fmla="*/ 0 60000 65536"/>
                <a:gd name="T19" fmla="*/ 0 60000 65536"/>
                <a:gd name="T20" fmla="*/ 0 60000 65536"/>
                <a:gd name="T21" fmla="*/ 0 w 7"/>
                <a:gd name="T22" fmla="*/ 0 h 8"/>
                <a:gd name="T23" fmla="*/ 7 w 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8">
                  <a:moveTo>
                    <a:pt x="2" y="7"/>
                  </a:moveTo>
                  <a:cubicBezTo>
                    <a:pt x="4" y="7"/>
                    <a:pt x="5" y="6"/>
                    <a:pt x="5" y="5"/>
                  </a:cubicBezTo>
                  <a:cubicBezTo>
                    <a:pt x="6" y="4"/>
                    <a:pt x="7" y="2"/>
                    <a:pt x="6" y="1"/>
                  </a:cubicBezTo>
                  <a:cubicBezTo>
                    <a:pt x="5" y="0"/>
                    <a:pt x="4" y="0"/>
                    <a:pt x="2" y="0"/>
                  </a:cubicBezTo>
                  <a:cubicBezTo>
                    <a:pt x="1" y="0"/>
                    <a:pt x="0" y="2"/>
                    <a:pt x="0" y="3"/>
                  </a:cubicBezTo>
                  <a:cubicBezTo>
                    <a:pt x="0" y="4"/>
                    <a:pt x="0" y="5"/>
                    <a:pt x="1" y="6"/>
                  </a:cubicBezTo>
                  <a:cubicBezTo>
                    <a:pt x="1" y="7"/>
                    <a:pt x="2" y="8"/>
                    <a:pt x="2"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1" name="Freeform 1008"/>
            <p:cNvSpPr>
              <a:spLocks noChangeAspect="1"/>
            </p:cNvSpPr>
            <p:nvPr/>
          </p:nvSpPr>
          <p:spPr bwMode="auto">
            <a:xfrm>
              <a:off x="2629124" y="3930767"/>
              <a:ext cx="9610" cy="7738"/>
            </a:xfrm>
            <a:custGeom>
              <a:avLst/>
              <a:gdLst>
                <a:gd name="T0" fmla="*/ 0 w 5"/>
                <a:gd name="T1" fmla="*/ 1905 h 5"/>
                <a:gd name="T2" fmla="*/ 1905 w 5"/>
                <a:gd name="T3" fmla="*/ 7620 h 5"/>
                <a:gd name="T4" fmla="*/ 7620 w 5"/>
                <a:gd name="T5" fmla="*/ 5715 h 5"/>
                <a:gd name="T6" fmla="*/ 3810 w 5"/>
                <a:gd name="T7" fmla="*/ 1905 h 5"/>
                <a:gd name="T8" fmla="*/ 0 w 5"/>
                <a:gd name="T9" fmla="*/ 190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1"/>
                  </a:moveTo>
                  <a:cubicBezTo>
                    <a:pt x="0" y="2"/>
                    <a:pt x="0" y="4"/>
                    <a:pt x="1" y="4"/>
                  </a:cubicBezTo>
                  <a:cubicBezTo>
                    <a:pt x="2" y="5"/>
                    <a:pt x="4" y="4"/>
                    <a:pt x="4" y="3"/>
                  </a:cubicBezTo>
                  <a:cubicBezTo>
                    <a:pt x="5" y="2"/>
                    <a:pt x="3" y="1"/>
                    <a:pt x="2" y="1"/>
                  </a:cubicBezTo>
                  <a:cubicBezTo>
                    <a:pt x="2" y="1"/>
                    <a:pt x="0" y="0"/>
                    <a:pt x="0"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2" name="Freeform 1009"/>
            <p:cNvSpPr>
              <a:spLocks noChangeAspect="1"/>
            </p:cNvSpPr>
            <p:nvPr/>
          </p:nvSpPr>
          <p:spPr bwMode="auto">
            <a:xfrm>
              <a:off x="2605098" y="3910131"/>
              <a:ext cx="11213" cy="7738"/>
            </a:xfrm>
            <a:custGeom>
              <a:avLst/>
              <a:gdLst>
                <a:gd name="T0" fmla="*/ 1852 w 6"/>
                <a:gd name="T1" fmla="*/ 1905 h 5"/>
                <a:gd name="T2" fmla="*/ 9261 w 6"/>
                <a:gd name="T3" fmla="*/ 3810 h 5"/>
                <a:gd name="T4" fmla="*/ 1852 w 6"/>
                <a:gd name="T5" fmla="*/ 7620 h 5"/>
                <a:gd name="T6" fmla="*/ 1852 w 6"/>
                <a:gd name="T7" fmla="*/ 190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2" y="0"/>
                    <a:pt x="5" y="1"/>
                    <a:pt x="5" y="2"/>
                  </a:cubicBezTo>
                  <a:cubicBezTo>
                    <a:pt x="6" y="4"/>
                    <a:pt x="3" y="5"/>
                    <a:pt x="1" y="4"/>
                  </a:cubicBezTo>
                  <a:cubicBezTo>
                    <a:pt x="0" y="4"/>
                    <a:pt x="0" y="1"/>
                    <a:pt x="1"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3" name="Freeform 1010"/>
            <p:cNvSpPr>
              <a:spLocks noChangeAspect="1"/>
            </p:cNvSpPr>
            <p:nvPr/>
          </p:nvSpPr>
          <p:spPr bwMode="auto">
            <a:xfrm>
              <a:off x="2095753" y="2859044"/>
              <a:ext cx="19221" cy="29663"/>
            </a:xfrm>
            <a:custGeom>
              <a:avLst/>
              <a:gdLst>
                <a:gd name="T0" fmla="*/ 0 w 10"/>
                <a:gd name="T1" fmla="*/ 3843 h 19"/>
                <a:gd name="T2" fmla="*/ 3810 w 10"/>
                <a:gd name="T3" fmla="*/ 0 h 19"/>
                <a:gd name="T4" fmla="*/ 17145 w 10"/>
                <a:gd name="T5" fmla="*/ 17295 h 19"/>
                <a:gd name="T6" fmla="*/ 19050 w 10"/>
                <a:gd name="T7" fmla="*/ 26904 h 19"/>
                <a:gd name="T8" fmla="*/ 13335 w 10"/>
                <a:gd name="T9" fmla="*/ 34590 h 19"/>
                <a:gd name="T10" fmla="*/ 5715 w 10"/>
                <a:gd name="T11" fmla="*/ 30747 h 19"/>
                <a:gd name="T12" fmla="*/ 3810 w 10"/>
                <a:gd name="T13" fmla="*/ 26904 h 19"/>
                <a:gd name="T14" fmla="*/ 9525 w 10"/>
                <a:gd name="T15" fmla="*/ 21139 h 19"/>
                <a:gd name="T16" fmla="*/ 5715 w 10"/>
                <a:gd name="T17" fmla="*/ 11530 h 19"/>
                <a:gd name="T18" fmla="*/ 0 w 10"/>
                <a:gd name="T19" fmla="*/ 3843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9"/>
                <a:gd name="T32" fmla="*/ 10 w 10"/>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9">
                  <a:moveTo>
                    <a:pt x="0" y="2"/>
                  </a:moveTo>
                  <a:cubicBezTo>
                    <a:pt x="0" y="1"/>
                    <a:pt x="1" y="0"/>
                    <a:pt x="2" y="0"/>
                  </a:cubicBezTo>
                  <a:cubicBezTo>
                    <a:pt x="5" y="3"/>
                    <a:pt x="7" y="6"/>
                    <a:pt x="9" y="9"/>
                  </a:cubicBezTo>
                  <a:cubicBezTo>
                    <a:pt x="10" y="11"/>
                    <a:pt x="10" y="12"/>
                    <a:pt x="10" y="14"/>
                  </a:cubicBezTo>
                  <a:cubicBezTo>
                    <a:pt x="10" y="15"/>
                    <a:pt x="9" y="17"/>
                    <a:pt x="7" y="18"/>
                  </a:cubicBezTo>
                  <a:cubicBezTo>
                    <a:pt x="6" y="19"/>
                    <a:pt x="4" y="18"/>
                    <a:pt x="3" y="16"/>
                  </a:cubicBezTo>
                  <a:cubicBezTo>
                    <a:pt x="2" y="16"/>
                    <a:pt x="2" y="15"/>
                    <a:pt x="2" y="14"/>
                  </a:cubicBezTo>
                  <a:cubicBezTo>
                    <a:pt x="3" y="13"/>
                    <a:pt x="5" y="12"/>
                    <a:pt x="5" y="11"/>
                  </a:cubicBezTo>
                  <a:cubicBezTo>
                    <a:pt x="5" y="9"/>
                    <a:pt x="4" y="8"/>
                    <a:pt x="3" y="6"/>
                  </a:cubicBezTo>
                  <a:cubicBezTo>
                    <a:pt x="2" y="5"/>
                    <a:pt x="0" y="4"/>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4" name="Freeform 1011"/>
            <p:cNvSpPr>
              <a:spLocks noChangeAspect="1"/>
            </p:cNvSpPr>
            <p:nvPr/>
          </p:nvSpPr>
          <p:spPr bwMode="auto">
            <a:xfrm>
              <a:off x="3066390" y="2877099"/>
              <a:ext cx="14416" cy="18056"/>
            </a:xfrm>
            <a:custGeom>
              <a:avLst/>
              <a:gdLst>
                <a:gd name="T0" fmla="*/ 0 w 7"/>
                <a:gd name="T1" fmla="*/ 22225 h 12"/>
                <a:gd name="T2" fmla="*/ 2041 w 7"/>
                <a:gd name="T3" fmla="*/ 22225 h 12"/>
                <a:gd name="T4" fmla="*/ 10206 w 7"/>
                <a:gd name="T5" fmla="*/ 12965 h 12"/>
                <a:gd name="T6" fmla="*/ 14288 w 7"/>
                <a:gd name="T7" fmla="*/ 1852 h 12"/>
                <a:gd name="T8" fmla="*/ 8165 w 7"/>
                <a:gd name="T9" fmla="*/ 5556 h 12"/>
                <a:gd name="T10" fmla="*/ 6123 w 7"/>
                <a:gd name="T11" fmla="*/ 14817 h 12"/>
                <a:gd name="T12" fmla="*/ 0 w 7"/>
                <a:gd name="T13" fmla="*/ 22225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5" name="Freeform 1012"/>
            <p:cNvSpPr>
              <a:spLocks noChangeAspect="1"/>
            </p:cNvSpPr>
            <p:nvPr/>
          </p:nvSpPr>
          <p:spPr bwMode="auto">
            <a:xfrm>
              <a:off x="3101628" y="2856465"/>
              <a:ext cx="16017" cy="7738"/>
            </a:xfrm>
            <a:custGeom>
              <a:avLst/>
              <a:gdLst>
                <a:gd name="T0" fmla="*/ 1984 w 8"/>
                <a:gd name="T1" fmla="*/ 1905 h 5"/>
                <a:gd name="T2" fmla="*/ 1984 w 8"/>
                <a:gd name="T3" fmla="*/ 7620 h 5"/>
                <a:gd name="T4" fmla="*/ 11906 w 8"/>
                <a:gd name="T5" fmla="*/ 7620 h 5"/>
                <a:gd name="T6" fmla="*/ 15875 w 8"/>
                <a:gd name="T7" fmla="*/ 1905 h 5"/>
                <a:gd name="T8" fmla="*/ 9922 w 8"/>
                <a:gd name="T9" fmla="*/ 1905 h 5"/>
                <a:gd name="T10" fmla="*/ 1984 w 8"/>
                <a:gd name="T11" fmla="*/ 1905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6" name="Freeform 1013"/>
            <p:cNvSpPr>
              <a:spLocks noChangeAspect="1"/>
            </p:cNvSpPr>
            <p:nvPr/>
          </p:nvSpPr>
          <p:spPr bwMode="auto">
            <a:xfrm>
              <a:off x="3093619" y="2857754"/>
              <a:ext cx="8008" cy="7738"/>
            </a:xfrm>
            <a:custGeom>
              <a:avLst/>
              <a:gdLst>
                <a:gd name="T0" fmla="*/ 0 w 4"/>
                <a:gd name="T1" fmla="*/ 3810 h 5"/>
                <a:gd name="T2" fmla="*/ 3969 w 4"/>
                <a:gd name="T3" fmla="*/ 7620 h 5"/>
                <a:gd name="T4" fmla="*/ 5953 w 4"/>
                <a:gd name="T5" fmla="*/ 0 h 5"/>
                <a:gd name="T6" fmla="*/ 0 w 4"/>
                <a:gd name="T7" fmla="*/ 381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7" name="Freeform 1014"/>
            <p:cNvSpPr>
              <a:spLocks noChangeAspect="1"/>
            </p:cNvSpPr>
            <p:nvPr/>
          </p:nvSpPr>
          <p:spPr bwMode="auto">
            <a:xfrm>
              <a:off x="2758861" y="2617873"/>
              <a:ext cx="19221" cy="7738"/>
            </a:xfrm>
            <a:custGeom>
              <a:avLst/>
              <a:gdLst>
                <a:gd name="T0" fmla="*/ 5715 w 10"/>
                <a:gd name="T1" fmla="*/ 1905 h 5"/>
                <a:gd name="T2" fmla="*/ 1905 w 10"/>
                <a:gd name="T3" fmla="*/ 7620 h 5"/>
                <a:gd name="T4" fmla="*/ 15240 w 10"/>
                <a:gd name="T5" fmla="*/ 7620 h 5"/>
                <a:gd name="T6" fmla="*/ 17145 w 10"/>
                <a:gd name="T7" fmla="*/ 1905 h 5"/>
                <a:gd name="T8" fmla="*/ 9525 w 10"/>
                <a:gd name="T9" fmla="*/ 1905 h 5"/>
                <a:gd name="T10" fmla="*/ 5715 w 10"/>
                <a:gd name="T11" fmla="*/ 1905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8" name="Freeform 1015"/>
            <p:cNvSpPr>
              <a:spLocks noChangeAspect="1"/>
            </p:cNvSpPr>
            <p:nvPr/>
          </p:nvSpPr>
          <p:spPr bwMode="auto">
            <a:xfrm>
              <a:off x="2822930" y="2625611"/>
              <a:ext cx="20823" cy="16766"/>
            </a:xfrm>
            <a:custGeom>
              <a:avLst/>
              <a:gdLst>
                <a:gd name="T0" fmla="*/ 9381 w 11"/>
                <a:gd name="T1" fmla="*/ 1876 h 11"/>
                <a:gd name="T2" fmla="*/ 7505 w 11"/>
                <a:gd name="T3" fmla="*/ 7505 h 11"/>
                <a:gd name="T4" fmla="*/ 9381 w 11"/>
                <a:gd name="T5" fmla="*/ 13133 h 11"/>
                <a:gd name="T6" fmla="*/ 0 w 11"/>
                <a:gd name="T7" fmla="*/ 16886 h 11"/>
                <a:gd name="T8" fmla="*/ 1876 w 11"/>
                <a:gd name="T9" fmla="*/ 18762 h 11"/>
                <a:gd name="T10" fmla="*/ 16886 w 11"/>
                <a:gd name="T11" fmla="*/ 16886 h 11"/>
                <a:gd name="T12" fmla="*/ 20638 w 11"/>
                <a:gd name="T13" fmla="*/ 15009 h 11"/>
                <a:gd name="T14" fmla="*/ 20638 w 11"/>
                <a:gd name="T15" fmla="*/ 3752 h 11"/>
                <a:gd name="T16" fmla="*/ 20638 w 11"/>
                <a:gd name="T17" fmla="*/ 0 h 11"/>
                <a:gd name="T18" fmla="*/ 9381 w 11"/>
                <a:gd name="T19" fmla="*/ 1876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9" name="Freeform 1016"/>
            <p:cNvSpPr>
              <a:spLocks noChangeAspect="1"/>
            </p:cNvSpPr>
            <p:nvPr/>
          </p:nvSpPr>
          <p:spPr bwMode="auto">
            <a:xfrm>
              <a:off x="2701200" y="2445056"/>
              <a:ext cx="46450" cy="14187"/>
            </a:xfrm>
            <a:custGeom>
              <a:avLst/>
              <a:gdLst>
                <a:gd name="T0" fmla="*/ 1918 w 24"/>
                <a:gd name="T1" fmla="*/ 1940 h 9"/>
                <a:gd name="T2" fmla="*/ 0 w 24"/>
                <a:gd name="T3" fmla="*/ 7761 h 9"/>
                <a:gd name="T4" fmla="*/ 3837 w 24"/>
                <a:gd name="T5" fmla="*/ 15523 h 9"/>
                <a:gd name="T6" fmla="*/ 19183 w 24"/>
                <a:gd name="T7" fmla="*/ 15523 h 9"/>
                <a:gd name="T8" fmla="*/ 34529 w 24"/>
                <a:gd name="T9" fmla="*/ 15523 h 9"/>
                <a:gd name="T10" fmla="*/ 44120 w 24"/>
                <a:gd name="T11" fmla="*/ 5821 h 9"/>
                <a:gd name="T12" fmla="*/ 30692 w 24"/>
                <a:gd name="T13" fmla="*/ 3881 h 9"/>
                <a:gd name="T14" fmla="*/ 13428 w 24"/>
                <a:gd name="T15" fmla="*/ 1940 h 9"/>
                <a:gd name="T16" fmla="*/ 1918 w 24"/>
                <a:gd name="T17" fmla="*/ 194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0" name="Freeform 1017"/>
            <p:cNvSpPr>
              <a:spLocks noChangeAspect="1"/>
            </p:cNvSpPr>
            <p:nvPr/>
          </p:nvSpPr>
          <p:spPr bwMode="auto">
            <a:xfrm>
              <a:off x="2545835" y="2385730"/>
              <a:ext cx="20822" cy="11608"/>
            </a:xfrm>
            <a:custGeom>
              <a:avLst/>
              <a:gdLst>
                <a:gd name="T0" fmla="*/ 13133 w 11"/>
                <a:gd name="T1" fmla="*/ 6123 h 7"/>
                <a:gd name="T2" fmla="*/ 18761 w 11"/>
                <a:gd name="T3" fmla="*/ 0 h 7"/>
                <a:gd name="T4" fmla="*/ 18761 w 11"/>
                <a:gd name="T5" fmla="*/ 6123 h 7"/>
                <a:gd name="T6" fmla="*/ 15009 w 11"/>
                <a:gd name="T7" fmla="*/ 12247 h 7"/>
                <a:gd name="T8" fmla="*/ 3752 w 11"/>
                <a:gd name="T9" fmla="*/ 12247 h 7"/>
                <a:gd name="T10" fmla="*/ 0 w 11"/>
                <a:gd name="T11" fmla="*/ 10206 h 7"/>
                <a:gd name="T12" fmla="*/ 5628 w 11"/>
                <a:gd name="T13" fmla="*/ 4082 h 7"/>
                <a:gd name="T14" fmla="*/ 13133 w 11"/>
                <a:gd name="T15" fmla="*/ 6123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1" name="Freeform 1018"/>
            <p:cNvSpPr>
              <a:spLocks noChangeAspect="1"/>
            </p:cNvSpPr>
            <p:nvPr/>
          </p:nvSpPr>
          <p:spPr bwMode="auto">
            <a:xfrm>
              <a:off x="2523411" y="2416683"/>
              <a:ext cx="73679" cy="39980"/>
            </a:xfrm>
            <a:custGeom>
              <a:avLst/>
              <a:gdLst>
                <a:gd name="T0" fmla="*/ 69280 w 39"/>
                <a:gd name="T1" fmla="*/ 49213 h 26"/>
                <a:gd name="T2" fmla="*/ 71153 w 39"/>
                <a:gd name="T3" fmla="*/ 45427 h 26"/>
                <a:gd name="T4" fmla="*/ 61790 w 39"/>
                <a:gd name="T5" fmla="*/ 35963 h 26"/>
                <a:gd name="T6" fmla="*/ 69280 w 39"/>
                <a:gd name="T7" fmla="*/ 28392 h 26"/>
                <a:gd name="T8" fmla="*/ 67408 w 39"/>
                <a:gd name="T9" fmla="*/ 22714 h 26"/>
                <a:gd name="T10" fmla="*/ 71153 w 39"/>
                <a:gd name="T11" fmla="*/ 17035 h 26"/>
                <a:gd name="T12" fmla="*/ 69280 w 39"/>
                <a:gd name="T13" fmla="*/ 3786 h 26"/>
                <a:gd name="T14" fmla="*/ 58046 w 39"/>
                <a:gd name="T15" fmla="*/ 5678 h 26"/>
                <a:gd name="T16" fmla="*/ 50556 w 39"/>
                <a:gd name="T17" fmla="*/ 1893 h 26"/>
                <a:gd name="T18" fmla="*/ 33704 w 39"/>
                <a:gd name="T19" fmla="*/ 1893 h 26"/>
                <a:gd name="T20" fmla="*/ 28087 w 39"/>
                <a:gd name="T21" fmla="*/ 9464 h 26"/>
                <a:gd name="T22" fmla="*/ 29959 w 39"/>
                <a:gd name="T23" fmla="*/ 13250 h 26"/>
                <a:gd name="T24" fmla="*/ 41194 w 39"/>
                <a:gd name="T25" fmla="*/ 13250 h 26"/>
                <a:gd name="T26" fmla="*/ 43066 w 39"/>
                <a:gd name="T27" fmla="*/ 26499 h 26"/>
                <a:gd name="T28" fmla="*/ 54301 w 39"/>
                <a:gd name="T29" fmla="*/ 35963 h 26"/>
                <a:gd name="T30" fmla="*/ 44938 w 39"/>
                <a:gd name="T31" fmla="*/ 35963 h 26"/>
                <a:gd name="T32" fmla="*/ 16852 w 39"/>
                <a:gd name="T33" fmla="*/ 34071 h 26"/>
                <a:gd name="T34" fmla="*/ 7490 w 39"/>
                <a:gd name="T35" fmla="*/ 32178 h 26"/>
                <a:gd name="T36" fmla="*/ 0 w 39"/>
                <a:gd name="T37" fmla="*/ 37856 h 26"/>
                <a:gd name="T38" fmla="*/ 7490 w 39"/>
                <a:gd name="T39" fmla="*/ 43535 h 26"/>
                <a:gd name="T40" fmla="*/ 18724 w 39"/>
                <a:gd name="T41" fmla="*/ 47320 h 26"/>
                <a:gd name="T42" fmla="*/ 35576 w 39"/>
                <a:gd name="T43" fmla="*/ 43535 h 26"/>
                <a:gd name="T44" fmla="*/ 46811 w 39"/>
                <a:gd name="T45" fmla="*/ 45427 h 26"/>
                <a:gd name="T46" fmla="*/ 58046 w 39"/>
                <a:gd name="T47" fmla="*/ 43535 h 26"/>
                <a:gd name="T48" fmla="*/ 69280 w 39"/>
                <a:gd name="T49" fmla="*/ 4921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2" name="Freeform 1019"/>
            <p:cNvSpPr>
              <a:spLocks noChangeAspect="1"/>
            </p:cNvSpPr>
            <p:nvPr/>
          </p:nvSpPr>
          <p:spPr bwMode="auto">
            <a:xfrm>
              <a:off x="2427308" y="2447635"/>
              <a:ext cx="54458" cy="19346"/>
            </a:xfrm>
            <a:custGeom>
              <a:avLst/>
              <a:gdLst>
                <a:gd name="T0" fmla="*/ 35363 w 29"/>
                <a:gd name="T1" fmla="*/ 1984 h 12"/>
                <a:gd name="T2" fmla="*/ 52114 w 29"/>
                <a:gd name="T3" fmla="*/ 13891 h 12"/>
                <a:gd name="T4" fmla="*/ 52114 w 29"/>
                <a:gd name="T5" fmla="*/ 19844 h 12"/>
                <a:gd name="T6" fmla="*/ 37224 w 29"/>
                <a:gd name="T7" fmla="*/ 17860 h 12"/>
                <a:gd name="T8" fmla="*/ 29779 w 29"/>
                <a:gd name="T9" fmla="*/ 23813 h 12"/>
                <a:gd name="T10" fmla="*/ 11167 w 29"/>
                <a:gd name="T11" fmla="*/ 13891 h 12"/>
                <a:gd name="T12" fmla="*/ 0 w 29"/>
                <a:gd name="T13" fmla="*/ 7938 h 12"/>
                <a:gd name="T14" fmla="*/ 7445 w 29"/>
                <a:gd name="T15" fmla="*/ 0 h 12"/>
                <a:gd name="T16" fmla="*/ 27918 w 29"/>
                <a:gd name="T17" fmla="*/ 1984 h 12"/>
                <a:gd name="T18" fmla="*/ 35363 w 29"/>
                <a:gd name="T19" fmla="*/ 198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3" name="Freeform 1020"/>
            <p:cNvSpPr>
              <a:spLocks noChangeAspect="1"/>
            </p:cNvSpPr>
            <p:nvPr/>
          </p:nvSpPr>
          <p:spPr bwMode="auto">
            <a:xfrm>
              <a:off x="2279951" y="2340592"/>
              <a:ext cx="257876" cy="81249"/>
            </a:xfrm>
            <a:custGeom>
              <a:avLst/>
              <a:gdLst>
                <a:gd name="T0" fmla="*/ 246050 w 134"/>
                <a:gd name="T1" fmla="*/ 82702 h 52"/>
                <a:gd name="T2" fmla="*/ 253680 w 134"/>
                <a:gd name="T3" fmla="*/ 86549 h 52"/>
                <a:gd name="T4" fmla="*/ 238421 w 134"/>
                <a:gd name="T5" fmla="*/ 92319 h 52"/>
                <a:gd name="T6" fmla="*/ 219347 w 134"/>
                <a:gd name="T7" fmla="*/ 98089 h 52"/>
                <a:gd name="T8" fmla="*/ 190737 w 134"/>
                <a:gd name="T9" fmla="*/ 96165 h 52"/>
                <a:gd name="T10" fmla="*/ 183107 w 134"/>
                <a:gd name="T11" fmla="*/ 100012 h 52"/>
                <a:gd name="T12" fmla="*/ 165941 w 134"/>
                <a:gd name="T13" fmla="*/ 98089 h 52"/>
                <a:gd name="T14" fmla="*/ 167848 w 134"/>
                <a:gd name="T15" fmla="*/ 94242 h 52"/>
                <a:gd name="T16" fmla="*/ 181200 w 134"/>
                <a:gd name="T17" fmla="*/ 82702 h 52"/>
                <a:gd name="T18" fmla="*/ 177385 w 134"/>
                <a:gd name="T19" fmla="*/ 76932 h 52"/>
                <a:gd name="T20" fmla="*/ 160219 w 134"/>
                <a:gd name="T21" fmla="*/ 75009 h 52"/>
                <a:gd name="T22" fmla="*/ 148775 w 134"/>
                <a:gd name="T23" fmla="*/ 65392 h 52"/>
                <a:gd name="T24" fmla="*/ 146867 w 134"/>
                <a:gd name="T25" fmla="*/ 48083 h 52"/>
                <a:gd name="T26" fmla="*/ 131608 w 134"/>
                <a:gd name="T27" fmla="*/ 48083 h 52"/>
                <a:gd name="T28" fmla="*/ 112535 w 134"/>
                <a:gd name="T29" fmla="*/ 42313 h 52"/>
                <a:gd name="T30" fmla="*/ 104905 w 134"/>
                <a:gd name="T31" fmla="*/ 32696 h 52"/>
                <a:gd name="T32" fmla="*/ 91554 w 134"/>
                <a:gd name="T33" fmla="*/ 34620 h 52"/>
                <a:gd name="T34" fmla="*/ 80109 w 134"/>
                <a:gd name="T35" fmla="*/ 30773 h 52"/>
                <a:gd name="T36" fmla="*/ 64850 w 134"/>
                <a:gd name="T37" fmla="*/ 28850 h 52"/>
                <a:gd name="T38" fmla="*/ 68665 w 134"/>
                <a:gd name="T39" fmla="*/ 25003 h 52"/>
                <a:gd name="T40" fmla="*/ 74387 w 134"/>
                <a:gd name="T41" fmla="*/ 21156 h 52"/>
                <a:gd name="T42" fmla="*/ 57221 w 134"/>
                <a:gd name="T43" fmla="*/ 15386 h 52"/>
                <a:gd name="T44" fmla="*/ 38147 w 134"/>
                <a:gd name="T45" fmla="*/ 23080 h 52"/>
                <a:gd name="T46" fmla="*/ 22888 w 134"/>
                <a:gd name="T47" fmla="*/ 32696 h 52"/>
                <a:gd name="T48" fmla="*/ 11444 w 134"/>
                <a:gd name="T49" fmla="*/ 42313 h 52"/>
                <a:gd name="T50" fmla="*/ 0 w 134"/>
                <a:gd name="T51" fmla="*/ 38466 h 52"/>
                <a:gd name="T52" fmla="*/ 9537 w 134"/>
                <a:gd name="T53" fmla="*/ 32696 h 52"/>
                <a:gd name="T54" fmla="*/ 15259 w 134"/>
                <a:gd name="T55" fmla="*/ 19233 h 52"/>
                <a:gd name="T56" fmla="*/ 38147 w 134"/>
                <a:gd name="T57" fmla="*/ 7693 h 52"/>
                <a:gd name="T58" fmla="*/ 64850 w 134"/>
                <a:gd name="T59" fmla="*/ 0 h 52"/>
                <a:gd name="T60" fmla="*/ 87739 w 134"/>
                <a:gd name="T61" fmla="*/ 3847 h 52"/>
                <a:gd name="T62" fmla="*/ 102998 w 134"/>
                <a:gd name="T63" fmla="*/ 5770 h 52"/>
                <a:gd name="T64" fmla="*/ 108720 w 134"/>
                <a:gd name="T65" fmla="*/ 9617 h 52"/>
                <a:gd name="T66" fmla="*/ 120164 w 134"/>
                <a:gd name="T67" fmla="*/ 11540 h 52"/>
                <a:gd name="T68" fmla="*/ 129701 w 134"/>
                <a:gd name="T69" fmla="*/ 25003 h 52"/>
                <a:gd name="T70" fmla="*/ 152589 w 134"/>
                <a:gd name="T71" fmla="*/ 26926 h 52"/>
                <a:gd name="T72" fmla="*/ 162126 w 134"/>
                <a:gd name="T73" fmla="*/ 40389 h 52"/>
                <a:gd name="T74" fmla="*/ 165941 w 134"/>
                <a:gd name="T75" fmla="*/ 38466 h 52"/>
                <a:gd name="T76" fmla="*/ 156404 w 134"/>
                <a:gd name="T77" fmla="*/ 26926 h 52"/>
                <a:gd name="T78" fmla="*/ 160219 w 134"/>
                <a:gd name="T79" fmla="*/ 25003 h 52"/>
                <a:gd name="T80" fmla="*/ 173570 w 134"/>
                <a:gd name="T81" fmla="*/ 38466 h 52"/>
                <a:gd name="T82" fmla="*/ 173570 w 134"/>
                <a:gd name="T83" fmla="*/ 44236 h 52"/>
                <a:gd name="T84" fmla="*/ 185014 w 134"/>
                <a:gd name="T85" fmla="*/ 46159 h 52"/>
                <a:gd name="T86" fmla="*/ 202181 w 134"/>
                <a:gd name="T87" fmla="*/ 55776 h 52"/>
                <a:gd name="T88" fmla="*/ 207903 w 134"/>
                <a:gd name="T89" fmla="*/ 63469 h 52"/>
                <a:gd name="T90" fmla="*/ 221254 w 134"/>
                <a:gd name="T91" fmla="*/ 65392 h 52"/>
                <a:gd name="T92" fmla="*/ 213625 w 134"/>
                <a:gd name="T93" fmla="*/ 75009 h 52"/>
                <a:gd name="T94" fmla="*/ 230791 w 134"/>
                <a:gd name="T95" fmla="*/ 73086 h 52"/>
                <a:gd name="T96" fmla="*/ 244143 w 134"/>
                <a:gd name="T97" fmla="*/ 76932 h 52"/>
                <a:gd name="T98" fmla="*/ 246050 w 134"/>
                <a:gd name="T99" fmla="*/ 8270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4" name="Freeform 1021"/>
            <p:cNvSpPr>
              <a:spLocks noChangeAspect="1"/>
            </p:cNvSpPr>
            <p:nvPr/>
          </p:nvSpPr>
          <p:spPr bwMode="auto">
            <a:xfrm>
              <a:off x="2318391" y="2374124"/>
              <a:ext cx="17618" cy="11607"/>
            </a:xfrm>
            <a:custGeom>
              <a:avLst/>
              <a:gdLst>
                <a:gd name="T0" fmla="*/ 9701 w 9"/>
                <a:gd name="T1" fmla="*/ 0 h 8"/>
                <a:gd name="T2" fmla="*/ 15522 w 9"/>
                <a:gd name="T3" fmla="*/ 10715 h 8"/>
                <a:gd name="T4" fmla="*/ 1940 w 9"/>
                <a:gd name="T5" fmla="*/ 12501 h 8"/>
                <a:gd name="T6" fmla="*/ 3880 w 9"/>
                <a:gd name="T7" fmla="*/ 7144 h 8"/>
                <a:gd name="T8" fmla="*/ 1940 w 9"/>
                <a:gd name="T9" fmla="*/ 1786 h 8"/>
                <a:gd name="T10" fmla="*/ 9701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5" name="Freeform 1022"/>
            <p:cNvSpPr>
              <a:spLocks noChangeAspect="1"/>
            </p:cNvSpPr>
            <p:nvPr/>
          </p:nvSpPr>
          <p:spPr bwMode="auto">
            <a:xfrm>
              <a:off x="2441722" y="2298032"/>
              <a:ext cx="14416" cy="18056"/>
            </a:xfrm>
            <a:custGeom>
              <a:avLst/>
              <a:gdLst>
                <a:gd name="T0" fmla="*/ 10206 w 7"/>
                <a:gd name="T1" fmla="*/ 1852 h 12"/>
                <a:gd name="T2" fmla="*/ 6123 w 7"/>
                <a:gd name="T3" fmla="*/ 1852 h 12"/>
                <a:gd name="T4" fmla="*/ 0 w 7"/>
                <a:gd name="T5" fmla="*/ 14817 h 12"/>
                <a:gd name="T6" fmla="*/ 6123 w 7"/>
                <a:gd name="T7" fmla="*/ 20373 h 12"/>
                <a:gd name="T8" fmla="*/ 14288 w 7"/>
                <a:gd name="T9" fmla="*/ 16669 h 12"/>
                <a:gd name="T10" fmla="*/ 10206 w 7"/>
                <a:gd name="T11" fmla="*/ 1852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6" name="Freeform 1023"/>
            <p:cNvSpPr>
              <a:spLocks noChangeAspect="1"/>
            </p:cNvSpPr>
            <p:nvPr/>
          </p:nvSpPr>
          <p:spPr bwMode="auto">
            <a:xfrm>
              <a:off x="2427308" y="2259342"/>
              <a:ext cx="32034" cy="6449"/>
            </a:xfrm>
            <a:custGeom>
              <a:avLst/>
              <a:gdLst>
                <a:gd name="T0" fmla="*/ 28015 w 17"/>
                <a:gd name="T1" fmla="*/ 0 h 4"/>
                <a:gd name="T2" fmla="*/ 29882 w 17"/>
                <a:gd name="T3" fmla="*/ 3969 h 4"/>
                <a:gd name="T4" fmla="*/ 20544 w 17"/>
                <a:gd name="T5" fmla="*/ 3969 h 4"/>
                <a:gd name="T6" fmla="*/ 7471 w 17"/>
                <a:gd name="T7" fmla="*/ 7938 h 4"/>
                <a:gd name="T8" fmla="*/ 1868 w 17"/>
                <a:gd name="T9" fmla="*/ 1985 h 4"/>
                <a:gd name="T10" fmla="*/ 11206 w 17"/>
                <a:gd name="T11" fmla="*/ 1985 h 4"/>
                <a:gd name="T12" fmla="*/ 22412 w 17"/>
                <a:gd name="T13" fmla="*/ 0 h 4"/>
                <a:gd name="T14" fmla="*/ 28015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7" name="Freeform 1024"/>
            <p:cNvSpPr>
              <a:spLocks noChangeAspect="1"/>
            </p:cNvSpPr>
            <p:nvPr/>
          </p:nvSpPr>
          <p:spPr bwMode="auto">
            <a:xfrm>
              <a:off x="2462545" y="2254184"/>
              <a:ext cx="14415" cy="29663"/>
            </a:xfrm>
            <a:custGeom>
              <a:avLst/>
              <a:gdLst>
                <a:gd name="T0" fmla="*/ 2041 w 7"/>
                <a:gd name="T1" fmla="*/ 1922 h 19"/>
                <a:gd name="T2" fmla="*/ 4082 w 7"/>
                <a:gd name="T3" fmla="*/ 9609 h 19"/>
                <a:gd name="T4" fmla="*/ 10205 w 7"/>
                <a:gd name="T5" fmla="*/ 11530 h 19"/>
                <a:gd name="T6" fmla="*/ 6123 w 7"/>
                <a:gd name="T7" fmla="*/ 24983 h 19"/>
                <a:gd name="T8" fmla="*/ 2041 w 7"/>
                <a:gd name="T9" fmla="*/ 30748 h 19"/>
                <a:gd name="T10" fmla="*/ 6123 w 7"/>
                <a:gd name="T11" fmla="*/ 34591 h 19"/>
                <a:gd name="T12" fmla="*/ 8164 w 7"/>
                <a:gd name="T13" fmla="*/ 28826 h 19"/>
                <a:gd name="T14" fmla="*/ 14287 w 7"/>
                <a:gd name="T15" fmla="*/ 13452 h 19"/>
                <a:gd name="T16" fmla="*/ 14287 w 7"/>
                <a:gd name="T17" fmla="*/ 9609 h 19"/>
                <a:gd name="T18" fmla="*/ 8164 w 7"/>
                <a:gd name="T19" fmla="*/ 5765 h 19"/>
                <a:gd name="T20" fmla="*/ 2041 w 7"/>
                <a:gd name="T21" fmla="*/ 192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8" name="Freeform 1025"/>
            <p:cNvSpPr>
              <a:spLocks noChangeAspect="1"/>
            </p:cNvSpPr>
            <p:nvPr/>
          </p:nvSpPr>
          <p:spPr bwMode="auto">
            <a:xfrm>
              <a:off x="2480164" y="2291585"/>
              <a:ext cx="14416" cy="18056"/>
            </a:xfrm>
            <a:custGeom>
              <a:avLst/>
              <a:gdLst>
                <a:gd name="T0" fmla="*/ 0 w 7"/>
                <a:gd name="T1" fmla="*/ 1852 h 12"/>
                <a:gd name="T2" fmla="*/ 10206 w 7"/>
                <a:gd name="T3" fmla="*/ 9260 h 12"/>
                <a:gd name="T4" fmla="*/ 12247 w 7"/>
                <a:gd name="T5" fmla="*/ 20373 h 12"/>
                <a:gd name="T6" fmla="*/ 14288 w 7"/>
                <a:gd name="T7" fmla="*/ 18521 h 12"/>
                <a:gd name="T8" fmla="*/ 12247 w 7"/>
                <a:gd name="T9" fmla="*/ 7408 h 12"/>
                <a:gd name="T10" fmla="*/ 6123 w 7"/>
                <a:gd name="T11" fmla="*/ 0 h 12"/>
                <a:gd name="T12" fmla="*/ 0 w 7"/>
                <a:gd name="T13" fmla="*/ 185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9" name="Freeform 1026"/>
            <p:cNvSpPr>
              <a:spLocks noChangeAspect="1"/>
            </p:cNvSpPr>
            <p:nvPr/>
          </p:nvSpPr>
          <p:spPr bwMode="auto">
            <a:xfrm>
              <a:off x="2523411" y="1826010"/>
              <a:ext cx="12814" cy="7738"/>
            </a:xfrm>
            <a:custGeom>
              <a:avLst/>
              <a:gdLst>
                <a:gd name="T0" fmla="*/ 10886 w 7"/>
                <a:gd name="T1" fmla="*/ 1905 h 5"/>
                <a:gd name="T2" fmla="*/ 10886 w 7"/>
                <a:gd name="T3" fmla="*/ 5715 h 5"/>
                <a:gd name="T4" fmla="*/ 5443 w 7"/>
                <a:gd name="T5" fmla="*/ 7620 h 5"/>
                <a:gd name="T6" fmla="*/ 0 w 7"/>
                <a:gd name="T7" fmla="*/ 3810 h 5"/>
                <a:gd name="T8" fmla="*/ 3629 w 7"/>
                <a:gd name="T9" fmla="*/ 0 h 5"/>
                <a:gd name="T10" fmla="*/ 10886 w 7"/>
                <a:gd name="T11" fmla="*/ 1905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0" name="Freeform 1027"/>
            <p:cNvSpPr>
              <a:spLocks noChangeAspect="1"/>
            </p:cNvSpPr>
            <p:nvPr/>
          </p:nvSpPr>
          <p:spPr bwMode="auto">
            <a:xfrm>
              <a:off x="2395273" y="1777002"/>
              <a:ext cx="36839" cy="10318"/>
            </a:xfrm>
            <a:custGeom>
              <a:avLst/>
              <a:gdLst>
                <a:gd name="T0" fmla="*/ 36512 w 19"/>
                <a:gd name="T1" fmla="*/ 6350 h 6"/>
                <a:gd name="T2" fmla="*/ 28825 w 19"/>
                <a:gd name="T3" fmla="*/ 12700 h 6"/>
                <a:gd name="T4" fmla="*/ 21139 w 19"/>
                <a:gd name="T5" fmla="*/ 10583 h 6"/>
                <a:gd name="T6" fmla="*/ 7687 w 19"/>
                <a:gd name="T7" fmla="*/ 6350 h 6"/>
                <a:gd name="T8" fmla="*/ 0 w 19"/>
                <a:gd name="T9" fmla="*/ 2117 h 6"/>
                <a:gd name="T10" fmla="*/ 7687 w 19"/>
                <a:gd name="T11" fmla="*/ 2117 h 6"/>
                <a:gd name="T12" fmla="*/ 13452 w 19"/>
                <a:gd name="T13" fmla="*/ 4233 h 6"/>
                <a:gd name="T14" fmla="*/ 17295 w 19"/>
                <a:gd name="T15" fmla="*/ 2117 h 6"/>
                <a:gd name="T16" fmla="*/ 28825 w 19"/>
                <a:gd name="T17" fmla="*/ 4233 h 6"/>
                <a:gd name="T18" fmla="*/ 36512 w 19"/>
                <a:gd name="T19" fmla="*/ 635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1" name="Freeform 1028"/>
            <p:cNvSpPr>
              <a:spLocks noChangeAspect="1"/>
            </p:cNvSpPr>
            <p:nvPr/>
          </p:nvSpPr>
          <p:spPr bwMode="auto">
            <a:xfrm>
              <a:off x="2382460" y="1774423"/>
              <a:ext cx="8008" cy="5158"/>
            </a:xfrm>
            <a:custGeom>
              <a:avLst/>
              <a:gdLst>
                <a:gd name="T0" fmla="*/ 3969 w 4"/>
                <a:gd name="T1" fmla="*/ 0 h 3"/>
                <a:gd name="T2" fmla="*/ 0 w 4"/>
                <a:gd name="T3" fmla="*/ 2117 h 3"/>
                <a:gd name="T4" fmla="*/ 3969 w 4"/>
                <a:gd name="T5" fmla="*/ 6350 h 3"/>
                <a:gd name="T6" fmla="*/ 7937 w 4"/>
                <a:gd name="T7" fmla="*/ 2117 h 3"/>
                <a:gd name="T8" fmla="*/ 3969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2" name="Freeform 1029"/>
            <p:cNvSpPr>
              <a:spLocks noChangeAspect="1"/>
            </p:cNvSpPr>
            <p:nvPr/>
          </p:nvSpPr>
          <p:spPr bwMode="auto">
            <a:xfrm>
              <a:off x="2268738" y="1718967"/>
              <a:ext cx="16017" cy="9027"/>
            </a:xfrm>
            <a:custGeom>
              <a:avLst/>
              <a:gdLst>
                <a:gd name="T0" fmla="*/ 1984 w 8"/>
                <a:gd name="T1" fmla="*/ 7408 h 6"/>
                <a:gd name="T2" fmla="*/ 3969 w 8"/>
                <a:gd name="T3" fmla="*/ 11112 h 6"/>
                <a:gd name="T4" fmla="*/ 15875 w 8"/>
                <a:gd name="T5" fmla="*/ 3704 h 6"/>
                <a:gd name="T6" fmla="*/ 13891 w 8"/>
                <a:gd name="T7" fmla="*/ 1852 h 6"/>
                <a:gd name="T8" fmla="*/ 1984 w 8"/>
                <a:gd name="T9" fmla="*/ 7408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3" name="Freeform 1030"/>
            <p:cNvSpPr>
              <a:spLocks noChangeAspect="1"/>
            </p:cNvSpPr>
            <p:nvPr/>
          </p:nvSpPr>
          <p:spPr bwMode="auto">
            <a:xfrm>
              <a:off x="2297569" y="1702201"/>
              <a:ext cx="6407" cy="3869"/>
            </a:xfrm>
            <a:custGeom>
              <a:avLst/>
              <a:gdLst>
                <a:gd name="T0" fmla="*/ 2117 w 3"/>
                <a:gd name="T1" fmla="*/ 0 h 3"/>
                <a:gd name="T2" fmla="*/ 2117 w 3"/>
                <a:gd name="T3" fmla="*/ 4763 h 3"/>
                <a:gd name="T4" fmla="*/ 6350 w 3"/>
                <a:gd name="T5" fmla="*/ 4763 h 3"/>
                <a:gd name="T6" fmla="*/ 6350 w 3"/>
                <a:gd name="T7" fmla="*/ 1588 h 3"/>
                <a:gd name="T8" fmla="*/ 2117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4" name="Freeform 1031"/>
            <p:cNvSpPr>
              <a:spLocks noChangeAspect="1"/>
            </p:cNvSpPr>
            <p:nvPr/>
          </p:nvSpPr>
          <p:spPr bwMode="auto">
            <a:xfrm>
              <a:off x="2342416" y="1727995"/>
              <a:ext cx="8009" cy="5158"/>
            </a:xfrm>
            <a:custGeom>
              <a:avLst/>
              <a:gdLst>
                <a:gd name="T0" fmla="*/ 1985 w 4"/>
                <a:gd name="T1" fmla="*/ 2117 h 3"/>
                <a:gd name="T2" fmla="*/ 1985 w 4"/>
                <a:gd name="T3" fmla="*/ 6350 h 3"/>
                <a:gd name="T4" fmla="*/ 5953 w 4"/>
                <a:gd name="T5" fmla="*/ 4233 h 3"/>
                <a:gd name="T6" fmla="*/ 7938 w 4"/>
                <a:gd name="T7" fmla="*/ 2117 h 3"/>
                <a:gd name="T8" fmla="*/ 1985 w 4"/>
                <a:gd name="T9" fmla="*/ 2117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5" name="Freeform 1032"/>
            <p:cNvSpPr>
              <a:spLocks noChangeAspect="1"/>
            </p:cNvSpPr>
            <p:nvPr/>
          </p:nvSpPr>
          <p:spPr bwMode="auto">
            <a:xfrm>
              <a:off x="2901414" y="1749920"/>
              <a:ext cx="41645" cy="39980"/>
            </a:xfrm>
            <a:custGeom>
              <a:avLst/>
              <a:gdLst>
                <a:gd name="T0" fmla="*/ 20638 w 22"/>
                <a:gd name="T1" fmla="*/ 0 h 26"/>
                <a:gd name="T2" fmla="*/ 26266 w 22"/>
                <a:gd name="T3" fmla="*/ 11357 h 26"/>
                <a:gd name="T4" fmla="*/ 16885 w 22"/>
                <a:gd name="T5" fmla="*/ 28392 h 26"/>
                <a:gd name="T6" fmla="*/ 11257 w 22"/>
                <a:gd name="T7" fmla="*/ 39748 h 26"/>
                <a:gd name="T8" fmla="*/ 20638 w 22"/>
                <a:gd name="T9" fmla="*/ 39748 h 26"/>
                <a:gd name="T10" fmla="*/ 26266 w 22"/>
                <a:gd name="T11" fmla="*/ 26499 h 26"/>
                <a:gd name="T12" fmla="*/ 37523 w 22"/>
                <a:gd name="T13" fmla="*/ 26499 h 26"/>
                <a:gd name="T14" fmla="*/ 31894 w 22"/>
                <a:gd name="T15" fmla="*/ 39748 h 26"/>
                <a:gd name="T16" fmla="*/ 18761 w 22"/>
                <a:gd name="T17" fmla="*/ 49212 h 26"/>
                <a:gd name="T18" fmla="*/ 7505 w 22"/>
                <a:gd name="T19" fmla="*/ 45426 h 26"/>
                <a:gd name="T20" fmla="*/ 1876 w 22"/>
                <a:gd name="T21" fmla="*/ 35963 h 26"/>
                <a:gd name="T22" fmla="*/ 1876 w 22"/>
                <a:gd name="T23" fmla="*/ 22713 h 26"/>
                <a:gd name="T24" fmla="*/ 15009 w 22"/>
                <a:gd name="T25" fmla="*/ 3786 h 26"/>
                <a:gd name="T26" fmla="*/ 20638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6" name="Freeform 1033"/>
            <p:cNvSpPr>
              <a:spLocks noChangeAspect="1"/>
            </p:cNvSpPr>
            <p:nvPr/>
          </p:nvSpPr>
          <p:spPr bwMode="auto">
            <a:xfrm>
              <a:off x="2837346" y="1746051"/>
              <a:ext cx="54458" cy="30953"/>
            </a:xfrm>
            <a:custGeom>
              <a:avLst/>
              <a:gdLst>
                <a:gd name="T0" fmla="*/ 50120 w 28"/>
                <a:gd name="T1" fmla="*/ 20955 h 20"/>
                <a:gd name="T2" fmla="*/ 42409 w 28"/>
                <a:gd name="T3" fmla="*/ 26670 h 20"/>
                <a:gd name="T4" fmla="*/ 42409 w 28"/>
                <a:gd name="T5" fmla="*/ 36195 h 20"/>
                <a:gd name="T6" fmla="*/ 30843 w 28"/>
                <a:gd name="T7" fmla="*/ 34290 h 20"/>
                <a:gd name="T8" fmla="*/ 30843 w 28"/>
                <a:gd name="T9" fmla="*/ 26670 h 20"/>
                <a:gd name="T10" fmla="*/ 21204 w 28"/>
                <a:gd name="T11" fmla="*/ 30480 h 20"/>
                <a:gd name="T12" fmla="*/ 9638 w 28"/>
                <a:gd name="T13" fmla="*/ 22860 h 20"/>
                <a:gd name="T14" fmla="*/ 1928 w 28"/>
                <a:gd name="T15" fmla="*/ 19050 h 20"/>
                <a:gd name="T16" fmla="*/ 1928 w 28"/>
                <a:gd name="T17" fmla="*/ 7620 h 20"/>
                <a:gd name="T18" fmla="*/ 7711 w 28"/>
                <a:gd name="T19" fmla="*/ 1905 h 20"/>
                <a:gd name="T20" fmla="*/ 7711 w 28"/>
                <a:gd name="T21" fmla="*/ 13335 h 20"/>
                <a:gd name="T22" fmla="*/ 13494 w 28"/>
                <a:gd name="T23" fmla="*/ 19050 h 20"/>
                <a:gd name="T24" fmla="*/ 25060 w 28"/>
                <a:gd name="T25" fmla="*/ 22860 h 20"/>
                <a:gd name="T26" fmla="*/ 36626 w 28"/>
                <a:gd name="T27" fmla="*/ 20955 h 20"/>
                <a:gd name="T28" fmla="*/ 50120 w 28"/>
                <a:gd name="T29" fmla="*/ 20955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7" name="Freeform 1034"/>
            <p:cNvSpPr>
              <a:spLocks noChangeAspect="1"/>
            </p:cNvSpPr>
            <p:nvPr/>
          </p:nvSpPr>
          <p:spPr bwMode="auto">
            <a:xfrm>
              <a:off x="2845354" y="1671248"/>
              <a:ext cx="64069" cy="23214"/>
            </a:xfrm>
            <a:custGeom>
              <a:avLst/>
              <a:gdLst>
                <a:gd name="T0" fmla="*/ 1924 w 33"/>
                <a:gd name="T1" fmla="*/ 3810 h 15"/>
                <a:gd name="T2" fmla="*/ 3848 w 33"/>
                <a:gd name="T3" fmla="*/ 0 h 15"/>
                <a:gd name="T4" fmla="*/ 36561 w 33"/>
                <a:gd name="T5" fmla="*/ 5715 h 15"/>
                <a:gd name="T6" fmla="*/ 57727 w 33"/>
                <a:gd name="T7" fmla="*/ 17145 h 15"/>
                <a:gd name="T8" fmla="*/ 61576 w 33"/>
                <a:gd name="T9" fmla="*/ 24765 h 15"/>
                <a:gd name="T10" fmla="*/ 36561 w 33"/>
                <a:gd name="T11" fmla="*/ 22860 h 15"/>
                <a:gd name="T12" fmla="*/ 17318 w 33"/>
                <a:gd name="T13" fmla="*/ 11430 h 15"/>
                <a:gd name="T14" fmla="*/ 1924 w 33"/>
                <a:gd name="T15" fmla="*/ 3810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8" name="Freeform 1035"/>
            <p:cNvSpPr>
              <a:spLocks noChangeAspect="1"/>
            </p:cNvSpPr>
            <p:nvPr/>
          </p:nvSpPr>
          <p:spPr bwMode="auto">
            <a:xfrm>
              <a:off x="2893405" y="1727995"/>
              <a:ext cx="11213" cy="14187"/>
            </a:xfrm>
            <a:custGeom>
              <a:avLst/>
              <a:gdLst>
                <a:gd name="T0" fmla="*/ 9261 w 6"/>
                <a:gd name="T1" fmla="*/ 1940 h 9"/>
                <a:gd name="T2" fmla="*/ 0 w 6"/>
                <a:gd name="T3" fmla="*/ 17463 h 9"/>
                <a:gd name="T4" fmla="*/ 5557 w 6"/>
                <a:gd name="T5" fmla="*/ 15523 h 9"/>
                <a:gd name="T6" fmla="*/ 11113 w 6"/>
                <a:gd name="T7" fmla="*/ 1940 h 9"/>
                <a:gd name="T8" fmla="*/ 9261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9" name="Freeform 1036"/>
            <p:cNvSpPr>
              <a:spLocks noChangeAspect="1"/>
            </p:cNvSpPr>
            <p:nvPr/>
          </p:nvSpPr>
          <p:spPr bwMode="auto">
            <a:xfrm>
              <a:off x="2955872" y="1626110"/>
              <a:ext cx="158568" cy="135417"/>
            </a:xfrm>
            <a:custGeom>
              <a:avLst/>
              <a:gdLst>
                <a:gd name="T0" fmla="*/ 100356 w 83"/>
                <a:gd name="T1" fmla="*/ 3788 h 88"/>
                <a:gd name="T2" fmla="*/ 88995 w 83"/>
                <a:gd name="T3" fmla="*/ 11365 h 88"/>
                <a:gd name="T4" fmla="*/ 87102 w 83"/>
                <a:gd name="T5" fmla="*/ 24624 h 88"/>
                <a:gd name="T6" fmla="*/ 70060 w 83"/>
                <a:gd name="T7" fmla="*/ 47354 h 88"/>
                <a:gd name="T8" fmla="*/ 68167 w 83"/>
                <a:gd name="T9" fmla="*/ 60613 h 88"/>
                <a:gd name="T10" fmla="*/ 79528 w 83"/>
                <a:gd name="T11" fmla="*/ 45460 h 88"/>
                <a:gd name="T12" fmla="*/ 88995 w 83"/>
                <a:gd name="T13" fmla="*/ 54931 h 88"/>
                <a:gd name="T14" fmla="*/ 79528 w 83"/>
                <a:gd name="T15" fmla="*/ 62508 h 88"/>
                <a:gd name="T16" fmla="*/ 100356 w 83"/>
                <a:gd name="T17" fmla="*/ 73873 h 88"/>
                <a:gd name="T18" fmla="*/ 109824 w 83"/>
                <a:gd name="T19" fmla="*/ 73873 h 88"/>
                <a:gd name="T20" fmla="*/ 117398 w 83"/>
                <a:gd name="T21" fmla="*/ 71978 h 88"/>
                <a:gd name="T22" fmla="*/ 124972 w 83"/>
                <a:gd name="T23" fmla="*/ 70084 h 88"/>
                <a:gd name="T24" fmla="*/ 136333 w 83"/>
                <a:gd name="T25" fmla="*/ 71978 h 88"/>
                <a:gd name="T26" fmla="*/ 123079 w 83"/>
                <a:gd name="T27" fmla="*/ 89026 h 88"/>
                <a:gd name="T28" fmla="*/ 124972 w 83"/>
                <a:gd name="T29" fmla="*/ 104179 h 88"/>
                <a:gd name="T30" fmla="*/ 140120 w 83"/>
                <a:gd name="T31" fmla="*/ 98497 h 88"/>
                <a:gd name="T32" fmla="*/ 140120 w 83"/>
                <a:gd name="T33" fmla="*/ 106074 h 88"/>
                <a:gd name="T34" fmla="*/ 124972 w 83"/>
                <a:gd name="T35" fmla="*/ 113650 h 88"/>
                <a:gd name="T36" fmla="*/ 128759 w 83"/>
                <a:gd name="T37" fmla="*/ 119333 h 88"/>
                <a:gd name="T38" fmla="*/ 124972 w 83"/>
                <a:gd name="T39" fmla="*/ 128804 h 88"/>
                <a:gd name="T40" fmla="*/ 130653 w 83"/>
                <a:gd name="T41" fmla="*/ 126909 h 88"/>
                <a:gd name="T42" fmla="*/ 143907 w 83"/>
                <a:gd name="T43" fmla="*/ 115544 h 88"/>
                <a:gd name="T44" fmla="*/ 145801 w 83"/>
                <a:gd name="T45" fmla="*/ 121227 h 88"/>
                <a:gd name="T46" fmla="*/ 140120 w 83"/>
                <a:gd name="T47" fmla="*/ 138274 h 88"/>
                <a:gd name="T48" fmla="*/ 151481 w 83"/>
                <a:gd name="T49" fmla="*/ 126909 h 88"/>
                <a:gd name="T50" fmla="*/ 147694 w 83"/>
                <a:gd name="T51" fmla="*/ 143957 h 88"/>
                <a:gd name="T52" fmla="*/ 140120 w 83"/>
                <a:gd name="T53" fmla="*/ 162899 h 88"/>
                <a:gd name="T54" fmla="*/ 126866 w 83"/>
                <a:gd name="T55" fmla="*/ 162899 h 88"/>
                <a:gd name="T56" fmla="*/ 126866 w 83"/>
                <a:gd name="T57" fmla="*/ 149639 h 88"/>
                <a:gd name="T58" fmla="*/ 113611 w 83"/>
                <a:gd name="T59" fmla="*/ 161004 h 88"/>
                <a:gd name="T60" fmla="*/ 121185 w 83"/>
                <a:gd name="T61" fmla="*/ 140169 h 88"/>
                <a:gd name="T62" fmla="*/ 119292 w 83"/>
                <a:gd name="T63" fmla="*/ 125015 h 88"/>
                <a:gd name="T64" fmla="*/ 111718 w 83"/>
                <a:gd name="T65" fmla="*/ 123121 h 88"/>
                <a:gd name="T66" fmla="*/ 107931 w 83"/>
                <a:gd name="T67" fmla="*/ 140169 h 88"/>
                <a:gd name="T68" fmla="*/ 94676 w 83"/>
                <a:gd name="T69" fmla="*/ 143957 h 88"/>
                <a:gd name="T70" fmla="*/ 85208 w 83"/>
                <a:gd name="T71" fmla="*/ 155322 h 88"/>
                <a:gd name="T72" fmla="*/ 71954 w 83"/>
                <a:gd name="T73" fmla="*/ 155322 h 88"/>
                <a:gd name="T74" fmla="*/ 90889 w 83"/>
                <a:gd name="T75" fmla="*/ 140169 h 88"/>
                <a:gd name="T76" fmla="*/ 96569 w 83"/>
                <a:gd name="T77" fmla="*/ 126909 h 88"/>
                <a:gd name="T78" fmla="*/ 83315 w 83"/>
                <a:gd name="T79" fmla="*/ 134486 h 88"/>
                <a:gd name="T80" fmla="*/ 70060 w 83"/>
                <a:gd name="T81" fmla="*/ 125015 h 88"/>
                <a:gd name="T82" fmla="*/ 43551 w 83"/>
                <a:gd name="T83" fmla="*/ 130698 h 88"/>
                <a:gd name="T84" fmla="*/ 20829 w 83"/>
                <a:gd name="T85" fmla="*/ 126909 h 88"/>
                <a:gd name="T86" fmla="*/ 5681 w 83"/>
                <a:gd name="T87" fmla="*/ 130698 h 88"/>
                <a:gd name="T88" fmla="*/ 0 w 83"/>
                <a:gd name="T89" fmla="*/ 119333 h 88"/>
                <a:gd name="T90" fmla="*/ 17042 w 83"/>
                <a:gd name="T91" fmla="*/ 104179 h 88"/>
                <a:gd name="T92" fmla="*/ 28403 w 83"/>
                <a:gd name="T93" fmla="*/ 96603 h 88"/>
                <a:gd name="T94" fmla="*/ 7574 w 83"/>
                <a:gd name="T95" fmla="*/ 96603 h 88"/>
                <a:gd name="T96" fmla="*/ 20829 w 83"/>
                <a:gd name="T97" fmla="*/ 85238 h 88"/>
                <a:gd name="T98" fmla="*/ 35977 w 83"/>
                <a:gd name="T99" fmla="*/ 83344 h 88"/>
                <a:gd name="T100" fmla="*/ 34083 w 83"/>
                <a:gd name="T101" fmla="*/ 73873 h 88"/>
                <a:gd name="T102" fmla="*/ 34083 w 83"/>
                <a:gd name="T103" fmla="*/ 66296 h 88"/>
                <a:gd name="T104" fmla="*/ 49231 w 83"/>
                <a:gd name="T105" fmla="*/ 49248 h 88"/>
                <a:gd name="T106" fmla="*/ 56806 w 83"/>
                <a:gd name="T107" fmla="*/ 32201 h 88"/>
                <a:gd name="T108" fmla="*/ 68167 w 83"/>
                <a:gd name="T109" fmla="*/ 13259 h 88"/>
                <a:gd name="T110" fmla="*/ 83315 w 83"/>
                <a:gd name="T111" fmla="*/ 1894 h 88"/>
                <a:gd name="T112" fmla="*/ 92782 w 83"/>
                <a:gd name="T113" fmla="*/ 1894 h 88"/>
                <a:gd name="T114" fmla="*/ 100356 w 83"/>
                <a:gd name="T115" fmla="*/ 3788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0" name="Freeform 1037"/>
            <p:cNvSpPr>
              <a:spLocks noChangeAspect="1"/>
            </p:cNvSpPr>
            <p:nvPr/>
          </p:nvSpPr>
          <p:spPr bwMode="auto">
            <a:xfrm>
              <a:off x="2593885" y="1900811"/>
              <a:ext cx="48051" cy="15476"/>
            </a:xfrm>
            <a:custGeom>
              <a:avLst/>
              <a:gdLst>
                <a:gd name="T0" fmla="*/ 1905 w 25"/>
                <a:gd name="T1" fmla="*/ 13335 h 10"/>
                <a:gd name="T2" fmla="*/ 1905 w 25"/>
                <a:gd name="T3" fmla="*/ 17145 h 10"/>
                <a:gd name="T4" fmla="*/ 11430 w 25"/>
                <a:gd name="T5" fmla="*/ 17145 h 10"/>
                <a:gd name="T6" fmla="*/ 34290 w 25"/>
                <a:gd name="T7" fmla="*/ 9525 h 10"/>
                <a:gd name="T8" fmla="*/ 45720 w 25"/>
                <a:gd name="T9" fmla="*/ 5715 h 10"/>
                <a:gd name="T10" fmla="*/ 41910 w 25"/>
                <a:gd name="T11" fmla="*/ 5715 h 10"/>
                <a:gd name="T12" fmla="*/ 32385 w 25"/>
                <a:gd name="T13" fmla="*/ 5715 h 10"/>
                <a:gd name="T14" fmla="*/ 38100 w 25"/>
                <a:gd name="T15" fmla="*/ 1905 h 10"/>
                <a:gd name="T16" fmla="*/ 32385 w 25"/>
                <a:gd name="T17" fmla="*/ 1905 h 10"/>
                <a:gd name="T18" fmla="*/ 17145 w 25"/>
                <a:gd name="T19" fmla="*/ 5715 h 10"/>
                <a:gd name="T20" fmla="*/ 9525 w 25"/>
                <a:gd name="T21" fmla="*/ 7620 h 10"/>
                <a:gd name="T22" fmla="*/ 1905 w 25"/>
                <a:gd name="T23" fmla="*/ 13335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1" name="Freeform 1038"/>
            <p:cNvSpPr>
              <a:spLocks noChangeAspect="1"/>
            </p:cNvSpPr>
            <p:nvPr/>
          </p:nvSpPr>
          <p:spPr bwMode="auto">
            <a:xfrm>
              <a:off x="2518605" y="1489404"/>
              <a:ext cx="28831" cy="23214"/>
            </a:xfrm>
            <a:custGeom>
              <a:avLst/>
              <a:gdLst>
                <a:gd name="T0" fmla="*/ 17145 w 15"/>
                <a:gd name="T1" fmla="*/ 1905 h 15"/>
                <a:gd name="T2" fmla="*/ 13335 w 15"/>
                <a:gd name="T3" fmla="*/ 11430 h 15"/>
                <a:gd name="T4" fmla="*/ 9525 w 15"/>
                <a:gd name="T5" fmla="*/ 9525 h 15"/>
                <a:gd name="T6" fmla="*/ 1905 w 15"/>
                <a:gd name="T7" fmla="*/ 24765 h 15"/>
                <a:gd name="T8" fmla="*/ 15240 w 15"/>
                <a:gd name="T9" fmla="*/ 22860 h 15"/>
                <a:gd name="T10" fmla="*/ 24765 w 15"/>
                <a:gd name="T11" fmla="*/ 17145 h 15"/>
                <a:gd name="T12" fmla="*/ 28575 w 15"/>
                <a:gd name="T13" fmla="*/ 7620 h 15"/>
                <a:gd name="T14" fmla="*/ 22860 w 15"/>
                <a:gd name="T15" fmla="*/ 0 h 15"/>
                <a:gd name="T16" fmla="*/ 17145 w 15"/>
                <a:gd name="T17" fmla="*/ 190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2" name="Freeform 1039"/>
            <p:cNvSpPr>
              <a:spLocks noChangeAspect="1"/>
            </p:cNvSpPr>
            <p:nvPr/>
          </p:nvSpPr>
          <p:spPr bwMode="auto">
            <a:xfrm>
              <a:off x="2459342" y="1582261"/>
              <a:ext cx="28831" cy="14186"/>
            </a:xfrm>
            <a:custGeom>
              <a:avLst/>
              <a:gdLst>
                <a:gd name="T0" fmla="*/ 24765 w 15"/>
                <a:gd name="T1" fmla="*/ 5821 h 9"/>
                <a:gd name="T2" fmla="*/ 28575 w 15"/>
                <a:gd name="T3" fmla="*/ 15522 h 9"/>
                <a:gd name="T4" fmla="*/ 20955 w 15"/>
                <a:gd name="T5" fmla="*/ 15522 h 9"/>
                <a:gd name="T6" fmla="*/ 11430 w 15"/>
                <a:gd name="T7" fmla="*/ 13582 h 9"/>
                <a:gd name="T8" fmla="*/ 1905 w 15"/>
                <a:gd name="T9" fmla="*/ 9701 h 9"/>
                <a:gd name="T10" fmla="*/ 5715 w 15"/>
                <a:gd name="T11" fmla="*/ 1940 h 9"/>
                <a:gd name="T12" fmla="*/ 19050 w 15"/>
                <a:gd name="T13" fmla="*/ 0 h 9"/>
                <a:gd name="T14" fmla="*/ 24765 w 15"/>
                <a:gd name="T15" fmla="*/ 5821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3" name="Freeform 1040"/>
            <p:cNvSpPr>
              <a:spLocks noChangeAspect="1"/>
            </p:cNvSpPr>
            <p:nvPr/>
          </p:nvSpPr>
          <p:spPr bwMode="auto">
            <a:xfrm>
              <a:off x="2805311" y="1365595"/>
              <a:ext cx="16017" cy="14186"/>
            </a:xfrm>
            <a:custGeom>
              <a:avLst/>
              <a:gdLst>
                <a:gd name="T0" fmla="*/ 9922 w 8"/>
                <a:gd name="T1" fmla="*/ 0 h 9"/>
                <a:gd name="T2" fmla="*/ 13891 w 8"/>
                <a:gd name="T3" fmla="*/ 7761 h 9"/>
                <a:gd name="T4" fmla="*/ 3969 w 8"/>
                <a:gd name="T5" fmla="*/ 17462 h 9"/>
                <a:gd name="T6" fmla="*/ 1984 w 8"/>
                <a:gd name="T7" fmla="*/ 13582 h 9"/>
                <a:gd name="T8" fmla="*/ 9922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4" name="Freeform 1041"/>
            <p:cNvSpPr>
              <a:spLocks noChangeAspect="1"/>
            </p:cNvSpPr>
            <p:nvPr/>
          </p:nvSpPr>
          <p:spPr bwMode="auto">
            <a:xfrm>
              <a:off x="2882194" y="1334643"/>
              <a:ext cx="11212" cy="14186"/>
            </a:xfrm>
            <a:custGeom>
              <a:avLst/>
              <a:gdLst>
                <a:gd name="T0" fmla="*/ 0 w 6"/>
                <a:gd name="T1" fmla="*/ 3880 h 9"/>
                <a:gd name="T2" fmla="*/ 5556 w 6"/>
                <a:gd name="T3" fmla="*/ 15522 h 9"/>
                <a:gd name="T4" fmla="*/ 11112 w 6"/>
                <a:gd name="T5" fmla="*/ 11641 h 9"/>
                <a:gd name="T6" fmla="*/ 11112 w 6"/>
                <a:gd name="T7" fmla="*/ 5821 h 9"/>
                <a:gd name="T8" fmla="*/ 7408 w 6"/>
                <a:gd name="T9" fmla="*/ 1940 h 9"/>
                <a:gd name="T10" fmla="*/ 1852 w 6"/>
                <a:gd name="T11" fmla="*/ 1940 h 9"/>
                <a:gd name="T12" fmla="*/ 0 w 6"/>
                <a:gd name="T13" fmla="*/ 3880 h 9"/>
                <a:gd name="T14" fmla="*/ 0 60000 65536"/>
                <a:gd name="T15" fmla="*/ 0 60000 65536"/>
                <a:gd name="T16" fmla="*/ 0 60000 65536"/>
                <a:gd name="T17" fmla="*/ 0 60000 65536"/>
                <a:gd name="T18" fmla="*/ 0 60000 65536"/>
                <a:gd name="T19" fmla="*/ 0 60000 65536"/>
                <a:gd name="T20" fmla="*/ 0 60000 65536"/>
                <a:gd name="T21" fmla="*/ 0 w 6"/>
                <a:gd name="T22" fmla="*/ 0 h 9"/>
                <a:gd name="T23" fmla="*/ 6 w 6"/>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9">
                  <a:moveTo>
                    <a:pt x="0" y="2"/>
                  </a:moveTo>
                  <a:cubicBezTo>
                    <a:pt x="0" y="4"/>
                    <a:pt x="1" y="7"/>
                    <a:pt x="3" y="8"/>
                  </a:cubicBezTo>
                  <a:cubicBezTo>
                    <a:pt x="4" y="9"/>
                    <a:pt x="5" y="7"/>
                    <a:pt x="6" y="6"/>
                  </a:cubicBezTo>
                  <a:cubicBezTo>
                    <a:pt x="6" y="5"/>
                    <a:pt x="6" y="4"/>
                    <a:pt x="6" y="3"/>
                  </a:cubicBezTo>
                  <a:cubicBezTo>
                    <a:pt x="6" y="2"/>
                    <a:pt x="5" y="1"/>
                    <a:pt x="4" y="1"/>
                  </a:cubicBezTo>
                  <a:cubicBezTo>
                    <a:pt x="3" y="0"/>
                    <a:pt x="2" y="0"/>
                    <a:pt x="1" y="1"/>
                  </a:cubicBezTo>
                  <a:cubicBezTo>
                    <a:pt x="1" y="1"/>
                    <a:pt x="0"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5" name="Freeform 1042"/>
            <p:cNvSpPr>
              <a:spLocks noChangeAspect="1"/>
            </p:cNvSpPr>
            <p:nvPr/>
          </p:nvSpPr>
          <p:spPr bwMode="auto">
            <a:xfrm>
              <a:off x="2629124" y="1277897"/>
              <a:ext cx="14415" cy="9027"/>
            </a:xfrm>
            <a:custGeom>
              <a:avLst/>
              <a:gdLst>
                <a:gd name="T0" fmla="*/ 1786 w 8"/>
                <a:gd name="T1" fmla="*/ 0 h 6"/>
                <a:gd name="T2" fmla="*/ 0 w 8"/>
                <a:gd name="T3" fmla="*/ 3704 h 6"/>
                <a:gd name="T4" fmla="*/ 10715 w 8"/>
                <a:gd name="T5" fmla="*/ 11112 h 6"/>
                <a:gd name="T6" fmla="*/ 12501 w 8"/>
                <a:gd name="T7" fmla="*/ 1852 h 6"/>
                <a:gd name="T8" fmla="*/ 1786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0"/>
                  </a:moveTo>
                  <a:cubicBezTo>
                    <a:pt x="0" y="0"/>
                    <a:pt x="0" y="1"/>
                    <a:pt x="0" y="2"/>
                  </a:cubicBezTo>
                  <a:cubicBezTo>
                    <a:pt x="2" y="4"/>
                    <a:pt x="3" y="6"/>
                    <a:pt x="6" y="6"/>
                  </a:cubicBezTo>
                  <a:cubicBezTo>
                    <a:pt x="7" y="6"/>
                    <a:pt x="8" y="2"/>
                    <a:pt x="7" y="1"/>
                  </a:cubicBezTo>
                  <a:cubicBezTo>
                    <a:pt x="6" y="0"/>
                    <a:pt x="3"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6" name="Freeform 1043"/>
            <p:cNvSpPr>
              <a:spLocks noChangeAspect="1"/>
            </p:cNvSpPr>
            <p:nvPr/>
          </p:nvSpPr>
          <p:spPr bwMode="auto">
            <a:xfrm>
              <a:off x="2600293" y="1281766"/>
              <a:ext cx="20822" cy="14187"/>
            </a:xfrm>
            <a:custGeom>
              <a:avLst/>
              <a:gdLst>
                <a:gd name="T0" fmla="*/ 3752 w 11"/>
                <a:gd name="T1" fmla="*/ 0 h 9"/>
                <a:gd name="T2" fmla="*/ 0 w 11"/>
                <a:gd name="T3" fmla="*/ 3881 h 9"/>
                <a:gd name="T4" fmla="*/ 11257 w 11"/>
                <a:gd name="T5" fmla="*/ 17463 h 9"/>
                <a:gd name="T6" fmla="*/ 20637 w 11"/>
                <a:gd name="T7" fmla="*/ 11642 h 9"/>
                <a:gd name="T8" fmla="*/ 18761 w 11"/>
                <a:gd name="T9" fmla="*/ 1940 h 9"/>
                <a:gd name="T10" fmla="*/ 11257 w 11"/>
                <a:gd name="T11" fmla="*/ 0 h 9"/>
                <a:gd name="T12" fmla="*/ 3752 w 11"/>
                <a:gd name="T13" fmla="*/ 0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2" y="0"/>
                  </a:moveTo>
                  <a:cubicBezTo>
                    <a:pt x="1" y="1"/>
                    <a:pt x="0" y="1"/>
                    <a:pt x="0" y="2"/>
                  </a:cubicBezTo>
                  <a:cubicBezTo>
                    <a:pt x="2" y="5"/>
                    <a:pt x="3" y="8"/>
                    <a:pt x="6" y="9"/>
                  </a:cubicBezTo>
                  <a:cubicBezTo>
                    <a:pt x="8" y="9"/>
                    <a:pt x="10" y="7"/>
                    <a:pt x="11" y="6"/>
                  </a:cubicBezTo>
                  <a:cubicBezTo>
                    <a:pt x="11" y="5"/>
                    <a:pt x="11" y="3"/>
                    <a:pt x="10" y="1"/>
                  </a:cubicBezTo>
                  <a:cubicBezTo>
                    <a:pt x="10" y="0"/>
                    <a:pt x="8" y="0"/>
                    <a:pt x="6" y="0"/>
                  </a:cubicBezTo>
                  <a:cubicBezTo>
                    <a:pt x="5" y="0"/>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7" name="Freeform 1044"/>
            <p:cNvSpPr>
              <a:spLocks noChangeAspect="1"/>
            </p:cNvSpPr>
            <p:nvPr/>
          </p:nvSpPr>
          <p:spPr bwMode="auto">
            <a:xfrm>
              <a:off x="2552241" y="1312717"/>
              <a:ext cx="22424" cy="28373"/>
            </a:xfrm>
            <a:custGeom>
              <a:avLst/>
              <a:gdLst>
                <a:gd name="T0" fmla="*/ 16669 w 12"/>
                <a:gd name="T1" fmla="*/ 1940 h 18"/>
                <a:gd name="T2" fmla="*/ 20373 w 12"/>
                <a:gd name="T3" fmla="*/ 5821 h 18"/>
                <a:gd name="T4" fmla="*/ 20373 w 12"/>
                <a:gd name="T5" fmla="*/ 15522 h 18"/>
                <a:gd name="T6" fmla="*/ 9260 w 12"/>
                <a:gd name="T7" fmla="*/ 32985 h 18"/>
                <a:gd name="T8" fmla="*/ 1852 w 12"/>
                <a:gd name="T9" fmla="*/ 27164 h 18"/>
                <a:gd name="T10" fmla="*/ 1852 w 12"/>
                <a:gd name="T11" fmla="*/ 13582 h 18"/>
                <a:gd name="T12" fmla="*/ 11113 w 12"/>
                <a:gd name="T13" fmla="*/ 1940 h 18"/>
                <a:gd name="T14" fmla="*/ 16669 w 12"/>
                <a:gd name="T15" fmla="*/ 1940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8" name="Freeform 1045"/>
            <p:cNvSpPr>
              <a:spLocks noChangeAspect="1"/>
            </p:cNvSpPr>
            <p:nvPr/>
          </p:nvSpPr>
          <p:spPr bwMode="auto">
            <a:xfrm>
              <a:off x="2475359" y="1299821"/>
              <a:ext cx="48051" cy="25793"/>
            </a:xfrm>
            <a:custGeom>
              <a:avLst/>
              <a:gdLst>
                <a:gd name="T0" fmla="*/ 41910 w 25"/>
                <a:gd name="T1" fmla="*/ 0 h 17"/>
                <a:gd name="T2" fmla="*/ 47625 w 25"/>
                <a:gd name="T3" fmla="*/ 1868 h 17"/>
                <a:gd name="T4" fmla="*/ 45720 w 25"/>
                <a:gd name="T5" fmla="*/ 7471 h 17"/>
                <a:gd name="T6" fmla="*/ 30480 w 25"/>
                <a:gd name="T7" fmla="*/ 18676 h 17"/>
                <a:gd name="T8" fmla="*/ 20955 w 25"/>
                <a:gd name="T9" fmla="*/ 29882 h 17"/>
                <a:gd name="T10" fmla="*/ 11430 w 25"/>
                <a:gd name="T11" fmla="*/ 26147 h 17"/>
                <a:gd name="T12" fmla="*/ 3810 w 25"/>
                <a:gd name="T13" fmla="*/ 31750 h 17"/>
                <a:gd name="T14" fmla="*/ 1905 w 25"/>
                <a:gd name="T15" fmla="*/ 28015 h 17"/>
                <a:gd name="T16" fmla="*/ 1905 w 25"/>
                <a:gd name="T17" fmla="*/ 20544 h 17"/>
                <a:gd name="T18" fmla="*/ 15240 w 25"/>
                <a:gd name="T19" fmla="*/ 5603 h 17"/>
                <a:gd name="T20" fmla="*/ 17145 w 25"/>
                <a:gd name="T21" fmla="*/ 0 h 17"/>
                <a:gd name="T22" fmla="*/ 24765 w 25"/>
                <a:gd name="T23" fmla="*/ 5603 h 17"/>
                <a:gd name="T24" fmla="*/ 32385 w 25"/>
                <a:gd name="T25" fmla="*/ 1868 h 17"/>
                <a:gd name="T26" fmla="*/ 36195 w 25"/>
                <a:gd name="T27" fmla="*/ 1868 h 17"/>
                <a:gd name="T28" fmla="*/ 41910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9" name="Freeform 1046"/>
            <p:cNvSpPr>
              <a:spLocks noChangeAspect="1"/>
            </p:cNvSpPr>
            <p:nvPr/>
          </p:nvSpPr>
          <p:spPr bwMode="auto">
            <a:xfrm>
              <a:off x="2412892" y="1204385"/>
              <a:ext cx="155366" cy="91568"/>
            </a:xfrm>
            <a:custGeom>
              <a:avLst/>
              <a:gdLst>
                <a:gd name="T0" fmla="*/ 142581 w 81"/>
                <a:gd name="T1" fmla="*/ 72595 h 59"/>
                <a:gd name="T2" fmla="*/ 146384 w 81"/>
                <a:gd name="T3" fmla="*/ 80236 h 59"/>
                <a:gd name="T4" fmla="*/ 142581 w 81"/>
                <a:gd name="T5" fmla="*/ 82147 h 59"/>
                <a:gd name="T6" fmla="*/ 152087 w 81"/>
                <a:gd name="T7" fmla="*/ 84057 h 59"/>
                <a:gd name="T8" fmla="*/ 150186 w 81"/>
                <a:gd name="T9" fmla="*/ 87878 h 59"/>
                <a:gd name="T10" fmla="*/ 134977 w 81"/>
                <a:gd name="T11" fmla="*/ 93609 h 59"/>
                <a:gd name="T12" fmla="*/ 123571 w 81"/>
                <a:gd name="T13" fmla="*/ 91699 h 59"/>
                <a:gd name="T14" fmla="*/ 121670 w 81"/>
                <a:gd name="T15" fmla="*/ 87878 h 59"/>
                <a:gd name="T16" fmla="*/ 115966 w 81"/>
                <a:gd name="T17" fmla="*/ 89788 h 59"/>
                <a:gd name="T18" fmla="*/ 108362 w 81"/>
                <a:gd name="T19" fmla="*/ 85968 h 59"/>
                <a:gd name="T20" fmla="*/ 106461 w 81"/>
                <a:gd name="T21" fmla="*/ 87878 h 59"/>
                <a:gd name="T22" fmla="*/ 100758 w 81"/>
                <a:gd name="T23" fmla="*/ 84057 h 59"/>
                <a:gd name="T24" fmla="*/ 102659 w 81"/>
                <a:gd name="T25" fmla="*/ 80236 h 59"/>
                <a:gd name="T26" fmla="*/ 95054 w 81"/>
                <a:gd name="T27" fmla="*/ 78326 h 59"/>
                <a:gd name="T28" fmla="*/ 91252 w 81"/>
                <a:gd name="T29" fmla="*/ 78326 h 59"/>
                <a:gd name="T30" fmla="*/ 91252 w 81"/>
                <a:gd name="T31" fmla="*/ 70684 h 59"/>
                <a:gd name="T32" fmla="*/ 79846 w 81"/>
                <a:gd name="T33" fmla="*/ 72595 h 59"/>
                <a:gd name="T34" fmla="*/ 76043 w 81"/>
                <a:gd name="T35" fmla="*/ 85968 h 59"/>
                <a:gd name="T36" fmla="*/ 64637 w 81"/>
                <a:gd name="T37" fmla="*/ 91699 h 59"/>
                <a:gd name="T38" fmla="*/ 58934 w 81"/>
                <a:gd name="T39" fmla="*/ 93609 h 59"/>
                <a:gd name="T40" fmla="*/ 53230 w 81"/>
                <a:gd name="T41" fmla="*/ 103161 h 59"/>
                <a:gd name="T42" fmla="*/ 39923 w 81"/>
                <a:gd name="T43" fmla="*/ 110803 h 59"/>
                <a:gd name="T44" fmla="*/ 32318 w 81"/>
                <a:gd name="T45" fmla="*/ 110803 h 59"/>
                <a:gd name="T46" fmla="*/ 32318 w 81"/>
                <a:gd name="T47" fmla="*/ 95519 h 59"/>
                <a:gd name="T48" fmla="*/ 34220 w 81"/>
                <a:gd name="T49" fmla="*/ 87878 h 59"/>
                <a:gd name="T50" fmla="*/ 30417 w 81"/>
                <a:gd name="T51" fmla="*/ 84057 h 59"/>
                <a:gd name="T52" fmla="*/ 26615 w 81"/>
                <a:gd name="T53" fmla="*/ 87878 h 59"/>
                <a:gd name="T54" fmla="*/ 17110 w 81"/>
                <a:gd name="T55" fmla="*/ 87878 h 59"/>
                <a:gd name="T56" fmla="*/ 5703 w 81"/>
                <a:gd name="T57" fmla="*/ 93609 h 59"/>
                <a:gd name="T58" fmla="*/ 0 w 81"/>
                <a:gd name="T59" fmla="*/ 89788 h 59"/>
                <a:gd name="T60" fmla="*/ 11407 w 81"/>
                <a:gd name="T61" fmla="*/ 76416 h 59"/>
                <a:gd name="T62" fmla="*/ 24714 w 81"/>
                <a:gd name="T63" fmla="*/ 70684 h 59"/>
                <a:gd name="T64" fmla="*/ 26615 w 81"/>
                <a:gd name="T65" fmla="*/ 53491 h 59"/>
                <a:gd name="T66" fmla="*/ 34220 w 81"/>
                <a:gd name="T67" fmla="*/ 36297 h 59"/>
                <a:gd name="T68" fmla="*/ 38022 w 81"/>
                <a:gd name="T69" fmla="*/ 21014 h 59"/>
                <a:gd name="T70" fmla="*/ 45626 w 81"/>
                <a:gd name="T71" fmla="*/ 9552 h 59"/>
                <a:gd name="T72" fmla="*/ 55131 w 81"/>
                <a:gd name="T73" fmla="*/ 1910 h 59"/>
                <a:gd name="T74" fmla="*/ 58934 w 81"/>
                <a:gd name="T75" fmla="*/ 7642 h 59"/>
                <a:gd name="T76" fmla="*/ 62736 w 81"/>
                <a:gd name="T77" fmla="*/ 13373 h 59"/>
                <a:gd name="T78" fmla="*/ 57033 w 81"/>
                <a:gd name="T79" fmla="*/ 17194 h 59"/>
                <a:gd name="T80" fmla="*/ 60835 w 81"/>
                <a:gd name="T81" fmla="*/ 30566 h 59"/>
                <a:gd name="T82" fmla="*/ 64637 w 81"/>
                <a:gd name="T83" fmla="*/ 30566 h 59"/>
                <a:gd name="T84" fmla="*/ 70340 w 81"/>
                <a:gd name="T85" fmla="*/ 19104 h 59"/>
                <a:gd name="T86" fmla="*/ 77945 w 81"/>
                <a:gd name="T87" fmla="*/ 28656 h 59"/>
                <a:gd name="T88" fmla="*/ 79846 w 81"/>
                <a:gd name="T89" fmla="*/ 30566 h 59"/>
                <a:gd name="T90" fmla="*/ 93153 w 81"/>
                <a:gd name="T91" fmla="*/ 34387 h 59"/>
                <a:gd name="T92" fmla="*/ 95054 w 81"/>
                <a:gd name="T93" fmla="*/ 40118 h 59"/>
                <a:gd name="T94" fmla="*/ 121670 w 81"/>
                <a:gd name="T95" fmla="*/ 53491 h 59"/>
                <a:gd name="T96" fmla="*/ 121670 w 81"/>
                <a:gd name="T97" fmla="*/ 63043 h 59"/>
                <a:gd name="T98" fmla="*/ 123571 w 81"/>
                <a:gd name="T99" fmla="*/ 68774 h 59"/>
                <a:gd name="T100" fmla="*/ 115966 w 81"/>
                <a:gd name="T101" fmla="*/ 76416 h 59"/>
                <a:gd name="T102" fmla="*/ 125472 w 81"/>
                <a:gd name="T103" fmla="*/ 76416 h 59"/>
                <a:gd name="T104" fmla="*/ 129274 w 81"/>
                <a:gd name="T105" fmla="*/ 72595 h 59"/>
                <a:gd name="T106" fmla="*/ 138779 w 81"/>
                <a:gd name="T107" fmla="*/ 76416 h 59"/>
                <a:gd name="T108" fmla="*/ 142581 w 81"/>
                <a:gd name="T109" fmla="*/ 72595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0" name="Freeform 1047"/>
            <p:cNvSpPr>
              <a:spLocks noChangeAspect="1"/>
            </p:cNvSpPr>
            <p:nvPr/>
          </p:nvSpPr>
          <p:spPr bwMode="auto">
            <a:xfrm>
              <a:off x="2491376" y="1200516"/>
              <a:ext cx="25627" cy="16766"/>
            </a:xfrm>
            <a:custGeom>
              <a:avLst/>
              <a:gdLst>
                <a:gd name="T0" fmla="*/ 1954 w 13"/>
                <a:gd name="T1" fmla="*/ 1876 h 11"/>
                <a:gd name="T2" fmla="*/ 1954 w 13"/>
                <a:gd name="T3" fmla="*/ 5628 h 11"/>
                <a:gd name="T4" fmla="*/ 5862 w 13"/>
                <a:gd name="T5" fmla="*/ 5628 h 11"/>
                <a:gd name="T6" fmla="*/ 5862 w 13"/>
                <a:gd name="T7" fmla="*/ 13133 h 11"/>
                <a:gd name="T8" fmla="*/ 11723 w 13"/>
                <a:gd name="T9" fmla="*/ 15009 h 11"/>
                <a:gd name="T10" fmla="*/ 11723 w 13"/>
                <a:gd name="T11" fmla="*/ 18761 h 11"/>
                <a:gd name="T12" fmla="*/ 23446 w 13"/>
                <a:gd name="T13" fmla="*/ 16885 h 11"/>
                <a:gd name="T14" fmla="*/ 19538 w 13"/>
                <a:gd name="T15" fmla="*/ 13133 h 11"/>
                <a:gd name="T16" fmla="*/ 15631 w 13"/>
                <a:gd name="T17" fmla="*/ 9380 h 11"/>
                <a:gd name="T18" fmla="*/ 9769 w 13"/>
                <a:gd name="T19" fmla="*/ 1876 h 11"/>
                <a:gd name="T20" fmla="*/ 1954 w 13"/>
                <a:gd name="T21" fmla="*/ 1876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1" name="Freeform 1048"/>
            <p:cNvSpPr>
              <a:spLocks noChangeAspect="1"/>
            </p:cNvSpPr>
            <p:nvPr/>
          </p:nvSpPr>
          <p:spPr bwMode="auto">
            <a:xfrm>
              <a:off x="2451333" y="1129583"/>
              <a:ext cx="14416" cy="20635"/>
            </a:xfrm>
            <a:custGeom>
              <a:avLst/>
              <a:gdLst>
                <a:gd name="T0" fmla="*/ 8165 w 7"/>
                <a:gd name="T1" fmla="*/ 0 h 14"/>
                <a:gd name="T2" fmla="*/ 12247 w 7"/>
                <a:gd name="T3" fmla="*/ 5443 h 14"/>
                <a:gd name="T4" fmla="*/ 12247 w 7"/>
                <a:gd name="T5" fmla="*/ 19957 h 14"/>
                <a:gd name="T6" fmla="*/ 8165 w 7"/>
                <a:gd name="T7" fmla="*/ 25400 h 14"/>
                <a:gd name="T8" fmla="*/ 4082 w 7"/>
                <a:gd name="T9" fmla="*/ 21771 h 14"/>
                <a:gd name="T10" fmla="*/ 4082 w 7"/>
                <a:gd name="T11" fmla="*/ 14514 h 14"/>
                <a:gd name="T12" fmla="*/ 0 w 7"/>
                <a:gd name="T13" fmla="*/ 7257 h 14"/>
                <a:gd name="T14" fmla="*/ 4082 w 7"/>
                <a:gd name="T15" fmla="*/ 3629 h 14"/>
                <a:gd name="T16" fmla="*/ 8165 w 7"/>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4"/>
                <a:gd name="T29" fmla="*/ 7 w 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4">
                  <a:moveTo>
                    <a:pt x="4" y="0"/>
                  </a:moveTo>
                  <a:cubicBezTo>
                    <a:pt x="5" y="0"/>
                    <a:pt x="6" y="2"/>
                    <a:pt x="6" y="3"/>
                  </a:cubicBezTo>
                  <a:cubicBezTo>
                    <a:pt x="7" y="6"/>
                    <a:pt x="7" y="8"/>
                    <a:pt x="6" y="11"/>
                  </a:cubicBezTo>
                  <a:cubicBezTo>
                    <a:pt x="6" y="12"/>
                    <a:pt x="5" y="14"/>
                    <a:pt x="4" y="14"/>
                  </a:cubicBezTo>
                  <a:cubicBezTo>
                    <a:pt x="3" y="14"/>
                    <a:pt x="2" y="13"/>
                    <a:pt x="2" y="12"/>
                  </a:cubicBezTo>
                  <a:cubicBezTo>
                    <a:pt x="1" y="10"/>
                    <a:pt x="2" y="9"/>
                    <a:pt x="2" y="8"/>
                  </a:cubicBezTo>
                  <a:cubicBezTo>
                    <a:pt x="1" y="7"/>
                    <a:pt x="0" y="6"/>
                    <a:pt x="0" y="4"/>
                  </a:cubicBezTo>
                  <a:cubicBezTo>
                    <a:pt x="0" y="3"/>
                    <a:pt x="1" y="3"/>
                    <a:pt x="2" y="2"/>
                  </a:cubicBezTo>
                  <a:cubicBezTo>
                    <a:pt x="3" y="2"/>
                    <a:pt x="3"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2" name="Freeform 1049"/>
            <p:cNvSpPr>
              <a:spLocks noChangeAspect="1"/>
            </p:cNvSpPr>
            <p:nvPr/>
          </p:nvSpPr>
          <p:spPr bwMode="auto">
            <a:xfrm>
              <a:off x="2191856" y="1072838"/>
              <a:ext cx="94502" cy="54167"/>
            </a:xfrm>
            <a:custGeom>
              <a:avLst/>
              <a:gdLst>
                <a:gd name="T0" fmla="*/ 89840 w 49"/>
                <a:gd name="T1" fmla="*/ 43815 h 35"/>
                <a:gd name="T2" fmla="*/ 91752 w 49"/>
                <a:gd name="T3" fmla="*/ 47625 h 35"/>
                <a:gd name="T4" fmla="*/ 82194 w 49"/>
                <a:gd name="T5" fmla="*/ 53340 h 35"/>
                <a:gd name="T6" fmla="*/ 72637 w 49"/>
                <a:gd name="T7" fmla="*/ 59055 h 35"/>
                <a:gd name="T8" fmla="*/ 64991 w 49"/>
                <a:gd name="T9" fmla="*/ 66675 h 35"/>
                <a:gd name="T10" fmla="*/ 51610 w 49"/>
                <a:gd name="T11" fmla="*/ 62865 h 35"/>
                <a:gd name="T12" fmla="*/ 28672 w 49"/>
                <a:gd name="T13" fmla="*/ 51435 h 35"/>
                <a:gd name="T14" fmla="*/ 24849 w 49"/>
                <a:gd name="T15" fmla="*/ 49530 h 35"/>
                <a:gd name="T16" fmla="*/ 21026 w 49"/>
                <a:gd name="T17" fmla="*/ 49530 h 35"/>
                <a:gd name="T18" fmla="*/ 15292 w 49"/>
                <a:gd name="T19" fmla="*/ 43815 h 35"/>
                <a:gd name="T20" fmla="*/ 11469 w 49"/>
                <a:gd name="T21" fmla="*/ 47625 h 35"/>
                <a:gd name="T22" fmla="*/ 0 w 49"/>
                <a:gd name="T23" fmla="*/ 41910 h 35"/>
                <a:gd name="T24" fmla="*/ 9557 w 49"/>
                <a:gd name="T25" fmla="*/ 34290 h 35"/>
                <a:gd name="T26" fmla="*/ 15292 w 49"/>
                <a:gd name="T27" fmla="*/ 38100 h 35"/>
                <a:gd name="T28" fmla="*/ 24849 w 49"/>
                <a:gd name="T29" fmla="*/ 34290 h 35"/>
                <a:gd name="T30" fmla="*/ 32495 w 49"/>
                <a:gd name="T31" fmla="*/ 26670 h 35"/>
                <a:gd name="T32" fmla="*/ 34407 w 49"/>
                <a:gd name="T33" fmla="*/ 15240 h 35"/>
                <a:gd name="T34" fmla="*/ 38230 w 49"/>
                <a:gd name="T35" fmla="*/ 22860 h 35"/>
                <a:gd name="T36" fmla="*/ 47787 w 49"/>
                <a:gd name="T37" fmla="*/ 20955 h 35"/>
                <a:gd name="T38" fmla="*/ 40141 w 49"/>
                <a:gd name="T39" fmla="*/ 15240 h 35"/>
                <a:gd name="T40" fmla="*/ 40141 w 49"/>
                <a:gd name="T41" fmla="*/ 7620 h 35"/>
                <a:gd name="T42" fmla="*/ 47787 w 49"/>
                <a:gd name="T43" fmla="*/ 0 h 35"/>
                <a:gd name="T44" fmla="*/ 57345 w 49"/>
                <a:gd name="T45" fmla="*/ 9525 h 35"/>
                <a:gd name="T46" fmla="*/ 57345 w 49"/>
                <a:gd name="T47" fmla="*/ 15240 h 35"/>
                <a:gd name="T48" fmla="*/ 64991 w 49"/>
                <a:gd name="T49" fmla="*/ 17145 h 35"/>
                <a:gd name="T50" fmla="*/ 74548 w 49"/>
                <a:gd name="T51" fmla="*/ 28575 h 35"/>
                <a:gd name="T52" fmla="*/ 74548 w 49"/>
                <a:gd name="T53" fmla="*/ 38100 h 35"/>
                <a:gd name="T54" fmla="*/ 78371 w 49"/>
                <a:gd name="T55" fmla="*/ 38100 h 35"/>
                <a:gd name="T56" fmla="*/ 78371 w 49"/>
                <a:gd name="T57" fmla="*/ 47625 h 35"/>
                <a:gd name="T58" fmla="*/ 89840 w 49"/>
                <a:gd name="T59" fmla="*/ 43815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3" name="Freeform 1050"/>
            <p:cNvSpPr>
              <a:spLocks noChangeAspect="1"/>
            </p:cNvSpPr>
            <p:nvPr/>
          </p:nvSpPr>
          <p:spPr bwMode="auto">
            <a:xfrm>
              <a:off x="2275144" y="1083155"/>
              <a:ext cx="12814" cy="12897"/>
            </a:xfrm>
            <a:custGeom>
              <a:avLst/>
              <a:gdLst>
                <a:gd name="T0" fmla="*/ 10886 w 7"/>
                <a:gd name="T1" fmla="*/ 14111 h 9"/>
                <a:gd name="T2" fmla="*/ 10886 w 7"/>
                <a:gd name="T3" fmla="*/ 7056 h 9"/>
                <a:gd name="T4" fmla="*/ 7257 w 7"/>
                <a:gd name="T5" fmla="*/ 1764 h 9"/>
                <a:gd name="T6" fmla="*/ 0 w 7"/>
                <a:gd name="T7" fmla="*/ 1764 h 9"/>
                <a:gd name="T8" fmla="*/ 1814 w 7"/>
                <a:gd name="T9" fmla="*/ 3528 h 9"/>
                <a:gd name="T10" fmla="*/ 7257 w 7"/>
                <a:gd name="T11" fmla="*/ 8819 h 9"/>
                <a:gd name="T12" fmla="*/ 7257 w 7"/>
                <a:gd name="T13" fmla="*/ 12347 h 9"/>
                <a:gd name="T14" fmla="*/ 10886 w 7"/>
                <a:gd name="T15" fmla="*/ 14111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6" y="8"/>
                  </a:moveTo>
                  <a:cubicBezTo>
                    <a:pt x="7" y="7"/>
                    <a:pt x="7" y="5"/>
                    <a:pt x="6" y="4"/>
                  </a:cubicBezTo>
                  <a:cubicBezTo>
                    <a:pt x="6" y="2"/>
                    <a:pt x="5" y="1"/>
                    <a:pt x="4" y="1"/>
                  </a:cubicBezTo>
                  <a:cubicBezTo>
                    <a:pt x="3" y="0"/>
                    <a:pt x="1" y="0"/>
                    <a:pt x="0" y="1"/>
                  </a:cubicBezTo>
                  <a:cubicBezTo>
                    <a:pt x="0" y="1"/>
                    <a:pt x="1" y="2"/>
                    <a:pt x="1" y="2"/>
                  </a:cubicBezTo>
                  <a:cubicBezTo>
                    <a:pt x="2" y="3"/>
                    <a:pt x="3" y="3"/>
                    <a:pt x="4" y="5"/>
                  </a:cubicBezTo>
                  <a:cubicBezTo>
                    <a:pt x="4" y="5"/>
                    <a:pt x="3" y="6"/>
                    <a:pt x="4" y="7"/>
                  </a:cubicBezTo>
                  <a:cubicBezTo>
                    <a:pt x="4" y="8"/>
                    <a:pt x="5" y="9"/>
                    <a:pt x="6" y="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4" name="Freeform 1051"/>
            <p:cNvSpPr>
              <a:spLocks noChangeAspect="1"/>
            </p:cNvSpPr>
            <p:nvPr/>
          </p:nvSpPr>
          <p:spPr bwMode="auto">
            <a:xfrm>
              <a:off x="2169431" y="1103790"/>
              <a:ext cx="11213" cy="14187"/>
            </a:xfrm>
            <a:custGeom>
              <a:avLst/>
              <a:gdLst>
                <a:gd name="T0" fmla="*/ 7409 w 6"/>
                <a:gd name="T1" fmla="*/ 1940 h 9"/>
                <a:gd name="T2" fmla="*/ 11113 w 6"/>
                <a:gd name="T3" fmla="*/ 9702 h 9"/>
                <a:gd name="T4" fmla="*/ 3704 w 6"/>
                <a:gd name="T5" fmla="*/ 15523 h 9"/>
                <a:gd name="T6" fmla="*/ 3704 w 6"/>
                <a:gd name="T7" fmla="*/ 3881 h 9"/>
                <a:gd name="T8" fmla="*/ 7409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4"/>
                    <a:pt x="6" y="5"/>
                  </a:cubicBezTo>
                  <a:cubicBezTo>
                    <a:pt x="5" y="7"/>
                    <a:pt x="3" y="9"/>
                    <a:pt x="2" y="8"/>
                  </a:cubicBezTo>
                  <a:cubicBezTo>
                    <a:pt x="0" y="7"/>
                    <a:pt x="1" y="4"/>
                    <a:pt x="2" y="2"/>
                  </a:cubicBezTo>
                  <a:cubicBezTo>
                    <a:pt x="2"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5" name="Freeform 1052"/>
            <p:cNvSpPr>
              <a:spLocks noChangeAspect="1"/>
            </p:cNvSpPr>
            <p:nvPr/>
          </p:nvSpPr>
          <p:spPr bwMode="auto">
            <a:xfrm>
              <a:off x="2132593" y="1114107"/>
              <a:ext cx="12814" cy="9029"/>
            </a:xfrm>
            <a:custGeom>
              <a:avLst/>
              <a:gdLst>
                <a:gd name="T0" fmla="*/ 10886 w 7"/>
                <a:gd name="T1" fmla="*/ 1852 h 6"/>
                <a:gd name="T2" fmla="*/ 9071 w 7"/>
                <a:gd name="T3" fmla="*/ 9261 h 6"/>
                <a:gd name="T4" fmla="*/ 0 w 7"/>
                <a:gd name="T5" fmla="*/ 7409 h 6"/>
                <a:gd name="T6" fmla="*/ 3629 w 7"/>
                <a:gd name="T7" fmla="*/ 3704 h 6"/>
                <a:gd name="T8" fmla="*/ 10886 w 7"/>
                <a:gd name="T9" fmla="*/ 1852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6" y="4"/>
                    <a:pt x="5" y="5"/>
                  </a:cubicBezTo>
                  <a:cubicBezTo>
                    <a:pt x="4" y="6"/>
                    <a:pt x="2" y="5"/>
                    <a:pt x="0" y="4"/>
                  </a:cubicBezTo>
                  <a:cubicBezTo>
                    <a:pt x="0" y="4"/>
                    <a:pt x="1" y="2"/>
                    <a:pt x="2" y="2"/>
                  </a:cubicBezTo>
                  <a:cubicBezTo>
                    <a:pt x="3" y="1"/>
                    <a:pt x="5" y="0"/>
                    <a:pt x="6"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6" name="Freeform 1053"/>
            <p:cNvSpPr>
              <a:spLocks noChangeAspect="1"/>
            </p:cNvSpPr>
            <p:nvPr/>
          </p:nvSpPr>
          <p:spPr bwMode="auto">
            <a:xfrm>
              <a:off x="2073329" y="1119266"/>
              <a:ext cx="12814" cy="10318"/>
            </a:xfrm>
            <a:custGeom>
              <a:avLst/>
              <a:gdLst>
                <a:gd name="T0" fmla="*/ 1814 w 7"/>
                <a:gd name="T1" fmla="*/ 0 h 6"/>
                <a:gd name="T2" fmla="*/ 10886 w 7"/>
                <a:gd name="T3" fmla="*/ 4233 h 6"/>
                <a:gd name="T4" fmla="*/ 7257 w 7"/>
                <a:gd name="T5" fmla="*/ 10583 h 6"/>
                <a:gd name="T6" fmla="*/ 0 w 7"/>
                <a:gd name="T7" fmla="*/ 2117 h 6"/>
                <a:gd name="T8" fmla="*/ 1814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1" y="0"/>
                  </a:moveTo>
                  <a:cubicBezTo>
                    <a:pt x="3" y="0"/>
                    <a:pt x="5" y="1"/>
                    <a:pt x="6" y="2"/>
                  </a:cubicBezTo>
                  <a:cubicBezTo>
                    <a:pt x="7" y="3"/>
                    <a:pt x="5" y="6"/>
                    <a:pt x="4" y="5"/>
                  </a:cubicBezTo>
                  <a:cubicBezTo>
                    <a:pt x="2" y="5"/>
                    <a:pt x="1" y="3"/>
                    <a:pt x="0" y="1"/>
                  </a:cubicBezTo>
                  <a:cubicBezTo>
                    <a:pt x="0" y="1"/>
                    <a:pt x="1"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7" name="Freeform 1054"/>
            <p:cNvSpPr>
              <a:spLocks noChangeAspect="1"/>
            </p:cNvSpPr>
            <p:nvPr/>
          </p:nvSpPr>
          <p:spPr bwMode="auto">
            <a:xfrm>
              <a:off x="2263933" y="1084445"/>
              <a:ext cx="9610" cy="7738"/>
            </a:xfrm>
            <a:custGeom>
              <a:avLst/>
              <a:gdLst>
                <a:gd name="T0" fmla="*/ 0 w 5"/>
                <a:gd name="T1" fmla="*/ 1905 h 5"/>
                <a:gd name="T2" fmla="*/ 7620 w 5"/>
                <a:gd name="T3" fmla="*/ 3810 h 5"/>
                <a:gd name="T4" fmla="*/ 5715 w 5"/>
                <a:gd name="T5" fmla="*/ 9525 h 5"/>
                <a:gd name="T6" fmla="*/ 0 w 5"/>
                <a:gd name="T7" fmla="*/ 190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1"/>
                  </a:moveTo>
                  <a:cubicBezTo>
                    <a:pt x="1" y="0"/>
                    <a:pt x="4" y="1"/>
                    <a:pt x="4" y="2"/>
                  </a:cubicBezTo>
                  <a:cubicBezTo>
                    <a:pt x="5" y="3"/>
                    <a:pt x="4" y="5"/>
                    <a:pt x="3" y="5"/>
                  </a:cubicBezTo>
                  <a:cubicBezTo>
                    <a:pt x="1" y="4"/>
                    <a:pt x="0" y="2"/>
                    <a:pt x="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8" name="Freeform 1055"/>
            <p:cNvSpPr>
              <a:spLocks noChangeAspect="1"/>
            </p:cNvSpPr>
            <p:nvPr/>
          </p:nvSpPr>
          <p:spPr bwMode="auto">
            <a:xfrm>
              <a:off x="1416627" y="1096052"/>
              <a:ext cx="9610" cy="11608"/>
            </a:xfrm>
            <a:custGeom>
              <a:avLst/>
              <a:gdLst>
                <a:gd name="T0" fmla="*/ 3810 w 5"/>
                <a:gd name="T1" fmla="*/ 2041 h 7"/>
                <a:gd name="T2" fmla="*/ 7620 w 5"/>
                <a:gd name="T3" fmla="*/ 12247 h 7"/>
                <a:gd name="T4" fmla="*/ 1905 w 5"/>
                <a:gd name="T5" fmla="*/ 10206 h 7"/>
                <a:gd name="T6" fmla="*/ 3810 w 5"/>
                <a:gd name="T7" fmla="*/ 204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69" name="Freeform 1056"/>
            <p:cNvSpPr>
              <a:spLocks noChangeAspect="1"/>
            </p:cNvSpPr>
            <p:nvPr/>
          </p:nvSpPr>
          <p:spPr bwMode="auto">
            <a:xfrm>
              <a:off x="1426238" y="1094762"/>
              <a:ext cx="12814" cy="14186"/>
            </a:xfrm>
            <a:custGeom>
              <a:avLst/>
              <a:gdLst>
                <a:gd name="T0" fmla="*/ 8467 w 6"/>
                <a:gd name="T1" fmla="*/ 1940 h 9"/>
                <a:gd name="T2" fmla="*/ 12700 w 6"/>
                <a:gd name="T3" fmla="*/ 13582 h 9"/>
                <a:gd name="T4" fmla="*/ 2117 w 6"/>
                <a:gd name="T5" fmla="*/ 15522 h 9"/>
                <a:gd name="T6" fmla="*/ 2117 w 6"/>
                <a:gd name="T7" fmla="*/ 3880 h 9"/>
                <a:gd name="T8" fmla="*/ 8467 w 6"/>
                <a:gd name="T9" fmla="*/ 194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0" name="Freeform 1057"/>
            <p:cNvSpPr>
              <a:spLocks noChangeAspect="1"/>
            </p:cNvSpPr>
            <p:nvPr/>
          </p:nvSpPr>
          <p:spPr bwMode="auto">
            <a:xfrm>
              <a:off x="1435847" y="1083155"/>
              <a:ext cx="33637" cy="20635"/>
            </a:xfrm>
            <a:custGeom>
              <a:avLst/>
              <a:gdLst>
                <a:gd name="T0" fmla="*/ 23533 w 17"/>
                <a:gd name="T1" fmla="*/ 0 h 14"/>
                <a:gd name="T2" fmla="*/ 33338 w 17"/>
                <a:gd name="T3" fmla="*/ 7257 h 14"/>
                <a:gd name="T4" fmla="*/ 19611 w 17"/>
                <a:gd name="T5" fmla="*/ 18143 h 14"/>
                <a:gd name="T6" fmla="*/ 7844 w 17"/>
                <a:gd name="T7" fmla="*/ 23586 h 14"/>
                <a:gd name="T8" fmla="*/ 1961 w 17"/>
                <a:gd name="T9" fmla="*/ 16329 h 14"/>
                <a:gd name="T10" fmla="*/ 3922 w 17"/>
                <a:gd name="T11" fmla="*/ 9071 h 14"/>
                <a:gd name="T12" fmla="*/ 17650 w 17"/>
                <a:gd name="T13" fmla="*/ 9071 h 14"/>
                <a:gd name="T14" fmla="*/ 23533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1" name="Freeform 1058"/>
            <p:cNvSpPr>
              <a:spLocks noChangeAspect="1"/>
            </p:cNvSpPr>
            <p:nvPr/>
          </p:nvSpPr>
          <p:spPr bwMode="auto">
            <a:xfrm>
              <a:off x="2417697" y="940002"/>
              <a:ext cx="578218" cy="393352"/>
            </a:xfrm>
            <a:custGeom>
              <a:avLst/>
              <a:gdLst>
                <a:gd name="T0" fmla="*/ 418868 w 301"/>
                <a:gd name="T1" fmla="*/ 411750 h 254"/>
                <a:gd name="T2" fmla="*/ 416964 w 301"/>
                <a:gd name="T3" fmla="*/ 442250 h 254"/>
                <a:gd name="T4" fmla="*/ 436003 w 301"/>
                <a:gd name="T5" fmla="*/ 480375 h 254"/>
                <a:gd name="T6" fmla="*/ 359845 w 301"/>
                <a:gd name="T7" fmla="*/ 447968 h 254"/>
                <a:gd name="T8" fmla="*/ 338902 w 301"/>
                <a:gd name="T9" fmla="*/ 421281 h 254"/>
                <a:gd name="T10" fmla="*/ 310343 w 301"/>
                <a:gd name="T11" fmla="*/ 396500 h 254"/>
                <a:gd name="T12" fmla="*/ 285592 w 301"/>
                <a:gd name="T13" fmla="*/ 385062 h 254"/>
                <a:gd name="T14" fmla="*/ 279880 w 301"/>
                <a:gd name="T15" fmla="*/ 377437 h 254"/>
                <a:gd name="T16" fmla="*/ 218953 w 301"/>
                <a:gd name="T17" fmla="*/ 392687 h 254"/>
                <a:gd name="T18" fmla="*/ 222761 w 301"/>
                <a:gd name="T19" fmla="*/ 346937 h 254"/>
                <a:gd name="T20" fmla="*/ 295111 w 301"/>
                <a:gd name="T21" fmla="*/ 341218 h 254"/>
                <a:gd name="T22" fmla="*/ 344614 w 301"/>
                <a:gd name="T23" fmla="*/ 268781 h 254"/>
                <a:gd name="T24" fmla="*/ 314151 w 301"/>
                <a:gd name="T25" fmla="*/ 213500 h 254"/>
                <a:gd name="T26" fmla="*/ 291303 w 301"/>
                <a:gd name="T27" fmla="*/ 205875 h 254"/>
                <a:gd name="T28" fmla="*/ 281784 w 301"/>
                <a:gd name="T29" fmla="*/ 188719 h 254"/>
                <a:gd name="T30" fmla="*/ 249417 w 301"/>
                <a:gd name="T31" fmla="*/ 150594 h 254"/>
                <a:gd name="T32" fmla="*/ 209434 w 301"/>
                <a:gd name="T33" fmla="*/ 146781 h 254"/>
                <a:gd name="T34" fmla="*/ 184683 w 301"/>
                <a:gd name="T35" fmla="*/ 169656 h 254"/>
                <a:gd name="T36" fmla="*/ 150412 w 301"/>
                <a:gd name="T37" fmla="*/ 167750 h 254"/>
                <a:gd name="T38" fmla="*/ 74254 w 301"/>
                <a:gd name="T39" fmla="*/ 160125 h 254"/>
                <a:gd name="T40" fmla="*/ 53310 w 301"/>
                <a:gd name="T41" fmla="*/ 154406 h 254"/>
                <a:gd name="T42" fmla="*/ 30463 w 301"/>
                <a:gd name="T43" fmla="*/ 116281 h 254"/>
                <a:gd name="T44" fmla="*/ 3808 w 301"/>
                <a:gd name="T45" fmla="*/ 99125 h 254"/>
                <a:gd name="T46" fmla="*/ 97101 w 301"/>
                <a:gd name="T47" fmla="*/ 1906 h 254"/>
                <a:gd name="T48" fmla="*/ 85677 w 301"/>
                <a:gd name="T49" fmla="*/ 47656 h 254"/>
                <a:gd name="T50" fmla="*/ 79966 w 301"/>
                <a:gd name="T51" fmla="*/ 112469 h 254"/>
                <a:gd name="T52" fmla="*/ 110429 w 301"/>
                <a:gd name="T53" fmla="*/ 108656 h 254"/>
                <a:gd name="T54" fmla="*/ 125660 w 301"/>
                <a:gd name="T55" fmla="*/ 76250 h 254"/>
                <a:gd name="T56" fmla="*/ 118044 w 301"/>
                <a:gd name="T57" fmla="*/ 40031 h 254"/>
                <a:gd name="T58" fmla="*/ 125660 w 301"/>
                <a:gd name="T59" fmla="*/ 19062 h 254"/>
                <a:gd name="T60" fmla="*/ 207530 w 301"/>
                <a:gd name="T61" fmla="*/ 13344 h 254"/>
                <a:gd name="T62" fmla="*/ 196106 w 301"/>
                <a:gd name="T63" fmla="*/ 76250 h 254"/>
                <a:gd name="T64" fmla="*/ 237993 w 301"/>
                <a:gd name="T65" fmla="*/ 66719 h 254"/>
                <a:gd name="T66" fmla="*/ 245609 w 301"/>
                <a:gd name="T67" fmla="*/ 64812 h 254"/>
                <a:gd name="T68" fmla="*/ 302727 w 301"/>
                <a:gd name="T69" fmla="*/ 55281 h 254"/>
                <a:gd name="T70" fmla="*/ 319862 w 301"/>
                <a:gd name="T71" fmla="*/ 76250 h 254"/>
                <a:gd name="T72" fmla="*/ 335094 w 301"/>
                <a:gd name="T73" fmla="*/ 93406 h 254"/>
                <a:gd name="T74" fmla="*/ 350326 w 301"/>
                <a:gd name="T75" fmla="*/ 118187 h 254"/>
                <a:gd name="T76" fmla="*/ 399828 w 301"/>
                <a:gd name="T77" fmla="*/ 110562 h 254"/>
                <a:gd name="T78" fmla="*/ 388404 w 301"/>
                <a:gd name="T79" fmla="*/ 131531 h 254"/>
                <a:gd name="T80" fmla="*/ 378885 w 301"/>
                <a:gd name="T81" fmla="*/ 152500 h 254"/>
                <a:gd name="T82" fmla="*/ 418868 w 301"/>
                <a:gd name="T83" fmla="*/ 133437 h 254"/>
                <a:gd name="T84" fmla="*/ 422675 w 301"/>
                <a:gd name="T85" fmla="*/ 152500 h 254"/>
                <a:gd name="T86" fmla="*/ 418868 w 301"/>
                <a:gd name="T87" fmla="*/ 173469 h 254"/>
                <a:gd name="T88" fmla="*/ 430291 w 301"/>
                <a:gd name="T89" fmla="*/ 179187 h 254"/>
                <a:gd name="T90" fmla="*/ 443619 w 301"/>
                <a:gd name="T91" fmla="*/ 190625 h 254"/>
                <a:gd name="T92" fmla="*/ 449331 w 301"/>
                <a:gd name="T93" fmla="*/ 211594 h 254"/>
                <a:gd name="T94" fmla="*/ 464562 w 301"/>
                <a:gd name="T95" fmla="*/ 230656 h 254"/>
                <a:gd name="T96" fmla="*/ 481698 w 301"/>
                <a:gd name="T97" fmla="*/ 257344 h 254"/>
                <a:gd name="T98" fmla="*/ 515969 w 301"/>
                <a:gd name="T99" fmla="*/ 266875 h 254"/>
                <a:gd name="T100" fmla="*/ 525488 w 301"/>
                <a:gd name="T101" fmla="*/ 291656 h 254"/>
                <a:gd name="T102" fmla="*/ 565471 w 301"/>
                <a:gd name="T103" fmla="*/ 287843 h 254"/>
                <a:gd name="T104" fmla="*/ 552144 w 301"/>
                <a:gd name="T105" fmla="*/ 318343 h 254"/>
                <a:gd name="T106" fmla="*/ 521681 w 301"/>
                <a:gd name="T107" fmla="*/ 329781 h 254"/>
                <a:gd name="T108" fmla="*/ 489314 w 301"/>
                <a:gd name="T109" fmla="*/ 343125 h 254"/>
                <a:gd name="T110" fmla="*/ 475986 w 301"/>
                <a:gd name="T111" fmla="*/ 314531 h 254"/>
                <a:gd name="T112" fmla="*/ 434099 w 301"/>
                <a:gd name="T113" fmla="*/ 306906 h 254"/>
                <a:gd name="T114" fmla="*/ 439811 w 301"/>
                <a:gd name="T115" fmla="*/ 337406 h 254"/>
                <a:gd name="T116" fmla="*/ 477890 w 301"/>
                <a:gd name="T117" fmla="*/ 385062 h 254"/>
                <a:gd name="T118" fmla="*/ 470274 w 301"/>
                <a:gd name="T119" fmla="*/ 442250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2" name="Freeform 1059"/>
            <p:cNvSpPr>
              <a:spLocks noChangeAspect="1"/>
            </p:cNvSpPr>
            <p:nvPr/>
          </p:nvSpPr>
          <p:spPr bwMode="auto">
            <a:xfrm>
              <a:off x="2659556" y="1127004"/>
              <a:ext cx="49654" cy="38690"/>
            </a:xfrm>
            <a:custGeom>
              <a:avLst/>
              <a:gdLst>
                <a:gd name="T0" fmla="*/ 45427 w 26"/>
                <a:gd name="T1" fmla="*/ 3810 h 25"/>
                <a:gd name="T2" fmla="*/ 49213 w 26"/>
                <a:gd name="T3" fmla="*/ 7620 h 25"/>
                <a:gd name="T4" fmla="*/ 45427 w 26"/>
                <a:gd name="T5" fmla="*/ 32385 h 25"/>
                <a:gd name="T6" fmla="*/ 26499 w 26"/>
                <a:gd name="T7" fmla="*/ 45720 h 25"/>
                <a:gd name="T8" fmla="*/ 5678 w 26"/>
                <a:gd name="T9" fmla="*/ 43815 h 25"/>
                <a:gd name="T10" fmla="*/ 0 w 26"/>
                <a:gd name="T11" fmla="*/ 36195 h 25"/>
                <a:gd name="T12" fmla="*/ 5678 w 26"/>
                <a:gd name="T13" fmla="*/ 17145 h 25"/>
                <a:gd name="T14" fmla="*/ 17035 w 26"/>
                <a:gd name="T15" fmla="*/ 3810 h 25"/>
                <a:gd name="T16" fmla="*/ 32178 w 26"/>
                <a:gd name="T17" fmla="*/ 0 h 25"/>
                <a:gd name="T18" fmla="*/ 45427 w 26"/>
                <a:gd name="T19" fmla="*/ 381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3" name="Freeform 1060"/>
            <p:cNvSpPr>
              <a:spLocks noChangeAspect="1"/>
            </p:cNvSpPr>
            <p:nvPr/>
          </p:nvSpPr>
          <p:spPr bwMode="auto">
            <a:xfrm>
              <a:off x="2712412" y="1132163"/>
              <a:ext cx="32034" cy="16766"/>
            </a:xfrm>
            <a:custGeom>
              <a:avLst/>
              <a:gdLst>
                <a:gd name="T0" fmla="*/ 3969 w 16"/>
                <a:gd name="T1" fmla="*/ 3752 h 11"/>
                <a:gd name="T2" fmla="*/ 1984 w 16"/>
                <a:gd name="T3" fmla="*/ 7505 h 11"/>
                <a:gd name="T4" fmla="*/ 3969 w 16"/>
                <a:gd name="T5" fmla="*/ 18762 h 11"/>
                <a:gd name="T6" fmla="*/ 17859 w 16"/>
                <a:gd name="T7" fmla="*/ 16886 h 11"/>
                <a:gd name="T8" fmla="*/ 27781 w 16"/>
                <a:gd name="T9" fmla="*/ 18762 h 11"/>
                <a:gd name="T10" fmla="*/ 29766 w 16"/>
                <a:gd name="T11" fmla="*/ 7505 h 11"/>
                <a:gd name="T12" fmla="*/ 19844 w 16"/>
                <a:gd name="T13" fmla="*/ 3752 h 11"/>
                <a:gd name="T14" fmla="*/ 11906 w 16"/>
                <a:gd name="T15" fmla="*/ 0 h 11"/>
                <a:gd name="T16" fmla="*/ 3969 w 16"/>
                <a:gd name="T17" fmla="*/ 375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4" name="Freeform 1061"/>
            <p:cNvSpPr>
              <a:spLocks noChangeAspect="1"/>
            </p:cNvSpPr>
            <p:nvPr/>
          </p:nvSpPr>
          <p:spPr bwMode="auto">
            <a:xfrm>
              <a:off x="2709210" y="1115397"/>
              <a:ext cx="9610" cy="14186"/>
            </a:xfrm>
            <a:custGeom>
              <a:avLst/>
              <a:gdLst>
                <a:gd name="T0" fmla="*/ 1905 w 5"/>
                <a:gd name="T1" fmla="*/ 1940 h 9"/>
                <a:gd name="T2" fmla="*/ 0 w 5"/>
                <a:gd name="T3" fmla="*/ 7761 h 9"/>
                <a:gd name="T4" fmla="*/ 3810 w 5"/>
                <a:gd name="T5" fmla="*/ 15522 h 9"/>
                <a:gd name="T6" fmla="*/ 7620 w 5"/>
                <a:gd name="T7" fmla="*/ 11641 h 9"/>
                <a:gd name="T8" fmla="*/ 7620 w 5"/>
                <a:gd name="T9" fmla="*/ 3880 h 9"/>
                <a:gd name="T10" fmla="*/ 1905 w 5"/>
                <a:gd name="T11" fmla="*/ 1940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1" y="1"/>
                  </a:moveTo>
                  <a:cubicBezTo>
                    <a:pt x="0" y="1"/>
                    <a:pt x="0" y="3"/>
                    <a:pt x="0" y="4"/>
                  </a:cubicBezTo>
                  <a:cubicBezTo>
                    <a:pt x="0" y="5"/>
                    <a:pt x="1" y="8"/>
                    <a:pt x="2" y="8"/>
                  </a:cubicBezTo>
                  <a:cubicBezTo>
                    <a:pt x="3" y="9"/>
                    <a:pt x="4" y="7"/>
                    <a:pt x="4" y="6"/>
                  </a:cubicBezTo>
                  <a:cubicBezTo>
                    <a:pt x="5" y="4"/>
                    <a:pt x="4" y="3"/>
                    <a:pt x="4" y="2"/>
                  </a:cubicBezTo>
                  <a:cubicBezTo>
                    <a:pt x="3" y="1"/>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5" name="Freeform 1062"/>
            <p:cNvSpPr>
              <a:spLocks noChangeAspect="1"/>
            </p:cNvSpPr>
            <p:nvPr/>
          </p:nvSpPr>
          <p:spPr bwMode="auto">
            <a:xfrm>
              <a:off x="2616310" y="1092183"/>
              <a:ext cx="36839" cy="23214"/>
            </a:xfrm>
            <a:custGeom>
              <a:avLst/>
              <a:gdLst>
                <a:gd name="T0" fmla="*/ 28825 w 19"/>
                <a:gd name="T1" fmla="*/ 0 h 15"/>
                <a:gd name="T2" fmla="*/ 36512 w 19"/>
                <a:gd name="T3" fmla="*/ 3810 h 15"/>
                <a:gd name="T4" fmla="*/ 23060 w 19"/>
                <a:gd name="T5" fmla="*/ 13335 h 15"/>
                <a:gd name="T6" fmla="*/ 15373 w 19"/>
                <a:gd name="T7" fmla="*/ 24765 h 15"/>
                <a:gd name="T8" fmla="*/ 3843 w 19"/>
                <a:gd name="T9" fmla="*/ 26670 h 15"/>
                <a:gd name="T10" fmla="*/ 0 w 19"/>
                <a:gd name="T11" fmla="*/ 20955 h 15"/>
                <a:gd name="T12" fmla="*/ 13452 w 19"/>
                <a:gd name="T13" fmla="*/ 11430 h 15"/>
                <a:gd name="T14" fmla="*/ 23060 w 19"/>
                <a:gd name="T15" fmla="*/ 3810 h 15"/>
                <a:gd name="T16" fmla="*/ 28825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6" name="Freeform 1063"/>
            <p:cNvSpPr>
              <a:spLocks noChangeAspect="1"/>
            </p:cNvSpPr>
            <p:nvPr/>
          </p:nvSpPr>
          <p:spPr bwMode="auto">
            <a:xfrm>
              <a:off x="2638734" y="1080576"/>
              <a:ext cx="25627" cy="10318"/>
            </a:xfrm>
            <a:custGeom>
              <a:avLst/>
              <a:gdLst>
                <a:gd name="T0" fmla="*/ 1814 w 14"/>
                <a:gd name="T1" fmla="*/ 8467 h 6"/>
                <a:gd name="T2" fmla="*/ 18143 w 14"/>
                <a:gd name="T3" fmla="*/ 2117 h 6"/>
                <a:gd name="T4" fmla="*/ 25400 w 14"/>
                <a:gd name="T5" fmla="*/ 4233 h 6"/>
                <a:gd name="T6" fmla="*/ 14514 w 14"/>
                <a:gd name="T7" fmla="*/ 8467 h 6"/>
                <a:gd name="T8" fmla="*/ 1814 w 14"/>
                <a:gd name="T9" fmla="*/ 8467 h 6"/>
                <a:gd name="T10" fmla="*/ 0 60000 65536"/>
                <a:gd name="T11" fmla="*/ 0 60000 65536"/>
                <a:gd name="T12" fmla="*/ 0 60000 65536"/>
                <a:gd name="T13" fmla="*/ 0 60000 65536"/>
                <a:gd name="T14" fmla="*/ 0 60000 65536"/>
                <a:gd name="T15" fmla="*/ 0 w 14"/>
                <a:gd name="T16" fmla="*/ 0 h 6"/>
                <a:gd name="T17" fmla="*/ 14 w 14"/>
                <a:gd name="T18" fmla="*/ 6 h 6"/>
              </a:gdLst>
              <a:ahLst/>
              <a:cxnLst>
                <a:cxn ang="T10">
                  <a:pos x="T0" y="T1"/>
                </a:cxn>
                <a:cxn ang="T11">
                  <a:pos x="T2" y="T3"/>
                </a:cxn>
                <a:cxn ang="T12">
                  <a:pos x="T4" y="T5"/>
                </a:cxn>
                <a:cxn ang="T13">
                  <a:pos x="T6" y="T7"/>
                </a:cxn>
                <a:cxn ang="T14">
                  <a:pos x="T8" y="T9"/>
                </a:cxn>
              </a:cxnLst>
              <a:rect l="T15" t="T16" r="T17" b="T18"/>
              <a:pathLst>
                <a:path w="14" h="6">
                  <a:moveTo>
                    <a:pt x="1" y="4"/>
                  </a:moveTo>
                  <a:cubicBezTo>
                    <a:pt x="3" y="1"/>
                    <a:pt x="7" y="1"/>
                    <a:pt x="10" y="1"/>
                  </a:cubicBezTo>
                  <a:cubicBezTo>
                    <a:pt x="12" y="0"/>
                    <a:pt x="14" y="1"/>
                    <a:pt x="14" y="2"/>
                  </a:cubicBezTo>
                  <a:cubicBezTo>
                    <a:pt x="13" y="4"/>
                    <a:pt x="10" y="4"/>
                    <a:pt x="8" y="4"/>
                  </a:cubicBezTo>
                  <a:cubicBezTo>
                    <a:pt x="6" y="4"/>
                    <a:pt x="0" y="6"/>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7" name="Freeform 1064"/>
            <p:cNvSpPr>
              <a:spLocks noChangeAspect="1"/>
            </p:cNvSpPr>
            <p:nvPr/>
          </p:nvSpPr>
          <p:spPr bwMode="auto">
            <a:xfrm>
              <a:off x="2605098" y="1079286"/>
              <a:ext cx="20823" cy="7738"/>
            </a:xfrm>
            <a:custGeom>
              <a:avLst/>
              <a:gdLst>
                <a:gd name="T0" fmla="*/ 1876 w 11"/>
                <a:gd name="T1" fmla="*/ 3810 h 5"/>
                <a:gd name="T2" fmla="*/ 7505 w 11"/>
                <a:gd name="T3" fmla="*/ 9525 h 5"/>
                <a:gd name="T4" fmla="*/ 20638 w 11"/>
                <a:gd name="T5" fmla="*/ 5715 h 5"/>
                <a:gd name="T6" fmla="*/ 16886 w 11"/>
                <a:gd name="T7" fmla="*/ 1905 h 5"/>
                <a:gd name="T8" fmla="*/ 1876 w 11"/>
                <a:gd name="T9" fmla="*/ 381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2"/>
                  </a:moveTo>
                  <a:cubicBezTo>
                    <a:pt x="0" y="3"/>
                    <a:pt x="2" y="5"/>
                    <a:pt x="4" y="5"/>
                  </a:cubicBezTo>
                  <a:cubicBezTo>
                    <a:pt x="6" y="5"/>
                    <a:pt x="9" y="4"/>
                    <a:pt x="11" y="3"/>
                  </a:cubicBezTo>
                  <a:cubicBezTo>
                    <a:pt x="11" y="2"/>
                    <a:pt x="10" y="1"/>
                    <a:pt x="9" y="1"/>
                  </a:cubicBezTo>
                  <a:cubicBezTo>
                    <a:pt x="6" y="1"/>
                    <a:pt x="3"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8" name="Freeform 1065"/>
            <p:cNvSpPr>
              <a:spLocks noChangeAspect="1"/>
            </p:cNvSpPr>
            <p:nvPr/>
          </p:nvSpPr>
          <p:spPr bwMode="auto">
            <a:xfrm>
              <a:off x="2624317" y="1125715"/>
              <a:ext cx="14416" cy="11607"/>
            </a:xfrm>
            <a:custGeom>
              <a:avLst/>
              <a:gdLst>
                <a:gd name="T0" fmla="*/ 2041 w 7"/>
                <a:gd name="T1" fmla="*/ 4082 h 7"/>
                <a:gd name="T2" fmla="*/ 2041 w 7"/>
                <a:gd name="T3" fmla="*/ 12246 h 7"/>
                <a:gd name="T4" fmla="*/ 8165 w 7"/>
                <a:gd name="T5" fmla="*/ 10205 h 7"/>
                <a:gd name="T6" fmla="*/ 12247 w 7"/>
                <a:gd name="T7" fmla="*/ 4082 h 7"/>
                <a:gd name="T8" fmla="*/ 2041 w 7"/>
                <a:gd name="T9" fmla="*/ 4082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2"/>
                  </a:moveTo>
                  <a:cubicBezTo>
                    <a:pt x="0" y="3"/>
                    <a:pt x="0" y="5"/>
                    <a:pt x="1" y="6"/>
                  </a:cubicBezTo>
                  <a:cubicBezTo>
                    <a:pt x="1" y="7"/>
                    <a:pt x="3" y="6"/>
                    <a:pt x="4" y="5"/>
                  </a:cubicBezTo>
                  <a:cubicBezTo>
                    <a:pt x="5" y="4"/>
                    <a:pt x="7" y="3"/>
                    <a:pt x="6" y="2"/>
                  </a:cubicBezTo>
                  <a:cubicBezTo>
                    <a:pt x="5" y="0"/>
                    <a:pt x="2" y="1"/>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9" name="Freeform 1066"/>
            <p:cNvSpPr>
              <a:spLocks noChangeAspect="1"/>
            </p:cNvSpPr>
            <p:nvPr/>
          </p:nvSpPr>
          <p:spPr bwMode="auto">
            <a:xfrm>
              <a:off x="2459342" y="1067679"/>
              <a:ext cx="22424" cy="9029"/>
            </a:xfrm>
            <a:custGeom>
              <a:avLst/>
              <a:gdLst>
                <a:gd name="T0" fmla="*/ 3704 w 12"/>
                <a:gd name="T1" fmla="*/ 1852 h 6"/>
                <a:gd name="T2" fmla="*/ 9260 w 12"/>
                <a:gd name="T3" fmla="*/ 9261 h 6"/>
                <a:gd name="T4" fmla="*/ 20373 w 12"/>
                <a:gd name="T5" fmla="*/ 9261 h 6"/>
                <a:gd name="T6" fmla="*/ 18521 w 12"/>
                <a:gd name="T7" fmla="*/ 1852 h 6"/>
                <a:gd name="T8" fmla="*/ 3704 w 12"/>
                <a:gd name="T9" fmla="*/ 1852 h 6"/>
                <a:gd name="T10" fmla="*/ 0 60000 65536"/>
                <a:gd name="T11" fmla="*/ 0 60000 65536"/>
                <a:gd name="T12" fmla="*/ 0 60000 65536"/>
                <a:gd name="T13" fmla="*/ 0 60000 65536"/>
                <a:gd name="T14" fmla="*/ 0 60000 65536"/>
                <a:gd name="T15" fmla="*/ 0 w 12"/>
                <a:gd name="T16" fmla="*/ 0 h 6"/>
                <a:gd name="T17" fmla="*/ 12 w 12"/>
                <a:gd name="T18" fmla="*/ 6 h 6"/>
              </a:gdLst>
              <a:ahLst/>
              <a:cxnLst>
                <a:cxn ang="T10">
                  <a:pos x="T0" y="T1"/>
                </a:cxn>
                <a:cxn ang="T11">
                  <a:pos x="T2" y="T3"/>
                </a:cxn>
                <a:cxn ang="T12">
                  <a:pos x="T4" y="T5"/>
                </a:cxn>
                <a:cxn ang="T13">
                  <a:pos x="T6" y="T7"/>
                </a:cxn>
                <a:cxn ang="T14">
                  <a:pos x="T8" y="T9"/>
                </a:cxn>
              </a:cxnLst>
              <a:rect l="T15" t="T16" r="T17" b="T18"/>
              <a:pathLst>
                <a:path w="12" h="6">
                  <a:moveTo>
                    <a:pt x="2" y="1"/>
                  </a:moveTo>
                  <a:cubicBezTo>
                    <a:pt x="0" y="2"/>
                    <a:pt x="4" y="5"/>
                    <a:pt x="5" y="5"/>
                  </a:cubicBezTo>
                  <a:cubicBezTo>
                    <a:pt x="7" y="6"/>
                    <a:pt x="9" y="6"/>
                    <a:pt x="11" y="5"/>
                  </a:cubicBezTo>
                  <a:cubicBezTo>
                    <a:pt x="12" y="4"/>
                    <a:pt x="11" y="2"/>
                    <a:pt x="10" y="1"/>
                  </a:cubicBezTo>
                  <a:cubicBezTo>
                    <a:pt x="7" y="0"/>
                    <a:pt x="4" y="1"/>
                    <a:pt x="2"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0" name="Freeform 1067"/>
            <p:cNvSpPr>
              <a:spLocks noChangeAspect="1"/>
            </p:cNvSpPr>
            <p:nvPr/>
          </p:nvSpPr>
          <p:spPr bwMode="auto">
            <a:xfrm>
              <a:off x="2630725" y="940002"/>
              <a:ext cx="97705" cy="39980"/>
            </a:xfrm>
            <a:custGeom>
              <a:avLst/>
              <a:gdLst>
                <a:gd name="T0" fmla="*/ 39874 w 51"/>
                <a:gd name="T1" fmla="*/ 9464 h 26"/>
                <a:gd name="T2" fmla="*/ 62660 w 51"/>
                <a:gd name="T3" fmla="*/ 7571 h 26"/>
                <a:gd name="T4" fmla="*/ 79749 w 51"/>
                <a:gd name="T5" fmla="*/ 18928 h 26"/>
                <a:gd name="T6" fmla="*/ 89243 w 51"/>
                <a:gd name="T7" fmla="*/ 24606 h 26"/>
                <a:gd name="T8" fmla="*/ 96838 w 51"/>
                <a:gd name="T9" fmla="*/ 37855 h 26"/>
                <a:gd name="T10" fmla="*/ 94939 w 51"/>
                <a:gd name="T11" fmla="*/ 43534 h 26"/>
                <a:gd name="T12" fmla="*/ 77850 w 51"/>
                <a:gd name="T13" fmla="*/ 37855 h 26"/>
                <a:gd name="T14" fmla="*/ 53166 w 51"/>
                <a:gd name="T15" fmla="*/ 39748 h 26"/>
                <a:gd name="T16" fmla="*/ 30381 w 51"/>
                <a:gd name="T17" fmla="*/ 47319 h 26"/>
                <a:gd name="T18" fmla="*/ 18988 w 51"/>
                <a:gd name="T19" fmla="*/ 47319 h 26"/>
                <a:gd name="T20" fmla="*/ 11393 w 51"/>
                <a:gd name="T21" fmla="*/ 37855 h 26"/>
                <a:gd name="T22" fmla="*/ 13291 w 51"/>
                <a:gd name="T23" fmla="*/ 26499 h 26"/>
                <a:gd name="T24" fmla="*/ 11393 w 51"/>
                <a:gd name="T25" fmla="*/ 24606 h 26"/>
                <a:gd name="T26" fmla="*/ 0 w 51"/>
                <a:gd name="T27" fmla="*/ 22713 h 26"/>
                <a:gd name="T28" fmla="*/ 7595 w 51"/>
                <a:gd name="T29" fmla="*/ 1893 h 26"/>
                <a:gd name="T30" fmla="*/ 15190 w 51"/>
                <a:gd name="T31" fmla="*/ 1893 h 26"/>
                <a:gd name="T32" fmla="*/ 39874 w 51"/>
                <a:gd name="T33" fmla="*/ 9464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1" name="Freeform 1068"/>
            <p:cNvSpPr>
              <a:spLocks noChangeAspect="1"/>
            </p:cNvSpPr>
            <p:nvPr/>
          </p:nvSpPr>
          <p:spPr bwMode="auto">
            <a:xfrm>
              <a:off x="2316789" y="927105"/>
              <a:ext cx="124934" cy="78670"/>
            </a:xfrm>
            <a:custGeom>
              <a:avLst/>
              <a:gdLst>
                <a:gd name="T0" fmla="*/ 118110 w 65"/>
                <a:gd name="T1" fmla="*/ 9684 h 50"/>
                <a:gd name="T2" fmla="*/ 123825 w 65"/>
                <a:gd name="T3" fmla="*/ 11620 h 50"/>
                <a:gd name="T4" fmla="*/ 108585 w 65"/>
                <a:gd name="T5" fmla="*/ 25178 h 50"/>
                <a:gd name="T6" fmla="*/ 91440 w 65"/>
                <a:gd name="T7" fmla="*/ 42608 h 50"/>
                <a:gd name="T8" fmla="*/ 72390 w 65"/>
                <a:gd name="T9" fmla="*/ 61976 h 50"/>
                <a:gd name="T10" fmla="*/ 43815 w 65"/>
                <a:gd name="T11" fmla="*/ 56165 h 50"/>
                <a:gd name="T12" fmla="*/ 32385 w 65"/>
                <a:gd name="T13" fmla="*/ 58102 h 50"/>
                <a:gd name="T14" fmla="*/ 32385 w 65"/>
                <a:gd name="T15" fmla="*/ 61976 h 50"/>
                <a:gd name="T16" fmla="*/ 41910 w 65"/>
                <a:gd name="T17" fmla="*/ 65849 h 50"/>
                <a:gd name="T18" fmla="*/ 43815 w 65"/>
                <a:gd name="T19" fmla="*/ 73596 h 50"/>
                <a:gd name="T20" fmla="*/ 22860 w 65"/>
                <a:gd name="T21" fmla="*/ 94900 h 50"/>
                <a:gd name="T22" fmla="*/ 17145 w 65"/>
                <a:gd name="T23" fmla="*/ 92964 h 50"/>
                <a:gd name="T24" fmla="*/ 1905 w 65"/>
                <a:gd name="T25" fmla="*/ 92964 h 50"/>
                <a:gd name="T26" fmla="*/ 5715 w 65"/>
                <a:gd name="T27" fmla="*/ 85217 h 50"/>
                <a:gd name="T28" fmla="*/ 5715 w 65"/>
                <a:gd name="T29" fmla="*/ 69723 h 50"/>
                <a:gd name="T30" fmla="*/ 0 w 65"/>
                <a:gd name="T31" fmla="*/ 61976 h 50"/>
                <a:gd name="T32" fmla="*/ 5715 w 65"/>
                <a:gd name="T33" fmla="*/ 36798 h 50"/>
                <a:gd name="T34" fmla="*/ 5715 w 65"/>
                <a:gd name="T35" fmla="*/ 30988 h 50"/>
                <a:gd name="T36" fmla="*/ 9525 w 65"/>
                <a:gd name="T37" fmla="*/ 19367 h 50"/>
                <a:gd name="T38" fmla="*/ 24765 w 65"/>
                <a:gd name="T39" fmla="*/ 23241 h 50"/>
                <a:gd name="T40" fmla="*/ 28575 w 65"/>
                <a:gd name="T41" fmla="*/ 21304 h 50"/>
                <a:gd name="T42" fmla="*/ 17145 w 65"/>
                <a:gd name="T43" fmla="*/ 9684 h 50"/>
                <a:gd name="T44" fmla="*/ 26670 w 65"/>
                <a:gd name="T45" fmla="*/ 5810 h 50"/>
                <a:gd name="T46" fmla="*/ 49530 w 65"/>
                <a:gd name="T47" fmla="*/ 1937 h 50"/>
                <a:gd name="T48" fmla="*/ 53340 w 65"/>
                <a:gd name="T49" fmla="*/ 5810 h 50"/>
                <a:gd name="T50" fmla="*/ 60960 w 65"/>
                <a:gd name="T51" fmla="*/ 1937 h 50"/>
                <a:gd name="T52" fmla="*/ 81915 w 65"/>
                <a:gd name="T53" fmla="*/ 3873 h 50"/>
                <a:gd name="T54" fmla="*/ 83820 w 65"/>
                <a:gd name="T55" fmla="*/ 9684 h 50"/>
                <a:gd name="T56" fmla="*/ 93345 w 65"/>
                <a:gd name="T57" fmla="*/ 3873 h 50"/>
                <a:gd name="T58" fmla="*/ 118110 w 65"/>
                <a:gd name="T59" fmla="*/ 9684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2" name="Freeform 1069"/>
            <p:cNvSpPr>
              <a:spLocks noChangeAspect="1"/>
            </p:cNvSpPr>
            <p:nvPr/>
          </p:nvSpPr>
          <p:spPr bwMode="auto">
            <a:xfrm>
              <a:off x="2177441" y="937423"/>
              <a:ext cx="121730" cy="88988"/>
            </a:xfrm>
            <a:custGeom>
              <a:avLst/>
              <a:gdLst>
                <a:gd name="T0" fmla="*/ 82947 w 64"/>
                <a:gd name="T1" fmla="*/ 41549 h 58"/>
                <a:gd name="T2" fmla="*/ 88602 w 64"/>
                <a:gd name="T3" fmla="*/ 32106 h 58"/>
                <a:gd name="T4" fmla="*/ 109339 w 64"/>
                <a:gd name="T5" fmla="*/ 22663 h 58"/>
                <a:gd name="T6" fmla="*/ 105569 w 64"/>
                <a:gd name="T7" fmla="*/ 15109 h 58"/>
                <a:gd name="T8" fmla="*/ 116880 w 64"/>
                <a:gd name="T9" fmla="*/ 5666 h 58"/>
                <a:gd name="T10" fmla="*/ 111224 w 64"/>
                <a:gd name="T11" fmla="*/ 0 h 58"/>
                <a:gd name="T12" fmla="*/ 88602 w 64"/>
                <a:gd name="T13" fmla="*/ 5666 h 58"/>
                <a:gd name="T14" fmla="*/ 73521 w 64"/>
                <a:gd name="T15" fmla="*/ 9443 h 58"/>
                <a:gd name="T16" fmla="*/ 62210 w 64"/>
                <a:gd name="T17" fmla="*/ 5666 h 58"/>
                <a:gd name="T18" fmla="*/ 54670 w 64"/>
                <a:gd name="T19" fmla="*/ 7554 h 58"/>
                <a:gd name="T20" fmla="*/ 49014 w 64"/>
                <a:gd name="T21" fmla="*/ 3777 h 58"/>
                <a:gd name="T22" fmla="*/ 37703 w 64"/>
                <a:gd name="T23" fmla="*/ 9443 h 58"/>
                <a:gd name="T24" fmla="*/ 47129 w 64"/>
                <a:gd name="T25" fmla="*/ 15109 h 58"/>
                <a:gd name="T26" fmla="*/ 45244 w 64"/>
                <a:gd name="T27" fmla="*/ 18886 h 58"/>
                <a:gd name="T28" fmla="*/ 30163 w 64"/>
                <a:gd name="T29" fmla="*/ 13220 h 58"/>
                <a:gd name="T30" fmla="*/ 28277 w 64"/>
                <a:gd name="T31" fmla="*/ 18886 h 58"/>
                <a:gd name="T32" fmla="*/ 41473 w 64"/>
                <a:gd name="T33" fmla="*/ 26440 h 58"/>
                <a:gd name="T34" fmla="*/ 52784 w 64"/>
                <a:gd name="T35" fmla="*/ 26440 h 58"/>
                <a:gd name="T36" fmla="*/ 45244 w 64"/>
                <a:gd name="T37" fmla="*/ 35883 h 58"/>
                <a:gd name="T38" fmla="*/ 50899 w 64"/>
                <a:gd name="T39" fmla="*/ 43437 h 58"/>
                <a:gd name="T40" fmla="*/ 37703 w 64"/>
                <a:gd name="T41" fmla="*/ 54769 h 58"/>
                <a:gd name="T42" fmla="*/ 24507 w 64"/>
                <a:gd name="T43" fmla="*/ 52880 h 58"/>
                <a:gd name="T44" fmla="*/ 15081 w 64"/>
                <a:gd name="T45" fmla="*/ 41549 h 58"/>
                <a:gd name="T46" fmla="*/ 7541 w 64"/>
                <a:gd name="T47" fmla="*/ 41549 h 58"/>
                <a:gd name="T48" fmla="*/ 0 w 64"/>
                <a:gd name="T49" fmla="*/ 52880 h 58"/>
                <a:gd name="T50" fmla="*/ 3770 w 64"/>
                <a:gd name="T51" fmla="*/ 66100 h 58"/>
                <a:gd name="T52" fmla="*/ 15081 w 64"/>
                <a:gd name="T53" fmla="*/ 71766 h 58"/>
                <a:gd name="T54" fmla="*/ 24507 w 64"/>
                <a:gd name="T55" fmla="*/ 73654 h 58"/>
                <a:gd name="T56" fmla="*/ 37703 w 64"/>
                <a:gd name="T57" fmla="*/ 83097 h 58"/>
                <a:gd name="T58" fmla="*/ 41473 w 64"/>
                <a:gd name="T59" fmla="*/ 92540 h 58"/>
                <a:gd name="T60" fmla="*/ 50899 w 64"/>
                <a:gd name="T61" fmla="*/ 96317 h 58"/>
                <a:gd name="T62" fmla="*/ 52784 w 64"/>
                <a:gd name="T63" fmla="*/ 107648 h 58"/>
                <a:gd name="T64" fmla="*/ 62210 w 64"/>
                <a:gd name="T65" fmla="*/ 107648 h 58"/>
                <a:gd name="T66" fmla="*/ 67866 w 64"/>
                <a:gd name="T67" fmla="*/ 109537 h 58"/>
                <a:gd name="T68" fmla="*/ 77291 w 64"/>
                <a:gd name="T69" fmla="*/ 101983 h 58"/>
                <a:gd name="T70" fmla="*/ 75406 w 64"/>
                <a:gd name="T71" fmla="*/ 92540 h 58"/>
                <a:gd name="T72" fmla="*/ 82947 w 64"/>
                <a:gd name="T73" fmla="*/ 96317 h 58"/>
                <a:gd name="T74" fmla="*/ 98028 w 64"/>
                <a:gd name="T75" fmla="*/ 96317 h 58"/>
                <a:gd name="T76" fmla="*/ 109339 w 64"/>
                <a:gd name="T77" fmla="*/ 88763 h 58"/>
                <a:gd name="T78" fmla="*/ 107454 w 64"/>
                <a:gd name="T79" fmla="*/ 73654 h 58"/>
                <a:gd name="T80" fmla="*/ 118765 w 64"/>
                <a:gd name="T81" fmla="*/ 64211 h 58"/>
                <a:gd name="T82" fmla="*/ 116880 w 64"/>
                <a:gd name="T83" fmla="*/ 56657 h 58"/>
                <a:gd name="T84" fmla="*/ 103684 w 64"/>
                <a:gd name="T85" fmla="*/ 56657 h 58"/>
                <a:gd name="T86" fmla="*/ 107454 w 64"/>
                <a:gd name="T87" fmla="*/ 49103 h 58"/>
                <a:gd name="T88" fmla="*/ 103684 w 64"/>
                <a:gd name="T89" fmla="*/ 39660 h 58"/>
                <a:gd name="T90" fmla="*/ 94258 w 64"/>
                <a:gd name="T91" fmla="*/ 35883 h 58"/>
                <a:gd name="T92" fmla="*/ 82947 w 64"/>
                <a:gd name="T93" fmla="*/ 41549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3" name="Freeform 1070"/>
            <p:cNvSpPr>
              <a:spLocks noChangeAspect="1"/>
            </p:cNvSpPr>
            <p:nvPr/>
          </p:nvSpPr>
          <p:spPr bwMode="auto">
            <a:xfrm>
              <a:off x="2247915" y="927105"/>
              <a:ext cx="40042" cy="14186"/>
            </a:xfrm>
            <a:custGeom>
              <a:avLst/>
              <a:gdLst>
                <a:gd name="T0" fmla="*/ 5670 w 21"/>
                <a:gd name="T1" fmla="*/ 13582 h 9"/>
                <a:gd name="T2" fmla="*/ 1890 w 21"/>
                <a:gd name="T3" fmla="*/ 15522 h 9"/>
                <a:gd name="T4" fmla="*/ 11339 w 21"/>
                <a:gd name="T5" fmla="*/ 17462 h 9"/>
                <a:gd name="T6" fmla="*/ 24568 w 21"/>
                <a:gd name="T7" fmla="*/ 13582 h 9"/>
                <a:gd name="T8" fmla="*/ 34017 w 21"/>
                <a:gd name="T9" fmla="*/ 9701 h 9"/>
                <a:gd name="T10" fmla="*/ 35907 w 21"/>
                <a:gd name="T11" fmla="*/ 3880 h 9"/>
                <a:gd name="T12" fmla="*/ 26458 w 21"/>
                <a:gd name="T13" fmla="*/ 5821 h 9"/>
                <a:gd name="T14" fmla="*/ 13229 w 21"/>
                <a:gd name="T15" fmla="*/ 9701 h 9"/>
                <a:gd name="T16" fmla="*/ 5670 w 21"/>
                <a:gd name="T17" fmla="*/ 1358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9"/>
                <a:gd name="T29" fmla="*/ 21 w 2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9">
                  <a:moveTo>
                    <a:pt x="3" y="7"/>
                  </a:moveTo>
                  <a:cubicBezTo>
                    <a:pt x="2" y="7"/>
                    <a:pt x="0" y="8"/>
                    <a:pt x="1" y="8"/>
                  </a:cubicBezTo>
                  <a:cubicBezTo>
                    <a:pt x="3" y="9"/>
                    <a:pt x="4" y="9"/>
                    <a:pt x="6" y="9"/>
                  </a:cubicBezTo>
                  <a:cubicBezTo>
                    <a:pt x="8" y="8"/>
                    <a:pt x="11" y="8"/>
                    <a:pt x="13" y="7"/>
                  </a:cubicBezTo>
                  <a:cubicBezTo>
                    <a:pt x="15" y="7"/>
                    <a:pt x="16" y="6"/>
                    <a:pt x="18" y="5"/>
                  </a:cubicBezTo>
                  <a:cubicBezTo>
                    <a:pt x="19" y="4"/>
                    <a:pt x="21" y="2"/>
                    <a:pt x="19" y="2"/>
                  </a:cubicBezTo>
                  <a:cubicBezTo>
                    <a:pt x="18" y="0"/>
                    <a:pt x="16" y="2"/>
                    <a:pt x="14" y="3"/>
                  </a:cubicBezTo>
                  <a:cubicBezTo>
                    <a:pt x="11" y="4"/>
                    <a:pt x="9" y="4"/>
                    <a:pt x="7" y="5"/>
                  </a:cubicBezTo>
                  <a:cubicBezTo>
                    <a:pt x="6" y="6"/>
                    <a:pt x="4" y="6"/>
                    <a:pt x="3" y="7"/>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4" name="Freeform 1071"/>
            <p:cNvSpPr>
              <a:spLocks noChangeAspect="1"/>
            </p:cNvSpPr>
            <p:nvPr/>
          </p:nvSpPr>
          <p:spPr bwMode="auto">
            <a:xfrm>
              <a:off x="2287958" y="959347"/>
              <a:ext cx="14416" cy="12897"/>
            </a:xfrm>
            <a:custGeom>
              <a:avLst/>
              <a:gdLst>
                <a:gd name="T0" fmla="*/ 10206 w 7"/>
                <a:gd name="T1" fmla="*/ 1764 h 9"/>
                <a:gd name="T2" fmla="*/ 14288 w 7"/>
                <a:gd name="T3" fmla="*/ 7056 h 9"/>
                <a:gd name="T4" fmla="*/ 10206 w 7"/>
                <a:gd name="T5" fmla="*/ 14111 h 9"/>
                <a:gd name="T6" fmla="*/ 2041 w 7"/>
                <a:gd name="T7" fmla="*/ 14111 h 9"/>
                <a:gd name="T8" fmla="*/ 2041 w 7"/>
                <a:gd name="T9" fmla="*/ 5292 h 9"/>
                <a:gd name="T10" fmla="*/ 10206 w 7"/>
                <a:gd name="T11" fmla="*/ 1764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5" y="1"/>
                  </a:moveTo>
                  <a:cubicBezTo>
                    <a:pt x="6" y="1"/>
                    <a:pt x="7" y="3"/>
                    <a:pt x="7" y="4"/>
                  </a:cubicBezTo>
                  <a:cubicBezTo>
                    <a:pt x="7" y="6"/>
                    <a:pt x="6" y="7"/>
                    <a:pt x="5" y="8"/>
                  </a:cubicBezTo>
                  <a:cubicBezTo>
                    <a:pt x="4" y="8"/>
                    <a:pt x="2" y="9"/>
                    <a:pt x="1" y="8"/>
                  </a:cubicBezTo>
                  <a:cubicBezTo>
                    <a:pt x="0" y="6"/>
                    <a:pt x="0" y="4"/>
                    <a:pt x="1" y="3"/>
                  </a:cubicBezTo>
                  <a:cubicBezTo>
                    <a:pt x="2" y="1"/>
                    <a:pt x="3"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5" name="Freeform 1072"/>
            <p:cNvSpPr>
              <a:spLocks noChangeAspect="1"/>
            </p:cNvSpPr>
            <p:nvPr/>
          </p:nvSpPr>
          <p:spPr bwMode="auto">
            <a:xfrm>
              <a:off x="2318391" y="876807"/>
              <a:ext cx="72077" cy="38690"/>
            </a:xfrm>
            <a:custGeom>
              <a:avLst/>
              <a:gdLst>
                <a:gd name="T0" fmla="*/ 69506 w 37"/>
                <a:gd name="T1" fmla="*/ 24765 h 25"/>
                <a:gd name="T2" fmla="*/ 65645 w 37"/>
                <a:gd name="T3" fmla="*/ 43815 h 25"/>
                <a:gd name="T4" fmla="*/ 59853 w 37"/>
                <a:gd name="T5" fmla="*/ 47625 h 25"/>
                <a:gd name="T6" fmla="*/ 40545 w 37"/>
                <a:gd name="T7" fmla="*/ 45720 h 25"/>
                <a:gd name="T8" fmla="*/ 30892 w 37"/>
                <a:gd name="T9" fmla="*/ 45720 h 25"/>
                <a:gd name="T10" fmla="*/ 27030 w 37"/>
                <a:gd name="T11" fmla="*/ 40005 h 25"/>
                <a:gd name="T12" fmla="*/ 21238 w 37"/>
                <a:gd name="T13" fmla="*/ 41910 h 25"/>
                <a:gd name="T14" fmla="*/ 13515 w 37"/>
                <a:gd name="T15" fmla="*/ 38100 h 25"/>
                <a:gd name="T16" fmla="*/ 13515 w 37"/>
                <a:gd name="T17" fmla="*/ 32385 h 25"/>
                <a:gd name="T18" fmla="*/ 7723 w 37"/>
                <a:gd name="T19" fmla="*/ 32385 h 25"/>
                <a:gd name="T20" fmla="*/ 5792 w 37"/>
                <a:gd name="T21" fmla="*/ 28575 h 25"/>
                <a:gd name="T22" fmla="*/ 0 w 37"/>
                <a:gd name="T23" fmla="*/ 28575 h 25"/>
                <a:gd name="T24" fmla="*/ 5792 w 37"/>
                <a:gd name="T25" fmla="*/ 20955 h 25"/>
                <a:gd name="T26" fmla="*/ 19307 w 37"/>
                <a:gd name="T27" fmla="*/ 13335 h 25"/>
                <a:gd name="T28" fmla="*/ 34753 w 37"/>
                <a:gd name="T29" fmla="*/ 1905 h 25"/>
                <a:gd name="T30" fmla="*/ 46338 w 37"/>
                <a:gd name="T31" fmla="*/ 0 h 25"/>
                <a:gd name="T32" fmla="*/ 61783 w 37"/>
                <a:gd name="T33" fmla="*/ 5715 h 25"/>
                <a:gd name="T34" fmla="*/ 71437 w 37"/>
                <a:gd name="T35" fmla="*/ 15240 h 25"/>
                <a:gd name="T36" fmla="*/ 69506 w 37"/>
                <a:gd name="T37" fmla="*/ 2476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6" name="Freeform 1073"/>
            <p:cNvSpPr>
              <a:spLocks noChangeAspect="1"/>
            </p:cNvSpPr>
            <p:nvPr/>
          </p:nvSpPr>
          <p:spPr bwMode="auto">
            <a:xfrm>
              <a:off x="2364841" y="863909"/>
              <a:ext cx="11213" cy="11608"/>
            </a:xfrm>
            <a:custGeom>
              <a:avLst/>
              <a:gdLst>
                <a:gd name="T0" fmla="*/ 1852 w 6"/>
                <a:gd name="T1" fmla="*/ 2041 h 7"/>
                <a:gd name="T2" fmla="*/ 1852 w 6"/>
                <a:gd name="T3" fmla="*/ 10206 h 7"/>
                <a:gd name="T4" fmla="*/ 9261 w 6"/>
                <a:gd name="T5" fmla="*/ 12247 h 7"/>
                <a:gd name="T6" fmla="*/ 9261 w 6"/>
                <a:gd name="T7" fmla="*/ 2041 h 7"/>
                <a:gd name="T8" fmla="*/ 1852 w 6"/>
                <a:gd name="T9" fmla="*/ 2041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1" y="1"/>
                  </a:moveTo>
                  <a:cubicBezTo>
                    <a:pt x="0" y="2"/>
                    <a:pt x="0" y="4"/>
                    <a:pt x="1" y="5"/>
                  </a:cubicBezTo>
                  <a:cubicBezTo>
                    <a:pt x="2" y="6"/>
                    <a:pt x="4" y="7"/>
                    <a:pt x="5" y="6"/>
                  </a:cubicBezTo>
                  <a:cubicBezTo>
                    <a:pt x="6" y="5"/>
                    <a:pt x="6" y="2"/>
                    <a:pt x="5" y="1"/>
                  </a:cubicBezTo>
                  <a:cubicBezTo>
                    <a:pt x="4" y="0"/>
                    <a:pt x="2"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7" name="Freeform 1074"/>
            <p:cNvSpPr>
              <a:spLocks noChangeAspect="1"/>
            </p:cNvSpPr>
            <p:nvPr/>
          </p:nvSpPr>
          <p:spPr bwMode="auto">
            <a:xfrm>
              <a:off x="2313586" y="875517"/>
              <a:ext cx="24026" cy="12897"/>
            </a:xfrm>
            <a:custGeom>
              <a:avLst/>
              <a:gdLst>
                <a:gd name="T0" fmla="*/ 23813 w 13"/>
                <a:gd name="T1" fmla="*/ 3528 h 9"/>
                <a:gd name="T2" fmla="*/ 20149 w 13"/>
                <a:gd name="T3" fmla="*/ 7056 h 9"/>
                <a:gd name="T4" fmla="*/ 14654 w 13"/>
                <a:gd name="T5" fmla="*/ 3528 h 9"/>
                <a:gd name="T6" fmla="*/ 9159 w 13"/>
                <a:gd name="T7" fmla="*/ 12347 h 9"/>
                <a:gd name="T8" fmla="*/ 1832 w 13"/>
                <a:gd name="T9" fmla="*/ 14111 h 9"/>
                <a:gd name="T10" fmla="*/ 3664 w 13"/>
                <a:gd name="T11" fmla="*/ 5292 h 9"/>
                <a:gd name="T12" fmla="*/ 10991 w 13"/>
                <a:gd name="T13" fmla="*/ 3528 h 9"/>
                <a:gd name="T14" fmla="*/ 18318 w 13"/>
                <a:gd name="T15" fmla="*/ 0 h 9"/>
                <a:gd name="T16" fmla="*/ 23813 w 13"/>
                <a:gd name="T17" fmla="*/ 3528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8" name="Freeform 1075"/>
            <p:cNvSpPr>
              <a:spLocks noChangeAspect="1"/>
            </p:cNvSpPr>
            <p:nvPr/>
          </p:nvSpPr>
          <p:spPr bwMode="auto">
            <a:xfrm>
              <a:off x="2082939" y="940002"/>
              <a:ext cx="59264" cy="34821"/>
            </a:xfrm>
            <a:custGeom>
              <a:avLst/>
              <a:gdLst>
                <a:gd name="T0" fmla="*/ 54948 w 31"/>
                <a:gd name="T1" fmla="*/ 7793 h 22"/>
                <a:gd name="T2" fmla="*/ 58738 w 31"/>
                <a:gd name="T3" fmla="*/ 13638 h 22"/>
                <a:gd name="T4" fmla="*/ 37895 w 31"/>
                <a:gd name="T5" fmla="*/ 33121 h 22"/>
                <a:gd name="T6" fmla="*/ 36001 w 31"/>
                <a:gd name="T7" fmla="*/ 40914 h 22"/>
                <a:gd name="T8" fmla="*/ 28422 w 31"/>
                <a:gd name="T9" fmla="*/ 31172 h 22"/>
                <a:gd name="T10" fmla="*/ 15158 w 31"/>
                <a:gd name="T11" fmla="*/ 19483 h 22"/>
                <a:gd name="T12" fmla="*/ 1895 w 31"/>
                <a:gd name="T13" fmla="*/ 13638 h 22"/>
                <a:gd name="T14" fmla="*/ 7579 w 31"/>
                <a:gd name="T15" fmla="*/ 7793 h 22"/>
                <a:gd name="T16" fmla="*/ 20843 w 31"/>
                <a:gd name="T17" fmla="*/ 5845 h 22"/>
                <a:gd name="T18" fmla="*/ 32211 w 31"/>
                <a:gd name="T19" fmla="*/ 5845 h 22"/>
                <a:gd name="T20" fmla="*/ 41685 w 31"/>
                <a:gd name="T21" fmla="*/ 0 h 22"/>
                <a:gd name="T22" fmla="*/ 54948 w 31"/>
                <a:gd name="T23" fmla="*/ 779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9" name="Freeform 1076"/>
            <p:cNvSpPr>
              <a:spLocks noChangeAspect="1"/>
            </p:cNvSpPr>
            <p:nvPr/>
          </p:nvSpPr>
          <p:spPr bwMode="auto">
            <a:xfrm>
              <a:off x="1809046" y="954187"/>
              <a:ext cx="373198" cy="168948"/>
            </a:xfrm>
            <a:custGeom>
              <a:avLst/>
              <a:gdLst>
                <a:gd name="T0" fmla="*/ 299342 w 194"/>
                <a:gd name="T1" fmla="*/ 59145 h 109"/>
                <a:gd name="T2" fmla="*/ 301248 w 194"/>
                <a:gd name="T3" fmla="*/ 95396 h 109"/>
                <a:gd name="T4" fmla="*/ 335568 w 194"/>
                <a:gd name="T5" fmla="*/ 120199 h 109"/>
                <a:gd name="T6" fmla="*/ 366074 w 194"/>
                <a:gd name="T7" fmla="*/ 137370 h 109"/>
                <a:gd name="T8" fmla="*/ 350821 w 194"/>
                <a:gd name="T9" fmla="*/ 152633 h 109"/>
                <a:gd name="T10" fmla="*/ 322221 w 194"/>
                <a:gd name="T11" fmla="*/ 154541 h 109"/>
                <a:gd name="T12" fmla="*/ 306968 w 194"/>
                <a:gd name="T13" fmla="*/ 158357 h 109"/>
                <a:gd name="T14" fmla="*/ 314595 w 194"/>
                <a:gd name="T15" fmla="*/ 175528 h 109"/>
                <a:gd name="T16" fmla="*/ 335568 w 194"/>
                <a:gd name="T17" fmla="*/ 173620 h 109"/>
                <a:gd name="T18" fmla="*/ 297435 w 194"/>
                <a:gd name="T19" fmla="*/ 194608 h 109"/>
                <a:gd name="T20" fmla="*/ 268835 w 194"/>
                <a:gd name="T21" fmla="*/ 190792 h 109"/>
                <a:gd name="T22" fmla="*/ 247862 w 194"/>
                <a:gd name="T23" fmla="*/ 179344 h 109"/>
                <a:gd name="T24" fmla="*/ 242143 w 194"/>
                <a:gd name="T25" fmla="*/ 167897 h 109"/>
                <a:gd name="T26" fmla="*/ 200197 w 194"/>
                <a:gd name="T27" fmla="*/ 188884 h 109"/>
                <a:gd name="T28" fmla="*/ 169690 w 194"/>
                <a:gd name="T29" fmla="*/ 200331 h 109"/>
                <a:gd name="T30" fmla="*/ 125838 w 194"/>
                <a:gd name="T31" fmla="*/ 206055 h 109"/>
                <a:gd name="T32" fmla="*/ 81985 w 194"/>
                <a:gd name="T33" fmla="*/ 188884 h 109"/>
                <a:gd name="T34" fmla="*/ 53386 w 194"/>
                <a:gd name="T35" fmla="*/ 175528 h 109"/>
                <a:gd name="T36" fmla="*/ 26693 w 194"/>
                <a:gd name="T37" fmla="*/ 164081 h 109"/>
                <a:gd name="T38" fmla="*/ 32413 w 194"/>
                <a:gd name="T39" fmla="*/ 139278 h 109"/>
                <a:gd name="T40" fmla="*/ 80079 w 194"/>
                <a:gd name="T41" fmla="*/ 131646 h 109"/>
                <a:gd name="T42" fmla="*/ 125838 w 194"/>
                <a:gd name="T43" fmla="*/ 135462 h 109"/>
                <a:gd name="T44" fmla="*/ 144904 w 194"/>
                <a:gd name="T45" fmla="*/ 127830 h 109"/>
                <a:gd name="T46" fmla="*/ 89612 w 194"/>
                <a:gd name="T47" fmla="*/ 112567 h 109"/>
                <a:gd name="T48" fmla="*/ 36226 w 194"/>
                <a:gd name="T49" fmla="*/ 116383 h 109"/>
                <a:gd name="T50" fmla="*/ 13346 w 194"/>
                <a:gd name="T51" fmla="*/ 103028 h 109"/>
                <a:gd name="T52" fmla="*/ 55292 w 194"/>
                <a:gd name="T53" fmla="*/ 89672 h 109"/>
                <a:gd name="T54" fmla="*/ 80079 w 194"/>
                <a:gd name="T55" fmla="*/ 82040 h 109"/>
                <a:gd name="T56" fmla="*/ 32413 w 194"/>
                <a:gd name="T57" fmla="*/ 89672 h 109"/>
                <a:gd name="T58" fmla="*/ 17160 w 194"/>
                <a:gd name="T59" fmla="*/ 89672 h 109"/>
                <a:gd name="T60" fmla="*/ 7627 w 194"/>
                <a:gd name="T61" fmla="*/ 78225 h 109"/>
                <a:gd name="T62" fmla="*/ 20973 w 194"/>
                <a:gd name="T63" fmla="*/ 59145 h 109"/>
                <a:gd name="T64" fmla="*/ 24786 w 194"/>
                <a:gd name="T65" fmla="*/ 40066 h 109"/>
                <a:gd name="T66" fmla="*/ 74359 w 194"/>
                <a:gd name="T67" fmla="*/ 13355 h 109"/>
                <a:gd name="T68" fmla="*/ 118211 w 194"/>
                <a:gd name="T69" fmla="*/ 1908 h 109"/>
                <a:gd name="T70" fmla="*/ 123931 w 194"/>
                <a:gd name="T71" fmla="*/ 22895 h 109"/>
                <a:gd name="T72" fmla="*/ 110585 w 194"/>
                <a:gd name="T73" fmla="*/ 36250 h 109"/>
                <a:gd name="T74" fmla="*/ 133464 w 194"/>
                <a:gd name="T75" fmla="*/ 30527 h 109"/>
                <a:gd name="T76" fmla="*/ 177317 w 194"/>
                <a:gd name="T77" fmla="*/ 26711 h 109"/>
                <a:gd name="T78" fmla="*/ 160157 w 194"/>
                <a:gd name="T79" fmla="*/ 49606 h 109"/>
                <a:gd name="T80" fmla="*/ 179224 w 194"/>
                <a:gd name="T81" fmla="*/ 49606 h 109"/>
                <a:gd name="T82" fmla="*/ 202103 w 194"/>
                <a:gd name="T83" fmla="*/ 38158 h 109"/>
                <a:gd name="T84" fmla="*/ 207823 w 194"/>
                <a:gd name="T85" fmla="*/ 17171 h 109"/>
                <a:gd name="T86" fmla="*/ 224983 w 194"/>
                <a:gd name="T87" fmla="*/ 57238 h 109"/>
                <a:gd name="T88" fmla="*/ 253582 w 194"/>
                <a:gd name="T89" fmla="*/ 68685 h 109"/>
                <a:gd name="T90" fmla="*/ 247862 w 194"/>
                <a:gd name="T91" fmla="*/ 22895 h 109"/>
                <a:gd name="T92" fmla="*/ 270742 w 194"/>
                <a:gd name="T93" fmla="*/ 9540 h 109"/>
                <a:gd name="T94" fmla="*/ 303155 w 194"/>
                <a:gd name="T95" fmla="*/ 22895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0" name="Freeform 1077"/>
            <p:cNvSpPr>
              <a:spLocks noChangeAspect="1"/>
            </p:cNvSpPr>
            <p:nvPr/>
          </p:nvSpPr>
          <p:spPr bwMode="auto">
            <a:xfrm>
              <a:off x="1669697" y="914208"/>
              <a:ext cx="245062" cy="122520"/>
            </a:xfrm>
            <a:custGeom>
              <a:avLst/>
              <a:gdLst>
                <a:gd name="T0" fmla="*/ 242888 w 128"/>
                <a:gd name="T1" fmla="*/ 43907 h 79"/>
                <a:gd name="T2" fmla="*/ 239093 w 128"/>
                <a:gd name="T3" fmla="*/ 36271 h 79"/>
                <a:gd name="T4" fmla="*/ 223912 w 128"/>
                <a:gd name="T5" fmla="*/ 30544 h 79"/>
                <a:gd name="T6" fmla="*/ 210629 w 128"/>
                <a:gd name="T7" fmla="*/ 17181 h 79"/>
                <a:gd name="T8" fmla="*/ 195449 w 128"/>
                <a:gd name="T9" fmla="*/ 13363 h 79"/>
                <a:gd name="T10" fmla="*/ 184064 w 128"/>
                <a:gd name="T11" fmla="*/ 17181 h 79"/>
                <a:gd name="T12" fmla="*/ 174576 w 128"/>
                <a:gd name="T13" fmla="*/ 24817 h 79"/>
                <a:gd name="T14" fmla="*/ 168883 w 128"/>
                <a:gd name="T15" fmla="*/ 22908 h 79"/>
                <a:gd name="T16" fmla="*/ 168883 w 128"/>
                <a:gd name="T17" fmla="*/ 17181 h 79"/>
                <a:gd name="T18" fmla="*/ 163190 w 128"/>
                <a:gd name="T19" fmla="*/ 15272 h 79"/>
                <a:gd name="T20" fmla="*/ 159395 w 128"/>
                <a:gd name="T21" fmla="*/ 20999 h 79"/>
                <a:gd name="T22" fmla="*/ 155600 w 128"/>
                <a:gd name="T23" fmla="*/ 15272 h 79"/>
                <a:gd name="T24" fmla="*/ 138522 w 128"/>
                <a:gd name="T25" fmla="*/ 9545 h 79"/>
                <a:gd name="T26" fmla="*/ 127137 w 128"/>
                <a:gd name="T27" fmla="*/ 1909 h 79"/>
                <a:gd name="T28" fmla="*/ 110059 w 128"/>
                <a:gd name="T29" fmla="*/ 7636 h 79"/>
                <a:gd name="T30" fmla="*/ 83493 w 128"/>
                <a:gd name="T31" fmla="*/ 7636 h 79"/>
                <a:gd name="T32" fmla="*/ 58824 w 128"/>
                <a:gd name="T33" fmla="*/ 7636 h 79"/>
                <a:gd name="T34" fmla="*/ 55029 w 128"/>
                <a:gd name="T35" fmla="*/ 9545 h 79"/>
                <a:gd name="T36" fmla="*/ 60722 w 128"/>
                <a:gd name="T37" fmla="*/ 24817 h 79"/>
                <a:gd name="T38" fmla="*/ 62620 w 128"/>
                <a:gd name="T39" fmla="*/ 34362 h 79"/>
                <a:gd name="T40" fmla="*/ 60722 w 128"/>
                <a:gd name="T41" fmla="*/ 40089 h 79"/>
                <a:gd name="T42" fmla="*/ 55029 w 128"/>
                <a:gd name="T43" fmla="*/ 47725 h 79"/>
                <a:gd name="T44" fmla="*/ 39849 w 128"/>
                <a:gd name="T45" fmla="*/ 59179 h 79"/>
                <a:gd name="T46" fmla="*/ 36054 w 128"/>
                <a:gd name="T47" fmla="*/ 61088 h 79"/>
                <a:gd name="T48" fmla="*/ 41746 w 128"/>
                <a:gd name="T49" fmla="*/ 66815 h 79"/>
                <a:gd name="T50" fmla="*/ 36054 w 128"/>
                <a:gd name="T51" fmla="*/ 72542 h 79"/>
                <a:gd name="T52" fmla="*/ 30361 w 128"/>
                <a:gd name="T53" fmla="*/ 72542 h 79"/>
                <a:gd name="T54" fmla="*/ 26566 w 128"/>
                <a:gd name="T55" fmla="*/ 85906 h 79"/>
                <a:gd name="T56" fmla="*/ 20873 w 128"/>
                <a:gd name="T57" fmla="*/ 85906 h 79"/>
                <a:gd name="T58" fmla="*/ 9488 w 128"/>
                <a:gd name="T59" fmla="*/ 103087 h 79"/>
                <a:gd name="T60" fmla="*/ 5693 w 128"/>
                <a:gd name="T61" fmla="*/ 108814 h 79"/>
                <a:gd name="T62" fmla="*/ 0 w 128"/>
                <a:gd name="T63" fmla="*/ 112632 h 79"/>
                <a:gd name="T64" fmla="*/ 5693 w 128"/>
                <a:gd name="T65" fmla="*/ 114541 h 79"/>
                <a:gd name="T66" fmla="*/ 18976 w 128"/>
                <a:gd name="T67" fmla="*/ 112632 h 79"/>
                <a:gd name="T68" fmla="*/ 28463 w 128"/>
                <a:gd name="T69" fmla="*/ 116450 h 79"/>
                <a:gd name="T70" fmla="*/ 36054 w 128"/>
                <a:gd name="T71" fmla="*/ 122177 h 79"/>
                <a:gd name="T72" fmla="*/ 39849 w 128"/>
                <a:gd name="T73" fmla="*/ 131722 h 79"/>
                <a:gd name="T74" fmla="*/ 43644 w 128"/>
                <a:gd name="T75" fmla="*/ 145085 h 79"/>
                <a:gd name="T76" fmla="*/ 55029 w 128"/>
                <a:gd name="T77" fmla="*/ 150812 h 79"/>
                <a:gd name="T78" fmla="*/ 60722 w 128"/>
                <a:gd name="T79" fmla="*/ 145085 h 79"/>
                <a:gd name="T80" fmla="*/ 77800 w 128"/>
                <a:gd name="T81" fmla="*/ 137449 h 79"/>
                <a:gd name="T82" fmla="*/ 79698 w 128"/>
                <a:gd name="T83" fmla="*/ 131722 h 79"/>
                <a:gd name="T84" fmla="*/ 83493 w 128"/>
                <a:gd name="T85" fmla="*/ 137449 h 79"/>
                <a:gd name="T86" fmla="*/ 94878 w 128"/>
                <a:gd name="T87" fmla="*/ 135540 h 79"/>
                <a:gd name="T88" fmla="*/ 104366 w 128"/>
                <a:gd name="T89" fmla="*/ 131722 h 79"/>
                <a:gd name="T90" fmla="*/ 111956 w 128"/>
                <a:gd name="T91" fmla="*/ 116450 h 79"/>
                <a:gd name="T92" fmla="*/ 111956 w 128"/>
                <a:gd name="T93" fmla="*/ 106905 h 79"/>
                <a:gd name="T94" fmla="*/ 123342 w 128"/>
                <a:gd name="T95" fmla="*/ 101178 h 79"/>
                <a:gd name="T96" fmla="*/ 138522 w 128"/>
                <a:gd name="T97" fmla="*/ 97360 h 79"/>
                <a:gd name="T98" fmla="*/ 149907 w 128"/>
                <a:gd name="T99" fmla="*/ 89724 h 79"/>
                <a:gd name="T100" fmla="*/ 151805 w 128"/>
                <a:gd name="T101" fmla="*/ 80179 h 79"/>
                <a:gd name="T102" fmla="*/ 174576 w 128"/>
                <a:gd name="T103" fmla="*/ 70633 h 79"/>
                <a:gd name="T104" fmla="*/ 193551 w 128"/>
                <a:gd name="T105" fmla="*/ 62997 h 79"/>
                <a:gd name="T106" fmla="*/ 208732 w 128"/>
                <a:gd name="T107" fmla="*/ 55361 h 79"/>
                <a:gd name="T108" fmla="*/ 220117 w 128"/>
                <a:gd name="T109" fmla="*/ 51543 h 79"/>
                <a:gd name="T110" fmla="*/ 235298 w 128"/>
                <a:gd name="T111" fmla="*/ 49634 h 79"/>
                <a:gd name="T112" fmla="*/ 242888 w 128"/>
                <a:gd name="T113" fmla="*/ 43907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1" name="Freeform 1078"/>
            <p:cNvSpPr>
              <a:spLocks noChangeAspect="1"/>
            </p:cNvSpPr>
            <p:nvPr/>
          </p:nvSpPr>
          <p:spPr bwMode="auto">
            <a:xfrm>
              <a:off x="1889132" y="831668"/>
              <a:ext cx="262680" cy="92857"/>
            </a:xfrm>
            <a:custGeom>
              <a:avLst/>
              <a:gdLst>
                <a:gd name="T0" fmla="*/ 222343 w 137"/>
                <a:gd name="T1" fmla="*/ 45720 h 60"/>
                <a:gd name="T2" fmla="*/ 203339 w 137"/>
                <a:gd name="T3" fmla="*/ 49530 h 60"/>
                <a:gd name="T4" fmla="*/ 203339 w 137"/>
                <a:gd name="T5" fmla="*/ 32385 h 60"/>
                <a:gd name="T6" fmla="*/ 201439 w 137"/>
                <a:gd name="T7" fmla="*/ 19050 h 60"/>
                <a:gd name="T8" fmla="*/ 199538 w 137"/>
                <a:gd name="T9" fmla="*/ 0 h 60"/>
                <a:gd name="T10" fmla="*/ 171033 w 137"/>
                <a:gd name="T11" fmla="*/ 17145 h 60"/>
                <a:gd name="T12" fmla="*/ 171033 w 137"/>
                <a:gd name="T13" fmla="*/ 30480 h 60"/>
                <a:gd name="T14" fmla="*/ 165332 w 137"/>
                <a:gd name="T15" fmla="*/ 43815 h 60"/>
                <a:gd name="T16" fmla="*/ 182435 w 137"/>
                <a:gd name="T17" fmla="*/ 51435 h 60"/>
                <a:gd name="T18" fmla="*/ 169132 w 137"/>
                <a:gd name="T19" fmla="*/ 59055 h 60"/>
                <a:gd name="T20" fmla="*/ 146328 w 137"/>
                <a:gd name="T21" fmla="*/ 55245 h 60"/>
                <a:gd name="T22" fmla="*/ 138727 w 137"/>
                <a:gd name="T23" fmla="*/ 49530 h 60"/>
                <a:gd name="T24" fmla="*/ 119723 w 137"/>
                <a:gd name="T25" fmla="*/ 49530 h 60"/>
                <a:gd name="T26" fmla="*/ 114022 w 137"/>
                <a:gd name="T27" fmla="*/ 32385 h 60"/>
                <a:gd name="T28" fmla="*/ 98819 w 137"/>
                <a:gd name="T29" fmla="*/ 26670 h 60"/>
                <a:gd name="T30" fmla="*/ 89317 w 137"/>
                <a:gd name="T31" fmla="*/ 20955 h 60"/>
                <a:gd name="T32" fmla="*/ 74114 w 137"/>
                <a:gd name="T33" fmla="*/ 17145 h 60"/>
                <a:gd name="T34" fmla="*/ 51310 w 137"/>
                <a:gd name="T35" fmla="*/ 26670 h 60"/>
                <a:gd name="T36" fmla="*/ 66513 w 137"/>
                <a:gd name="T37" fmla="*/ 30480 h 60"/>
                <a:gd name="T38" fmla="*/ 45609 w 137"/>
                <a:gd name="T39" fmla="*/ 30480 h 60"/>
                <a:gd name="T40" fmla="*/ 26605 w 137"/>
                <a:gd name="T41" fmla="*/ 45720 h 60"/>
                <a:gd name="T42" fmla="*/ 58911 w 137"/>
                <a:gd name="T43" fmla="*/ 43815 h 60"/>
                <a:gd name="T44" fmla="*/ 45609 w 137"/>
                <a:gd name="T45" fmla="*/ 47625 h 60"/>
                <a:gd name="T46" fmla="*/ 22804 w 137"/>
                <a:gd name="T47" fmla="*/ 49530 h 60"/>
                <a:gd name="T48" fmla="*/ 13303 w 137"/>
                <a:gd name="T49" fmla="*/ 60960 h 60"/>
                <a:gd name="T50" fmla="*/ 47509 w 137"/>
                <a:gd name="T51" fmla="*/ 55245 h 60"/>
                <a:gd name="T52" fmla="*/ 45609 w 137"/>
                <a:gd name="T53" fmla="*/ 60960 h 60"/>
                <a:gd name="T54" fmla="*/ 11402 w 137"/>
                <a:gd name="T55" fmla="*/ 66675 h 60"/>
                <a:gd name="T56" fmla="*/ 1900 w 137"/>
                <a:gd name="T57" fmla="*/ 74295 h 60"/>
                <a:gd name="T58" fmla="*/ 28505 w 137"/>
                <a:gd name="T59" fmla="*/ 74295 h 60"/>
                <a:gd name="T60" fmla="*/ 43708 w 137"/>
                <a:gd name="T61" fmla="*/ 83820 h 60"/>
                <a:gd name="T62" fmla="*/ 53210 w 137"/>
                <a:gd name="T63" fmla="*/ 76200 h 60"/>
                <a:gd name="T64" fmla="*/ 68413 w 137"/>
                <a:gd name="T65" fmla="*/ 80010 h 60"/>
                <a:gd name="T66" fmla="*/ 74114 w 137"/>
                <a:gd name="T67" fmla="*/ 70485 h 60"/>
                <a:gd name="T68" fmla="*/ 79815 w 137"/>
                <a:gd name="T69" fmla="*/ 74295 h 60"/>
                <a:gd name="T70" fmla="*/ 98819 w 137"/>
                <a:gd name="T71" fmla="*/ 78105 h 60"/>
                <a:gd name="T72" fmla="*/ 110221 w 137"/>
                <a:gd name="T73" fmla="*/ 78105 h 60"/>
                <a:gd name="T74" fmla="*/ 129225 w 137"/>
                <a:gd name="T75" fmla="*/ 74295 h 60"/>
                <a:gd name="T76" fmla="*/ 121623 w 137"/>
                <a:gd name="T77" fmla="*/ 85725 h 60"/>
                <a:gd name="T78" fmla="*/ 95018 w 137"/>
                <a:gd name="T79" fmla="*/ 87630 h 60"/>
                <a:gd name="T80" fmla="*/ 81716 w 137"/>
                <a:gd name="T81" fmla="*/ 91440 h 60"/>
                <a:gd name="T82" fmla="*/ 62712 w 137"/>
                <a:gd name="T83" fmla="*/ 102870 h 60"/>
                <a:gd name="T84" fmla="*/ 98819 w 137"/>
                <a:gd name="T85" fmla="*/ 112395 h 60"/>
                <a:gd name="T86" fmla="*/ 131125 w 137"/>
                <a:gd name="T87" fmla="*/ 102870 h 60"/>
                <a:gd name="T88" fmla="*/ 163431 w 137"/>
                <a:gd name="T89" fmla="*/ 89535 h 60"/>
                <a:gd name="T90" fmla="*/ 190036 w 137"/>
                <a:gd name="T91" fmla="*/ 89535 h 60"/>
                <a:gd name="T92" fmla="*/ 207140 w 137"/>
                <a:gd name="T93" fmla="*/ 91440 h 60"/>
                <a:gd name="T94" fmla="*/ 235645 w 137"/>
                <a:gd name="T95" fmla="*/ 80010 h 60"/>
                <a:gd name="T96" fmla="*/ 250848 w 137"/>
                <a:gd name="T97" fmla="*/ 66675 h 60"/>
                <a:gd name="T98" fmla="*/ 250848 w 137"/>
                <a:gd name="T99" fmla="*/ 41910 h 60"/>
                <a:gd name="T100" fmla="*/ 229944 w 137"/>
                <a:gd name="T101" fmla="*/ 41910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2" name="Freeform 1079"/>
            <p:cNvSpPr>
              <a:spLocks noChangeAspect="1"/>
            </p:cNvSpPr>
            <p:nvPr/>
          </p:nvSpPr>
          <p:spPr bwMode="auto">
            <a:xfrm>
              <a:off x="1794631" y="808454"/>
              <a:ext cx="168180" cy="64484"/>
            </a:xfrm>
            <a:custGeom>
              <a:avLst/>
              <a:gdLst>
                <a:gd name="T0" fmla="*/ 145852 w 88"/>
                <a:gd name="T1" fmla="*/ 0 h 42"/>
                <a:gd name="T2" fmla="*/ 164794 w 88"/>
                <a:gd name="T3" fmla="*/ 11339 h 42"/>
                <a:gd name="T4" fmla="*/ 162900 w 88"/>
                <a:gd name="T5" fmla="*/ 15119 h 42"/>
                <a:gd name="T6" fmla="*/ 151535 w 88"/>
                <a:gd name="T7" fmla="*/ 18899 h 42"/>
                <a:gd name="T8" fmla="*/ 145852 w 88"/>
                <a:gd name="T9" fmla="*/ 18899 h 42"/>
                <a:gd name="T10" fmla="*/ 149640 w 88"/>
                <a:gd name="T11" fmla="*/ 32128 h 42"/>
                <a:gd name="T12" fmla="*/ 140169 w 88"/>
                <a:gd name="T13" fmla="*/ 32128 h 42"/>
                <a:gd name="T14" fmla="*/ 143958 w 88"/>
                <a:gd name="T15" fmla="*/ 39688 h 42"/>
                <a:gd name="T16" fmla="*/ 125016 w 88"/>
                <a:gd name="T17" fmla="*/ 41577 h 42"/>
                <a:gd name="T18" fmla="*/ 117439 w 88"/>
                <a:gd name="T19" fmla="*/ 54807 h 42"/>
                <a:gd name="T20" fmla="*/ 106074 w 88"/>
                <a:gd name="T21" fmla="*/ 58586 h 42"/>
                <a:gd name="T22" fmla="*/ 98497 w 88"/>
                <a:gd name="T23" fmla="*/ 49137 h 42"/>
                <a:gd name="T24" fmla="*/ 104180 w 88"/>
                <a:gd name="T25" fmla="*/ 39688 h 42"/>
                <a:gd name="T26" fmla="*/ 107968 w 88"/>
                <a:gd name="T27" fmla="*/ 34018 h 42"/>
                <a:gd name="T28" fmla="*/ 98497 w 88"/>
                <a:gd name="T29" fmla="*/ 35908 h 42"/>
                <a:gd name="T30" fmla="*/ 89027 w 88"/>
                <a:gd name="T31" fmla="*/ 45357 h 42"/>
                <a:gd name="T32" fmla="*/ 81450 w 88"/>
                <a:gd name="T33" fmla="*/ 47247 h 42"/>
                <a:gd name="T34" fmla="*/ 89027 w 88"/>
                <a:gd name="T35" fmla="*/ 56696 h 42"/>
                <a:gd name="T36" fmla="*/ 75767 w 88"/>
                <a:gd name="T37" fmla="*/ 62366 h 42"/>
                <a:gd name="T38" fmla="*/ 71979 w 88"/>
                <a:gd name="T39" fmla="*/ 60476 h 42"/>
                <a:gd name="T40" fmla="*/ 70085 w 88"/>
                <a:gd name="T41" fmla="*/ 56696 h 42"/>
                <a:gd name="T42" fmla="*/ 68191 w 88"/>
                <a:gd name="T43" fmla="*/ 60476 h 42"/>
                <a:gd name="T44" fmla="*/ 58720 w 88"/>
                <a:gd name="T45" fmla="*/ 75595 h 42"/>
                <a:gd name="T46" fmla="*/ 45460 w 88"/>
                <a:gd name="T47" fmla="*/ 75595 h 42"/>
                <a:gd name="T48" fmla="*/ 45460 w 88"/>
                <a:gd name="T49" fmla="*/ 60476 h 42"/>
                <a:gd name="T50" fmla="*/ 41672 w 88"/>
                <a:gd name="T51" fmla="*/ 58586 h 42"/>
                <a:gd name="T52" fmla="*/ 35989 w 88"/>
                <a:gd name="T53" fmla="*/ 71815 h 42"/>
                <a:gd name="T54" fmla="*/ 30307 w 88"/>
                <a:gd name="T55" fmla="*/ 71815 h 42"/>
                <a:gd name="T56" fmla="*/ 18942 w 88"/>
                <a:gd name="T57" fmla="*/ 66146 h 42"/>
                <a:gd name="T58" fmla="*/ 7577 w 88"/>
                <a:gd name="T59" fmla="*/ 73705 h 42"/>
                <a:gd name="T60" fmla="*/ 0 w 88"/>
                <a:gd name="T61" fmla="*/ 68036 h 42"/>
                <a:gd name="T62" fmla="*/ 7577 w 88"/>
                <a:gd name="T63" fmla="*/ 56696 h 42"/>
                <a:gd name="T64" fmla="*/ 22730 w 88"/>
                <a:gd name="T65" fmla="*/ 51027 h 42"/>
                <a:gd name="T66" fmla="*/ 30307 w 88"/>
                <a:gd name="T67" fmla="*/ 52917 h 42"/>
                <a:gd name="T68" fmla="*/ 41672 w 88"/>
                <a:gd name="T69" fmla="*/ 39688 h 42"/>
                <a:gd name="T70" fmla="*/ 58720 w 88"/>
                <a:gd name="T71" fmla="*/ 32128 h 42"/>
                <a:gd name="T72" fmla="*/ 81450 w 88"/>
                <a:gd name="T73" fmla="*/ 17009 h 42"/>
                <a:gd name="T74" fmla="*/ 89027 w 88"/>
                <a:gd name="T75" fmla="*/ 9449 h 42"/>
                <a:gd name="T76" fmla="*/ 106074 w 88"/>
                <a:gd name="T77" fmla="*/ 7560 h 42"/>
                <a:gd name="T78" fmla="*/ 117439 w 88"/>
                <a:gd name="T79" fmla="*/ 7560 h 42"/>
                <a:gd name="T80" fmla="*/ 128804 w 88"/>
                <a:gd name="T81" fmla="*/ 13229 h 42"/>
                <a:gd name="T82" fmla="*/ 136381 w 88"/>
                <a:gd name="T83" fmla="*/ 11339 h 42"/>
                <a:gd name="T84" fmla="*/ 136381 w 88"/>
                <a:gd name="T85" fmla="*/ 3780 h 42"/>
                <a:gd name="T86" fmla="*/ 14585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3" name="Freeform 1080"/>
            <p:cNvSpPr>
              <a:spLocks noChangeAspect="1"/>
            </p:cNvSpPr>
            <p:nvPr/>
          </p:nvSpPr>
          <p:spPr bwMode="auto">
            <a:xfrm>
              <a:off x="1860301" y="861330"/>
              <a:ext cx="40042" cy="23214"/>
            </a:xfrm>
            <a:custGeom>
              <a:avLst/>
              <a:gdLst>
                <a:gd name="T0" fmla="*/ 1890 w 21"/>
                <a:gd name="T1" fmla="*/ 17145 h 15"/>
                <a:gd name="T2" fmla="*/ 1890 w 21"/>
                <a:gd name="T3" fmla="*/ 20955 h 15"/>
                <a:gd name="T4" fmla="*/ 15119 w 21"/>
                <a:gd name="T5" fmla="*/ 28575 h 15"/>
                <a:gd name="T6" fmla="*/ 22678 w 21"/>
                <a:gd name="T7" fmla="*/ 19050 h 15"/>
                <a:gd name="T8" fmla="*/ 39687 w 21"/>
                <a:gd name="T9" fmla="*/ 5715 h 15"/>
                <a:gd name="T10" fmla="*/ 37797 w 21"/>
                <a:gd name="T11" fmla="*/ 1905 h 15"/>
                <a:gd name="T12" fmla="*/ 28348 w 21"/>
                <a:gd name="T13" fmla="*/ 5715 h 15"/>
                <a:gd name="T14" fmla="*/ 15119 w 21"/>
                <a:gd name="T15" fmla="*/ 9525 h 15"/>
                <a:gd name="T16" fmla="*/ 1890 w 21"/>
                <a:gd name="T17" fmla="*/ 1714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4" name="Freeform 1081"/>
            <p:cNvSpPr>
              <a:spLocks noChangeAspect="1"/>
            </p:cNvSpPr>
            <p:nvPr/>
          </p:nvSpPr>
          <p:spPr bwMode="auto">
            <a:xfrm>
              <a:off x="1966014" y="831668"/>
              <a:ext cx="30432" cy="7738"/>
            </a:xfrm>
            <a:custGeom>
              <a:avLst/>
              <a:gdLst>
                <a:gd name="T0" fmla="*/ 3770 w 16"/>
                <a:gd name="T1" fmla="*/ 0 h 5"/>
                <a:gd name="T2" fmla="*/ 1885 w 16"/>
                <a:gd name="T3" fmla="*/ 5715 h 5"/>
                <a:gd name="T4" fmla="*/ 24507 w 16"/>
                <a:gd name="T5" fmla="*/ 9525 h 5"/>
                <a:gd name="T6" fmla="*/ 30162 w 16"/>
                <a:gd name="T7" fmla="*/ 3810 h 5"/>
                <a:gd name="T8" fmla="*/ 20736 w 16"/>
                <a:gd name="T9" fmla="*/ 1905 h 5"/>
                <a:gd name="T10" fmla="*/ 11311 w 16"/>
                <a:gd name="T11" fmla="*/ 1905 h 5"/>
                <a:gd name="T12" fmla="*/ 3770 w 16"/>
                <a:gd name="T13" fmla="*/ 0 h 5"/>
                <a:gd name="T14" fmla="*/ 0 60000 65536"/>
                <a:gd name="T15" fmla="*/ 0 60000 65536"/>
                <a:gd name="T16" fmla="*/ 0 60000 65536"/>
                <a:gd name="T17" fmla="*/ 0 60000 65536"/>
                <a:gd name="T18" fmla="*/ 0 60000 65536"/>
                <a:gd name="T19" fmla="*/ 0 60000 65536"/>
                <a:gd name="T20" fmla="*/ 0 60000 65536"/>
                <a:gd name="T21" fmla="*/ 0 w 16"/>
                <a:gd name="T22" fmla="*/ 0 h 5"/>
                <a:gd name="T23" fmla="*/ 16 w 1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5">
                  <a:moveTo>
                    <a:pt x="2" y="0"/>
                  </a:moveTo>
                  <a:cubicBezTo>
                    <a:pt x="1" y="1"/>
                    <a:pt x="0" y="3"/>
                    <a:pt x="1" y="3"/>
                  </a:cubicBezTo>
                  <a:cubicBezTo>
                    <a:pt x="4" y="5"/>
                    <a:pt x="9" y="5"/>
                    <a:pt x="13" y="5"/>
                  </a:cubicBezTo>
                  <a:cubicBezTo>
                    <a:pt x="14" y="5"/>
                    <a:pt x="16" y="3"/>
                    <a:pt x="16" y="2"/>
                  </a:cubicBezTo>
                  <a:cubicBezTo>
                    <a:pt x="15" y="1"/>
                    <a:pt x="13" y="1"/>
                    <a:pt x="11" y="1"/>
                  </a:cubicBezTo>
                  <a:cubicBezTo>
                    <a:pt x="9" y="0"/>
                    <a:pt x="7" y="1"/>
                    <a:pt x="6" y="1"/>
                  </a:cubicBezTo>
                  <a:cubicBezTo>
                    <a:pt x="4" y="1"/>
                    <a:pt x="3" y="0"/>
                    <a:pt x="2"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5" name="Freeform 1082"/>
            <p:cNvSpPr>
              <a:spLocks noChangeAspect="1"/>
            </p:cNvSpPr>
            <p:nvPr/>
          </p:nvSpPr>
          <p:spPr bwMode="auto">
            <a:xfrm>
              <a:off x="1978828" y="790398"/>
              <a:ext cx="27229" cy="15476"/>
            </a:xfrm>
            <a:custGeom>
              <a:avLst/>
              <a:gdLst>
                <a:gd name="T0" fmla="*/ 0 w 14"/>
                <a:gd name="T1" fmla="*/ 3810 h 10"/>
                <a:gd name="T2" fmla="*/ 0 w 14"/>
                <a:gd name="T3" fmla="*/ 7620 h 10"/>
                <a:gd name="T4" fmla="*/ 11566 w 14"/>
                <a:gd name="T5" fmla="*/ 13335 h 10"/>
                <a:gd name="T6" fmla="*/ 15421 w 14"/>
                <a:gd name="T7" fmla="*/ 19050 h 10"/>
                <a:gd name="T8" fmla="*/ 25059 w 14"/>
                <a:gd name="T9" fmla="*/ 13335 h 10"/>
                <a:gd name="T10" fmla="*/ 21204 w 14"/>
                <a:gd name="T11" fmla="*/ 5715 h 10"/>
                <a:gd name="T12" fmla="*/ 17349 w 14"/>
                <a:gd name="T13" fmla="*/ 1905 h 10"/>
                <a:gd name="T14" fmla="*/ 5783 w 14"/>
                <a:gd name="T15" fmla="*/ 1905 h 10"/>
                <a:gd name="T16" fmla="*/ 0 w 14"/>
                <a:gd name="T17" fmla="*/ 38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6" name="Freeform 1083"/>
            <p:cNvSpPr>
              <a:spLocks noChangeAspect="1"/>
            </p:cNvSpPr>
            <p:nvPr/>
          </p:nvSpPr>
          <p:spPr bwMode="auto">
            <a:xfrm>
              <a:off x="2009260" y="786529"/>
              <a:ext cx="81688" cy="32243"/>
            </a:xfrm>
            <a:custGeom>
              <a:avLst/>
              <a:gdLst>
                <a:gd name="T0" fmla="*/ 3855 w 42"/>
                <a:gd name="T1" fmla="*/ 11339 h 21"/>
                <a:gd name="T2" fmla="*/ 0 w 42"/>
                <a:gd name="T3" fmla="*/ 26459 h 21"/>
                <a:gd name="T4" fmla="*/ 9638 w 42"/>
                <a:gd name="T5" fmla="*/ 35908 h 21"/>
                <a:gd name="T6" fmla="*/ 19277 w 42"/>
                <a:gd name="T7" fmla="*/ 39688 h 21"/>
                <a:gd name="T8" fmla="*/ 36626 w 42"/>
                <a:gd name="T9" fmla="*/ 32128 h 21"/>
                <a:gd name="T10" fmla="*/ 46265 w 42"/>
                <a:gd name="T11" fmla="*/ 34018 h 21"/>
                <a:gd name="T12" fmla="*/ 53975 w 42"/>
                <a:gd name="T13" fmla="*/ 32128 h 21"/>
                <a:gd name="T14" fmla="*/ 65541 w 42"/>
                <a:gd name="T15" fmla="*/ 26459 h 21"/>
                <a:gd name="T16" fmla="*/ 65541 w 42"/>
                <a:gd name="T17" fmla="*/ 20789 h 21"/>
                <a:gd name="T18" fmla="*/ 53975 w 42"/>
                <a:gd name="T19" fmla="*/ 18899 h 21"/>
                <a:gd name="T20" fmla="*/ 46265 w 42"/>
                <a:gd name="T21" fmla="*/ 17009 h 21"/>
                <a:gd name="T22" fmla="*/ 57831 w 42"/>
                <a:gd name="T23" fmla="*/ 11339 h 21"/>
                <a:gd name="T24" fmla="*/ 73252 w 42"/>
                <a:gd name="T25" fmla="*/ 11339 h 21"/>
                <a:gd name="T26" fmla="*/ 79035 w 42"/>
                <a:gd name="T27" fmla="*/ 3780 h 21"/>
                <a:gd name="T28" fmla="*/ 71325 w 42"/>
                <a:gd name="T29" fmla="*/ 0 h 21"/>
                <a:gd name="T30" fmla="*/ 50120 w 42"/>
                <a:gd name="T31" fmla="*/ 1890 h 21"/>
                <a:gd name="T32" fmla="*/ 30843 w 42"/>
                <a:gd name="T33" fmla="*/ 5670 h 21"/>
                <a:gd name="T34" fmla="*/ 17349 w 42"/>
                <a:gd name="T35" fmla="*/ 9450 h 21"/>
                <a:gd name="T36" fmla="*/ 3855 w 42"/>
                <a:gd name="T37" fmla="*/ 11339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7" name="Freeform 1084"/>
            <p:cNvSpPr>
              <a:spLocks noChangeAspect="1"/>
            </p:cNvSpPr>
            <p:nvPr/>
          </p:nvSpPr>
          <p:spPr bwMode="auto">
            <a:xfrm>
              <a:off x="2018871" y="762026"/>
              <a:ext cx="76882" cy="20635"/>
            </a:xfrm>
            <a:custGeom>
              <a:avLst/>
              <a:gdLst>
                <a:gd name="T0" fmla="*/ 66675 w 40"/>
                <a:gd name="T1" fmla="*/ 1954 h 13"/>
                <a:gd name="T2" fmla="*/ 74295 w 40"/>
                <a:gd name="T3" fmla="*/ 11723 h 13"/>
                <a:gd name="T4" fmla="*/ 74295 w 40"/>
                <a:gd name="T5" fmla="*/ 23446 h 13"/>
                <a:gd name="T6" fmla="*/ 66675 w 40"/>
                <a:gd name="T7" fmla="*/ 23446 h 13"/>
                <a:gd name="T8" fmla="*/ 57150 w 40"/>
                <a:gd name="T9" fmla="*/ 23446 h 13"/>
                <a:gd name="T10" fmla="*/ 45720 w 40"/>
                <a:gd name="T11" fmla="*/ 19538 h 13"/>
                <a:gd name="T12" fmla="*/ 40005 w 40"/>
                <a:gd name="T13" fmla="*/ 25400 h 13"/>
                <a:gd name="T14" fmla="*/ 32385 w 40"/>
                <a:gd name="T15" fmla="*/ 23446 h 13"/>
                <a:gd name="T16" fmla="*/ 24765 w 40"/>
                <a:gd name="T17" fmla="*/ 17585 h 13"/>
                <a:gd name="T18" fmla="*/ 11430 w 40"/>
                <a:gd name="T19" fmla="*/ 23446 h 13"/>
                <a:gd name="T20" fmla="*/ 1905 w 40"/>
                <a:gd name="T21" fmla="*/ 23446 h 13"/>
                <a:gd name="T22" fmla="*/ 3810 w 40"/>
                <a:gd name="T23" fmla="*/ 15631 h 13"/>
                <a:gd name="T24" fmla="*/ 28575 w 40"/>
                <a:gd name="T25" fmla="*/ 9769 h 13"/>
                <a:gd name="T26" fmla="*/ 40005 w 40"/>
                <a:gd name="T27" fmla="*/ 9769 h 13"/>
                <a:gd name="T28" fmla="*/ 53340 w 40"/>
                <a:gd name="T29" fmla="*/ 1954 h 13"/>
                <a:gd name="T30" fmla="*/ 66675 w 40"/>
                <a:gd name="T31" fmla="*/ 1954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8" name="Freeform 1085"/>
            <p:cNvSpPr>
              <a:spLocks noChangeAspect="1"/>
            </p:cNvSpPr>
            <p:nvPr/>
          </p:nvSpPr>
          <p:spPr bwMode="auto">
            <a:xfrm>
              <a:off x="2148610" y="883256"/>
              <a:ext cx="28831" cy="18056"/>
            </a:xfrm>
            <a:custGeom>
              <a:avLst/>
              <a:gdLst>
                <a:gd name="T0" fmla="*/ 13335 w 15"/>
                <a:gd name="T1" fmla="*/ 1852 h 12"/>
                <a:gd name="T2" fmla="*/ 22860 w 15"/>
                <a:gd name="T3" fmla="*/ 1852 h 12"/>
                <a:gd name="T4" fmla="*/ 26670 w 15"/>
                <a:gd name="T5" fmla="*/ 14817 h 12"/>
                <a:gd name="T6" fmla="*/ 17145 w 15"/>
                <a:gd name="T7" fmla="*/ 22225 h 12"/>
                <a:gd name="T8" fmla="*/ 7620 w 15"/>
                <a:gd name="T9" fmla="*/ 18521 h 12"/>
                <a:gd name="T10" fmla="*/ 0 w 15"/>
                <a:gd name="T11" fmla="*/ 14817 h 12"/>
                <a:gd name="T12" fmla="*/ 7620 w 15"/>
                <a:gd name="T13" fmla="*/ 3704 h 12"/>
                <a:gd name="T14" fmla="*/ 13335 w 15"/>
                <a:gd name="T15" fmla="*/ 1852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99" name="Freeform 1086"/>
            <p:cNvSpPr>
              <a:spLocks noChangeAspect="1"/>
            </p:cNvSpPr>
            <p:nvPr/>
          </p:nvSpPr>
          <p:spPr bwMode="auto">
            <a:xfrm>
              <a:off x="2159822" y="799426"/>
              <a:ext cx="28831" cy="25793"/>
            </a:xfrm>
            <a:custGeom>
              <a:avLst/>
              <a:gdLst>
                <a:gd name="T0" fmla="*/ 5715 w 15"/>
                <a:gd name="T1" fmla="*/ 1868 h 17"/>
                <a:gd name="T2" fmla="*/ 19050 w 15"/>
                <a:gd name="T3" fmla="*/ 11206 h 17"/>
                <a:gd name="T4" fmla="*/ 28575 w 15"/>
                <a:gd name="T5" fmla="*/ 24279 h 17"/>
                <a:gd name="T6" fmla="*/ 19050 w 15"/>
                <a:gd name="T7" fmla="*/ 29882 h 17"/>
                <a:gd name="T8" fmla="*/ 9525 w 15"/>
                <a:gd name="T9" fmla="*/ 20544 h 17"/>
                <a:gd name="T10" fmla="*/ 0 w 15"/>
                <a:gd name="T11" fmla="*/ 5603 h 17"/>
                <a:gd name="T12" fmla="*/ 0 w 15"/>
                <a:gd name="T13" fmla="*/ 1868 h 17"/>
                <a:gd name="T14" fmla="*/ 5715 w 15"/>
                <a:gd name="T15" fmla="*/ 1868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0" name="Freeform 1087"/>
            <p:cNvSpPr>
              <a:spLocks noChangeAspect="1"/>
            </p:cNvSpPr>
            <p:nvPr/>
          </p:nvSpPr>
          <p:spPr bwMode="auto">
            <a:xfrm>
              <a:off x="2171034" y="836827"/>
              <a:ext cx="36839" cy="15476"/>
            </a:xfrm>
            <a:custGeom>
              <a:avLst/>
              <a:gdLst>
                <a:gd name="T0" fmla="*/ 21139 w 19"/>
                <a:gd name="T1" fmla="*/ 3810 h 10"/>
                <a:gd name="T2" fmla="*/ 34590 w 19"/>
                <a:gd name="T3" fmla="*/ 15240 h 10"/>
                <a:gd name="T4" fmla="*/ 24982 w 19"/>
                <a:gd name="T5" fmla="*/ 19050 h 10"/>
                <a:gd name="T6" fmla="*/ 11530 w 19"/>
                <a:gd name="T7" fmla="*/ 15240 h 10"/>
                <a:gd name="T8" fmla="*/ 1922 w 19"/>
                <a:gd name="T9" fmla="*/ 3810 h 10"/>
                <a:gd name="T10" fmla="*/ 21139 w 19"/>
                <a:gd name="T11" fmla="*/ 3810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1" name="Freeform 1088"/>
            <p:cNvSpPr>
              <a:spLocks noChangeAspect="1"/>
            </p:cNvSpPr>
            <p:nvPr/>
          </p:nvSpPr>
          <p:spPr bwMode="auto">
            <a:xfrm>
              <a:off x="2174237" y="852303"/>
              <a:ext cx="41645" cy="9027"/>
            </a:xfrm>
            <a:custGeom>
              <a:avLst/>
              <a:gdLst>
                <a:gd name="T0" fmla="*/ 37344 w 21"/>
                <a:gd name="T1" fmla="*/ 0 h 6"/>
                <a:gd name="T2" fmla="*/ 41275 w 21"/>
                <a:gd name="T3" fmla="*/ 1852 h 6"/>
                <a:gd name="T4" fmla="*/ 31448 w 21"/>
                <a:gd name="T5" fmla="*/ 9260 h 6"/>
                <a:gd name="T6" fmla="*/ 11793 w 21"/>
                <a:gd name="T7" fmla="*/ 11112 h 6"/>
                <a:gd name="T8" fmla="*/ 1965 w 21"/>
                <a:gd name="T9" fmla="*/ 9260 h 6"/>
                <a:gd name="T10" fmla="*/ 1965 w 21"/>
                <a:gd name="T11" fmla="*/ 3704 h 6"/>
                <a:gd name="T12" fmla="*/ 23586 w 21"/>
                <a:gd name="T13" fmla="*/ 1852 h 6"/>
                <a:gd name="T14" fmla="*/ 3734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2" name="Freeform 1089"/>
            <p:cNvSpPr>
              <a:spLocks noChangeAspect="1"/>
            </p:cNvSpPr>
            <p:nvPr/>
          </p:nvSpPr>
          <p:spPr bwMode="auto">
            <a:xfrm>
              <a:off x="2180643" y="861330"/>
              <a:ext cx="36839" cy="9029"/>
            </a:xfrm>
            <a:custGeom>
              <a:avLst/>
              <a:gdLst>
                <a:gd name="T0" fmla="*/ 15373 w 19"/>
                <a:gd name="T1" fmla="*/ 3704 h 6"/>
                <a:gd name="T2" fmla="*/ 28825 w 19"/>
                <a:gd name="T3" fmla="*/ 0 h 6"/>
                <a:gd name="T4" fmla="*/ 34590 w 19"/>
                <a:gd name="T5" fmla="*/ 1852 h 6"/>
                <a:gd name="T6" fmla="*/ 19217 w 19"/>
                <a:gd name="T7" fmla="*/ 5557 h 6"/>
                <a:gd name="T8" fmla="*/ 7687 w 19"/>
                <a:gd name="T9" fmla="*/ 11113 h 6"/>
                <a:gd name="T10" fmla="*/ 1922 w 19"/>
                <a:gd name="T11" fmla="*/ 7409 h 6"/>
                <a:gd name="T12" fmla="*/ 15373 w 19"/>
                <a:gd name="T13" fmla="*/ 3704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3" name="Freeform 1090"/>
            <p:cNvSpPr>
              <a:spLocks noChangeAspect="1"/>
            </p:cNvSpPr>
            <p:nvPr/>
          </p:nvSpPr>
          <p:spPr bwMode="auto">
            <a:xfrm>
              <a:off x="2193457" y="865200"/>
              <a:ext cx="27229" cy="11607"/>
            </a:xfrm>
            <a:custGeom>
              <a:avLst/>
              <a:gdLst>
                <a:gd name="T0" fmla="*/ 0 w 14"/>
                <a:gd name="T1" fmla="*/ 10205 h 7"/>
                <a:gd name="T2" fmla="*/ 7711 w 14"/>
                <a:gd name="T3" fmla="*/ 12246 h 7"/>
                <a:gd name="T4" fmla="*/ 17349 w 14"/>
                <a:gd name="T5" fmla="*/ 6123 h 7"/>
                <a:gd name="T6" fmla="*/ 26987 w 14"/>
                <a:gd name="T7" fmla="*/ 2041 h 7"/>
                <a:gd name="T8" fmla="*/ 23132 w 14"/>
                <a:gd name="T9" fmla="*/ 0 h 7"/>
                <a:gd name="T10" fmla="*/ 7711 w 14"/>
                <a:gd name="T11" fmla="*/ 4082 h 7"/>
                <a:gd name="T12" fmla="*/ 0 w 14"/>
                <a:gd name="T13" fmla="*/ 10205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4" name="Freeform 1091"/>
            <p:cNvSpPr>
              <a:spLocks noChangeAspect="1"/>
            </p:cNvSpPr>
            <p:nvPr/>
          </p:nvSpPr>
          <p:spPr bwMode="auto">
            <a:xfrm>
              <a:off x="2201466" y="839406"/>
              <a:ext cx="113721" cy="61904"/>
            </a:xfrm>
            <a:custGeom>
              <a:avLst/>
              <a:gdLst>
                <a:gd name="T0" fmla="*/ 42029 w 59"/>
                <a:gd name="T1" fmla="*/ 53340 h 40"/>
                <a:gd name="T2" fmla="*/ 38208 w 59"/>
                <a:gd name="T3" fmla="*/ 59055 h 40"/>
                <a:gd name="T4" fmla="*/ 43939 w 59"/>
                <a:gd name="T5" fmla="*/ 62865 h 40"/>
                <a:gd name="T6" fmla="*/ 38208 w 59"/>
                <a:gd name="T7" fmla="*/ 64770 h 40"/>
                <a:gd name="T8" fmla="*/ 40118 w 59"/>
                <a:gd name="T9" fmla="*/ 74295 h 40"/>
                <a:gd name="T10" fmla="*/ 49670 w 59"/>
                <a:gd name="T11" fmla="*/ 74295 h 40"/>
                <a:gd name="T12" fmla="*/ 57312 w 59"/>
                <a:gd name="T13" fmla="*/ 70485 h 40"/>
                <a:gd name="T14" fmla="*/ 63043 w 59"/>
                <a:gd name="T15" fmla="*/ 74295 h 40"/>
                <a:gd name="T16" fmla="*/ 72595 w 59"/>
                <a:gd name="T17" fmla="*/ 74295 h 40"/>
                <a:gd name="T18" fmla="*/ 87878 w 59"/>
                <a:gd name="T19" fmla="*/ 72390 h 40"/>
                <a:gd name="T20" fmla="*/ 87878 w 59"/>
                <a:gd name="T21" fmla="*/ 66675 h 40"/>
                <a:gd name="T22" fmla="*/ 95519 w 59"/>
                <a:gd name="T23" fmla="*/ 68580 h 40"/>
                <a:gd name="T24" fmla="*/ 91699 w 59"/>
                <a:gd name="T25" fmla="*/ 60960 h 40"/>
                <a:gd name="T26" fmla="*/ 91699 w 59"/>
                <a:gd name="T27" fmla="*/ 53340 h 40"/>
                <a:gd name="T28" fmla="*/ 97430 w 59"/>
                <a:gd name="T29" fmla="*/ 49530 h 40"/>
                <a:gd name="T30" fmla="*/ 105071 w 59"/>
                <a:gd name="T31" fmla="*/ 55245 h 40"/>
                <a:gd name="T32" fmla="*/ 108892 w 59"/>
                <a:gd name="T33" fmla="*/ 45720 h 40"/>
                <a:gd name="T34" fmla="*/ 103161 w 59"/>
                <a:gd name="T35" fmla="*/ 40005 h 40"/>
                <a:gd name="T36" fmla="*/ 108892 w 59"/>
                <a:gd name="T37" fmla="*/ 26670 h 40"/>
                <a:gd name="T38" fmla="*/ 110803 w 59"/>
                <a:gd name="T39" fmla="*/ 17145 h 40"/>
                <a:gd name="T40" fmla="*/ 112713 w 59"/>
                <a:gd name="T41" fmla="*/ 7620 h 40"/>
                <a:gd name="T42" fmla="*/ 103161 w 59"/>
                <a:gd name="T43" fmla="*/ 0 h 40"/>
                <a:gd name="T44" fmla="*/ 95519 w 59"/>
                <a:gd name="T45" fmla="*/ 1905 h 40"/>
                <a:gd name="T46" fmla="*/ 89788 w 59"/>
                <a:gd name="T47" fmla="*/ 9525 h 40"/>
                <a:gd name="T48" fmla="*/ 74505 w 59"/>
                <a:gd name="T49" fmla="*/ 1905 h 40"/>
                <a:gd name="T50" fmla="*/ 53491 w 59"/>
                <a:gd name="T51" fmla="*/ 3810 h 40"/>
                <a:gd name="T52" fmla="*/ 49670 w 59"/>
                <a:gd name="T53" fmla="*/ 11430 h 40"/>
                <a:gd name="T54" fmla="*/ 57312 w 59"/>
                <a:gd name="T55" fmla="*/ 13335 h 40"/>
                <a:gd name="T56" fmla="*/ 55401 w 59"/>
                <a:gd name="T57" fmla="*/ 19050 h 40"/>
                <a:gd name="T58" fmla="*/ 64953 w 59"/>
                <a:gd name="T59" fmla="*/ 19050 h 40"/>
                <a:gd name="T60" fmla="*/ 61132 w 59"/>
                <a:gd name="T61" fmla="*/ 26670 h 40"/>
                <a:gd name="T62" fmla="*/ 66864 w 59"/>
                <a:gd name="T63" fmla="*/ 34290 h 40"/>
                <a:gd name="T64" fmla="*/ 51581 w 59"/>
                <a:gd name="T65" fmla="*/ 28575 h 40"/>
                <a:gd name="T66" fmla="*/ 42029 w 59"/>
                <a:gd name="T67" fmla="*/ 13335 h 40"/>
                <a:gd name="T68" fmla="*/ 28656 w 59"/>
                <a:gd name="T69" fmla="*/ 9525 h 40"/>
                <a:gd name="T70" fmla="*/ 21014 w 59"/>
                <a:gd name="T71" fmla="*/ 19050 h 40"/>
                <a:gd name="T72" fmla="*/ 30566 w 59"/>
                <a:gd name="T73" fmla="*/ 22860 h 40"/>
                <a:gd name="T74" fmla="*/ 24835 w 59"/>
                <a:gd name="T75" fmla="*/ 28575 h 40"/>
                <a:gd name="T76" fmla="*/ 32477 w 59"/>
                <a:gd name="T77" fmla="*/ 28575 h 40"/>
                <a:gd name="T78" fmla="*/ 34387 w 59"/>
                <a:gd name="T79" fmla="*/ 38100 h 40"/>
                <a:gd name="T80" fmla="*/ 22925 w 59"/>
                <a:gd name="T81" fmla="*/ 36195 h 40"/>
                <a:gd name="T82" fmla="*/ 11462 w 59"/>
                <a:gd name="T83" fmla="*/ 43815 h 40"/>
                <a:gd name="T84" fmla="*/ 1910 w 59"/>
                <a:gd name="T85" fmla="*/ 45720 h 40"/>
                <a:gd name="T86" fmla="*/ 1910 w 59"/>
                <a:gd name="T87" fmla="*/ 53340 h 40"/>
                <a:gd name="T88" fmla="*/ 21014 w 59"/>
                <a:gd name="T89" fmla="*/ 49530 h 40"/>
                <a:gd name="T90" fmla="*/ 28656 w 59"/>
                <a:gd name="T91" fmla="*/ 45720 h 40"/>
                <a:gd name="T92" fmla="*/ 42029 w 59"/>
                <a:gd name="T93" fmla="*/ 45720 h 40"/>
                <a:gd name="T94" fmla="*/ 53491 w 59"/>
                <a:gd name="T95" fmla="*/ 41910 h 40"/>
                <a:gd name="T96" fmla="*/ 68774 w 59"/>
                <a:gd name="T97" fmla="*/ 41910 h 40"/>
                <a:gd name="T98" fmla="*/ 61132 w 59"/>
                <a:gd name="T99" fmla="*/ 45720 h 40"/>
                <a:gd name="T100" fmla="*/ 53491 w 59"/>
                <a:gd name="T101" fmla="*/ 51435 h 40"/>
                <a:gd name="T102" fmla="*/ 42029 w 59"/>
                <a:gd name="T103" fmla="*/ 53340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5" name="Freeform 1092"/>
            <p:cNvSpPr>
              <a:spLocks noChangeAspect="1"/>
            </p:cNvSpPr>
            <p:nvPr/>
          </p:nvSpPr>
          <p:spPr bwMode="auto">
            <a:xfrm>
              <a:off x="2238306" y="836827"/>
              <a:ext cx="25627" cy="7738"/>
            </a:xfrm>
            <a:custGeom>
              <a:avLst/>
              <a:gdLst>
                <a:gd name="T0" fmla="*/ 0 w 13"/>
                <a:gd name="T1" fmla="*/ 7620 h 5"/>
                <a:gd name="T2" fmla="*/ 0 w 13"/>
                <a:gd name="T3" fmla="*/ 9525 h 5"/>
                <a:gd name="T4" fmla="*/ 9769 w 13"/>
                <a:gd name="T5" fmla="*/ 9525 h 5"/>
                <a:gd name="T6" fmla="*/ 23446 w 13"/>
                <a:gd name="T7" fmla="*/ 1905 h 5"/>
                <a:gd name="T8" fmla="*/ 19538 w 13"/>
                <a:gd name="T9" fmla="*/ 1905 h 5"/>
                <a:gd name="T10" fmla="*/ 9769 w 13"/>
                <a:gd name="T11" fmla="*/ 1905 h 5"/>
                <a:gd name="T12" fmla="*/ 5862 w 13"/>
                <a:gd name="T13" fmla="*/ 5715 h 5"/>
                <a:gd name="T14" fmla="*/ 0 w 13"/>
                <a:gd name="T15" fmla="*/ 7620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6" name="Freeform 1093"/>
            <p:cNvSpPr>
              <a:spLocks noChangeAspect="1"/>
            </p:cNvSpPr>
            <p:nvPr/>
          </p:nvSpPr>
          <p:spPr bwMode="auto">
            <a:xfrm>
              <a:off x="2235102" y="792977"/>
              <a:ext cx="30432" cy="9027"/>
            </a:xfrm>
            <a:custGeom>
              <a:avLst/>
              <a:gdLst>
                <a:gd name="T0" fmla="*/ 0 w 16"/>
                <a:gd name="T1" fmla="*/ 5556 h 6"/>
                <a:gd name="T2" fmla="*/ 9426 w 16"/>
                <a:gd name="T3" fmla="*/ 11112 h 6"/>
                <a:gd name="T4" fmla="*/ 20736 w 16"/>
                <a:gd name="T5" fmla="*/ 5556 h 6"/>
                <a:gd name="T6" fmla="*/ 28277 w 16"/>
                <a:gd name="T7" fmla="*/ 7408 h 6"/>
                <a:gd name="T8" fmla="*/ 18851 w 16"/>
                <a:gd name="T9" fmla="*/ 1852 h 6"/>
                <a:gd name="T10" fmla="*/ 9426 w 16"/>
                <a:gd name="T11" fmla="*/ 1852 h 6"/>
                <a:gd name="T12" fmla="*/ 0 w 16"/>
                <a:gd name="T13" fmla="*/ 5556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7" name="Freeform 1094"/>
            <p:cNvSpPr>
              <a:spLocks noChangeAspect="1"/>
            </p:cNvSpPr>
            <p:nvPr/>
          </p:nvSpPr>
          <p:spPr bwMode="auto">
            <a:xfrm>
              <a:off x="2180643" y="737521"/>
              <a:ext cx="124934" cy="64484"/>
            </a:xfrm>
            <a:custGeom>
              <a:avLst/>
              <a:gdLst>
                <a:gd name="T0" fmla="*/ 108585 w 65"/>
                <a:gd name="T1" fmla="*/ 52917 h 42"/>
                <a:gd name="T2" fmla="*/ 121920 w 65"/>
                <a:gd name="T3" fmla="*/ 62366 h 42"/>
                <a:gd name="T4" fmla="*/ 116205 w 65"/>
                <a:gd name="T5" fmla="*/ 71815 h 42"/>
                <a:gd name="T6" fmla="*/ 99060 w 65"/>
                <a:gd name="T7" fmla="*/ 77485 h 42"/>
                <a:gd name="T8" fmla="*/ 89535 w 65"/>
                <a:gd name="T9" fmla="*/ 69926 h 42"/>
                <a:gd name="T10" fmla="*/ 81915 w 65"/>
                <a:gd name="T11" fmla="*/ 56696 h 42"/>
                <a:gd name="T12" fmla="*/ 70485 w 65"/>
                <a:gd name="T13" fmla="*/ 54807 h 42"/>
                <a:gd name="T14" fmla="*/ 53340 w 65"/>
                <a:gd name="T15" fmla="*/ 54807 h 42"/>
                <a:gd name="T16" fmla="*/ 45720 w 65"/>
                <a:gd name="T17" fmla="*/ 49137 h 42"/>
                <a:gd name="T18" fmla="*/ 24765 w 65"/>
                <a:gd name="T19" fmla="*/ 56696 h 42"/>
                <a:gd name="T20" fmla="*/ 9525 w 65"/>
                <a:gd name="T21" fmla="*/ 47247 h 42"/>
                <a:gd name="T22" fmla="*/ 13335 w 65"/>
                <a:gd name="T23" fmla="*/ 39688 h 42"/>
                <a:gd name="T24" fmla="*/ 30480 w 65"/>
                <a:gd name="T25" fmla="*/ 43467 h 42"/>
                <a:gd name="T26" fmla="*/ 41910 w 65"/>
                <a:gd name="T27" fmla="*/ 43467 h 42"/>
                <a:gd name="T28" fmla="*/ 40005 w 65"/>
                <a:gd name="T29" fmla="*/ 35908 h 42"/>
                <a:gd name="T30" fmla="*/ 43815 w 65"/>
                <a:gd name="T31" fmla="*/ 32128 h 42"/>
                <a:gd name="T32" fmla="*/ 28575 w 65"/>
                <a:gd name="T33" fmla="*/ 30238 h 42"/>
                <a:gd name="T34" fmla="*/ 32385 w 65"/>
                <a:gd name="T35" fmla="*/ 24568 h 42"/>
                <a:gd name="T36" fmla="*/ 24765 w 65"/>
                <a:gd name="T37" fmla="*/ 24568 h 42"/>
                <a:gd name="T38" fmla="*/ 15240 w 65"/>
                <a:gd name="T39" fmla="*/ 30238 h 42"/>
                <a:gd name="T40" fmla="*/ 17145 w 65"/>
                <a:gd name="T41" fmla="*/ 20789 h 42"/>
                <a:gd name="T42" fmla="*/ 15240 w 65"/>
                <a:gd name="T43" fmla="*/ 18899 h 42"/>
                <a:gd name="T44" fmla="*/ 7620 w 65"/>
                <a:gd name="T45" fmla="*/ 24568 h 42"/>
                <a:gd name="T46" fmla="*/ 0 w 65"/>
                <a:gd name="T47" fmla="*/ 13229 h 42"/>
                <a:gd name="T48" fmla="*/ 9525 w 65"/>
                <a:gd name="T49" fmla="*/ 7560 h 42"/>
                <a:gd name="T50" fmla="*/ 9525 w 65"/>
                <a:gd name="T51" fmla="*/ 1890 h 42"/>
                <a:gd name="T52" fmla="*/ 20955 w 65"/>
                <a:gd name="T53" fmla="*/ 7560 h 42"/>
                <a:gd name="T54" fmla="*/ 38100 w 65"/>
                <a:gd name="T55" fmla="*/ 0 h 42"/>
                <a:gd name="T56" fmla="*/ 55245 w 65"/>
                <a:gd name="T57" fmla="*/ 3780 h 42"/>
                <a:gd name="T58" fmla="*/ 60960 w 65"/>
                <a:gd name="T59" fmla="*/ 17009 h 42"/>
                <a:gd name="T60" fmla="*/ 62865 w 65"/>
                <a:gd name="T61" fmla="*/ 22679 h 42"/>
                <a:gd name="T62" fmla="*/ 76200 w 65"/>
                <a:gd name="T63" fmla="*/ 17009 h 42"/>
                <a:gd name="T64" fmla="*/ 89535 w 65"/>
                <a:gd name="T65" fmla="*/ 26458 h 42"/>
                <a:gd name="T66" fmla="*/ 89535 w 65"/>
                <a:gd name="T67" fmla="*/ 32128 h 42"/>
                <a:gd name="T68" fmla="*/ 104775 w 65"/>
                <a:gd name="T69" fmla="*/ 30238 h 42"/>
                <a:gd name="T70" fmla="*/ 112395 w 65"/>
                <a:gd name="T71" fmla="*/ 41577 h 42"/>
                <a:gd name="T72" fmla="*/ 108585 w 65"/>
                <a:gd name="T73" fmla="*/ 52917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8" name="Freeform 1095"/>
            <p:cNvSpPr>
              <a:spLocks noChangeAspect="1"/>
            </p:cNvSpPr>
            <p:nvPr/>
          </p:nvSpPr>
          <p:spPr bwMode="auto">
            <a:xfrm>
              <a:off x="2318391" y="709148"/>
              <a:ext cx="28831" cy="20635"/>
            </a:xfrm>
            <a:custGeom>
              <a:avLst/>
              <a:gdLst>
                <a:gd name="T0" fmla="*/ 9525 w 15"/>
                <a:gd name="T1" fmla="*/ 1954 h 13"/>
                <a:gd name="T2" fmla="*/ 1905 w 15"/>
                <a:gd name="T3" fmla="*/ 15631 h 13"/>
                <a:gd name="T4" fmla="*/ 13335 w 15"/>
                <a:gd name="T5" fmla="*/ 19538 h 13"/>
                <a:gd name="T6" fmla="*/ 19050 w 15"/>
                <a:gd name="T7" fmla="*/ 25400 h 13"/>
                <a:gd name="T8" fmla="*/ 24765 w 15"/>
                <a:gd name="T9" fmla="*/ 19538 h 13"/>
                <a:gd name="T10" fmla="*/ 24765 w 15"/>
                <a:gd name="T11" fmla="*/ 5862 h 13"/>
                <a:gd name="T12" fmla="*/ 15240 w 15"/>
                <a:gd name="T13" fmla="*/ 5862 h 13"/>
                <a:gd name="T14" fmla="*/ 9525 w 15"/>
                <a:gd name="T15" fmla="*/ 1954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09" name="Freeform 1096"/>
            <p:cNvSpPr>
              <a:spLocks noChangeAspect="1"/>
            </p:cNvSpPr>
            <p:nvPr/>
          </p:nvSpPr>
          <p:spPr bwMode="auto">
            <a:xfrm>
              <a:off x="2326400" y="756866"/>
              <a:ext cx="67272" cy="45138"/>
            </a:xfrm>
            <a:custGeom>
              <a:avLst/>
              <a:gdLst>
                <a:gd name="T0" fmla="*/ 9525 w 35"/>
                <a:gd name="T1" fmla="*/ 0 h 29"/>
                <a:gd name="T2" fmla="*/ 34290 w 35"/>
                <a:gd name="T3" fmla="*/ 7664 h 29"/>
                <a:gd name="T4" fmla="*/ 43815 w 35"/>
                <a:gd name="T5" fmla="*/ 13412 h 29"/>
                <a:gd name="T6" fmla="*/ 53340 w 35"/>
                <a:gd name="T7" fmla="*/ 17243 h 29"/>
                <a:gd name="T8" fmla="*/ 64770 w 35"/>
                <a:gd name="T9" fmla="*/ 24907 h 29"/>
                <a:gd name="T10" fmla="*/ 57150 w 35"/>
                <a:gd name="T11" fmla="*/ 32571 h 29"/>
                <a:gd name="T12" fmla="*/ 59055 w 35"/>
                <a:gd name="T13" fmla="*/ 44066 h 29"/>
                <a:gd name="T14" fmla="*/ 38100 w 35"/>
                <a:gd name="T15" fmla="*/ 51730 h 29"/>
                <a:gd name="T16" fmla="*/ 28575 w 35"/>
                <a:gd name="T17" fmla="*/ 47898 h 29"/>
                <a:gd name="T18" fmla="*/ 15240 w 35"/>
                <a:gd name="T19" fmla="*/ 55562 h 29"/>
                <a:gd name="T20" fmla="*/ 13335 w 35"/>
                <a:gd name="T21" fmla="*/ 45982 h 29"/>
                <a:gd name="T22" fmla="*/ 5715 w 35"/>
                <a:gd name="T23" fmla="*/ 38319 h 29"/>
                <a:gd name="T24" fmla="*/ 0 w 35"/>
                <a:gd name="T25" fmla="*/ 19159 h 29"/>
                <a:gd name="T26" fmla="*/ 3810 w 35"/>
                <a:gd name="T27" fmla="*/ 3832 h 29"/>
                <a:gd name="T28" fmla="*/ 9525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0" name="Freeform 1097"/>
            <p:cNvSpPr>
              <a:spLocks noChangeAspect="1"/>
            </p:cNvSpPr>
            <p:nvPr/>
          </p:nvSpPr>
          <p:spPr bwMode="auto">
            <a:xfrm>
              <a:off x="2355230" y="803295"/>
              <a:ext cx="67272" cy="14186"/>
            </a:xfrm>
            <a:custGeom>
              <a:avLst/>
              <a:gdLst>
                <a:gd name="T0" fmla="*/ 17145 w 35"/>
                <a:gd name="T1" fmla="*/ 0 h 9"/>
                <a:gd name="T2" fmla="*/ 1905 w 35"/>
                <a:gd name="T3" fmla="*/ 3880 h 9"/>
                <a:gd name="T4" fmla="*/ 3810 w 35"/>
                <a:gd name="T5" fmla="*/ 13582 h 9"/>
                <a:gd name="T6" fmla="*/ 34290 w 35"/>
                <a:gd name="T7" fmla="*/ 13582 h 9"/>
                <a:gd name="T8" fmla="*/ 55245 w 35"/>
                <a:gd name="T9" fmla="*/ 15522 h 9"/>
                <a:gd name="T10" fmla="*/ 60960 w 35"/>
                <a:gd name="T11" fmla="*/ 7761 h 9"/>
                <a:gd name="T12" fmla="*/ 64770 w 35"/>
                <a:gd name="T13" fmla="*/ 3880 h 9"/>
                <a:gd name="T14" fmla="*/ 57150 w 35"/>
                <a:gd name="T15" fmla="*/ 0 h 9"/>
                <a:gd name="T16" fmla="*/ 47625 w 35"/>
                <a:gd name="T17" fmla="*/ 1940 h 9"/>
                <a:gd name="T18" fmla="*/ 24765 w 35"/>
                <a:gd name="T19" fmla="*/ 0 h 9"/>
                <a:gd name="T20" fmla="*/ 17145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1" name="Freeform 1098"/>
            <p:cNvSpPr>
              <a:spLocks noChangeAspect="1"/>
            </p:cNvSpPr>
            <p:nvPr/>
          </p:nvSpPr>
          <p:spPr bwMode="auto">
            <a:xfrm>
              <a:off x="2460943" y="807164"/>
              <a:ext cx="24026" cy="14187"/>
            </a:xfrm>
            <a:custGeom>
              <a:avLst/>
              <a:gdLst>
                <a:gd name="T0" fmla="*/ 5953 w 12"/>
                <a:gd name="T1" fmla="*/ 1940 h 9"/>
                <a:gd name="T2" fmla="*/ 0 w 12"/>
                <a:gd name="T3" fmla="*/ 7761 h 9"/>
                <a:gd name="T4" fmla="*/ 7938 w 12"/>
                <a:gd name="T5" fmla="*/ 15523 h 9"/>
                <a:gd name="T6" fmla="*/ 17860 w 12"/>
                <a:gd name="T7" fmla="*/ 15523 h 9"/>
                <a:gd name="T8" fmla="*/ 21829 w 12"/>
                <a:gd name="T9" fmla="*/ 5821 h 9"/>
                <a:gd name="T10" fmla="*/ 11907 w 12"/>
                <a:gd name="T11" fmla="*/ 3881 h 9"/>
                <a:gd name="T12" fmla="*/ 5953 w 12"/>
                <a:gd name="T13" fmla="*/ 1940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2" name="Freeform 1099"/>
            <p:cNvSpPr>
              <a:spLocks noChangeAspect="1"/>
            </p:cNvSpPr>
            <p:nvPr/>
          </p:nvSpPr>
          <p:spPr bwMode="auto">
            <a:xfrm>
              <a:off x="2331205" y="826509"/>
              <a:ext cx="339563" cy="98015"/>
            </a:xfrm>
            <a:custGeom>
              <a:avLst/>
              <a:gdLst>
                <a:gd name="T0" fmla="*/ 325142 w 177"/>
                <a:gd name="T1" fmla="*/ 67028 h 63"/>
                <a:gd name="T2" fmla="*/ 332747 w 177"/>
                <a:gd name="T3" fmla="*/ 80433 h 63"/>
                <a:gd name="T4" fmla="*/ 321339 w 177"/>
                <a:gd name="T5" fmla="*/ 93839 h 63"/>
                <a:gd name="T6" fmla="*/ 332747 w 177"/>
                <a:gd name="T7" fmla="*/ 97669 h 63"/>
                <a:gd name="T8" fmla="*/ 317536 w 177"/>
                <a:gd name="T9" fmla="*/ 97669 h 63"/>
                <a:gd name="T10" fmla="*/ 319437 w 177"/>
                <a:gd name="T11" fmla="*/ 111075 h 63"/>
                <a:gd name="T12" fmla="*/ 296620 w 177"/>
                <a:gd name="T13" fmla="*/ 109160 h 63"/>
                <a:gd name="T14" fmla="*/ 266198 w 177"/>
                <a:gd name="T15" fmla="*/ 114905 h 63"/>
                <a:gd name="T16" fmla="*/ 250986 w 177"/>
                <a:gd name="T17" fmla="*/ 112990 h 63"/>
                <a:gd name="T18" fmla="*/ 222465 w 177"/>
                <a:gd name="T19" fmla="*/ 112990 h 63"/>
                <a:gd name="T20" fmla="*/ 214860 w 177"/>
                <a:gd name="T21" fmla="*/ 112990 h 63"/>
                <a:gd name="T22" fmla="*/ 203451 w 177"/>
                <a:gd name="T23" fmla="*/ 116820 h 63"/>
                <a:gd name="T24" fmla="*/ 192043 w 177"/>
                <a:gd name="T25" fmla="*/ 114905 h 63"/>
                <a:gd name="T26" fmla="*/ 182536 w 177"/>
                <a:gd name="T27" fmla="*/ 116820 h 63"/>
                <a:gd name="T28" fmla="*/ 148310 w 177"/>
                <a:gd name="T29" fmla="*/ 99584 h 63"/>
                <a:gd name="T30" fmla="*/ 136902 w 177"/>
                <a:gd name="T31" fmla="*/ 103414 h 63"/>
                <a:gd name="T32" fmla="*/ 114085 w 177"/>
                <a:gd name="T33" fmla="*/ 111075 h 63"/>
                <a:gd name="T34" fmla="*/ 95071 w 177"/>
                <a:gd name="T35" fmla="*/ 109160 h 63"/>
                <a:gd name="T36" fmla="*/ 79859 w 177"/>
                <a:gd name="T37" fmla="*/ 88094 h 63"/>
                <a:gd name="T38" fmla="*/ 79859 w 177"/>
                <a:gd name="T39" fmla="*/ 82348 h 63"/>
                <a:gd name="T40" fmla="*/ 89366 w 177"/>
                <a:gd name="T41" fmla="*/ 65113 h 63"/>
                <a:gd name="T42" fmla="*/ 79859 w 177"/>
                <a:gd name="T43" fmla="*/ 45962 h 63"/>
                <a:gd name="T44" fmla="*/ 66549 w 177"/>
                <a:gd name="T45" fmla="*/ 38302 h 63"/>
                <a:gd name="T46" fmla="*/ 32324 w 177"/>
                <a:gd name="T47" fmla="*/ 38302 h 63"/>
                <a:gd name="T48" fmla="*/ 34225 w 177"/>
                <a:gd name="T49" fmla="*/ 30641 h 63"/>
                <a:gd name="T50" fmla="*/ 13310 w 177"/>
                <a:gd name="T51" fmla="*/ 24896 h 63"/>
                <a:gd name="T52" fmla="*/ 5704 w 177"/>
                <a:gd name="T53" fmla="*/ 21066 h 63"/>
                <a:gd name="T54" fmla="*/ 9507 w 177"/>
                <a:gd name="T55" fmla="*/ 13406 h 63"/>
                <a:gd name="T56" fmla="*/ 15211 w 177"/>
                <a:gd name="T57" fmla="*/ 1915 h 63"/>
                <a:gd name="T58" fmla="*/ 45634 w 177"/>
                <a:gd name="T59" fmla="*/ 1915 h 63"/>
                <a:gd name="T60" fmla="*/ 68451 w 177"/>
                <a:gd name="T61" fmla="*/ 5745 h 63"/>
                <a:gd name="T62" fmla="*/ 76056 w 177"/>
                <a:gd name="T63" fmla="*/ 17236 h 63"/>
                <a:gd name="T64" fmla="*/ 81761 w 177"/>
                <a:gd name="T65" fmla="*/ 19151 h 63"/>
                <a:gd name="T66" fmla="*/ 114085 w 177"/>
                <a:gd name="T67" fmla="*/ 15321 h 63"/>
                <a:gd name="T68" fmla="*/ 127395 w 177"/>
                <a:gd name="T69" fmla="*/ 28726 h 63"/>
                <a:gd name="T70" fmla="*/ 112183 w 177"/>
                <a:gd name="T71" fmla="*/ 28726 h 63"/>
                <a:gd name="T72" fmla="*/ 144507 w 177"/>
                <a:gd name="T73" fmla="*/ 32556 h 63"/>
                <a:gd name="T74" fmla="*/ 148310 w 177"/>
                <a:gd name="T75" fmla="*/ 42132 h 63"/>
                <a:gd name="T76" fmla="*/ 104578 w 177"/>
                <a:gd name="T77" fmla="*/ 32556 h 63"/>
                <a:gd name="T78" fmla="*/ 121690 w 177"/>
                <a:gd name="T79" fmla="*/ 45962 h 63"/>
                <a:gd name="T80" fmla="*/ 112183 w 177"/>
                <a:gd name="T81" fmla="*/ 55537 h 63"/>
                <a:gd name="T82" fmla="*/ 135000 w 177"/>
                <a:gd name="T83" fmla="*/ 55537 h 63"/>
                <a:gd name="T84" fmla="*/ 138803 w 177"/>
                <a:gd name="T85" fmla="*/ 65113 h 63"/>
                <a:gd name="T86" fmla="*/ 133099 w 177"/>
                <a:gd name="T87" fmla="*/ 70858 h 63"/>
                <a:gd name="T88" fmla="*/ 144507 w 177"/>
                <a:gd name="T89" fmla="*/ 76603 h 63"/>
                <a:gd name="T90" fmla="*/ 150212 w 177"/>
                <a:gd name="T91" fmla="*/ 68943 h 63"/>
                <a:gd name="T92" fmla="*/ 165423 w 177"/>
                <a:gd name="T93" fmla="*/ 72773 h 63"/>
                <a:gd name="T94" fmla="*/ 176831 w 177"/>
                <a:gd name="T95" fmla="*/ 72773 h 63"/>
                <a:gd name="T96" fmla="*/ 197747 w 177"/>
                <a:gd name="T97" fmla="*/ 74688 h 63"/>
                <a:gd name="T98" fmla="*/ 214860 w 177"/>
                <a:gd name="T99" fmla="*/ 78518 h 63"/>
                <a:gd name="T100" fmla="*/ 228169 w 177"/>
                <a:gd name="T101" fmla="*/ 65113 h 63"/>
                <a:gd name="T102" fmla="*/ 256691 w 177"/>
                <a:gd name="T103" fmla="*/ 55537 h 63"/>
                <a:gd name="T104" fmla="*/ 287113 w 177"/>
                <a:gd name="T105" fmla="*/ 53622 h 63"/>
                <a:gd name="T106" fmla="*/ 311832 w 177"/>
                <a:gd name="T107" fmla="*/ 5936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3" name="Freeform 1100"/>
            <p:cNvSpPr>
              <a:spLocks noChangeAspect="1"/>
            </p:cNvSpPr>
            <p:nvPr/>
          </p:nvSpPr>
          <p:spPr bwMode="auto">
            <a:xfrm>
              <a:off x="2462545" y="830378"/>
              <a:ext cx="14415" cy="19346"/>
            </a:xfrm>
            <a:custGeom>
              <a:avLst/>
              <a:gdLst>
                <a:gd name="T0" fmla="*/ 0 w 7"/>
                <a:gd name="T1" fmla="*/ 3664 h 13"/>
                <a:gd name="T2" fmla="*/ 12246 w 7"/>
                <a:gd name="T3" fmla="*/ 1832 h 13"/>
                <a:gd name="T4" fmla="*/ 10205 w 7"/>
                <a:gd name="T5" fmla="*/ 21981 h 13"/>
                <a:gd name="T6" fmla="*/ 6123 w 7"/>
                <a:gd name="T7" fmla="*/ 20149 h 13"/>
                <a:gd name="T8" fmla="*/ 0 w 7"/>
                <a:gd name="T9" fmla="*/ 3664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4" name="Freeform 1101"/>
            <p:cNvSpPr>
              <a:spLocks noChangeAspect="1"/>
            </p:cNvSpPr>
            <p:nvPr/>
          </p:nvSpPr>
          <p:spPr bwMode="auto">
            <a:xfrm>
              <a:off x="2388866" y="654982"/>
              <a:ext cx="216230" cy="135417"/>
            </a:xfrm>
            <a:custGeom>
              <a:avLst/>
              <a:gdLst>
                <a:gd name="T0" fmla="*/ 100518 w 113"/>
                <a:gd name="T1" fmla="*/ 7664 h 87"/>
                <a:gd name="T2" fmla="*/ 128967 w 113"/>
                <a:gd name="T3" fmla="*/ 49815 h 87"/>
                <a:gd name="T4" fmla="*/ 159312 w 113"/>
                <a:gd name="T5" fmla="*/ 68974 h 87"/>
                <a:gd name="T6" fmla="*/ 176381 w 113"/>
                <a:gd name="T7" fmla="*/ 59395 h 87"/>
                <a:gd name="T8" fmla="*/ 176381 w 113"/>
                <a:gd name="T9" fmla="*/ 78554 h 87"/>
                <a:gd name="T10" fmla="*/ 187760 w 113"/>
                <a:gd name="T11" fmla="*/ 86218 h 87"/>
                <a:gd name="T12" fmla="*/ 201036 w 113"/>
                <a:gd name="T13" fmla="*/ 91966 h 87"/>
                <a:gd name="T14" fmla="*/ 178277 w 113"/>
                <a:gd name="T15" fmla="*/ 116873 h 87"/>
                <a:gd name="T16" fmla="*/ 165001 w 113"/>
                <a:gd name="T17" fmla="*/ 120705 h 87"/>
                <a:gd name="T18" fmla="*/ 146036 w 113"/>
                <a:gd name="T19" fmla="*/ 120705 h 87"/>
                <a:gd name="T20" fmla="*/ 142242 w 113"/>
                <a:gd name="T21" fmla="*/ 145613 h 87"/>
                <a:gd name="T22" fmla="*/ 125173 w 113"/>
                <a:gd name="T23" fmla="*/ 157108 h 87"/>
                <a:gd name="T24" fmla="*/ 100518 w 113"/>
                <a:gd name="T25" fmla="*/ 145613 h 87"/>
                <a:gd name="T26" fmla="*/ 92932 w 113"/>
                <a:gd name="T27" fmla="*/ 153276 h 87"/>
                <a:gd name="T28" fmla="*/ 66380 w 113"/>
                <a:gd name="T29" fmla="*/ 160940 h 87"/>
                <a:gd name="T30" fmla="*/ 64483 w 113"/>
                <a:gd name="T31" fmla="*/ 145613 h 87"/>
                <a:gd name="T32" fmla="*/ 45518 w 113"/>
                <a:gd name="T33" fmla="*/ 134117 h 87"/>
                <a:gd name="T34" fmla="*/ 37931 w 113"/>
                <a:gd name="T35" fmla="*/ 124537 h 87"/>
                <a:gd name="T36" fmla="*/ 85345 w 113"/>
                <a:gd name="T37" fmla="*/ 111125 h 87"/>
                <a:gd name="T38" fmla="*/ 73966 w 113"/>
                <a:gd name="T39" fmla="*/ 107293 h 87"/>
                <a:gd name="T40" fmla="*/ 64483 w 113"/>
                <a:gd name="T41" fmla="*/ 97714 h 87"/>
                <a:gd name="T42" fmla="*/ 39828 w 113"/>
                <a:gd name="T43" fmla="*/ 101546 h 87"/>
                <a:gd name="T44" fmla="*/ 13276 w 113"/>
                <a:gd name="T45" fmla="*/ 93882 h 87"/>
                <a:gd name="T46" fmla="*/ 32242 w 113"/>
                <a:gd name="T47" fmla="*/ 86218 h 87"/>
                <a:gd name="T48" fmla="*/ 1897 w 113"/>
                <a:gd name="T49" fmla="*/ 74722 h 87"/>
                <a:gd name="T50" fmla="*/ 37931 w 113"/>
                <a:gd name="T51" fmla="*/ 74722 h 87"/>
                <a:gd name="T52" fmla="*/ 26552 w 113"/>
                <a:gd name="T53" fmla="*/ 67058 h 87"/>
                <a:gd name="T54" fmla="*/ 17069 w 113"/>
                <a:gd name="T55" fmla="*/ 51731 h 87"/>
                <a:gd name="T56" fmla="*/ 55000 w 113"/>
                <a:gd name="T57" fmla="*/ 47899 h 87"/>
                <a:gd name="T58" fmla="*/ 34138 w 113"/>
                <a:gd name="T59" fmla="*/ 34487 h 87"/>
                <a:gd name="T60" fmla="*/ 60690 w 113"/>
                <a:gd name="T61" fmla="*/ 26823 h 87"/>
                <a:gd name="T62" fmla="*/ 77759 w 113"/>
                <a:gd name="T63" fmla="*/ 15328 h 87"/>
                <a:gd name="T64" fmla="*/ 53104 w 113"/>
                <a:gd name="T65" fmla="*/ 7664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5" name="Freeform 1102"/>
            <p:cNvSpPr>
              <a:spLocks noChangeAspect="1"/>
            </p:cNvSpPr>
            <p:nvPr/>
          </p:nvSpPr>
          <p:spPr bwMode="auto">
            <a:xfrm>
              <a:off x="2478562" y="586629"/>
              <a:ext cx="631075" cy="275991"/>
            </a:xfrm>
            <a:custGeom>
              <a:avLst/>
              <a:gdLst>
                <a:gd name="T0" fmla="*/ 108695 w 328"/>
                <a:gd name="T1" fmla="*/ 156503 h 178"/>
                <a:gd name="T2" fmla="*/ 139206 w 328"/>
                <a:gd name="T3" fmla="*/ 190857 h 178"/>
                <a:gd name="T4" fmla="*/ 122044 w 328"/>
                <a:gd name="T5" fmla="*/ 206125 h 178"/>
                <a:gd name="T6" fmla="*/ 158276 w 328"/>
                <a:gd name="T7" fmla="*/ 217577 h 178"/>
                <a:gd name="T8" fmla="*/ 110602 w 328"/>
                <a:gd name="T9" fmla="*/ 211851 h 178"/>
                <a:gd name="T10" fmla="*/ 62929 w 328"/>
                <a:gd name="T11" fmla="*/ 246205 h 178"/>
                <a:gd name="T12" fmla="*/ 112509 w 328"/>
                <a:gd name="T13" fmla="*/ 230937 h 178"/>
                <a:gd name="T14" fmla="*/ 95347 w 328"/>
                <a:gd name="T15" fmla="*/ 259565 h 178"/>
                <a:gd name="T16" fmla="*/ 108695 w 328"/>
                <a:gd name="T17" fmla="*/ 276742 h 178"/>
                <a:gd name="T18" fmla="*/ 152555 w 328"/>
                <a:gd name="T19" fmla="*/ 265291 h 178"/>
                <a:gd name="T20" fmla="*/ 85812 w 328"/>
                <a:gd name="T21" fmla="*/ 280559 h 178"/>
                <a:gd name="T22" fmla="*/ 47673 w 328"/>
                <a:gd name="T23" fmla="*/ 278651 h 178"/>
                <a:gd name="T24" fmla="*/ 34325 w 328"/>
                <a:gd name="T25" fmla="*/ 293919 h 178"/>
                <a:gd name="T26" fmla="*/ 17162 w 328"/>
                <a:gd name="T27" fmla="*/ 318731 h 178"/>
                <a:gd name="T28" fmla="*/ 32418 w 328"/>
                <a:gd name="T29" fmla="*/ 330182 h 178"/>
                <a:gd name="T30" fmla="*/ 76277 w 328"/>
                <a:gd name="T31" fmla="*/ 330182 h 178"/>
                <a:gd name="T32" fmla="*/ 95347 w 328"/>
                <a:gd name="T33" fmla="*/ 326365 h 178"/>
                <a:gd name="T34" fmla="*/ 135392 w 328"/>
                <a:gd name="T35" fmla="*/ 314914 h 178"/>
                <a:gd name="T36" fmla="*/ 148741 w 328"/>
                <a:gd name="T37" fmla="*/ 311096 h 178"/>
                <a:gd name="T38" fmla="*/ 171624 w 328"/>
                <a:gd name="T39" fmla="*/ 337816 h 178"/>
                <a:gd name="T40" fmla="*/ 240274 w 328"/>
                <a:gd name="T41" fmla="*/ 314914 h 178"/>
                <a:gd name="T42" fmla="*/ 207856 w 328"/>
                <a:gd name="T43" fmla="*/ 288194 h 178"/>
                <a:gd name="T44" fmla="*/ 163996 w 328"/>
                <a:gd name="T45" fmla="*/ 286285 h 178"/>
                <a:gd name="T46" fmla="*/ 200228 w 328"/>
                <a:gd name="T47" fmla="*/ 284377 h 178"/>
                <a:gd name="T48" fmla="*/ 272692 w 328"/>
                <a:gd name="T49" fmla="*/ 255748 h 178"/>
                <a:gd name="T50" fmla="*/ 316551 w 328"/>
                <a:gd name="T51" fmla="*/ 225211 h 178"/>
                <a:gd name="T52" fmla="*/ 270785 w 328"/>
                <a:gd name="T53" fmla="*/ 202308 h 178"/>
                <a:gd name="T54" fmla="*/ 331807 w 328"/>
                <a:gd name="T55" fmla="*/ 204217 h 178"/>
                <a:gd name="T56" fmla="*/ 331807 w 328"/>
                <a:gd name="T57" fmla="*/ 183222 h 178"/>
                <a:gd name="T58" fmla="*/ 356597 w 328"/>
                <a:gd name="T59" fmla="*/ 167954 h 178"/>
                <a:gd name="T60" fmla="*/ 389015 w 328"/>
                <a:gd name="T61" fmla="*/ 152685 h 178"/>
                <a:gd name="T62" fmla="*/ 488176 w 328"/>
                <a:gd name="T63" fmla="*/ 114514 h 178"/>
                <a:gd name="T64" fmla="*/ 526314 w 328"/>
                <a:gd name="T65" fmla="*/ 85886 h 178"/>
                <a:gd name="T66" fmla="*/ 543477 w 328"/>
                <a:gd name="T67" fmla="*/ 74434 h 178"/>
                <a:gd name="T68" fmla="*/ 610220 w 328"/>
                <a:gd name="T69" fmla="*/ 34354 h 178"/>
                <a:gd name="T70" fmla="*/ 543477 w 328"/>
                <a:gd name="T71" fmla="*/ 17177 h 178"/>
                <a:gd name="T72" fmla="*/ 514873 w 328"/>
                <a:gd name="T73" fmla="*/ 9543 h 178"/>
                <a:gd name="T74" fmla="*/ 425247 w 328"/>
                <a:gd name="T75" fmla="*/ 11451 h 178"/>
                <a:gd name="T76" fmla="*/ 381387 w 328"/>
                <a:gd name="T77" fmla="*/ 22903 h 178"/>
                <a:gd name="T78" fmla="*/ 305110 w 328"/>
                <a:gd name="T79" fmla="*/ 3817 h 178"/>
                <a:gd name="T80" fmla="*/ 276506 w 328"/>
                <a:gd name="T81" fmla="*/ 19086 h 178"/>
                <a:gd name="T82" fmla="*/ 245995 w 328"/>
                <a:gd name="T83" fmla="*/ 28629 h 178"/>
                <a:gd name="T84" fmla="*/ 211670 w 328"/>
                <a:gd name="T85" fmla="*/ 28629 h 178"/>
                <a:gd name="T86" fmla="*/ 238367 w 328"/>
                <a:gd name="T87" fmla="*/ 55348 h 178"/>
                <a:gd name="T88" fmla="*/ 192601 w 328"/>
                <a:gd name="T89" fmla="*/ 55348 h 178"/>
                <a:gd name="T90" fmla="*/ 123951 w 328"/>
                <a:gd name="T91" fmla="*/ 36263 h 178"/>
                <a:gd name="T92" fmla="*/ 110602 w 328"/>
                <a:gd name="T93" fmla="*/ 61074 h 178"/>
                <a:gd name="T94" fmla="*/ 133486 w 328"/>
                <a:gd name="T95" fmla="*/ 95428 h 178"/>
                <a:gd name="T96" fmla="*/ 66743 w 328"/>
                <a:gd name="T97" fmla="*/ 110697 h 178"/>
                <a:gd name="T98" fmla="*/ 144927 w 328"/>
                <a:gd name="T99" fmla="*/ 104971 h 178"/>
                <a:gd name="T100" fmla="*/ 120137 w 328"/>
                <a:gd name="T101" fmla="*/ 125965 h 178"/>
                <a:gd name="T102" fmla="*/ 171624 w 328"/>
                <a:gd name="T103" fmla="*/ 127874 h 178"/>
                <a:gd name="T104" fmla="*/ 202135 w 328"/>
                <a:gd name="T105" fmla="*/ 135508 h 178"/>
                <a:gd name="T106" fmla="*/ 289854 w 328"/>
                <a:gd name="T107" fmla="*/ 85886 h 178"/>
                <a:gd name="T108" fmla="*/ 312738 w 328"/>
                <a:gd name="T109" fmla="*/ 112605 h 178"/>
                <a:gd name="T110" fmla="*/ 230739 w 328"/>
                <a:gd name="T111" fmla="*/ 129783 h 178"/>
                <a:gd name="T112" fmla="*/ 223111 w 328"/>
                <a:gd name="T113" fmla="*/ 139325 h 178"/>
                <a:gd name="T114" fmla="*/ 194507 w 328"/>
                <a:gd name="T115" fmla="*/ 169863 h 178"/>
                <a:gd name="T116" fmla="*/ 186880 w 328"/>
                <a:gd name="T117" fmla="*/ 175588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6" name="Freeform 1103"/>
            <p:cNvSpPr>
              <a:spLocks noChangeAspect="1"/>
            </p:cNvSpPr>
            <p:nvPr/>
          </p:nvSpPr>
          <p:spPr bwMode="auto">
            <a:xfrm>
              <a:off x="2669166" y="856172"/>
              <a:ext cx="20823" cy="19346"/>
            </a:xfrm>
            <a:custGeom>
              <a:avLst/>
              <a:gdLst>
                <a:gd name="T0" fmla="*/ 16886 w 11"/>
                <a:gd name="T1" fmla="*/ 1984 h 12"/>
                <a:gd name="T2" fmla="*/ 1876 w 11"/>
                <a:gd name="T3" fmla="*/ 17860 h 12"/>
                <a:gd name="T4" fmla="*/ 5629 w 11"/>
                <a:gd name="T5" fmla="*/ 23813 h 12"/>
                <a:gd name="T6" fmla="*/ 11257 w 11"/>
                <a:gd name="T7" fmla="*/ 15875 h 12"/>
                <a:gd name="T8" fmla="*/ 18762 w 11"/>
                <a:gd name="T9" fmla="*/ 19844 h 12"/>
                <a:gd name="T10" fmla="*/ 15009 w 11"/>
                <a:gd name="T11" fmla="*/ 11907 h 12"/>
                <a:gd name="T12" fmla="*/ 20638 w 11"/>
                <a:gd name="T13" fmla="*/ 3969 h 12"/>
                <a:gd name="T14" fmla="*/ 16886 w 11"/>
                <a:gd name="T15" fmla="*/ 1984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7" name="Freeform 1104"/>
            <p:cNvSpPr>
              <a:spLocks noChangeAspect="1"/>
            </p:cNvSpPr>
            <p:nvPr/>
          </p:nvSpPr>
          <p:spPr bwMode="auto">
            <a:xfrm>
              <a:off x="2568258" y="749128"/>
              <a:ext cx="25627" cy="11607"/>
            </a:xfrm>
            <a:custGeom>
              <a:avLst/>
              <a:gdLst>
                <a:gd name="T0" fmla="*/ 15631 w 13"/>
                <a:gd name="T1" fmla="*/ 0 h 7"/>
                <a:gd name="T2" fmla="*/ 23446 w 13"/>
                <a:gd name="T3" fmla="*/ 4082 h 7"/>
                <a:gd name="T4" fmla="*/ 7815 w 13"/>
                <a:gd name="T5" fmla="*/ 10205 h 7"/>
                <a:gd name="T6" fmla="*/ 1954 w 13"/>
                <a:gd name="T7" fmla="*/ 12246 h 7"/>
                <a:gd name="T8" fmla="*/ 5862 w 13"/>
                <a:gd name="T9" fmla="*/ 4082 h 7"/>
                <a:gd name="T10" fmla="*/ 15631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8" name="Freeform 1105"/>
            <p:cNvSpPr>
              <a:spLocks noChangeAspect="1"/>
            </p:cNvSpPr>
            <p:nvPr/>
          </p:nvSpPr>
          <p:spPr bwMode="auto">
            <a:xfrm>
              <a:off x="2401680" y="687224"/>
              <a:ext cx="25627" cy="5158"/>
            </a:xfrm>
            <a:custGeom>
              <a:avLst/>
              <a:gdLst>
                <a:gd name="T0" fmla="*/ 19538 w 13"/>
                <a:gd name="T1" fmla="*/ 0 h 3"/>
                <a:gd name="T2" fmla="*/ 23446 w 13"/>
                <a:gd name="T3" fmla="*/ 4233 h 3"/>
                <a:gd name="T4" fmla="*/ 11723 w 13"/>
                <a:gd name="T5" fmla="*/ 4233 h 3"/>
                <a:gd name="T6" fmla="*/ 1954 w 13"/>
                <a:gd name="T7" fmla="*/ 4233 h 3"/>
                <a:gd name="T8" fmla="*/ 7815 w 13"/>
                <a:gd name="T9" fmla="*/ 0 h 3"/>
                <a:gd name="T10" fmla="*/ 19538 w 13"/>
                <a:gd name="T11" fmla="*/ 0 h 3"/>
                <a:gd name="T12" fmla="*/ 0 60000 65536"/>
                <a:gd name="T13" fmla="*/ 0 60000 65536"/>
                <a:gd name="T14" fmla="*/ 0 60000 65536"/>
                <a:gd name="T15" fmla="*/ 0 60000 65536"/>
                <a:gd name="T16" fmla="*/ 0 60000 65536"/>
                <a:gd name="T17" fmla="*/ 0 60000 65536"/>
                <a:gd name="T18" fmla="*/ 0 w 13"/>
                <a:gd name="T19" fmla="*/ 0 h 3"/>
                <a:gd name="T20" fmla="*/ 13 w 13"/>
                <a:gd name="T21" fmla="*/ 3 h 3"/>
              </a:gdLst>
              <a:ahLst/>
              <a:cxnLst>
                <a:cxn ang="T12">
                  <a:pos x="T0" y="T1"/>
                </a:cxn>
                <a:cxn ang="T13">
                  <a:pos x="T2" y="T3"/>
                </a:cxn>
                <a:cxn ang="T14">
                  <a:pos x="T4" y="T5"/>
                </a:cxn>
                <a:cxn ang="T15">
                  <a:pos x="T6" y="T7"/>
                </a:cxn>
                <a:cxn ang="T16">
                  <a:pos x="T8" y="T9"/>
                </a:cxn>
                <a:cxn ang="T17">
                  <a:pos x="T10" y="T11"/>
                </a:cxn>
              </a:cxnLst>
              <a:rect l="T18" t="T19" r="T20" b="T21"/>
              <a:pathLst>
                <a:path w="13" h="3">
                  <a:moveTo>
                    <a:pt x="10" y="0"/>
                  </a:moveTo>
                  <a:cubicBezTo>
                    <a:pt x="11" y="0"/>
                    <a:pt x="13" y="2"/>
                    <a:pt x="12" y="2"/>
                  </a:cubicBezTo>
                  <a:cubicBezTo>
                    <a:pt x="11" y="3"/>
                    <a:pt x="8" y="2"/>
                    <a:pt x="6" y="2"/>
                  </a:cubicBezTo>
                  <a:cubicBezTo>
                    <a:pt x="5" y="2"/>
                    <a:pt x="2" y="3"/>
                    <a:pt x="1" y="2"/>
                  </a:cubicBezTo>
                  <a:cubicBezTo>
                    <a:pt x="0" y="1"/>
                    <a:pt x="3" y="0"/>
                    <a:pt x="4" y="0"/>
                  </a:cubicBezTo>
                  <a:cubicBezTo>
                    <a:pt x="6" y="0"/>
                    <a:pt x="8"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19" name="Freeform 1106"/>
            <p:cNvSpPr>
              <a:spLocks noChangeAspect="1"/>
            </p:cNvSpPr>
            <p:nvPr/>
          </p:nvSpPr>
          <p:spPr bwMode="auto">
            <a:xfrm>
              <a:off x="2840549" y="569863"/>
              <a:ext cx="1239725" cy="824105"/>
            </a:xfrm>
            <a:custGeom>
              <a:avLst/>
              <a:gdLst>
                <a:gd name="T0" fmla="*/ 1114425 w 645"/>
                <a:gd name="T1" fmla="*/ 139196 h 532"/>
                <a:gd name="T2" fmla="*/ 1152525 w 645"/>
                <a:gd name="T3" fmla="*/ 156357 h 532"/>
                <a:gd name="T4" fmla="*/ 1087755 w 645"/>
                <a:gd name="T5" fmla="*/ 177332 h 532"/>
                <a:gd name="T6" fmla="*/ 1083945 w 645"/>
                <a:gd name="T7" fmla="*/ 215467 h 532"/>
                <a:gd name="T8" fmla="*/ 1049655 w 645"/>
                <a:gd name="T9" fmla="*/ 276485 h 532"/>
                <a:gd name="T10" fmla="*/ 1085850 w 645"/>
                <a:gd name="T11" fmla="*/ 306993 h 532"/>
                <a:gd name="T12" fmla="*/ 1055370 w 645"/>
                <a:gd name="T13" fmla="*/ 327968 h 532"/>
                <a:gd name="T14" fmla="*/ 1064895 w 645"/>
                <a:gd name="T15" fmla="*/ 354663 h 532"/>
                <a:gd name="T16" fmla="*/ 1070610 w 645"/>
                <a:gd name="T17" fmla="*/ 398519 h 532"/>
                <a:gd name="T18" fmla="*/ 1024890 w 645"/>
                <a:gd name="T19" fmla="*/ 406146 h 532"/>
                <a:gd name="T20" fmla="*/ 1076325 w 645"/>
                <a:gd name="T21" fmla="*/ 434748 h 532"/>
                <a:gd name="T22" fmla="*/ 1017270 w 645"/>
                <a:gd name="T23" fmla="*/ 461443 h 532"/>
                <a:gd name="T24" fmla="*/ 1011555 w 645"/>
                <a:gd name="T25" fmla="*/ 480511 h 532"/>
                <a:gd name="T26" fmla="*/ 948690 w 645"/>
                <a:gd name="T27" fmla="*/ 470977 h 532"/>
                <a:gd name="T28" fmla="*/ 942975 w 645"/>
                <a:gd name="T29" fmla="*/ 491952 h 532"/>
                <a:gd name="T30" fmla="*/ 950595 w 645"/>
                <a:gd name="T31" fmla="*/ 514834 h 532"/>
                <a:gd name="T32" fmla="*/ 998220 w 645"/>
                <a:gd name="T33" fmla="*/ 539622 h 532"/>
                <a:gd name="T34" fmla="*/ 1015365 w 645"/>
                <a:gd name="T35" fmla="*/ 573944 h 532"/>
                <a:gd name="T36" fmla="*/ 986790 w 645"/>
                <a:gd name="T37" fmla="*/ 596826 h 532"/>
                <a:gd name="T38" fmla="*/ 880110 w 645"/>
                <a:gd name="T39" fmla="*/ 533902 h 532"/>
                <a:gd name="T40" fmla="*/ 927735 w 645"/>
                <a:gd name="T41" fmla="*/ 570131 h 532"/>
                <a:gd name="T42" fmla="*/ 857250 w 645"/>
                <a:gd name="T43" fmla="*/ 602546 h 532"/>
                <a:gd name="T44" fmla="*/ 920115 w 645"/>
                <a:gd name="T45" fmla="*/ 608266 h 532"/>
                <a:gd name="T46" fmla="*/ 948690 w 645"/>
                <a:gd name="T47" fmla="*/ 642589 h 532"/>
                <a:gd name="T48" fmla="*/ 773430 w 645"/>
                <a:gd name="T49" fmla="*/ 680724 h 532"/>
                <a:gd name="T50" fmla="*/ 689610 w 645"/>
                <a:gd name="T51" fmla="*/ 781784 h 532"/>
                <a:gd name="T52" fmla="*/ 643890 w 645"/>
                <a:gd name="T53" fmla="*/ 793225 h 532"/>
                <a:gd name="T54" fmla="*/ 598170 w 645"/>
                <a:gd name="T55" fmla="*/ 842802 h 532"/>
                <a:gd name="T56" fmla="*/ 546735 w 645"/>
                <a:gd name="T57" fmla="*/ 936234 h 532"/>
                <a:gd name="T58" fmla="*/ 474345 w 645"/>
                <a:gd name="T59" fmla="*/ 974370 h 532"/>
                <a:gd name="T60" fmla="*/ 377190 w 645"/>
                <a:gd name="T61" fmla="*/ 896192 h 532"/>
                <a:gd name="T62" fmla="*/ 333375 w 645"/>
                <a:gd name="T63" fmla="*/ 783691 h 532"/>
                <a:gd name="T64" fmla="*/ 329565 w 645"/>
                <a:gd name="T65" fmla="*/ 694072 h 532"/>
                <a:gd name="T66" fmla="*/ 401955 w 645"/>
                <a:gd name="T67" fmla="*/ 621614 h 532"/>
                <a:gd name="T68" fmla="*/ 352425 w 645"/>
                <a:gd name="T69" fmla="*/ 587292 h 532"/>
                <a:gd name="T70" fmla="*/ 344805 w 645"/>
                <a:gd name="T71" fmla="*/ 558690 h 532"/>
                <a:gd name="T72" fmla="*/ 306705 w 645"/>
                <a:gd name="T73" fmla="*/ 429028 h 532"/>
                <a:gd name="T74" fmla="*/ 135255 w 645"/>
                <a:gd name="T75" fmla="*/ 350850 h 532"/>
                <a:gd name="T76" fmla="*/ 80010 w 645"/>
                <a:gd name="T77" fmla="*/ 335595 h 532"/>
                <a:gd name="T78" fmla="*/ 53340 w 645"/>
                <a:gd name="T79" fmla="*/ 308900 h 532"/>
                <a:gd name="T80" fmla="*/ 102870 w 645"/>
                <a:gd name="T81" fmla="*/ 287925 h 532"/>
                <a:gd name="T82" fmla="*/ 59055 w 645"/>
                <a:gd name="T83" fmla="*/ 234535 h 532"/>
                <a:gd name="T84" fmla="*/ 194310 w 645"/>
                <a:gd name="T85" fmla="*/ 167798 h 532"/>
                <a:gd name="T86" fmla="*/ 209550 w 645"/>
                <a:gd name="T87" fmla="*/ 125848 h 532"/>
                <a:gd name="T88" fmla="*/ 403860 w 645"/>
                <a:gd name="T89" fmla="*/ 68644 h 532"/>
                <a:gd name="T90" fmla="*/ 476250 w 645"/>
                <a:gd name="T91" fmla="*/ 87712 h 532"/>
                <a:gd name="T92" fmla="*/ 575310 w 645"/>
                <a:gd name="T93" fmla="*/ 97246 h 532"/>
                <a:gd name="T94" fmla="*/ 615315 w 645"/>
                <a:gd name="T95" fmla="*/ 51483 h 532"/>
                <a:gd name="T96" fmla="*/ 645795 w 645"/>
                <a:gd name="T97" fmla="*/ 32415 h 532"/>
                <a:gd name="T98" fmla="*/ 727710 w 645"/>
                <a:gd name="T99" fmla="*/ 17161 h 532"/>
                <a:gd name="T100" fmla="*/ 939165 w 645"/>
                <a:gd name="T101" fmla="*/ 11441 h 532"/>
                <a:gd name="T102" fmla="*/ 828675 w 645"/>
                <a:gd name="T103" fmla="*/ 40043 h 532"/>
                <a:gd name="T104" fmla="*/ 1040130 w 645"/>
                <a:gd name="T105" fmla="*/ 47670 h 532"/>
                <a:gd name="T106" fmla="*/ 805815 w 645"/>
                <a:gd name="T107" fmla="*/ 87712 h 532"/>
                <a:gd name="T108" fmla="*/ 986790 w 645"/>
                <a:gd name="T109" fmla="*/ 81992 h 532"/>
                <a:gd name="T110" fmla="*/ 1005840 w 645"/>
                <a:gd name="T111" fmla="*/ 135382 h 532"/>
                <a:gd name="T112" fmla="*/ 1112520 w 645"/>
                <a:gd name="T113" fmla="*/ 104874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0" name="Freeform 1107"/>
            <p:cNvSpPr>
              <a:spLocks noChangeAspect="1"/>
            </p:cNvSpPr>
            <p:nvPr/>
          </p:nvSpPr>
          <p:spPr bwMode="auto">
            <a:xfrm>
              <a:off x="3151282" y="1061231"/>
              <a:ext cx="67272" cy="38690"/>
            </a:xfrm>
            <a:custGeom>
              <a:avLst/>
              <a:gdLst>
                <a:gd name="T0" fmla="*/ 11430 w 35"/>
                <a:gd name="T1" fmla="*/ 0 h 25"/>
                <a:gd name="T2" fmla="*/ 36195 w 35"/>
                <a:gd name="T3" fmla="*/ 5715 h 25"/>
                <a:gd name="T4" fmla="*/ 53340 w 35"/>
                <a:gd name="T5" fmla="*/ 17145 h 25"/>
                <a:gd name="T6" fmla="*/ 64770 w 35"/>
                <a:gd name="T7" fmla="*/ 22860 h 25"/>
                <a:gd name="T8" fmla="*/ 57150 w 35"/>
                <a:gd name="T9" fmla="*/ 40005 h 25"/>
                <a:gd name="T10" fmla="*/ 28575 w 35"/>
                <a:gd name="T11" fmla="*/ 45720 h 25"/>
                <a:gd name="T12" fmla="*/ 15240 w 35"/>
                <a:gd name="T13" fmla="*/ 41910 h 25"/>
                <a:gd name="T14" fmla="*/ 28575 w 35"/>
                <a:gd name="T15" fmla="*/ 34290 h 25"/>
                <a:gd name="T16" fmla="*/ 3810 w 35"/>
                <a:gd name="T17" fmla="*/ 30480 h 25"/>
                <a:gd name="T18" fmla="*/ 5715 w 35"/>
                <a:gd name="T19" fmla="*/ 22860 h 25"/>
                <a:gd name="T20" fmla="*/ 5715 w 35"/>
                <a:gd name="T21" fmla="*/ 15240 h 25"/>
                <a:gd name="T22" fmla="*/ 13335 w 35"/>
                <a:gd name="T23" fmla="*/ 15240 h 25"/>
                <a:gd name="T24" fmla="*/ 5715 w 35"/>
                <a:gd name="T25" fmla="*/ 7620 h 25"/>
                <a:gd name="T26" fmla="*/ 11430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1" name="Freeform 1108"/>
            <p:cNvSpPr>
              <a:spLocks noChangeAspect="1"/>
            </p:cNvSpPr>
            <p:nvPr/>
          </p:nvSpPr>
          <p:spPr bwMode="auto">
            <a:xfrm>
              <a:off x="2909423" y="811034"/>
              <a:ext cx="56061" cy="11607"/>
            </a:xfrm>
            <a:custGeom>
              <a:avLst/>
              <a:gdLst>
                <a:gd name="T0" fmla="*/ 9580 w 29"/>
                <a:gd name="T1" fmla="*/ 2041 h 7"/>
                <a:gd name="T2" fmla="*/ 1916 w 29"/>
                <a:gd name="T3" fmla="*/ 6123 h 7"/>
                <a:gd name="T4" fmla="*/ 19160 w 29"/>
                <a:gd name="T5" fmla="*/ 10205 h 7"/>
                <a:gd name="T6" fmla="*/ 40235 w 29"/>
                <a:gd name="T7" fmla="*/ 12246 h 7"/>
                <a:gd name="T8" fmla="*/ 55563 w 29"/>
                <a:gd name="T9" fmla="*/ 14287 h 7"/>
                <a:gd name="T10" fmla="*/ 55563 w 29"/>
                <a:gd name="T11" fmla="*/ 10205 h 7"/>
                <a:gd name="T12" fmla="*/ 38319 w 29"/>
                <a:gd name="T13" fmla="*/ 2041 h 7"/>
                <a:gd name="T14" fmla="*/ 21076 w 29"/>
                <a:gd name="T15" fmla="*/ 4082 h 7"/>
                <a:gd name="T16" fmla="*/ 9580 w 29"/>
                <a:gd name="T17" fmla="*/ 204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2" name="Freeform 1109"/>
            <p:cNvSpPr>
              <a:spLocks noChangeAspect="1"/>
            </p:cNvSpPr>
            <p:nvPr/>
          </p:nvSpPr>
          <p:spPr bwMode="auto">
            <a:xfrm>
              <a:off x="2861371" y="809743"/>
              <a:ext cx="27230" cy="6449"/>
            </a:xfrm>
            <a:custGeom>
              <a:avLst/>
              <a:gdLst>
                <a:gd name="T0" fmla="*/ 13494 w 14"/>
                <a:gd name="T1" fmla="*/ 1985 h 4"/>
                <a:gd name="T2" fmla="*/ 25060 w 14"/>
                <a:gd name="T3" fmla="*/ 3969 h 4"/>
                <a:gd name="T4" fmla="*/ 25060 w 14"/>
                <a:gd name="T5" fmla="*/ 7938 h 4"/>
                <a:gd name="T6" fmla="*/ 7711 w 14"/>
                <a:gd name="T7" fmla="*/ 7938 h 4"/>
                <a:gd name="T8" fmla="*/ 1928 w 14"/>
                <a:gd name="T9" fmla="*/ 3969 h 4"/>
                <a:gd name="T10" fmla="*/ 13494 w 14"/>
                <a:gd name="T11" fmla="*/ 1985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3" name="Freeform 1110"/>
            <p:cNvSpPr>
              <a:spLocks noChangeAspect="1"/>
            </p:cNvSpPr>
            <p:nvPr/>
          </p:nvSpPr>
          <p:spPr bwMode="auto">
            <a:xfrm>
              <a:off x="2834142" y="814902"/>
              <a:ext cx="25627" cy="6449"/>
            </a:xfrm>
            <a:custGeom>
              <a:avLst/>
              <a:gdLst>
                <a:gd name="T0" fmla="*/ 5862 w 13"/>
                <a:gd name="T1" fmla="*/ 0 h 4"/>
                <a:gd name="T2" fmla="*/ 19538 w 13"/>
                <a:gd name="T3" fmla="*/ 1985 h 4"/>
                <a:gd name="T4" fmla="*/ 25400 w 13"/>
                <a:gd name="T5" fmla="*/ 3969 h 4"/>
                <a:gd name="T6" fmla="*/ 19538 w 13"/>
                <a:gd name="T7" fmla="*/ 7938 h 4"/>
                <a:gd name="T8" fmla="*/ 7815 w 13"/>
                <a:gd name="T9" fmla="*/ 3969 h 4"/>
                <a:gd name="T10" fmla="*/ 0 w 13"/>
                <a:gd name="T11" fmla="*/ 1985 h 4"/>
                <a:gd name="T12" fmla="*/ 5862 w 13"/>
                <a:gd name="T13" fmla="*/ 0 h 4"/>
                <a:gd name="T14" fmla="*/ 0 60000 65536"/>
                <a:gd name="T15" fmla="*/ 0 60000 65536"/>
                <a:gd name="T16" fmla="*/ 0 60000 65536"/>
                <a:gd name="T17" fmla="*/ 0 60000 65536"/>
                <a:gd name="T18" fmla="*/ 0 60000 65536"/>
                <a:gd name="T19" fmla="*/ 0 60000 65536"/>
                <a:gd name="T20" fmla="*/ 0 60000 65536"/>
                <a:gd name="T21" fmla="*/ 0 w 13"/>
                <a:gd name="T22" fmla="*/ 0 h 4"/>
                <a:gd name="T23" fmla="*/ 13 w 1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
                  <a:moveTo>
                    <a:pt x="3" y="0"/>
                  </a:moveTo>
                  <a:cubicBezTo>
                    <a:pt x="5" y="0"/>
                    <a:pt x="8" y="0"/>
                    <a:pt x="10" y="1"/>
                  </a:cubicBezTo>
                  <a:cubicBezTo>
                    <a:pt x="11" y="1"/>
                    <a:pt x="13" y="1"/>
                    <a:pt x="13" y="2"/>
                  </a:cubicBezTo>
                  <a:cubicBezTo>
                    <a:pt x="13" y="3"/>
                    <a:pt x="11" y="4"/>
                    <a:pt x="10" y="4"/>
                  </a:cubicBezTo>
                  <a:cubicBezTo>
                    <a:pt x="8" y="4"/>
                    <a:pt x="6" y="3"/>
                    <a:pt x="4" y="2"/>
                  </a:cubicBezTo>
                  <a:cubicBezTo>
                    <a:pt x="3" y="2"/>
                    <a:pt x="1" y="2"/>
                    <a:pt x="0" y="1"/>
                  </a:cubicBezTo>
                  <a:cubicBezTo>
                    <a:pt x="0" y="0"/>
                    <a:pt x="2" y="0"/>
                    <a:pt x="3"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4" name="Freeform 1111"/>
            <p:cNvSpPr>
              <a:spLocks noChangeAspect="1"/>
            </p:cNvSpPr>
            <p:nvPr/>
          </p:nvSpPr>
          <p:spPr bwMode="auto">
            <a:xfrm>
              <a:off x="3255392" y="620161"/>
              <a:ext cx="35238" cy="18056"/>
            </a:xfrm>
            <a:custGeom>
              <a:avLst/>
              <a:gdLst>
                <a:gd name="T0" fmla="*/ 1940 w 18"/>
                <a:gd name="T1" fmla="*/ 0 h 12"/>
                <a:gd name="T2" fmla="*/ 1940 w 18"/>
                <a:gd name="T3" fmla="*/ 9260 h 12"/>
                <a:gd name="T4" fmla="*/ 25224 w 18"/>
                <a:gd name="T5" fmla="*/ 18521 h 12"/>
                <a:gd name="T6" fmla="*/ 34925 w 18"/>
                <a:gd name="T7" fmla="*/ 18521 h 12"/>
                <a:gd name="T8" fmla="*/ 27164 w 18"/>
                <a:gd name="T9" fmla="*/ 12965 h 12"/>
                <a:gd name="T10" fmla="*/ 13582 w 18"/>
                <a:gd name="T11" fmla="*/ 7408 h 12"/>
                <a:gd name="T12" fmla="*/ 1940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5" name="Freeform 1112"/>
            <p:cNvSpPr>
              <a:spLocks noChangeAspect="1"/>
            </p:cNvSpPr>
            <p:nvPr/>
          </p:nvSpPr>
          <p:spPr bwMode="auto">
            <a:xfrm>
              <a:off x="3362708" y="615003"/>
              <a:ext cx="56060" cy="21924"/>
            </a:xfrm>
            <a:custGeom>
              <a:avLst/>
              <a:gdLst>
                <a:gd name="T0" fmla="*/ 3832 w 29"/>
                <a:gd name="T1" fmla="*/ 0 h 14"/>
                <a:gd name="T2" fmla="*/ 15327 w 29"/>
                <a:gd name="T3" fmla="*/ 0 h 14"/>
                <a:gd name="T4" fmla="*/ 32571 w 29"/>
                <a:gd name="T5" fmla="*/ 1928 h 14"/>
                <a:gd name="T6" fmla="*/ 53646 w 29"/>
                <a:gd name="T7" fmla="*/ 7711 h 14"/>
                <a:gd name="T8" fmla="*/ 55562 w 29"/>
                <a:gd name="T9" fmla="*/ 11566 h 14"/>
                <a:gd name="T10" fmla="*/ 45982 w 29"/>
                <a:gd name="T11" fmla="*/ 15421 h 14"/>
                <a:gd name="T12" fmla="*/ 49814 w 29"/>
                <a:gd name="T13" fmla="*/ 21204 h 14"/>
                <a:gd name="T14" fmla="*/ 44066 w 29"/>
                <a:gd name="T15" fmla="*/ 26987 h 14"/>
                <a:gd name="T16" fmla="*/ 13412 w 29"/>
                <a:gd name="T17" fmla="*/ 9638 h 14"/>
                <a:gd name="T18" fmla="*/ 1916 w 29"/>
                <a:gd name="T19" fmla="*/ 1928 h 14"/>
                <a:gd name="T20" fmla="*/ 383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6" name="Freeform 1113"/>
            <p:cNvSpPr>
              <a:spLocks noChangeAspect="1"/>
            </p:cNvSpPr>
            <p:nvPr/>
          </p:nvSpPr>
          <p:spPr bwMode="auto">
            <a:xfrm>
              <a:off x="3349894" y="602106"/>
              <a:ext cx="12814" cy="10318"/>
            </a:xfrm>
            <a:custGeom>
              <a:avLst/>
              <a:gdLst>
                <a:gd name="T0" fmla="*/ 1814 w 7"/>
                <a:gd name="T1" fmla="*/ 0 h 6"/>
                <a:gd name="T2" fmla="*/ 1814 w 7"/>
                <a:gd name="T3" fmla="*/ 8467 h 6"/>
                <a:gd name="T4" fmla="*/ 12700 w 7"/>
                <a:gd name="T5" fmla="*/ 8467 h 6"/>
                <a:gd name="T6" fmla="*/ 1814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7" name="Freeform 1114"/>
            <p:cNvSpPr>
              <a:spLocks noChangeAspect="1"/>
            </p:cNvSpPr>
            <p:nvPr/>
          </p:nvSpPr>
          <p:spPr bwMode="auto">
            <a:xfrm>
              <a:off x="3377123" y="590497"/>
              <a:ext cx="38441" cy="21925"/>
            </a:xfrm>
            <a:custGeom>
              <a:avLst/>
              <a:gdLst>
                <a:gd name="T0" fmla="*/ 1905 w 20"/>
                <a:gd name="T1" fmla="*/ 13494 h 14"/>
                <a:gd name="T2" fmla="*/ 17145 w 20"/>
                <a:gd name="T3" fmla="*/ 26988 h 14"/>
                <a:gd name="T4" fmla="*/ 36195 w 20"/>
                <a:gd name="T5" fmla="*/ 21205 h 14"/>
                <a:gd name="T6" fmla="*/ 24765 w 20"/>
                <a:gd name="T7" fmla="*/ 11566 h 14"/>
                <a:gd name="T8" fmla="*/ 17145 w 20"/>
                <a:gd name="T9" fmla="*/ 1928 h 14"/>
                <a:gd name="T10" fmla="*/ 7620 w 20"/>
                <a:gd name="T11" fmla="*/ 7711 h 14"/>
                <a:gd name="T12" fmla="*/ 13335 w 20"/>
                <a:gd name="T13" fmla="*/ 15422 h 14"/>
                <a:gd name="T14" fmla="*/ 1905 w 20"/>
                <a:gd name="T15" fmla="*/ 13494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8" name="Freeform 1115"/>
            <p:cNvSpPr>
              <a:spLocks noChangeAspect="1"/>
            </p:cNvSpPr>
            <p:nvPr/>
          </p:nvSpPr>
          <p:spPr bwMode="auto">
            <a:xfrm>
              <a:off x="3783957" y="959346"/>
              <a:ext cx="60865" cy="9029"/>
            </a:xfrm>
            <a:custGeom>
              <a:avLst/>
              <a:gdLst>
                <a:gd name="T0" fmla="*/ 7541 w 32"/>
                <a:gd name="T1" fmla="*/ 1852 h 6"/>
                <a:gd name="T2" fmla="*/ 1885 w 32"/>
                <a:gd name="T3" fmla="*/ 7409 h 6"/>
                <a:gd name="T4" fmla="*/ 22622 w 32"/>
                <a:gd name="T5" fmla="*/ 11113 h 6"/>
                <a:gd name="T6" fmla="*/ 49014 w 32"/>
                <a:gd name="T7" fmla="*/ 11113 h 6"/>
                <a:gd name="T8" fmla="*/ 58440 w 32"/>
                <a:gd name="T9" fmla="*/ 9261 h 6"/>
                <a:gd name="T10" fmla="*/ 47129 w 32"/>
                <a:gd name="T11" fmla="*/ 7409 h 6"/>
                <a:gd name="T12" fmla="*/ 22622 w 32"/>
                <a:gd name="T13" fmla="*/ 5557 h 6"/>
                <a:gd name="T14" fmla="*/ 20737 w 32"/>
                <a:gd name="T15" fmla="*/ 3704 h 6"/>
                <a:gd name="T16" fmla="*/ 45244 w 32"/>
                <a:gd name="T17" fmla="*/ 5557 h 6"/>
                <a:gd name="T18" fmla="*/ 45244 w 32"/>
                <a:gd name="T19" fmla="*/ 1852 h 6"/>
                <a:gd name="T20" fmla="*/ 22622 w 32"/>
                <a:gd name="T21" fmla="*/ 0 h 6"/>
                <a:gd name="T22" fmla="*/ 7541 w 32"/>
                <a:gd name="T23" fmla="*/ 185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29" name="Freeform 1116"/>
            <p:cNvSpPr>
              <a:spLocks noChangeAspect="1"/>
            </p:cNvSpPr>
            <p:nvPr/>
          </p:nvSpPr>
          <p:spPr bwMode="auto">
            <a:xfrm>
              <a:off x="3726296" y="1038016"/>
              <a:ext cx="64069" cy="19345"/>
            </a:xfrm>
            <a:custGeom>
              <a:avLst/>
              <a:gdLst>
                <a:gd name="T0" fmla="*/ 9621 w 33"/>
                <a:gd name="T1" fmla="*/ 16485 h 13"/>
                <a:gd name="T2" fmla="*/ 21167 w 33"/>
                <a:gd name="T3" fmla="*/ 7327 h 13"/>
                <a:gd name="T4" fmla="*/ 34636 w 33"/>
                <a:gd name="T5" fmla="*/ 5495 h 13"/>
                <a:gd name="T6" fmla="*/ 46182 w 33"/>
                <a:gd name="T7" fmla="*/ 0 h 13"/>
                <a:gd name="T8" fmla="*/ 57727 w 33"/>
                <a:gd name="T9" fmla="*/ 3663 h 13"/>
                <a:gd name="T10" fmla="*/ 53879 w 33"/>
                <a:gd name="T11" fmla="*/ 9158 h 13"/>
                <a:gd name="T12" fmla="*/ 61576 w 33"/>
                <a:gd name="T13" fmla="*/ 16485 h 13"/>
                <a:gd name="T14" fmla="*/ 40409 w 33"/>
                <a:gd name="T15" fmla="*/ 20149 h 13"/>
                <a:gd name="T16" fmla="*/ 34636 w 33"/>
                <a:gd name="T17" fmla="*/ 18317 h 13"/>
                <a:gd name="T18" fmla="*/ 23091 w 33"/>
                <a:gd name="T19" fmla="*/ 21980 h 13"/>
                <a:gd name="T20" fmla="*/ 13470 w 33"/>
                <a:gd name="T21" fmla="*/ 23812 h 13"/>
                <a:gd name="T22" fmla="*/ 1924 w 33"/>
                <a:gd name="T23" fmla="*/ 21980 h 13"/>
                <a:gd name="T24" fmla="*/ 3848 w 33"/>
                <a:gd name="T25" fmla="*/ 18317 h 13"/>
                <a:gd name="T26" fmla="*/ 9621 w 33"/>
                <a:gd name="T27" fmla="*/ 16485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0" name="Freeform 1117"/>
            <p:cNvSpPr>
              <a:spLocks noChangeAspect="1"/>
            </p:cNvSpPr>
            <p:nvPr/>
          </p:nvSpPr>
          <p:spPr bwMode="auto">
            <a:xfrm>
              <a:off x="1392602" y="1642875"/>
              <a:ext cx="94501" cy="72222"/>
            </a:xfrm>
            <a:custGeom>
              <a:avLst/>
              <a:gdLst>
                <a:gd name="T0" fmla="*/ 5734 w 49"/>
                <a:gd name="T1" fmla="*/ 1891 h 47"/>
                <a:gd name="T2" fmla="*/ 47787 w 49"/>
                <a:gd name="T3" fmla="*/ 18915 h 47"/>
                <a:gd name="T4" fmla="*/ 57344 w 49"/>
                <a:gd name="T5" fmla="*/ 20806 h 47"/>
                <a:gd name="T6" fmla="*/ 64990 w 49"/>
                <a:gd name="T7" fmla="*/ 39721 h 47"/>
                <a:gd name="T8" fmla="*/ 64990 w 49"/>
                <a:gd name="T9" fmla="*/ 47287 h 47"/>
                <a:gd name="T10" fmla="*/ 82193 w 49"/>
                <a:gd name="T11" fmla="*/ 52962 h 47"/>
                <a:gd name="T12" fmla="*/ 89839 w 49"/>
                <a:gd name="T13" fmla="*/ 73768 h 47"/>
                <a:gd name="T14" fmla="*/ 89839 w 49"/>
                <a:gd name="T15" fmla="*/ 85117 h 47"/>
                <a:gd name="T16" fmla="*/ 74547 w 49"/>
                <a:gd name="T17" fmla="*/ 87009 h 47"/>
                <a:gd name="T18" fmla="*/ 55433 w 49"/>
                <a:gd name="T19" fmla="*/ 75660 h 47"/>
                <a:gd name="T20" fmla="*/ 61167 w 49"/>
                <a:gd name="T21" fmla="*/ 66202 h 47"/>
                <a:gd name="T22" fmla="*/ 45875 w 49"/>
                <a:gd name="T23" fmla="*/ 66202 h 47"/>
                <a:gd name="T24" fmla="*/ 38229 w 49"/>
                <a:gd name="T25" fmla="*/ 60528 h 47"/>
                <a:gd name="T26" fmla="*/ 36318 w 49"/>
                <a:gd name="T27" fmla="*/ 51070 h 47"/>
                <a:gd name="T28" fmla="*/ 26761 w 49"/>
                <a:gd name="T29" fmla="*/ 43504 h 47"/>
                <a:gd name="T30" fmla="*/ 19115 w 49"/>
                <a:gd name="T31" fmla="*/ 32155 h 47"/>
                <a:gd name="T32" fmla="*/ 19115 w 49"/>
                <a:gd name="T33" fmla="*/ 24589 h 47"/>
                <a:gd name="T34" fmla="*/ 7646 w 49"/>
                <a:gd name="T35" fmla="*/ 24589 h 47"/>
                <a:gd name="T36" fmla="*/ 13380 w 49"/>
                <a:gd name="T37" fmla="*/ 15132 h 47"/>
                <a:gd name="T38" fmla="*/ 3823 w 49"/>
                <a:gd name="T39" fmla="*/ 11349 h 47"/>
                <a:gd name="T40" fmla="*/ 0 w 49"/>
                <a:gd name="T41" fmla="*/ 3783 h 47"/>
                <a:gd name="T42" fmla="*/ 5734 w 49"/>
                <a:gd name="T43" fmla="*/ 189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1" name="Freeform 1118"/>
            <p:cNvSpPr>
              <a:spLocks noChangeAspect="1"/>
            </p:cNvSpPr>
            <p:nvPr/>
          </p:nvSpPr>
          <p:spPr bwMode="auto">
            <a:xfrm>
              <a:off x="1309313" y="1551309"/>
              <a:ext cx="33636" cy="29663"/>
            </a:xfrm>
            <a:custGeom>
              <a:avLst/>
              <a:gdLst>
                <a:gd name="T0" fmla="*/ 33337 w 17"/>
                <a:gd name="T1" fmla="*/ 5765 h 19"/>
                <a:gd name="T2" fmla="*/ 25493 w 17"/>
                <a:gd name="T3" fmla="*/ 21139 h 19"/>
                <a:gd name="T4" fmla="*/ 19610 w 17"/>
                <a:gd name="T5" fmla="*/ 34590 h 19"/>
                <a:gd name="T6" fmla="*/ 7844 w 17"/>
                <a:gd name="T7" fmla="*/ 36512 h 19"/>
                <a:gd name="T8" fmla="*/ 1961 w 17"/>
                <a:gd name="T9" fmla="*/ 28825 h 19"/>
                <a:gd name="T10" fmla="*/ 3922 w 17"/>
                <a:gd name="T11" fmla="*/ 11530 h 19"/>
                <a:gd name="T12" fmla="*/ 3922 w 17"/>
                <a:gd name="T13" fmla="*/ 1922 h 19"/>
                <a:gd name="T14" fmla="*/ 23532 w 17"/>
                <a:gd name="T15" fmla="*/ 5765 h 19"/>
                <a:gd name="T16" fmla="*/ 33337 w 17"/>
                <a:gd name="T17" fmla="*/ 5765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2" name="Freeform 1119"/>
            <p:cNvSpPr>
              <a:spLocks noChangeAspect="1"/>
            </p:cNvSpPr>
            <p:nvPr/>
          </p:nvSpPr>
          <p:spPr bwMode="auto">
            <a:xfrm>
              <a:off x="1315720" y="1579681"/>
              <a:ext cx="28831" cy="34821"/>
            </a:xfrm>
            <a:custGeom>
              <a:avLst/>
              <a:gdLst>
                <a:gd name="T0" fmla="*/ 19050 w 15"/>
                <a:gd name="T1" fmla="*/ 1864 h 23"/>
                <a:gd name="T2" fmla="*/ 1905 w 15"/>
                <a:gd name="T3" fmla="*/ 5591 h 23"/>
                <a:gd name="T4" fmla="*/ 9525 w 15"/>
                <a:gd name="T5" fmla="*/ 11181 h 23"/>
                <a:gd name="T6" fmla="*/ 11430 w 15"/>
                <a:gd name="T7" fmla="*/ 24226 h 23"/>
                <a:gd name="T8" fmla="*/ 24765 w 15"/>
                <a:gd name="T9" fmla="*/ 40998 h 23"/>
                <a:gd name="T10" fmla="*/ 26670 w 15"/>
                <a:gd name="T11" fmla="*/ 37271 h 23"/>
                <a:gd name="T12" fmla="*/ 19050 w 15"/>
                <a:gd name="T13" fmla="*/ 27953 h 23"/>
                <a:gd name="T14" fmla="*/ 15240 w 15"/>
                <a:gd name="T15" fmla="*/ 11181 h 23"/>
                <a:gd name="T16" fmla="*/ 19050 w 15"/>
                <a:gd name="T17" fmla="*/ 1864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3" name="Freeform 1120"/>
            <p:cNvSpPr>
              <a:spLocks noChangeAspect="1"/>
            </p:cNvSpPr>
            <p:nvPr/>
          </p:nvSpPr>
          <p:spPr bwMode="auto">
            <a:xfrm>
              <a:off x="556509" y="1268868"/>
              <a:ext cx="65670" cy="24504"/>
            </a:xfrm>
            <a:custGeom>
              <a:avLst/>
              <a:gdLst>
                <a:gd name="T0" fmla="*/ 7657 w 34"/>
                <a:gd name="T1" fmla="*/ 3770 h 16"/>
                <a:gd name="T2" fmla="*/ 1914 w 34"/>
                <a:gd name="T3" fmla="*/ 20737 h 16"/>
                <a:gd name="T4" fmla="*/ 15315 w 34"/>
                <a:gd name="T5" fmla="*/ 20737 h 16"/>
                <a:gd name="T6" fmla="*/ 26801 w 34"/>
                <a:gd name="T7" fmla="*/ 18852 h 16"/>
                <a:gd name="T8" fmla="*/ 38286 w 34"/>
                <a:gd name="T9" fmla="*/ 24507 h 16"/>
                <a:gd name="T10" fmla="*/ 47858 w 34"/>
                <a:gd name="T11" fmla="*/ 30163 h 16"/>
                <a:gd name="T12" fmla="*/ 65087 w 34"/>
                <a:gd name="T13" fmla="*/ 20737 h 16"/>
                <a:gd name="T14" fmla="*/ 47858 w 34"/>
                <a:gd name="T15" fmla="*/ 13196 h 16"/>
                <a:gd name="T16" fmla="*/ 44029 w 34"/>
                <a:gd name="T17" fmla="*/ 7541 h 16"/>
                <a:gd name="T18" fmla="*/ 36372 w 34"/>
                <a:gd name="T19" fmla="*/ 7541 h 16"/>
                <a:gd name="T20" fmla="*/ 24886 w 34"/>
                <a:gd name="T21" fmla="*/ 13196 h 16"/>
                <a:gd name="T22" fmla="*/ 11486 w 34"/>
                <a:gd name="T23" fmla="*/ 13196 h 16"/>
                <a:gd name="T24" fmla="*/ 7657 w 34"/>
                <a:gd name="T25" fmla="*/ 377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4" name="Freeform 1121"/>
            <p:cNvSpPr>
              <a:spLocks noChangeAspect="1"/>
            </p:cNvSpPr>
            <p:nvPr/>
          </p:nvSpPr>
          <p:spPr bwMode="auto">
            <a:xfrm>
              <a:off x="1307711" y="1493273"/>
              <a:ext cx="35238" cy="46429"/>
            </a:xfrm>
            <a:custGeom>
              <a:avLst/>
              <a:gdLst>
                <a:gd name="T0" fmla="*/ 21343 w 18"/>
                <a:gd name="T1" fmla="*/ 5715 h 30"/>
                <a:gd name="T2" fmla="*/ 32985 w 18"/>
                <a:gd name="T3" fmla="*/ 26670 h 30"/>
                <a:gd name="T4" fmla="*/ 34925 w 18"/>
                <a:gd name="T5" fmla="*/ 49530 h 30"/>
                <a:gd name="T6" fmla="*/ 31044 w 18"/>
                <a:gd name="T7" fmla="*/ 55245 h 30"/>
                <a:gd name="T8" fmla="*/ 19403 w 18"/>
                <a:gd name="T9" fmla="*/ 41910 h 30"/>
                <a:gd name="T10" fmla="*/ 11642 w 18"/>
                <a:gd name="T11" fmla="*/ 38100 h 30"/>
                <a:gd name="T12" fmla="*/ 15522 w 18"/>
                <a:gd name="T13" fmla="*/ 26670 h 30"/>
                <a:gd name="T14" fmla="*/ 9701 w 18"/>
                <a:gd name="T15" fmla="*/ 22860 h 30"/>
                <a:gd name="T16" fmla="*/ 17463 w 18"/>
                <a:gd name="T17" fmla="*/ 13335 h 30"/>
                <a:gd name="T18" fmla="*/ 1940 w 18"/>
                <a:gd name="T19" fmla="*/ 15240 h 30"/>
                <a:gd name="T20" fmla="*/ 9701 w 18"/>
                <a:gd name="T21" fmla="*/ 1905 h 30"/>
                <a:gd name="T22" fmla="*/ 21343 w 18"/>
                <a:gd name="T23" fmla="*/ 5715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5" name="Freeform 1122"/>
            <p:cNvSpPr>
              <a:spLocks noChangeAspect="1"/>
            </p:cNvSpPr>
            <p:nvPr/>
          </p:nvSpPr>
          <p:spPr bwMode="auto">
            <a:xfrm>
              <a:off x="1317321" y="1472637"/>
              <a:ext cx="28831" cy="20635"/>
            </a:xfrm>
            <a:custGeom>
              <a:avLst/>
              <a:gdLst>
                <a:gd name="T0" fmla="*/ 1905 w 15"/>
                <a:gd name="T1" fmla="*/ 3908 h 13"/>
                <a:gd name="T2" fmla="*/ 1905 w 15"/>
                <a:gd name="T3" fmla="*/ 23446 h 13"/>
                <a:gd name="T4" fmla="*/ 15240 w 15"/>
                <a:gd name="T5" fmla="*/ 21492 h 13"/>
                <a:gd name="T6" fmla="*/ 15240 w 15"/>
                <a:gd name="T7" fmla="*/ 15631 h 13"/>
                <a:gd name="T8" fmla="*/ 22860 w 15"/>
                <a:gd name="T9" fmla="*/ 19538 h 13"/>
                <a:gd name="T10" fmla="*/ 26670 w 15"/>
                <a:gd name="T11" fmla="*/ 19538 h 13"/>
                <a:gd name="T12" fmla="*/ 19050 w 15"/>
                <a:gd name="T13" fmla="*/ 7815 h 13"/>
                <a:gd name="T14" fmla="*/ 9525 w 15"/>
                <a:gd name="T15" fmla="*/ 5862 h 13"/>
                <a:gd name="T16" fmla="*/ 1905 w 15"/>
                <a:gd name="T17" fmla="*/ 390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6" name="Freeform 1123"/>
            <p:cNvSpPr>
              <a:spLocks noChangeAspect="1"/>
            </p:cNvSpPr>
            <p:nvPr/>
          </p:nvSpPr>
          <p:spPr bwMode="auto">
            <a:xfrm>
              <a:off x="1301304" y="1477797"/>
              <a:ext cx="14416" cy="23214"/>
            </a:xfrm>
            <a:custGeom>
              <a:avLst/>
              <a:gdLst>
                <a:gd name="T0" fmla="*/ 6123 w 7"/>
                <a:gd name="T1" fmla="*/ 1905 h 15"/>
                <a:gd name="T2" fmla="*/ 4082 w 7"/>
                <a:gd name="T3" fmla="*/ 17145 h 15"/>
                <a:gd name="T4" fmla="*/ 4082 w 7"/>
                <a:gd name="T5" fmla="*/ 28575 h 15"/>
                <a:gd name="T6" fmla="*/ 12247 w 7"/>
                <a:gd name="T7" fmla="*/ 17145 h 15"/>
                <a:gd name="T8" fmla="*/ 12247 w 7"/>
                <a:gd name="T9" fmla="*/ 7620 h 15"/>
                <a:gd name="T10" fmla="*/ 10206 w 7"/>
                <a:gd name="T11" fmla="*/ 1905 h 15"/>
                <a:gd name="T12" fmla="*/ 6123 w 7"/>
                <a:gd name="T13" fmla="*/ 1905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7" name="Freeform 1124"/>
            <p:cNvSpPr>
              <a:spLocks noChangeAspect="1"/>
            </p:cNvSpPr>
            <p:nvPr/>
          </p:nvSpPr>
          <p:spPr bwMode="auto">
            <a:xfrm>
              <a:off x="1285287" y="1464900"/>
              <a:ext cx="16017" cy="30953"/>
            </a:xfrm>
            <a:custGeom>
              <a:avLst/>
              <a:gdLst>
                <a:gd name="T0" fmla="*/ 1764 w 9"/>
                <a:gd name="T1" fmla="*/ 0 h 20"/>
                <a:gd name="T2" fmla="*/ 1764 w 9"/>
                <a:gd name="T3" fmla="*/ 5715 h 20"/>
                <a:gd name="T4" fmla="*/ 5292 w 9"/>
                <a:gd name="T5" fmla="*/ 26670 h 20"/>
                <a:gd name="T6" fmla="*/ 8819 w 9"/>
                <a:gd name="T7" fmla="*/ 38100 h 20"/>
                <a:gd name="T8" fmla="*/ 15875 w 9"/>
                <a:gd name="T9" fmla="*/ 24765 h 20"/>
                <a:gd name="T10" fmla="*/ 12347 w 9"/>
                <a:gd name="T11" fmla="*/ 5715 h 20"/>
                <a:gd name="T12" fmla="*/ 7056 w 9"/>
                <a:gd name="T13" fmla="*/ 1905 h 20"/>
                <a:gd name="T14" fmla="*/ 1764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8" name="Freeform 1125"/>
            <p:cNvSpPr>
              <a:spLocks noChangeAspect="1"/>
            </p:cNvSpPr>
            <p:nvPr/>
          </p:nvSpPr>
          <p:spPr bwMode="auto">
            <a:xfrm>
              <a:off x="1267668" y="1444265"/>
              <a:ext cx="38441" cy="23214"/>
            </a:xfrm>
            <a:custGeom>
              <a:avLst/>
              <a:gdLst>
                <a:gd name="T0" fmla="*/ 1905 w 20"/>
                <a:gd name="T1" fmla="*/ 3810 h 15"/>
                <a:gd name="T2" fmla="*/ 1905 w 20"/>
                <a:gd name="T3" fmla="*/ 9525 h 15"/>
                <a:gd name="T4" fmla="*/ 15240 w 20"/>
                <a:gd name="T5" fmla="*/ 26670 h 15"/>
                <a:gd name="T6" fmla="*/ 17145 w 20"/>
                <a:gd name="T7" fmla="*/ 20955 h 15"/>
                <a:gd name="T8" fmla="*/ 17145 w 20"/>
                <a:gd name="T9" fmla="*/ 17145 h 15"/>
                <a:gd name="T10" fmla="*/ 34290 w 20"/>
                <a:gd name="T11" fmla="*/ 22860 h 15"/>
                <a:gd name="T12" fmla="*/ 34290 w 20"/>
                <a:gd name="T13" fmla="*/ 15240 h 15"/>
                <a:gd name="T14" fmla="*/ 20955 w 20"/>
                <a:gd name="T15" fmla="*/ 9525 h 15"/>
                <a:gd name="T16" fmla="*/ 26670 w 20"/>
                <a:gd name="T17" fmla="*/ 9525 h 15"/>
                <a:gd name="T18" fmla="*/ 36195 w 20"/>
                <a:gd name="T19" fmla="*/ 11430 h 15"/>
                <a:gd name="T20" fmla="*/ 34290 w 20"/>
                <a:gd name="T21" fmla="*/ 3810 h 15"/>
                <a:gd name="T22" fmla="*/ 20955 w 20"/>
                <a:gd name="T23" fmla="*/ 0 h 15"/>
                <a:gd name="T24" fmla="*/ 7620 w 20"/>
                <a:gd name="T25" fmla="*/ 3810 h 15"/>
                <a:gd name="T26" fmla="*/ 1905 w 20"/>
                <a:gd name="T27" fmla="*/ 381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39" name="Freeform 1126"/>
            <p:cNvSpPr>
              <a:spLocks noChangeAspect="1"/>
            </p:cNvSpPr>
            <p:nvPr/>
          </p:nvSpPr>
          <p:spPr bwMode="auto">
            <a:xfrm>
              <a:off x="1354160" y="1503590"/>
              <a:ext cx="19221" cy="21925"/>
            </a:xfrm>
            <a:custGeom>
              <a:avLst/>
              <a:gdLst>
                <a:gd name="T0" fmla="*/ 5715 w 10"/>
                <a:gd name="T1" fmla="*/ 5783 h 14"/>
                <a:gd name="T2" fmla="*/ 1905 w 10"/>
                <a:gd name="T3" fmla="*/ 19277 h 14"/>
                <a:gd name="T4" fmla="*/ 13335 w 10"/>
                <a:gd name="T5" fmla="*/ 25060 h 14"/>
                <a:gd name="T6" fmla="*/ 19050 w 10"/>
                <a:gd name="T7" fmla="*/ 9639 h 14"/>
                <a:gd name="T8" fmla="*/ 17145 w 10"/>
                <a:gd name="T9" fmla="*/ 1928 h 14"/>
                <a:gd name="T10" fmla="*/ 5715 w 10"/>
                <a:gd name="T11" fmla="*/ 5783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0" name="Freeform 1127"/>
            <p:cNvSpPr>
              <a:spLocks noChangeAspect="1"/>
            </p:cNvSpPr>
            <p:nvPr/>
          </p:nvSpPr>
          <p:spPr bwMode="auto">
            <a:xfrm>
              <a:off x="1334940" y="1494562"/>
              <a:ext cx="11212" cy="10318"/>
            </a:xfrm>
            <a:custGeom>
              <a:avLst/>
              <a:gdLst>
                <a:gd name="T0" fmla="*/ 5556 w 6"/>
                <a:gd name="T1" fmla="*/ 1814 h 7"/>
                <a:gd name="T2" fmla="*/ 0 w 6"/>
                <a:gd name="T3" fmla="*/ 5443 h 7"/>
                <a:gd name="T4" fmla="*/ 5556 w 6"/>
                <a:gd name="T5" fmla="*/ 10886 h 7"/>
                <a:gd name="T6" fmla="*/ 11112 w 6"/>
                <a:gd name="T7" fmla="*/ 7257 h 7"/>
                <a:gd name="T8" fmla="*/ 5556 w 6"/>
                <a:gd name="T9" fmla="*/ 1814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3" y="1"/>
                  </a:moveTo>
                  <a:cubicBezTo>
                    <a:pt x="2" y="0"/>
                    <a:pt x="0" y="2"/>
                    <a:pt x="0" y="3"/>
                  </a:cubicBezTo>
                  <a:cubicBezTo>
                    <a:pt x="0" y="4"/>
                    <a:pt x="2" y="6"/>
                    <a:pt x="3" y="6"/>
                  </a:cubicBezTo>
                  <a:cubicBezTo>
                    <a:pt x="4" y="7"/>
                    <a:pt x="6" y="5"/>
                    <a:pt x="6" y="4"/>
                  </a:cubicBezTo>
                  <a:cubicBezTo>
                    <a:pt x="6" y="2"/>
                    <a:pt x="5" y="1"/>
                    <a:pt x="3"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1" name="Freeform 1128"/>
            <p:cNvSpPr>
              <a:spLocks noChangeAspect="1"/>
            </p:cNvSpPr>
            <p:nvPr/>
          </p:nvSpPr>
          <p:spPr bwMode="auto">
            <a:xfrm>
              <a:off x="1037022" y="1377201"/>
              <a:ext cx="28831" cy="19346"/>
            </a:xfrm>
            <a:custGeom>
              <a:avLst/>
              <a:gdLst>
                <a:gd name="T0" fmla="*/ 1905 w 15"/>
                <a:gd name="T1" fmla="*/ 18318 h 13"/>
                <a:gd name="T2" fmla="*/ 7620 w 15"/>
                <a:gd name="T3" fmla="*/ 23813 h 13"/>
                <a:gd name="T4" fmla="*/ 28575 w 15"/>
                <a:gd name="T5" fmla="*/ 1832 h 13"/>
                <a:gd name="T6" fmla="*/ 26670 w 15"/>
                <a:gd name="T7" fmla="*/ 0 h 13"/>
                <a:gd name="T8" fmla="*/ 1905 w 15"/>
                <a:gd name="T9" fmla="*/ 18318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2" name="Freeform 1129"/>
            <p:cNvSpPr>
              <a:spLocks noChangeAspect="1"/>
            </p:cNvSpPr>
            <p:nvPr/>
          </p:nvSpPr>
          <p:spPr bwMode="auto">
            <a:xfrm>
              <a:off x="854427" y="1452002"/>
              <a:ext cx="65670" cy="33532"/>
            </a:xfrm>
            <a:custGeom>
              <a:avLst/>
              <a:gdLst>
                <a:gd name="T0" fmla="*/ 1914 w 34"/>
                <a:gd name="T1" fmla="*/ 11793 h 21"/>
                <a:gd name="T2" fmla="*/ 0 w 34"/>
                <a:gd name="T3" fmla="*/ 21620 h 21"/>
                <a:gd name="T4" fmla="*/ 3829 w 34"/>
                <a:gd name="T5" fmla="*/ 31448 h 21"/>
                <a:gd name="T6" fmla="*/ 3829 w 34"/>
                <a:gd name="T7" fmla="*/ 41275 h 21"/>
                <a:gd name="T8" fmla="*/ 13400 w 34"/>
                <a:gd name="T9" fmla="*/ 35379 h 21"/>
                <a:gd name="T10" fmla="*/ 22972 w 34"/>
                <a:gd name="T11" fmla="*/ 39310 h 21"/>
                <a:gd name="T12" fmla="*/ 40201 w 34"/>
                <a:gd name="T13" fmla="*/ 25551 h 21"/>
                <a:gd name="T14" fmla="*/ 61258 w 34"/>
                <a:gd name="T15" fmla="*/ 15724 h 21"/>
                <a:gd name="T16" fmla="*/ 59344 w 34"/>
                <a:gd name="T17" fmla="*/ 1965 h 21"/>
                <a:gd name="T18" fmla="*/ 47858 w 34"/>
                <a:gd name="T19" fmla="*/ 1965 h 21"/>
                <a:gd name="T20" fmla="*/ 36372 w 34"/>
                <a:gd name="T21" fmla="*/ 5896 h 21"/>
                <a:gd name="T22" fmla="*/ 28715 w 34"/>
                <a:gd name="T23" fmla="*/ 1965 h 21"/>
                <a:gd name="T24" fmla="*/ 24886 w 34"/>
                <a:gd name="T25" fmla="*/ 13758 h 21"/>
                <a:gd name="T26" fmla="*/ 21058 w 34"/>
                <a:gd name="T27" fmla="*/ 19655 h 21"/>
                <a:gd name="T28" fmla="*/ 21058 w 34"/>
                <a:gd name="T29" fmla="*/ 9827 h 21"/>
                <a:gd name="T30" fmla="*/ 9572 w 34"/>
                <a:gd name="T31" fmla="*/ 9827 h 21"/>
                <a:gd name="T32" fmla="*/ 1914 w 34"/>
                <a:gd name="T33" fmla="*/ 11793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3" name="Freeform 1130"/>
            <p:cNvSpPr>
              <a:spLocks noChangeAspect="1"/>
            </p:cNvSpPr>
            <p:nvPr/>
          </p:nvSpPr>
          <p:spPr bwMode="auto">
            <a:xfrm>
              <a:off x="900876" y="1436526"/>
              <a:ext cx="30433" cy="14187"/>
            </a:xfrm>
            <a:custGeom>
              <a:avLst/>
              <a:gdLst>
                <a:gd name="T0" fmla="*/ 18852 w 16"/>
                <a:gd name="T1" fmla="*/ 0 h 9"/>
                <a:gd name="T2" fmla="*/ 1885 w 16"/>
                <a:gd name="T3" fmla="*/ 11642 h 9"/>
                <a:gd name="T4" fmla="*/ 9426 w 16"/>
                <a:gd name="T5" fmla="*/ 17463 h 9"/>
                <a:gd name="T6" fmla="*/ 28278 w 16"/>
                <a:gd name="T7" fmla="*/ 9702 h 9"/>
                <a:gd name="T8" fmla="*/ 20737 w 16"/>
                <a:gd name="T9" fmla="*/ 3881 h 9"/>
                <a:gd name="T10" fmla="*/ 1885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4" name="Freeform 1131"/>
            <p:cNvSpPr>
              <a:spLocks noChangeAspect="1"/>
            </p:cNvSpPr>
            <p:nvPr/>
          </p:nvSpPr>
          <p:spPr bwMode="auto">
            <a:xfrm>
              <a:off x="598153" y="1529383"/>
              <a:ext cx="36839" cy="19346"/>
            </a:xfrm>
            <a:custGeom>
              <a:avLst/>
              <a:gdLst>
                <a:gd name="T0" fmla="*/ 36512 w 19"/>
                <a:gd name="T1" fmla="*/ 0 h 12"/>
                <a:gd name="T2" fmla="*/ 36512 w 19"/>
                <a:gd name="T3" fmla="*/ 11907 h 12"/>
                <a:gd name="T4" fmla="*/ 15373 w 19"/>
                <a:gd name="T5" fmla="*/ 15875 h 12"/>
                <a:gd name="T6" fmla="*/ 3843 w 19"/>
                <a:gd name="T7" fmla="*/ 23813 h 12"/>
                <a:gd name="T8" fmla="*/ 1922 w 19"/>
                <a:gd name="T9" fmla="*/ 17860 h 12"/>
                <a:gd name="T10" fmla="*/ 13452 w 19"/>
                <a:gd name="T11" fmla="*/ 5953 h 12"/>
                <a:gd name="T12" fmla="*/ 24982 w 19"/>
                <a:gd name="T13" fmla="*/ 3969 h 12"/>
                <a:gd name="T14" fmla="*/ 36512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5" name="Freeform 1132"/>
            <p:cNvSpPr>
              <a:spLocks noChangeAspect="1"/>
            </p:cNvSpPr>
            <p:nvPr/>
          </p:nvSpPr>
          <p:spPr bwMode="auto">
            <a:xfrm>
              <a:off x="521271" y="1555176"/>
              <a:ext cx="40042" cy="23214"/>
            </a:xfrm>
            <a:custGeom>
              <a:avLst/>
              <a:gdLst>
                <a:gd name="T0" fmla="*/ 37797 w 21"/>
                <a:gd name="T1" fmla="*/ 11430 h 15"/>
                <a:gd name="T2" fmla="*/ 1890 w 21"/>
                <a:gd name="T3" fmla="*/ 26670 h 15"/>
                <a:gd name="T4" fmla="*/ 3780 w 21"/>
                <a:gd name="T5" fmla="*/ 20955 h 15"/>
                <a:gd name="T6" fmla="*/ 17009 w 21"/>
                <a:gd name="T7" fmla="*/ 15240 h 15"/>
                <a:gd name="T8" fmla="*/ 26458 w 21"/>
                <a:gd name="T9" fmla="*/ 9525 h 15"/>
                <a:gd name="T10" fmla="*/ 17009 w 21"/>
                <a:gd name="T11" fmla="*/ 3810 h 15"/>
                <a:gd name="T12" fmla="*/ 34017 w 21"/>
                <a:gd name="T13" fmla="*/ 1905 h 15"/>
                <a:gd name="T14" fmla="*/ 32128 w 21"/>
                <a:gd name="T15" fmla="*/ 9525 h 15"/>
                <a:gd name="T16" fmla="*/ 37797 w 21"/>
                <a:gd name="T17" fmla="*/ 1143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6" name="Freeform 1133"/>
            <p:cNvSpPr>
              <a:spLocks noChangeAspect="1"/>
            </p:cNvSpPr>
            <p:nvPr/>
          </p:nvSpPr>
          <p:spPr bwMode="auto">
            <a:xfrm>
              <a:off x="489236" y="1564205"/>
              <a:ext cx="32034" cy="21924"/>
            </a:xfrm>
            <a:custGeom>
              <a:avLst/>
              <a:gdLst>
                <a:gd name="T0" fmla="*/ 0 w 17"/>
                <a:gd name="T1" fmla="*/ 26987 h 14"/>
                <a:gd name="T2" fmla="*/ 18676 w 17"/>
                <a:gd name="T3" fmla="*/ 13494 h 14"/>
                <a:gd name="T4" fmla="*/ 31750 w 17"/>
                <a:gd name="T5" fmla="*/ 3855 h 14"/>
                <a:gd name="T6" fmla="*/ 22412 w 17"/>
                <a:gd name="T7" fmla="*/ 1928 h 14"/>
                <a:gd name="T8" fmla="*/ 18676 w 17"/>
                <a:gd name="T9" fmla="*/ 13494 h 14"/>
                <a:gd name="T10" fmla="*/ 9338 w 17"/>
                <a:gd name="T11" fmla="*/ 13494 h 14"/>
                <a:gd name="T12" fmla="*/ 0 w 17"/>
                <a:gd name="T13" fmla="*/ 2698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7" name="Freeform 1140"/>
            <p:cNvSpPr>
              <a:spLocks noChangeAspect="1"/>
            </p:cNvSpPr>
            <p:nvPr/>
          </p:nvSpPr>
          <p:spPr bwMode="auto">
            <a:xfrm>
              <a:off x="612568" y="1374622"/>
              <a:ext cx="38441" cy="21925"/>
            </a:xfrm>
            <a:custGeom>
              <a:avLst/>
              <a:gdLst>
                <a:gd name="T0" fmla="*/ 1905 w 20"/>
                <a:gd name="T1" fmla="*/ 7711 h 14"/>
                <a:gd name="T2" fmla="*/ 1905 w 20"/>
                <a:gd name="T3" fmla="*/ 15422 h 14"/>
                <a:gd name="T4" fmla="*/ 19050 w 20"/>
                <a:gd name="T5" fmla="*/ 26988 h 14"/>
                <a:gd name="T6" fmla="*/ 26670 w 20"/>
                <a:gd name="T7" fmla="*/ 21205 h 14"/>
                <a:gd name="T8" fmla="*/ 32385 w 20"/>
                <a:gd name="T9" fmla="*/ 21205 h 14"/>
                <a:gd name="T10" fmla="*/ 38100 w 20"/>
                <a:gd name="T11" fmla="*/ 3855 h 14"/>
                <a:gd name="T12" fmla="*/ 32385 w 20"/>
                <a:gd name="T13" fmla="*/ 1928 h 14"/>
                <a:gd name="T14" fmla="*/ 17145 w 20"/>
                <a:gd name="T15" fmla="*/ 9639 h 14"/>
                <a:gd name="T16" fmla="*/ 1905 w 20"/>
                <a:gd name="T17" fmla="*/ 77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8" name="Freeform 1141"/>
            <p:cNvSpPr>
              <a:spLocks noChangeAspect="1"/>
            </p:cNvSpPr>
            <p:nvPr/>
          </p:nvSpPr>
          <p:spPr bwMode="auto">
            <a:xfrm>
              <a:off x="473220" y="2361226"/>
              <a:ext cx="17618" cy="12897"/>
            </a:xfrm>
            <a:custGeom>
              <a:avLst/>
              <a:gdLst>
                <a:gd name="T0" fmla="*/ 1940 w 9"/>
                <a:gd name="T1" fmla="*/ 1984 h 8"/>
                <a:gd name="T2" fmla="*/ 1940 w 9"/>
                <a:gd name="T3" fmla="*/ 11906 h 8"/>
                <a:gd name="T4" fmla="*/ 11641 w 9"/>
                <a:gd name="T5" fmla="*/ 13891 h 8"/>
                <a:gd name="T6" fmla="*/ 13582 w 9"/>
                <a:gd name="T7" fmla="*/ 3969 h 8"/>
                <a:gd name="T8" fmla="*/ 1940 w 9"/>
                <a:gd name="T9" fmla="*/ 1984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1" y="1"/>
                  </a:moveTo>
                  <a:cubicBezTo>
                    <a:pt x="0" y="2"/>
                    <a:pt x="0" y="5"/>
                    <a:pt x="1" y="6"/>
                  </a:cubicBezTo>
                  <a:cubicBezTo>
                    <a:pt x="2" y="7"/>
                    <a:pt x="5" y="8"/>
                    <a:pt x="6" y="7"/>
                  </a:cubicBezTo>
                  <a:cubicBezTo>
                    <a:pt x="8" y="6"/>
                    <a:pt x="9" y="3"/>
                    <a:pt x="7" y="2"/>
                  </a:cubicBezTo>
                  <a:cubicBezTo>
                    <a:pt x="6" y="0"/>
                    <a:pt x="3" y="0"/>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49" name="Freeform 1142"/>
            <p:cNvSpPr>
              <a:spLocks noChangeAspect="1"/>
            </p:cNvSpPr>
            <p:nvPr/>
          </p:nvSpPr>
          <p:spPr bwMode="auto">
            <a:xfrm>
              <a:off x="508457" y="2374123"/>
              <a:ext cx="19221" cy="10318"/>
            </a:xfrm>
            <a:custGeom>
              <a:avLst/>
              <a:gdLst>
                <a:gd name="T0" fmla="*/ 1905 w 10"/>
                <a:gd name="T1" fmla="*/ 3629 h 7"/>
                <a:gd name="T2" fmla="*/ 11430 w 10"/>
                <a:gd name="T3" fmla="*/ 0 h 7"/>
                <a:gd name="T4" fmla="*/ 19050 w 10"/>
                <a:gd name="T5" fmla="*/ 10886 h 7"/>
                <a:gd name="T6" fmla="*/ 9525 w 10"/>
                <a:gd name="T7" fmla="*/ 10886 h 7"/>
                <a:gd name="T8" fmla="*/ 1905 w 10"/>
                <a:gd name="T9" fmla="*/ 3629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1" y="2"/>
                  </a:moveTo>
                  <a:cubicBezTo>
                    <a:pt x="1" y="0"/>
                    <a:pt x="4" y="0"/>
                    <a:pt x="6" y="0"/>
                  </a:cubicBezTo>
                  <a:cubicBezTo>
                    <a:pt x="8" y="1"/>
                    <a:pt x="10" y="4"/>
                    <a:pt x="10" y="6"/>
                  </a:cubicBezTo>
                  <a:cubicBezTo>
                    <a:pt x="10" y="7"/>
                    <a:pt x="7" y="6"/>
                    <a:pt x="5" y="6"/>
                  </a:cubicBezTo>
                  <a:cubicBezTo>
                    <a:pt x="3" y="5"/>
                    <a:pt x="0" y="4"/>
                    <a:pt x="1"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0" name="Freeform 1143"/>
            <p:cNvSpPr>
              <a:spLocks noChangeAspect="1"/>
            </p:cNvSpPr>
            <p:nvPr/>
          </p:nvSpPr>
          <p:spPr bwMode="auto">
            <a:xfrm>
              <a:off x="543696" y="2390888"/>
              <a:ext cx="17618" cy="10318"/>
            </a:xfrm>
            <a:custGeom>
              <a:avLst/>
              <a:gdLst>
                <a:gd name="T0" fmla="*/ 1940 w 9"/>
                <a:gd name="T1" fmla="*/ 1814 h 7"/>
                <a:gd name="T2" fmla="*/ 11641 w 9"/>
                <a:gd name="T3" fmla="*/ 3629 h 7"/>
                <a:gd name="T4" fmla="*/ 17462 w 9"/>
                <a:gd name="T5" fmla="*/ 10886 h 7"/>
                <a:gd name="T6" fmla="*/ 5821 w 9"/>
                <a:gd name="T7" fmla="*/ 12700 h 7"/>
                <a:gd name="T8" fmla="*/ 1940 w 9"/>
                <a:gd name="T9" fmla="*/ 7257 h 7"/>
                <a:gd name="T10" fmla="*/ 1940 w 9"/>
                <a:gd name="T11" fmla="*/ 1814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1" y="1"/>
                  </a:moveTo>
                  <a:cubicBezTo>
                    <a:pt x="3" y="0"/>
                    <a:pt x="4" y="1"/>
                    <a:pt x="6" y="2"/>
                  </a:cubicBezTo>
                  <a:cubicBezTo>
                    <a:pt x="7" y="3"/>
                    <a:pt x="9" y="4"/>
                    <a:pt x="9" y="6"/>
                  </a:cubicBezTo>
                  <a:cubicBezTo>
                    <a:pt x="8" y="7"/>
                    <a:pt x="5" y="7"/>
                    <a:pt x="3" y="7"/>
                  </a:cubicBezTo>
                  <a:cubicBezTo>
                    <a:pt x="2" y="6"/>
                    <a:pt x="2" y="5"/>
                    <a:pt x="1" y="4"/>
                  </a:cubicBezTo>
                  <a:cubicBezTo>
                    <a:pt x="1" y="3"/>
                    <a:pt x="0" y="1"/>
                    <a:pt x="1" y="1"/>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1" name="Freeform 1144"/>
            <p:cNvSpPr>
              <a:spLocks noChangeAspect="1"/>
            </p:cNvSpPr>
            <p:nvPr/>
          </p:nvSpPr>
          <p:spPr bwMode="auto">
            <a:xfrm>
              <a:off x="553305" y="2410234"/>
              <a:ext cx="33636" cy="29663"/>
            </a:xfrm>
            <a:custGeom>
              <a:avLst/>
              <a:gdLst>
                <a:gd name="T0" fmla="*/ 7844 w 17"/>
                <a:gd name="T1" fmla="*/ 0 h 19"/>
                <a:gd name="T2" fmla="*/ 9805 w 17"/>
                <a:gd name="T3" fmla="*/ 5765 h 19"/>
                <a:gd name="T4" fmla="*/ 0 w 17"/>
                <a:gd name="T5" fmla="*/ 15373 h 19"/>
                <a:gd name="T6" fmla="*/ 5883 w 17"/>
                <a:gd name="T7" fmla="*/ 24982 h 19"/>
                <a:gd name="T8" fmla="*/ 5883 w 17"/>
                <a:gd name="T9" fmla="*/ 36512 h 19"/>
                <a:gd name="T10" fmla="*/ 21571 w 17"/>
                <a:gd name="T11" fmla="*/ 26904 h 19"/>
                <a:gd name="T12" fmla="*/ 31376 w 17"/>
                <a:gd name="T13" fmla="*/ 19217 h 19"/>
                <a:gd name="T14" fmla="*/ 27454 w 17"/>
                <a:gd name="T15" fmla="*/ 13452 h 19"/>
                <a:gd name="T16" fmla="*/ 25493 w 17"/>
                <a:gd name="T17" fmla="*/ 7687 h 19"/>
                <a:gd name="T18" fmla="*/ 7844 w 17"/>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9"/>
                <a:gd name="T32" fmla="*/ 17 w 17"/>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9">
                  <a:moveTo>
                    <a:pt x="4" y="0"/>
                  </a:moveTo>
                  <a:cubicBezTo>
                    <a:pt x="3" y="0"/>
                    <a:pt x="5" y="2"/>
                    <a:pt x="5" y="3"/>
                  </a:cubicBezTo>
                  <a:cubicBezTo>
                    <a:pt x="4" y="5"/>
                    <a:pt x="1" y="6"/>
                    <a:pt x="0" y="8"/>
                  </a:cubicBezTo>
                  <a:cubicBezTo>
                    <a:pt x="0" y="10"/>
                    <a:pt x="2" y="11"/>
                    <a:pt x="3" y="13"/>
                  </a:cubicBezTo>
                  <a:cubicBezTo>
                    <a:pt x="3" y="15"/>
                    <a:pt x="2" y="19"/>
                    <a:pt x="3" y="19"/>
                  </a:cubicBezTo>
                  <a:cubicBezTo>
                    <a:pt x="6" y="19"/>
                    <a:pt x="8" y="16"/>
                    <a:pt x="11" y="14"/>
                  </a:cubicBezTo>
                  <a:cubicBezTo>
                    <a:pt x="13" y="13"/>
                    <a:pt x="15" y="12"/>
                    <a:pt x="16" y="10"/>
                  </a:cubicBezTo>
                  <a:cubicBezTo>
                    <a:pt x="17" y="9"/>
                    <a:pt x="15" y="8"/>
                    <a:pt x="14" y="7"/>
                  </a:cubicBezTo>
                  <a:cubicBezTo>
                    <a:pt x="14" y="6"/>
                    <a:pt x="14" y="4"/>
                    <a:pt x="13" y="4"/>
                  </a:cubicBezTo>
                  <a:cubicBezTo>
                    <a:pt x="10" y="2"/>
                    <a:pt x="8" y="0"/>
                    <a:pt x="4" y="0"/>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2" name="Freeform 1145"/>
            <p:cNvSpPr>
              <a:spLocks noChangeAspect="1"/>
            </p:cNvSpPr>
            <p:nvPr/>
          </p:nvSpPr>
          <p:spPr bwMode="auto">
            <a:xfrm>
              <a:off x="2941457" y="4093264"/>
              <a:ext cx="38441" cy="24504"/>
            </a:xfrm>
            <a:custGeom>
              <a:avLst/>
              <a:gdLst>
                <a:gd name="T0" fmla="*/ 11430 w 20"/>
                <a:gd name="T1" fmla="*/ 28278 h 16"/>
                <a:gd name="T2" fmla="*/ 36195 w 20"/>
                <a:gd name="T3" fmla="*/ 3770 h 16"/>
                <a:gd name="T4" fmla="*/ 32385 w 20"/>
                <a:gd name="T5" fmla="*/ 0 h 16"/>
                <a:gd name="T6" fmla="*/ 20955 w 20"/>
                <a:gd name="T7" fmla="*/ 3770 h 16"/>
                <a:gd name="T8" fmla="*/ 11430 w 20"/>
                <a:gd name="T9" fmla="*/ 1885 h 16"/>
                <a:gd name="T10" fmla="*/ 11430 w 20"/>
                <a:gd name="T11" fmla="*/ 5656 h 16"/>
                <a:gd name="T12" fmla="*/ 7620 w 20"/>
                <a:gd name="T13" fmla="*/ 9426 h 16"/>
                <a:gd name="T14" fmla="*/ 17145 w 20"/>
                <a:gd name="T15" fmla="*/ 11311 h 16"/>
                <a:gd name="T16" fmla="*/ 9525 w 20"/>
                <a:gd name="T17" fmla="*/ 18852 h 16"/>
                <a:gd name="T18" fmla="*/ 0 w 20"/>
                <a:gd name="T19" fmla="*/ 24507 h 16"/>
                <a:gd name="T20" fmla="*/ 11430 w 20"/>
                <a:gd name="T21" fmla="*/ 2827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3" name="Freeform 1146"/>
            <p:cNvSpPr>
              <a:spLocks noChangeAspect="1"/>
            </p:cNvSpPr>
            <p:nvPr/>
          </p:nvSpPr>
          <p:spPr bwMode="auto">
            <a:xfrm>
              <a:off x="2971890" y="4093264"/>
              <a:ext cx="44848" cy="27084"/>
            </a:xfrm>
            <a:custGeom>
              <a:avLst/>
              <a:gdLst>
                <a:gd name="T0" fmla="*/ 1933 w 23"/>
                <a:gd name="T1" fmla="*/ 17650 h 17"/>
                <a:gd name="T2" fmla="*/ 34787 w 23"/>
                <a:gd name="T3" fmla="*/ 1961 h 17"/>
                <a:gd name="T4" fmla="*/ 44450 w 23"/>
                <a:gd name="T5" fmla="*/ 7844 h 17"/>
                <a:gd name="T6" fmla="*/ 36720 w 23"/>
                <a:gd name="T7" fmla="*/ 13727 h 17"/>
                <a:gd name="T8" fmla="*/ 28989 w 23"/>
                <a:gd name="T9" fmla="*/ 15688 h 17"/>
                <a:gd name="T10" fmla="*/ 19326 w 23"/>
                <a:gd name="T11" fmla="*/ 21572 h 17"/>
                <a:gd name="T12" fmla="*/ 11596 w 23"/>
                <a:gd name="T13" fmla="*/ 23533 h 17"/>
                <a:gd name="T14" fmla="*/ 11596 w 23"/>
                <a:gd name="T15" fmla="*/ 29416 h 17"/>
                <a:gd name="T16" fmla="*/ 1933 w 23"/>
                <a:gd name="T17" fmla="*/ 31377 h 17"/>
                <a:gd name="T18" fmla="*/ 1933 w 23"/>
                <a:gd name="T19" fmla="*/ 1765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4" name="Freeform 1147"/>
            <p:cNvSpPr>
              <a:spLocks noChangeAspect="1"/>
            </p:cNvSpPr>
            <p:nvPr/>
          </p:nvSpPr>
          <p:spPr bwMode="auto">
            <a:xfrm>
              <a:off x="3470022" y="4166775"/>
              <a:ext cx="51255" cy="27083"/>
            </a:xfrm>
            <a:custGeom>
              <a:avLst/>
              <a:gdLst>
                <a:gd name="T0" fmla="*/ 50800 w 26"/>
                <a:gd name="T1" fmla="*/ 29633 h 18"/>
                <a:gd name="T2" fmla="*/ 42985 w 26"/>
                <a:gd name="T3" fmla="*/ 16669 h 18"/>
                <a:gd name="T4" fmla="*/ 29308 w 26"/>
                <a:gd name="T5" fmla="*/ 3704 h 18"/>
                <a:gd name="T6" fmla="*/ 11723 w 26"/>
                <a:gd name="T7" fmla="*/ 0 h 18"/>
                <a:gd name="T8" fmla="*/ 0 w 26"/>
                <a:gd name="T9" fmla="*/ 0 h 18"/>
                <a:gd name="T10" fmla="*/ 15631 w 26"/>
                <a:gd name="T11" fmla="*/ 7408 h 18"/>
                <a:gd name="T12" fmla="*/ 37123 w 26"/>
                <a:gd name="T13" fmla="*/ 24077 h 18"/>
                <a:gd name="T14" fmla="*/ 46892 w 26"/>
                <a:gd name="T15" fmla="*/ 33337 h 18"/>
                <a:gd name="T16" fmla="*/ 50800 w 26"/>
                <a:gd name="T17" fmla="*/ 2963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8"/>
                <a:gd name="T29" fmla="*/ 26 w 2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8">
                  <a:moveTo>
                    <a:pt x="26" y="16"/>
                  </a:moveTo>
                  <a:cubicBezTo>
                    <a:pt x="25" y="13"/>
                    <a:pt x="24" y="11"/>
                    <a:pt x="22" y="9"/>
                  </a:cubicBezTo>
                  <a:cubicBezTo>
                    <a:pt x="20" y="6"/>
                    <a:pt x="18" y="4"/>
                    <a:pt x="15" y="2"/>
                  </a:cubicBezTo>
                  <a:cubicBezTo>
                    <a:pt x="12" y="1"/>
                    <a:pt x="9" y="1"/>
                    <a:pt x="6" y="0"/>
                  </a:cubicBezTo>
                  <a:cubicBezTo>
                    <a:pt x="4" y="0"/>
                    <a:pt x="2" y="0"/>
                    <a:pt x="0" y="0"/>
                  </a:cubicBezTo>
                  <a:cubicBezTo>
                    <a:pt x="3" y="2"/>
                    <a:pt x="5" y="2"/>
                    <a:pt x="8" y="4"/>
                  </a:cubicBezTo>
                  <a:cubicBezTo>
                    <a:pt x="12" y="7"/>
                    <a:pt x="16" y="10"/>
                    <a:pt x="19" y="13"/>
                  </a:cubicBezTo>
                  <a:cubicBezTo>
                    <a:pt x="21" y="14"/>
                    <a:pt x="23" y="16"/>
                    <a:pt x="24" y="18"/>
                  </a:cubicBezTo>
                  <a:cubicBezTo>
                    <a:pt x="25" y="17"/>
                    <a:pt x="26" y="17"/>
                    <a:pt x="26" y="16"/>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5" name="Freeform 1148"/>
            <p:cNvSpPr>
              <a:spLocks noChangeAspect="1"/>
            </p:cNvSpPr>
            <p:nvPr/>
          </p:nvSpPr>
          <p:spPr bwMode="auto">
            <a:xfrm>
              <a:off x="2246314" y="2606264"/>
              <a:ext cx="4806" cy="3868"/>
            </a:xfrm>
            <a:custGeom>
              <a:avLst/>
              <a:gdLst>
                <a:gd name="T0" fmla="*/ 3175 w 3"/>
                <a:gd name="T1" fmla="*/ 3175 h 3"/>
                <a:gd name="T2" fmla="*/ 4763 w 3"/>
                <a:gd name="T3" fmla="*/ 4762 h 3"/>
                <a:gd name="T4" fmla="*/ 1588 w 3"/>
                <a:gd name="T5" fmla="*/ 3175 h 3"/>
                <a:gd name="T6" fmla="*/ 1588 w 3"/>
                <a:gd name="T7" fmla="*/ 1587 h 3"/>
                <a:gd name="T8" fmla="*/ 3175 w 3"/>
                <a:gd name="T9" fmla="*/ 317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grpFill/>
            <a:ln w="3175" cap="rnd">
              <a:solidFill>
                <a:srgbClr val="68B9CD"/>
              </a:solidFill>
              <a:round/>
              <a:headEnd/>
              <a:tailEnd/>
            </a:ln>
          </p:spPr>
          <p:txBody>
            <a:body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6" name="Freeform 1149"/>
            <p:cNvSpPr>
              <a:spLocks noChangeAspect="1"/>
            </p:cNvSpPr>
            <p:nvPr/>
          </p:nvSpPr>
          <p:spPr bwMode="auto">
            <a:xfrm>
              <a:off x="2870990" y="4185921"/>
              <a:ext cx="24026" cy="7738"/>
            </a:xfrm>
            <a:custGeom>
              <a:avLst/>
              <a:gdLst>
                <a:gd name="T0" fmla="*/ 1832 w 13"/>
                <a:gd name="T1" fmla="*/ 5715 h 5"/>
                <a:gd name="T2" fmla="*/ 7327 w 13"/>
                <a:gd name="T3" fmla="*/ 1905 h 5"/>
                <a:gd name="T4" fmla="*/ 21981 w 13"/>
                <a:gd name="T5" fmla="*/ 1905 h 5"/>
                <a:gd name="T6" fmla="*/ 18318 w 13"/>
                <a:gd name="T7" fmla="*/ 5715 h 5"/>
                <a:gd name="T8" fmla="*/ 9159 w 13"/>
                <a:gd name="T9" fmla="*/ 5715 h 5"/>
                <a:gd name="T10" fmla="*/ 5495 w 13"/>
                <a:gd name="T11" fmla="*/ 9525 h 5"/>
                <a:gd name="T12" fmla="*/ 1832 w 13"/>
                <a:gd name="T13" fmla="*/ 5715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grpFill/>
            <a:ln w="3175" cap="rnd">
              <a:solidFill>
                <a:srgbClr val="68B9CD"/>
              </a:solidFill>
              <a:round/>
              <a:headEnd/>
              <a:tailEnd/>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609411"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57" name="Oval 2"/>
            <p:cNvSpPr/>
            <p:nvPr/>
          </p:nvSpPr>
          <p:spPr>
            <a:xfrm>
              <a:off x="2327047" y="2074051"/>
              <a:ext cx="125904" cy="165783"/>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58" name="Oval 1157"/>
            <p:cNvSpPr/>
            <p:nvPr/>
          </p:nvSpPr>
          <p:spPr>
            <a:xfrm>
              <a:off x="5412922" y="2115366"/>
              <a:ext cx="36577" cy="27433"/>
            </a:xfrm>
            <a:prstGeom prst="ellipse">
              <a:avLst/>
            </a:prstGeom>
            <a:grpFill/>
            <a:ln>
              <a:solidFill>
                <a:srgbClr val="68B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1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59" name="Oval 1158"/>
            <p:cNvSpPr/>
            <p:nvPr/>
          </p:nvSpPr>
          <p:spPr>
            <a:xfrm>
              <a:off x="5624854" y="2382068"/>
              <a:ext cx="36577" cy="27433"/>
            </a:xfrm>
            <a:prstGeom prst="ellipse">
              <a:avLst/>
            </a:prstGeom>
            <a:grpFill/>
            <a:ln>
              <a:solidFill>
                <a:srgbClr val="68B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1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0" name="Oval 2"/>
            <p:cNvSpPr/>
            <p:nvPr/>
          </p:nvSpPr>
          <p:spPr>
            <a:xfrm>
              <a:off x="6212466" y="2467756"/>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1" name="Oval 2"/>
            <p:cNvSpPr/>
            <p:nvPr/>
          </p:nvSpPr>
          <p:spPr>
            <a:xfrm>
              <a:off x="1647037" y="1884848"/>
              <a:ext cx="125904" cy="165783"/>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2" name="Oval 2"/>
            <p:cNvSpPr/>
            <p:nvPr/>
          </p:nvSpPr>
          <p:spPr>
            <a:xfrm>
              <a:off x="6166479" y="2497375"/>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3" name="Oval 2"/>
            <p:cNvSpPr/>
            <p:nvPr/>
          </p:nvSpPr>
          <p:spPr>
            <a:xfrm>
              <a:off x="6168545" y="2394641"/>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64" name="Oval 2"/>
            <p:cNvSpPr/>
            <p:nvPr/>
          </p:nvSpPr>
          <p:spPr>
            <a:xfrm>
              <a:off x="6397072" y="2230034"/>
              <a:ext cx="100725" cy="157815"/>
            </a:xfrm>
            <a:custGeom>
              <a:avLst/>
              <a:gdLst>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1295400"/>
                <a:gd name="connsiteX1" fmla="*/ 647700 w 1295400"/>
                <a:gd name="connsiteY1" fmla="*/ 0 h 1295400"/>
                <a:gd name="connsiteX2" fmla="*/ 1295400 w 1295400"/>
                <a:gd name="connsiteY2" fmla="*/ 647700 h 1295400"/>
                <a:gd name="connsiteX3" fmla="*/ 647700 w 1295400"/>
                <a:gd name="connsiteY3" fmla="*/ 1295400 h 1295400"/>
                <a:gd name="connsiteX4" fmla="*/ 0 w 1295400"/>
                <a:gd name="connsiteY4" fmla="*/ 647700 h 1295400"/>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 name="connsiteX0" fmla="*/ 0 w 1295400"/>
                <a:gd name="connsiteY0" fmla="*/ 647700 h 2462048"/>
                <a:gd name="connsiteX1" fmla="*/ 647700 w 1295400"/>
                <a:gd name="connsiteY1" fmla="*/ 0 h 2462048"/>
                <a:gd name="connsiteX2" fmla="*/ 1295400 w 1295400"/>
                <a:gd name="connsiteY2" fmla="*/ 647700 h 2462048"/>
                <a:gd name="connsiteX3" fmla="*/ 647700 w 1295400"/>
                <a:gd name="connsiteY3" fmla="*/ 2462048 h 2462048"/>
                <a:gd name="connsiteX4" fmla="*/ 0 w 1295400"/>
                <a:gd name="connsiteY4" fmla="*/ 647700 h 246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0" h="2462048">
                  <a:moveTo>
                    <a:pt x="0" y="647700"/>
                  </a:moveTo>
                  <a:cubicBezTo>
                    <a:pt x="0" y="237359"/>
                    <a:pt x="289985" y="0"/>
                    <a:pt x="647700" y="0"/>
                  </a:cubicBezTo>
                  <a:cubicBezTo>
                    <a:pt x="1005415" y="0"/>
                    <a:pt x="1295400" y="289985"/>
                    <a:pt x="1295400" y="647700"/>
                  </a:cubicBezTo>
                  <a:cubicBezTo>
                    <a:pt x="1295400" y="1005415"/>
                    <a:pt x="817883" y="1359540"/>
                    <a:pt x="647700" y="2462048"/>
                  </a:cubicBezTo>
                  <a:cubicBezTo>
                    <a:pt x="476057" y="1354708"/>
                    <a:pt x="0" y="1058041"/>
                    <a:pt x="0" y="647700"/>
                  </a:cubicBezTo>
                  <a:close/>
                </a:path>
              </a:pathLst>
            </a:custGeom>
            <a:grpFill/>
            <a:ln w="12700" cap="flat" cmpd="sng" algn="ctr">
              <a:solidFill>
                <a:srgbClr val="68B9C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1165" name="TextBox 1164"/>
          <p:cNvSpPr txBox="1"/>
          <p:nvPr/>
        </p:nvSpPr>
        <p:spPr>
          <a:xfrm>
            <a:off x="2285375" y="1944184"/>
            <a:ext cx="1187480" cy="297454"/>
          </a:xfrm>
          <a:prstGeom prst="rect">
            <a:avLst/>
          </a:prstGeom>
          <a:noFill/>
          <a:effectLst/>
        </p:spPr>
        <p:txBody>
          <a:bodyPr wrap="square" rtlCol="0">
            <a:spAutoFit/>
          </a:bodyPr>
          <a:lstStyle/>
          <a:p>
            <a:pPr marL="0" marR="0" lvl="0" indent="0" algn="l" defTabSz="60875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US</a:t>
            </a:r>
            <a:endPar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166" name="Group 1165"/>
          <p:cNvGrpSpPr/>
          <p:nvPr/>
        </p:nvGrpSpPr>
        <p:grpSpPr>
          <a:xfrm>
            <a:off x="2271427" y="1636813"/>
            <a:ext cx="228475" cy="214417"/>
            <a:chOff x="3543098" y="5387170"/>
            <a:chExt cx="731520" cy="731521"/>
          </a:xfrm>
          <a:effectLst/>
        </p:grpSpPr>
        <p:sp>
          <p:nvSpPr>
            <p:cNvPr id="1167" name="Teardrop 1166"/>
            <p:cNvSpPr/>
            <p:nvPr/>
          </p:nvSpPr>
          <p:spPr>
            <a:xfrm rot="8326575">
              <a:off x="3543098" y="5387170"/>
              <a:ext cx="731520" cy="731521"/>
            </a:xfrm>
            <a:prstGeom prst="teardrop">
              <a:avLst>
                <a:gd name="adj" fmla="val 144344"/>
              </a:avLst>
            </a:prstGeom>
            <a:solidFill>
              <a:srgbClr val="92D050"/>
            </a:solidFill>
            <a:ln>
              <a:solidFill>
                <a:sysClr val="window" lastClr="FFFFFF"/>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sp>
          <p:nvSpPr>
            <p:cNvPr id="1168" name="Oval 1167"/>
            <p:cNvSpPr/>
            <p:nvPr/>
          </p:nvSpPr>
          <p:spPr>
            <a:xfrm>
              <a:off x="3756612" y="5615763"/>
              <a:ext cx="269497" cy="274320"/>
            </a:xfrm>
            <a:prstGeom prst="ellipse">
              <a:avLst/>
            </a:prstGeom>
            <a:solidFill>
              <a:srgbClr val="5C5C5C"/>
            </a:solidFill>
            <a:ln>
              <a:solidFill>
                <a:srgbClr val="99CC00"/>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grpSp>
      <p:sp>
        <p:nvSpPr>
          <p:cNvPr id="1173" name="TextBox 1172"/>
          <p:cNvSpPr txBox="1"/>
          <p:nvPr/>
        </p:nvSpPr>
        <p:spPr>
          <a:xfrm>
            <a:off x="6650403" y="1925824"/>
            <a:ext cx="1771424" cy="297454"/>
          </a:xfrm>
          <a:prstGeom prst="rect">
            <a:avLst/>
          </a:prstGeom>
          <a:solidFill>
            <a:schemeClr val="bg1">
              <a:lumMod val="95000"/>
              <a:alpha val="50000"/>
            </a:schemeClr>
          </a:solidFill>
          <a:effectLst/>
        </p:spPr>
        <p:txBody>
          <a:bodyPr wrap="square" rtlCol="0">
            <a:spAutoFit/>
          </a:bodyPr>
          <a:lstStyle/>
          <a:p>
            <a:pPr marL="0" marR="0" lvl="0" indent="0" algn="l" defTabSz="60875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Offshore – </a:t>
            </a:r>
            <a:r>
              <a:rPr kumimoji="0" lang="en-US" sz="1333" b="1" i="0" u="none" strike="noStrike" kern="1200" cap="none" spc="0" normalizeH="0" baseline="0" noProof="0" dirty="0" smtClean="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India</a:t>
            </a:r>
            <a:endParaRPr kumimoji="0" lang="en-US" sz="1333"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p:txBody>
      </p:sp>
      <p:grpSp>
        <p:nvGrpSpPr>
          <p:cNvPr id="1174" name="Group 1173"/>
          <p:cNvGrpSpPr/>
          <p:nvPr/>
        </p:nvGrpSpPr>
        <p:grpSpPr>
          <a:xfrm>
            <a:off x="6437165" y="2159354"/>
            <a:ext cx="228475" cy="214417"/>
            <a:chOff x="3543098" y="5387170"/>
            <a:chExt cx="731520" cy="731521"/>
          </a:xfrm>
          <a:effectLst/>
        </p:grpSpPr>
        <p:sp>
          <p:nvSpPr>
            <p:cNvPr id="1175" name="Teardrop 1174"/>
            <p:cNvSpPr/>
            <p:nvPr/>
          </p:nvSpPr>
          <p:spPr>
            <a:xfrm rot="8326575">
              <a:off x="3543098" y="5387170"/>
              <a:ext cx="731520" cy="731521"/>
            </a:xfrm>
            <a:prstGeom prst="teardrop">
              <a:avLst>
                <a:gd name="adj" fmla="val 144344"/>
              </a:avLst>
            </a:prstGeom>
            <a:solidFill>
              <a:srgbClr val="92D050"/>
            </a:solidFill>
            <a:ln>
              <a:solidFill>
                <a:sysClr val="window" lastClr="FFFFFF"/>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sp>
          <p:nvSpPr>
            <p:cNvPr id="1176" name="Oval 1175"/>
            <p:cNvSpPr/>
            <p:nvPr/>
          </p:nvSpPr>
          <p:spPr>
            <a:xfrm>
              <a:off x="3756612" y="5615763"/>
              <a:ext cx="269497" cy="274320"/>
            </a:xfrm>
            <a:prstGeom prst="ellipse">
              <a:avLst/>
            </a:prstGeom>
            <a:solidFill>
              <a:srgbClr val="5C5C5C"/>
            </a:solidFill>
            <a:ln>
              <a:solidFill>
                <a:srgbClr val="99CC00"/>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grpSp>
      <p:sp>
        <p:nvSpPr>
          <p:cNvPr id="1178" name="Rectangle 1177"/>
          <p:cNvSpPr/>
          <p:nvPr/>
        </p:nvSpPr>
        <p:spPr bwMode="auto">
          <a:xfrm>
            <a:off x="8924008" y="4581264"/>
            <a:ext cx="414768" cy="689517"/>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sp>
        <p:nvSpPr>
          <p:cNvPr id="1179" name="Rectangle 1178"/>
          <p:cNvSpPr/>
          <p:nvPr/>
        </p:nvSpPr>
        <p:spPr bwMode="auto">
          <a:xfrm>
            <a:off x="5312744" y="4204874"/>
            <a:ext cx="440269" cy="726192"/>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grpSp>
        <p:nvGrpSpPr>
          <p:cNvPr id="1180" name="Group 1179"/>
          <p:cNvGrpSpPr/>
          <p:nvPr/>
        </p:nvGrpSpPr>
        <p:grpSpPr>
          <a:xfrm>
            <a:off x="4383008" y="5228148"/>
            <a:ext cx="1966656" cy="936419"/>
            <a:chOff x="4300391" y="4296937"/>
            <a:chExt cx="2202863" cy="1226411"/>
          </a:xfrm>
        </p:grpSpPr>
        <p:cxnSp>
          <p:nvCxnSpPr>
            <p:cNvPr id="1181" name="Elbow Connector 1180"/>
            <p:cNvCxnSpPr>
              <a:stCxn id="1182" idx="0"/>
            </p:cNvCxnSpPr>
            <p:nvPr/>
          </p:nvCxnSpPr>
          <p:spPr>
            <a:xfrm rot="16200000" flipV="1">
              <a:off x="4820781" y="4628700"/>
              <a:ext cx="912806" cy="249280"/>
            </a:xfrm>
            <a:prstGeom prst="bentConnector3">
              <a:avLst>
                <a:gd name="adj1" fmla="val 34565"/>
              </a:avLst>
            </a:prstGeom>
            <a:solidFill>
              <a:srgbClr val="D8750D"/>
            </a:solidFill>
            <a:ln w="19050" cap="flat" cmpd="sng" algn="ctr">
              <a:solidFill>
                <a:srgbClr val="141414"/>
              </a:solidFill>
              <a:prstDash val="sysDash"/>
              <a:round/>
              <a:headEnd type="none" w="med" len="med"/>
              <a:tailEnd type="triangle" w="med" len="med"/>
            </a:ln>
            <a:effectLst/>
          </p:spPr>
        </p:cxnSp>
        <p:sp>
          <p:nvSpPr>
            <p:cNvPr id="1182" name="Rounded Rectangle 1181"/>
            <p:cNvSpPr/>
            <p:nvPr/>
          </p:nvSpPr>
          <p:spPr bwMode="auto">
            <a:xfrm>
              <a:off x="4300391" y="5209742"/>
              <a:ext cx="2202863" cy="277886"/>
            </a:xfrm>
            <a:prstGeom prst="roundRect">
              <a:avLst>
                <a:gd name="adj" fmla="val 50000"/>
              </a:avLst>
            </a:prstGeom>
            <a:solidFill>
              <a:schemeClr val="tx1">
                <a:lumMod val="95000"/>
                <a:lumOff val="5000"/>
              </a:schemeClr>
            </a:solidFill>
            <a:ln w="9525" cap="flat" cmpd="sng" algn="ctr">
              <a:solidFill>
                <a:sysClr val="window" lastClr="FFFFFF">
                  <a:lumMod val="75000"/>
                </a:sys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41001" tIns="70497" rIns="141001" bIns="70497" numCol="1" rtlCol="0" anchor="ctr" anchorCtr="0" compatLnSpc="1">
              <a:prstTxWarp prst="textNoShape">
                <a:avLst/>
              </a:prstTxWarp>
            </a:bodyPr>
            <a:lstStyle/>
            <a:p>
              <a:pPr marL="0" marR="0" lvl="0" indent="0" algn="ctr" defTabSz="1829632" rtl="0" eaLnBrk="1" fontAlgn="base" latinLnBrk="0" hangingPunct="1">
                <a:lnSpc>
                  <a:spcPct val="100000"/>
                </a:lnSpc>
                <a:spcBef>
                  <a:spcPct val="0"/>
                </a:spcBef>
                <a:spcAft>
                  <a:spcPct val="0"/>
                </a:spcAft>
                <a:buClrTx/>
                <a:buSzTx/>
                <a:buFontTx/>
                <a:buNone/>
                <a:tabLst/>
                <a:defRPr/>
              </a:pPr>
              <a:r>
                <a:rPr kumimoji="0" lang="en-US" sz="1427"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itchFamily="34" charset="0"/>
                </a:rPr>
                <a:t>Shift Handshake</a:t>
              </a:r>
            </a:p>
          </p:txBody>
        </p:sp>
        <p:pic>
          <p:nvPicPr>
            <p:cNvPr id="1183" name="Picture 1182" descr="han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22409" y="5209742"/>
              <a:ext cx="485030" cy="313606"/>
            </a:xfrm>
            <a:prstGeom prst="rect">
              <a:avLst/>
            </a:prstGeom>
          </p:spPr>
        </p:pic>
      </p:grpSp>
      <p:sp>
        <p:nvSpPr>
          <p:cNvPr id="1184" name="Rectangle 1183"/>
          <p:cNvSpPr/>
          <p:nvPr/>
        </p:nvSpPr>
        <p:spPr bwMode="auto">
          <a:xfrm>
            <a:off x="1746117" y="4204874"/>
            <a:ext cx="395632" cy="1064060"/>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cxnSp>
        <p:nvCxnSpPr>
          <p:cNvPr id="1185" name="Elbow Connector 1184"/>
          <p:cNvCxnSpPr>
            <a:endCxn id="1184" idx="2"/>
          </p:cNvCxnSpPr>
          <p:nvPr/>
        </p:nvCxnSpPr>
        <p:spPr>
          <a:xfrm rot="10800000">
            <a:off x="1943933" y="5268935"/>
            <a:ext cx="2326550" cy="759645"/>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cxnSp>
        <p:nvCxnSpPr>
          <p:cNvPr id="1186" name="Elbow Connector 1185"/>
          <p:cNvCxnSpPr/>
          <p:nvPr/>
        </p:nvCxnSpPr>
        <p:spPr>
          <a:xfrm flipV="1">
            <a:off x="6650403" y="5244655"/>
            <a:ext cx="2480989" cy="243454"/>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sp>
        <p:nvSpPr>
          <p:cNvPr id="1187" name="Rectangle 1186"/>
          <p:cNvSpPr/>
          <p:nvPr/>
        </p:nvSpPr>
        <p:spPr bwMode="auto">
          <a:xfrm>
            <a:off x="7123568" y="3851657"/>
            <a:ext cx="414768" cy="1079409"/>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cxnSp>
        <p:nvCxnSpPr>
          <p:cNvPr id="1188" name="Elbow Connector 1187"/>
          <p:cNvCxnSpPr>
            <a:endCxn id="1187" idx="2"/>
          </p:cNvCxnSpPr>
          <p:nvPr/>
        </p:nvCxnSpPr>
        <p:spPr>
          <a:xfrm rot="5400000" flipH="1" flipV="1">
            <a:off x="6326528" y="5024153"/>
            <a:ext cx="1097511" cy="911338"/>
          </a:xfrm>
          <a:prstGeom prst="bentConnector3">
            <a:avLst>
              <a:gd name="adj1" fmla="val 50000"/>
            </a:avLst>
          </a:prstGeom>
          <a:solidFill>
            <a:srgbClr val="D8750D"/>
          </a:solidFill>
          <a:ln w="19050" cap="flat" cmpd="sng" algn="ctr">
            <a:solidFill>
              <a:srgbClr val="141414"/>
            </a:solidFill>
            <a:prstDash val="sysDash"/>
            <a:round/>
            <a:headEnd type="none" w="med" len="med"/>
            <a:tailEnd type="triangle" w="med" len="med"/>
          </a:ln>
          <a:effectLst/>
        </p:spPr>
      </p:cxnSp>
      <p:sp>
        <p:nvSpPr>
          <p:cNvPr id="1198" name="Rectangle 1197"/>
          <p:cNvSpPr/>
          <p:nvPr/>
        </p:nvSpPr>
        <p:spPr>
          <a:xfrm>
            <a:off x="10396510" y="2993129"/>
            <a:ext cx="2572383" cy="257443"/>
          </a:xfrm>
          <a:prstGeom prst="rect">
            <a:avLst/>
          </a:prstGeom>
        </p:spPr>
        <p:txBody>
          <a:bodyPr wrap="square">
            <a:spAutoFit/>
          </a:bodyPr>
          <a:lstStyle/>
          <a:p>
            <a:pPr marL="0" marR="0" lvl="0" indent="0" algn="l" defTabSz="594316" rtl="0" eaLnBrk="1" fontAlgn="base" latinLnBrk="0" hangingPunct="1">
              <a:lnSpc>
                <a:spcPct val="100000"/>
              </a:lnSpc>
              <a:spcBef>
                <a:spcPct val="0"/>
              </a:spcBef>
              <a:spcAft>
                <a:spcPct val="0"/>
              </a:spcAft>
              <a:buClrTx/>
              <a:buSzTx/>
              <a:buFontTx/>
              <a:buNone/>
              <a:tabLst/>
              <a:defRPr/>
            </a:pPr>
            <a:r>
              <a:rPr kumimoji="0" lang="en-US" sz="1073" b="0"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mn-cs"/>
              </a:rPr>
              <a:t>Offshore Support</a:t>
            </a:r>
          </a:p>
        </p:txBody>
      </p:sp>
      <p:sp>
        <p:nvSpPr>
          <p:cNvPr id="1199" name="Rectangle 1198"/>
          <p:cNvSpPr/>
          <p:nvPr/>
        </p:nvSpPr>
        <p:spPr>
          <a:xfrm>
            <a:off x="9952989" y="2989992"/>
            <a:ext cx="406439" cy="263717"/>
          </a:xfrm>
          <a:prstGeom prst="rect">
            <a:avLst/>
          </a:prstGeom>
          <a:solidFill>
            <a:srgbClr val="A9D08E"/>
          </a:solidFill>
          <a:ln w="25400" cap="flat" cmpd="sng" algn="ctr">
            <a:solidFill>
              <a:srgbClr val="A9D08E"/>
            </a:solidFill>
            <a:prstDash val="solid"/>
          </a:ln>
          <a:effectLst/>
        </p:spPr>
        <p:txBody>
          <a:bodyPr rtlCol="0" anchor="ctr"/>
          <a:lstStyle/>
          <a:p>
            <a:pPr marL="0" marR="0" lvl="0" indent="0" algn="ctr" defTabSz="594330" rtl="0" eaLnBrk="1" fontAlgn="auto" latinLnBrk="0" hangingPunct="1">
              <a:lnSpc>
                <a:spcPct val="100000"/>
              </a:lnSpc>
              <a:spcBef>
                <a:spcPts val="0"/>
              </a:spcBef>
              <a:spcAft>
                <a:spcPts val="0"/>
              </a:spcAft>
              <a:buClrTx/>
              <a:buSzTx/>
              <a:buFontTx/>
              <a:buNone/>
              <a:tabLst/>
              <a:defRPr/>
            </a:pPr>
            <a:endParaRPr kumimoji="0" lang="en-US" sz="175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02" name="Rectangle 1201"/>
          <p:cNvSpPr/>
          <p:nvPr/>
        </p:nvSpPr>
        <p:spPr>
          <a:xfrm>
            <a:off x="10396510" y="3350326"/>
            <a:ext cx="2572383" cy="257443"/>
          </a:xfrm>
          <a:prstGeom prst="rect">
            <a:avLst/>
          </a:prstGeom>
        </p:spPr>
        <p:txBody>
          <a:bodyPr wrap="square">
            <a:spAutoFit/>
          </a:bodyPr>
          <a:lstStyle/>
          <a:p>
            <a:pPr marL="0" marR="0" lvl="0" indent="0" algn="l" defTabSz="594316" rtl="0" eaLnBrk="1" fontAlgn="base" latinLnBrk="0" hangingPunct="1">
              <a:lnSpc>
                <a:spcPct val="100000"/>
              </a:lnSpc>
              <a:spcBef>
                <a:spcPct val="0"/>
              </a:spcBef>
              <a:spcAft>
                <a:spcPct val="0"/>
              </a:spcAft>
              <a:buClrTx/>
              <a:buSzTx/>
              <a:buFontTx/>
              <a:buNone/>
              <a:tabLst/>
              <a:defRPr/>
            </a:pPr>
            <a:r>
              <a:rPr kumimoji="0" lang="en-US" sz="1073" b="0"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mn-cs"/>
              </a:rPr>
              <a:t>Onsite Support</a:t>
            </a:r>
          </a:p>
        </p:txBody>
      </p:sp>
      <p:sp>
        <p:nvSpPr>
          <p:cNvPr id="1203" name="Rectangle 1202"/>
          <p:cNvSpPr/>
          <p:nvPr/>
        </p:nvSpPr>
        <p:spPr>
          <a:xfrm>
            <a:off x="9952989" y="3347190"/>
            <a:ext cx="406439" cy="263717"/>
          </a:xfrm>
          <a:prstGeom prst="rect">
            <a:avLst/>
          </a:prstGeom>
          <a:solidFill>
            <a:srgbClr val="F4B183"/>
          </a:solidFill>
          <a:ln w="25400" cap="flat" cmpd="sng" algn="ctr">
            <a:solidFill>
              <a:srgbClr val="F4B183"/>
            </a:solidFill>
            <a:prstDash val="solid"/>
          </a:ln>
          <a:effectLst/>
        </p:spPr>
        <p:txBody>
          <a:bodyPr rtlCol="0" anchor="ctr"/>
          <a:lstStyle/>
          <a:p>
            <a:pPr marL="0" marR="0" lvl="0" indent="0" algn="ctr" defTabSz="594330" rtl="0" eaLnBrk="1" fontAlgn="auto" latinLnBrk="0" hangingPunct="1">
              <a:lnSpc>
                <a:spcPct val="100000"/>
              </a:lnSpc>
              <a:spcBef>
                <a:spcPts val="0"/>
              </a:spcBef>
              <a:spcAft>
                <a:spcPts val="0"/>
              </a:spcAft>
              <a:buClrTx/>
              <a:buSzTx/>
              <a:buFontTx/>
              <a:buNone/>
              <a:tabLst/>
              <a:defRPr/>
            </a:pPr>
            <a:endParaRPr kumimoji="0" lang="en-US" sz="1755"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1189" name="Elbow Connector 1188"/>
          <p:cNvCxnSpPr>
            <a:stCxn id="1182" idx="3"/>
            <a:endCxn id="1190" idx="2"/>
          </p:cNvCxnSpPr>
          <p:nvPr/>
        </p:nvCxnSpPr>
        <p:spPr>
          <a:xfrm flipV="1">
            <a:off x="6349664" y="5275902"/>
            <a:ext cx="5022588" cy="755302"/>
          </a:xfrm>
          <a:prstGeom prst="bentConnector2">
            <a:avLst/>
          </a:prstGeom>
          <a:solidFill>
            <a:srgbClr val="D8750D"/>
          </a:solidFill>
          <a:ln w="19050" cap="flat" cmpd="sng" algn="ctr">
            <a:solidFill>
              <a:srgbClr val="141414"/>
            </a:solidFill>
            <a:prstDash val="sysDash"/>
            <a:round/>
            <a:headEnd type="none" w="med" len="med"/>
            <a:tailEnd type="triangle" w="med" len="med"/>
          </a:ln>
          <a:effectLst/>
        </p:spPr>
      </p:cxnSp>
      <p:sp>
        <p:nvSpPr>
          <p:cNvPr id="1190" name="Rectangle 1189"/>
          <p:cNvSpPr/>
          <p:nvPr/>
        </p:nvSpPr>
        <p:spPr bwMode="auto">
          <a:xfrm>
            <a:off x="11164868" y="3836582"/>
            <a:ext cx="414768" cy="1439320"/>
          </a:xfrm>
          <a:prstGeom prst="rect">
            <a:avLst/>
          </a:prstGeom>
          <a:noFill/>
          <a:ln w="12700" cap="flat" cmpd="sng" algn="ctr">
            <a:solidFill>
              <a:srgbClr val="C00000"/>
            </a:solidFill>
            <a:prstDash val="sysDash"/>
            <a:round/>
            <a:headEnd type="none" w="med" len="med"/>
            <a:tailEnd type="none" w="med" len="med"/>
          </a:ln>
          <a:effectLst/>
        </p:spPr>
        <p:txBody>
          <a:bodyPr vert="horz" wrap="square" lIns="157896" tIns="78971" rIns="157896" bIns="78971" numCol="1" rtlCol="0" anchor="t" anchorCtr="0" compatLnSpc="1">
            <a:prstTxWarp prst="textNoShape">
              <a:avLst/>
            </a:prstTxWarp>
          </a:bodyPr>
          <a:lstStyle/>
          <a:p>
            <a:pPr marL="0" marR="0" lvl="0" indent="0" algn="l" defTabSz="1400834" rtl="0" eaLnBrk="0" fontAlgn="base" latinLnBrk="0" hangingPunct="0">
              <a:lnSpc>
                <a:spcPct val="100000"/>
              </a:lnSpc>
              <a:spcBef>
                <a:spcPct val="0"/>
              </a:spcBef>
              <a:spcAft>
                <a:spcPct val="0"/>
              </a:spcAft>
              <a:buClrTx/>
              <a:buSzTx/>
              <a:buFontTx/>
              <a:buNone/>
              <a:tabLst/>
              <a:defRPr/>
            </a:pPr>
            <a:endParaRPr kumimoji="0" lang="en-US" sz="364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12" charset="-128"/>
              <a:cs typeface="Calibri" pitchFamily="34" charset="0"/>
            </a:endParaRPr>
          </a:p>
        </p:txBody>
      </p:sp>
      <p:sp>
        <p:nvSpPr>
          <p:cNvPr id="1211" name="TextBox 1210"/>
          <p:cNvSpPr txBox="1"/>
          <p:nvPr/>
        </p:nvSpPr>
        <p:spPr>
          <a:xfrm>
            <a:off x="1943933" y="2176408"/>
            <a:ext cx="1187480" cy="297454"/>
          </a:xfrm>
          <a:prstGeom prst="rect">
            <a:avLst/>
          </a:prstGeom>
          <a:noFill/>
          <a:effectLst/>
        </p:spPr>
        <p:txBody>
          <a:bodyPr wrap="square" rtlCol="0">
            <a:spAutoFit/>
          </a:bodyPr>
          <a:lstStyle/>
          <a:p>
            <a:pPr marL="0" marR="0" lvl="0" indent="0" algn="l" defTabSz="608751"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Mexico</a:t>
            </a:r>
            <a:endPar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Segoe UI" panose="020B0502040204020203" pitchFamily="34" charset="0"/>
              <a:cs typeface="Calibri" panose="020F0502020204030204" pitchFamily="34" charset="0"/>
            </a:endParaRPr>
          </a:p>
        </p:txBody>
      </p:sp>
      <p:grpSp>
        <p:nvGrpSpPr>
          <p:cNvPr id="1212" name="Group 1211"/>
          <p:cNvGrpSpPr/>
          <p:nvPr/>
        </p:nvGrpSpPr>
        <p:grpSpPr>
          <a:xfrm>
            <a:off x="1835417" y="1996093"/>
            <a:ext cx="228475" cy="214417"/>
            <a:chOff x="3543098" y="5387170"/>
            <a:chExt cx="731520" cy="731521"/>
          </a:xfrm>
          <a:effectLst/>
        </p:grpSpPr>
        <p:sp>
          <p:nvSpPr>
            <p:cNvPr id="1213" name="Teardrop 1212"/>
            <p:cNvSpPr/>
            <p:nvPr/>
          </p:nvSpPr>
          <p:spPr>
            <a:xfrm rot="8326575">
              <a:off x="3543098" y="5387170"/>
              <a:ext cx="731520" cy="731521"/>
            </a:xfrm>
            <a:prstGeom prst="teardrop">
              <a:avLst>
                <a:gd name="adj" fmla="val 144344"/>
              </a:avLst>
            </a:prstGeom>
            <a:solidFill>
              <a:srgbClr val="92D050"/>
            </a:solidFill>
            <a:ln>
              <a:solidFill>
                <a:sysClr val="window" lastClr="FFFFFF"/>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sp>
          <p:nvSpPr>
            <p:cNvPr id="1214" name="Oval 1213"/>
            <p:cNvSpPr/>
            <p:nvPr/>
          </p:nvSpPr>
          <p:spPr>
            <a:xfrm>
              <a:off x="3756612" y="5615763"/>
              <a:ext cx="269497" cy="274320"/>
            </a:xfrm>
            <a:prstGeom prst="ellipse">
              <a:avLst/>
            </a:prstGeom>
            <a:solidFill>
              <a:srgbClr val="5C5C5C"/>
            </a:solidFill>
            <a:ln>
              <a:solidFill>
                <a:srgbClr val="99CC00"/>
              </a:solidFill>
            </a:ln>
          </p:spPr>
          <p:txBody>
            <a:bodyPr rtlCol="0" anchor="ctr"/>
            <a:lstStyle/>
            <a:p>
              <a:pPr marL="0" marR="0" lvl="0" indent="0" algn="ctr" defTabSz="89923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12" charset="-128"/>
                <a:cs typeface="Calibri" panose="020F0502020204030204" pitchFamily="34" charset="0"/>
              </a:endParaRPr>
            </a:p>
          </p:txBody>
        </p:sp>
      </p:grpSp>
    </p:spTree>
    <p:extLst>
      <p:ext uri="{BB962C8B-B14F-4D97-AF65-F5344CB8AC3E}">
        <p14:creationId xmlns:p14="http://schemas.microsoft.com/office/powerpoint/2010/main" val="3783226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179882" y="830136"/>
            <a:ext cx="11737299" cy="644577"/>
          </a:xfrm>
          <a:prstGeom prst="roundRect">
            <a:avLst/>
          </a:prstGeom>
          <a:solidFill>
            <a:schemeClr val="bg1"/>
          </a:solidFill>
          <a:ln w="3175">
            <a:solidFill>
              <a:schemeClr val="accent1"/>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ounded Rectangle 130"/>
          <p:cNvSpPr/>
          <p:nvPr/>
        </p:nvSpPr>
        <p:spPr>
          <a:xfrm>
            <a:off x="179881" y="1693260"/>
            <a:ext cx="11737299" cy="4559273"/>
          </a:xfrm>
          <a:prstGeom prst="roundRect">
            <a:avLst>
              <a:gd name="adj" fmla="val 3273"/>
            </a:avLst>
          </a:prstGeom>
          <a:solidFill>
            <a:schemeClr val="bg1">
              <a:lumMod val="95000"/>
            </a:schemeClr>
          </a:solidFill>
          <a:ln w="6350">
            <a:solidFill>
              <a:schemeClr val="tx2">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own Arrow Callout 2"/>
          <p:cNvSpPr/>
          <p:nvPr/>
        </p:nvSpPr>
        <p:spPr>
          <a:xfrm>
            <a:off x="6543235" y="965289"/>
            <a:ext cx="1445007" cy="743909"/>
          </a:xfrm>
          <a:prstGeom prst="downArrowCallout">
            <a:avLst>
              <a:gd name="adj1" fmla="val 25000"/>
              <a:gd name="adj2" fmla="val 25000"/>
              <a:gd name="adj3" fmla="val 25000"/>
              <a:gd name="adj4" fmla="val 54734"/>
            </a:avLst>
          </a:prstGeom>
          <a:solidFill>
            <a:schemeClr val="bg1">
              <a:lumMod val="95000"/>
            </a:schemeClr>
          </a:solidFill>
          <a:ln w="6350">
            <a:solidFill>
              <a:schemeClr val="tx2">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495300" y="71014"/>
            <a:ext cx="8208055" cy="618385"/>
          </a:xfrm>
        </p:spPr>
        <p:txBody>
          <a:bodyPr/>
          <a:lstStyle/>
          <a:p>
            <a:r>
              <a:rPr lang="en-US" dirty="0" smtClean="0"/>
              <a:t>Business value Management - Transcend </a:t>
            </a:r>
            <a:r>
              <a:rPr lang="en-US" dirty="0"/>
              <a:t>Customer Experience – Improving the Reservation </a:t>
            </a:r>
            <a:r>
              <a:rPr lang="en-US" dirty="0" smtClean="0"/>
              <a:t>Process</a:t>
            </a:r>
            <a:endParaRPr lang="en-US" dirty="0"/>
          </a:p>
        </p:txBody>
      </p:sp>
      <p:sp>
        <p:nvSpPr>
          <p:cNvPr id="101" name="Footer Placeholder 3"/>
          <p:cNvSpPr txBox="1">
            <a:spLocks/>
          </p:cNvSpPr>
          <p:nvPr/>
        </p:nvSpPr>
        <p:spPr>
          <a:xfrm>
            <a:off x="5504328" y="6401165"/>
            <a:ext cx="6096000" cy="207264"/>
          </a:xfrm>
          <a:prstGeom prst="rect">
            <a:avLst/>
          </a:prstGeom>
        </p:spPr>
        <p:txBody>
          <a:bodyPr vert="horz"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smtClean="0"/>
              <a:t>© 2019 Cognizant</a:t>
            </a:r>
            <a:endParaRPr lang="en-US" sz="1000" dirty="0"/>
          </a:p>
        </p:txBody>
      </p:sp>
      <p:sp>
        <p:nvSpPr>
          <p:cNvPr id="105" name="Rectangle 104"/>
          <p:cNvSpPr/>
          <p:nvPr/>
        </p:nvSpPr>
        <p:spPr>
          <a:xfrm>
            <a:off x="195121" y="875425"/>
            <a:ext cx="2165001" cy="577081"/>
          </a:xfrm>
          <a:prstGeom prst="rect">
            <a:avLst/>
          </a:prstGeom>
          <a:noFill/>
        </p:spPr>
        <p:txBody>
          <a:bodyPr wrap="square">
            <a:spAutoFit/>
          </a:bodyPr>
          <a:lstStyle/>
          <a:p>
            <a:pPr algn="ctr"/>
            <a:r>
              <a:rPr lang="en-US" sz="1050" dirty="0" smtClean="0">
                <a:solidFill>
                  <a:schemeClr val="tx2">
                    <a:lumMod val="95000"/>
                    <a:lumOff val="5000"/>
                  </a:schemeClr>
                </a:solidFill>
                <a:latin typeface="Segoe UI Semibold" panose="020B0702040204020203" pitchFamily="34" charset="0"/>
                <a:ea typeface="Segoe UI Black" panose="020B0A02040204020203" pitchFamily="34" charset="0"/>
                <a:cs typeface="Segoe UI Semibold" panose="020B0702040204020203" pitchFamily="34" charset="0"/>
              </a:rPr>
              <a:t>Typical Guest Activities during Reservation &amp; Arrivals that impact Customer Exp.</a:t>
            </a:r>
            <a:endParaRPr lang="en-US" sz="1050" dirty="0">
              <a:solidFill>
                <a:schemeClr val="tx2">
                  <a:lumMod val="95000"/>
                  <a:lumOff val="5000"/>
                </a:schemeClr>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3" name="Isosceles Triangle 12"/>
          <p:cNvSpPr/>
          <p:nvPr/>
        </p:nvSpPr>
        <p:spPr>
          <a:xfrm rot="5400000">
            <a:off x="2360357" y="1059079"/>
            <a:ext cx="348732" cy="18669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ounded Rectangle 108"/>
          <p:cNvSpPr/>
          <p:nvPr/>
        </p:nvSpPr>
        <p:spPr>
          <a:xfrm>
            <a:off x="2766828" y="957992"/>
            <a:ext cx="1790129" cy="4000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3211626" y="967060"/>
            <a:ext cx="842493" cy="338554"/>
          </a:xfrm>
          <a:prstGeom prst="rect">
            <a:avLst/>
          </a:prstGeom>
          <a:noFill/>
        </p:spPr>
        <p:txBody>
          <a:bodyPr wrap="square">
            <a:spAutoFit/>
          </a:bodyPr>
          <a:lstStyle/>
          <a:p>
            <a:pPr algn="ctr"/>
            <a:r>
              <a:rPr lang="en-US" sz="16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Search</a:t>
            </a:r>
          </a:p>
        </p:txBody>
      </p:sp>
      <p:sp>
        <p:nvSpPr>
          <p:cNvPr id="123" name="Rounded Rectangle 122"/>
          <p:cNvSpPr/>
          <p:nvPr/>
        </p:nvSpPr>
        <p:spPr>
          <a:xfrm>
            <a:off x="4649617" y="964683"/>
            <a:ext cx="1790129" cy="4000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ounded Rectangle 123"/>
          <p:cNvSpPr/>
          <p:nvPr/>
        </p:nvSpPr>
        <p:spPr>
          <a:xfrm>
            <a:off x="8088493" y="981670"/>
            <a:ext cx="1790129" cy="4000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ounded Rectangle 125"/>
          <p:cNvSpPr/>
          <p:nvPr/>
        </p:nvSpPr>
        <p:spPr>
          <a:xfrm>
            <a:off x="9917131" y="948469"/>
            <a:ext cx="1790129" cy="40005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5075183" y="978058"/>
            <a:ext cx="1079775" cy="338554"/>
          </a:xfrm>
          <a:prstGeom prst="rect">
            <a:avLst/>
          </a:prstGeom>
          <a:noFill/>
        </p:spPr>
        <p:txBody>
          <a:bodyPr wrap="square">
            <a:spAutoFit/>
          </a:bodyPr>
          <a:lstStyle/>
          <a:p>
            <a:pPr algn="ctr"/>
            <a:r>
              <a:rPr lang="en-US" sz="1600" dirty="0" smtClean="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Enquiries</a:t>
            </a:r>
            <a:endParaRPr lang="en-US" sz="16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28" name="Rectangle 127"/>
          <p:cNvSpPr/>
          <p:nvPr/>
        </p:nvSpPr>
        <p:spPr>
          <a:xfrm>
            <a:off x="8502212" y="973455"/>
            <a:ext cx="1079775" cy="338554"/>
          </a:xfrm>
          <a:prstGeom prst="rect">
            <a:avLst/>
          </a:prstGeom>
          <a:noFill/>
        </p:spPr>
        <p:txBody>
          <a:bodyPr wrap="square">
            <a:spAutoFit/>
          </a:bodyPr>
          <a:lstStyle/>
          <a:p>
            <a:pPr algn="ctr"/>
            <a:r>
              <a:rPr lang="en-US" sz="1600" dirty="0" smtClean="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ayments</a:t>
            </a:r>
            <a:endParaRPr lang="en-US" sz="16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29" name="Rectangle 128"/>
          <p:cNvSpPr/>
          <p:nvPr/>
        </p:nvSpPr>
        <p:spPr>
          <a:xfrm>
            <a:off x="6772041" y="1007049"/>
            <a:ext cx="1079775" cy="338554"/>
          </a:xfrm>
          <a:prstGeom prst="rect">
            <a:avLst/>
          </a:prstGeom>
          <a:noFill/>
        </p:spPr>
        <p:txBody>
          <a:bodyPr wrap="square">
            <a:spAutoFit/>
          </a:bodyPr>
          <a:lstStyle/>
          <a:p>
            <a:pPr algn="ctr"/>
            <a:r>
              <a:rPr lang="en-US" sz="1600" dirty="0" smtClean="0">
                <a:solidFill>
                  <a:schemeClr val="tx2">
                    <a:lumMod val="85000"/>
                    <a:lumOff val="15000"/>
                  </a:schemeClr>
                </a:solidFill>
                <a:latin typeface="Segoe UI Semibold" panose="020B0702040204020203" pitchFamily="34" charset="0"/>
                <a:ea typeface="Segoe UI Black" panose="020B0A02040204020203" pitchFamily="34" charset="0"/>
                <a:cs typeface="Segoe UI Semibold" panose="020B0702040204020203" pitchFamily="34" charset="0"/>
              </a:rPr>
              <a:t>Bookings</a:t>
            </a:r>
            <a:endParaRPr lang="en-US" sz="1600" dirty="0">
              <a:solidFill>
                <a:schemeClr val="tx2">
                  <a:lumMod val="85000"/>
                  <a:lumOff val="15000"/>
                </a:schemeClr>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30" name="Rectangle 129"/>
          <p:cNvSpPr/>
          <p:nvPr/>
        </p:nvSpPr>
        <p:spPr>
          <a:xfrm>
            <a:off x="10210273" y="981670"/>
            <a:ext cx="1203844" cy="338554"/>
          </a:xfrm>
          <a:prstGeom prst="rect">
            <a:avLst/>
          </a:prstGeom>
          <a:noFill/>
        </p:spPr>
        <p:txBody>
          <a:bodyPr wrap="square">
            <a:spAutoFit/>
          </a:bodyPr>
          <a:lstStyle/>
          <a:p>
            <a:pPr algn="ctr"/>
            <a:r>
              <a:rPr lang="en-US" sz="1600" dirty="0" smtClean="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Check-Ins</a:t>
            </a:r>
            <a:endParaRPr lang="en-US" sz="16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graphicFrame>
        <p:nvGraphicFramePr>
          <p:cNvPr id="134" name="Table 133"/>
          <p:cNvGraphicFramePr>
            <a:graphicFrameLocks noGrp="1"/>
          </p:cNvGraphicFramePr>
          <p:nvPr>
            <p:extLst/>
          </p:nvPr>
        </p:nvGraphicFramePr>
        <p:xfrm>
          <a:off x="384796" y="2306048"/>
          <a:ext cx="3382666" cy="1199805"/>
        </p:xfrm>
        <a:graphic>
          <a:graphicData uri="http://schemas.openxmlformats.org/drawingml/2006/table">
            <a:tbl>
              <a:tblPr firstRow="1" bandRow="1"/>
              <a:tblGrid>
                <a:gridCol w="1494804">
                  <a:extLst>
                    <a:ext uri="{9D8B030D-6E8A-4147-A177-3AD203B41FA5}">
                      <a16:colId xmlns:a16="http://schemas.microsoft.com/office/drawing/2014/main" val="223713029"/>
                    </a:ext>
                  </a:extLst>
                </a:gridCol>
                <a:gridCol w="1173486">
                  <a:extLst>
                    <a:ext uri="{9D8B030D-6E8A-4147-A177-3AD203B41FA5}">
                      <a16:colId xmlns:a16="http://schemas.microsoft.com/office/drawing/2014/main" val="2152451853"/>
                    </a:ext>
                  </a:extLst>
                </a:gridCol>
                <a:gridCol w="714376">
                  <a:extLst>
                    <a:ext uri="{9D8B030D-6E8A-4147-A177-3AD203B41FA5}">
                      <a16:colId xmlns:a16="http://schemas.microsoft.com/office/drawing/2014/main" val="278727203"/>
                    </a:ext>
                  </a:extLst>
                </a:gridCol>
              </a:tblGrid>
              <a:tr h="622121">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200" dirty="0" smtClean="0">
                          <a:solidFill>
                            <a:schemeClr val="tx2">
                              <a:lumMod val="85000"/>
                              <a:lumOff val="15000"/>
                            </a:schemeClr>
                          </a:solidFill>
                          <a:latin typeface="Segoe UI Semibold" panose="020B0702040204020203" pitchFamily="34" charset="0"/>
                          <a:cs typeface="Segoe UI Semibold" panose="020B0702040204020203" pitchFamily="34" charset="0"/>
                        </a:rPr>
                        <a:t>KPI</a:t>
                      </a:r>
                      <a:endParaRPr lang="en-US" sz="12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200" dirty="0" smtClean="0">
                          <a:solidFill>
                            <a:schemeClr val="tx2">
                              <a:lumMod val="85000"/>
                              <a:lumOff val="15000"/>
                            </a:schemeClr>
                          </a:solidFill>
                          <a:latin typeface="Segoe UI Semibold" panose="020B0702040204020203" pitchFamily="34" charset="0"/>
                          <a:cs typeface="Segoe UI Semibold" panose="020B0702040204020203" pitchFamily="34" charset="0"/>
                        </a:rPr>
                        <a:t>Actual Performance</a:t>
                      </a:r>
                      <a:endParaRPr lang="en-US" sz="12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tc>
                  <a:txBody>
                    <a:bodyPr/>
                    <a:lstStyle>
                      <a:lvl1pPr marL="0" algn="l" defTabSz="1219110" rtl="0" eaLnBrk="1" latinLnBrk="0" hangingPunct="1">
                        <a:defRPr sz="2400" b="1" kern="1200">
                          <a:solidFill>
                            <a:schemeClr val="tx1"/>
                          </a:solidFill>
                          <a:latin typeface="Calibri" panose="020F0502020204030204"/>
                        </a:defRPr>
                      </a:lvl1pPr>
                      <a:lvl2pPr marL="609555" algn="l" defTabSz="1219110" rtl="0" eaLnBrk="1" latinLnBrk="0" hangingPunct="1">
                        <a:defRPr sz="2400" b="1" kern="1200">
                          <a:solidFill>
                            <a:schemeClr val="tx1"/>
                          </a:solidFill>
                          <a:latin typeface="Calibri" panose="020F0502020204030204"/>
                        </a:defRPr>
                      </a:lvl2pPr>
                      <a:lvl3pPr marL="1219110" algn="l" defTabSz="1219110" rtl="0" eaLnBrk="1" latinLnBrk="0" hangingPunct="1">
                        <a:defRPr sz="2400" b="1" kern="1200">
                          <a:solidFill>
                            <a:schemeClr val="tx1"/>
                          </a:solidFill>
                          <a:latin typeface="Calibri" panose="020F0502020204030204"/>
                        </a:defRPr>
                      </a:lvl3pPr>
                      <a:lvl4pPr marL="1828664" algn="l" defTabSz="1219110" rtl="0" eaLnBrk="1" latinLnBrk="0" hangingPunct="1">
                        <a:defRPr sz="2400" b="1" kern="1200">
                          <a:solidFill>
                            <a:schemeClr val="tx1"/>
                          </a:solidFill>
                          <a:latin typeface="Calibri" panose="020F0502020204030204"/>
                        </a:defRPr>
                      </a:lvl4pPr>
                      <a:lvl5pPr marL="2438218" algn="l" defTabSz="1219110" rtl="0" eaLnBrk="1" latinLnBrk="0" hangingPunct="1">
                        <a:defRPr sz="2400" b="1" kern="1200">
                          <a:solidFill>
                            <a:schemeClr val="tx1"/>
                          </a:solidFill>
                          <a:latin typeface="Calibri" panose="020F0502020204030204"/>
                        </a:defRPr>
                      </a:lvl5pPr>
                      <a:lvl6pPr marL="3047772" algn="l" defTabSz="1219110" rtl="0" eaLnBrk="1" latinLnBrk="0" hangingPunct="1">
                        <a:defRPr sz="2400" b="1" kern="1200">
                          <a:solidFill>
                            <a:schemeClr val="tx1"/>
                          </a:solidFill>
                          <a:latin typeface="Calibri" panose="020F0502020204030204"/>
                        </a:defRPr>
                      </a:lvl6pPr>
                      <a:lvl7pPr marL="3657327" algn="l" defTabSz="1219110" rtl="0" eaLnBrk="1" latinLnBrk="0" hangingPunct="1">
                        <a:defRPr sz="2400" b="1" kern="1200">
                          <a:solidFill>
                            <a:schemeClr val="tx1"/>
                          </a:solidFill>
                          <a:latin typeface="Calibri" panose="020F0502020204030204"/>
                        </a:defRPr>
                      </a:lvl7pPr>
                      <a:lvl8pPr marL="4266880" algn="l" defTabSz="1219110" rtl="0" eaLnBrk="1" latinLnBrk="0" hangingPunct="1">
                        <a:defRPr sz="2400" b="1" kern="1200">
                          <a:solidFill>
                            <a:schemeClr val="tx1"/>
                          </a:solidFill>
                          <a:latin typeface="Calibri" panose="020F0502020204030204"/>
                        </a:defRPr>
                      </a:lvl8pPr>
                      <a:lvl9pPr marL="4876435" algn="l" defTabSz="1219110" rtl="0" eaLnBrk="1" latinLnBrk="0" hangingPunct="1">
                        <a:defRPr sz="2400" b="1" kern="1200">
                          <a:solidFill>
                            <a:schemeClr val="tx1"/>
                          </a:solidFill>
                          <a:latin typeface="Calibri" panose="020F0502020204030204"/>
                        </a:defRPr>
                      </a:lvl9pPr>
                    </a:lstStyle>
                    <a:p>
                      <a:pPr algn="ctr"/>
                      <a:r>
                        <a:rPr lang="en-US" sz="1200" dirty="0" smtClean="0">
                          <a:solidFill>
                            <a:schemeClr val="tx2">
                              <a:lumMod val="85000"/>
                              <a:lumOff val="15000"/>
                            </a:schemeClr>
                          </a:solidFill>
                          <a:latin typeface="Segoe UI Semibold" panose="020B0702040204020203" pitchFamily="34" charset="0"/>
                          <a:cs typeface="Segoe UI Semibold" panose="020B0702040204020203" pitchFamily="34" charset="0"/>
                        </a:rPr>
                        <a:t>Target</a:t>
                      </a:r>
                      <a:endParaRPr lang="en-US" sz="120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noFill/>
                  </a:tcPr>
                </a:tc>
                <a:extLst>
                  <a:ext uri="{0D108BD9-81ED-4DB2-BD59-A6C34878D82A}">
                    <a16:rowId xmlns:a16="http://schemas.microsoft.com/office/drawing/2014/main" val="1156341887"/>
                  </a:ext>
                </a:extLst>
              </a:tr>
              <a:tr h="577684">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ctr"/>
                      <a:r>
                        <a:rPr lang="en-US" sz="1050" dirty="0" smtClean="0">
                          <a:solidFill>
                            <a:schemeClr val="tx2">
                              <a:lumMod val="85000"/>
                              <a:lumOff val="15000"/>
                            </a:schemeClr>
                          </a:solidFill>
                          <a:latin typeface="Segoe UI Semibold" panose="020B0702040204020203" pitchFamily="34" charset="0"/>
                          <a:cs typeface="Segoe UI Semibold" panose="020B0702040204020203" pitchFamily="34" charset="0"/>
                        </a:rPr>
                        <a:t>%age bookings</a:t>
                      </a:r>
                      <a:r>
                        <a:rPr lang="en-US" sz="1050" baseline="0" dirty="0" smtClean="0">
                          <a:solidFill>
                            <a:schemeClr val="tx2">
                              <a:lumMod val="85000"/>
                              <a:lumOff val="15000"/>
                            </a:schemeClr>
                          </a:solidFill>
                          <a:latin typeface="Segoe UI Semibold" panose="020B0702040204020203" pitchFamily="34" charset="0"/>
                          <a:cs typeface="Segoe UI Semibold" panose="020B0702040204020203" pitchFamily="34" charset="0"/>
                        </a:rPr>
                        <a:t> meeting target cycle time</a:t>
                      </a:r>
                      <a:endParaRPr lang="en-US" sz="1050" dirty="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ctr"/>
                      <a:r>
                        <a:rPr lang="en-US" sz="1050" baseline="0" dirty="0" smtClean="0">
                          <a:solidFill>
                            <a:srgbClr val="FF0000"/>
                          </a:solidFill>
                          <a:latin typeface="Segoe UI Semibold" panose="020B0702040204020203" pitchFamily="34" charset="0"/>
                          <a:cs typeface="Segoe UI Semibold" panose="020B0702040204020203" pitchFamily="34" charset="0"/>
                        </a:rPr>
                        <a:t>X%</a:t>
                      </a:r>
                      <a:endParaRPr lang="en-US" sz="1050" baseline="30000" dirty="0">
                        <a:solidFill>
                          <a:srgbClr val="FF0000"/>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tc>
                  <a:txBody>
                    <a:bodyPr/>
                    <a:lstStyle>
                      <a:lvl1pPr marL="0" algn="l" defTabSz="1219110" rtl="0" eaLnBrk="1" latinLnBrk="0" hangingPunct="1">
                        <a:defRPr sz="2400" kern="1200">
                          <a:solidFill>
                            <a:schemeClr val="tx1"/>
                          </a:solidFill>
                          <a:latin typeface="Calibri" panose="020F0502020204030204"/>
                        </a:defRPr>
                      </a:lvl1pPr>
                      <a:lvl2pPr marL="609555" algn="l" defTabSz="1219110" rtl="0" eaLnBrk="1" latinLnBrk="0" hangingPunct="1">
                        <a:defRPr sz="2400" kern="1200">
                          <a:solidFill>
                            <a:schemeClr val="tx1"/>
                          </a:solidFill>
                          <a:latin typeface="Calibri" panose="020F0502020204030204"/>
                        </a:defRPr>
                      </a:lvl2pPr>
                      <a:lvl3pPr marL="1219110" algn="l" defTabSz="1219110" rtl="0" eaLnBrk="1" latinLnBrk="0" hangingPunct="1">
                        <a:defRPr sz="2400" kern="1200">
                          <a:solidFill>
                            <a:schemeClr val="tx1"/>
                          </a:solidFill>
                          <a:latin typeface="Calibri" panose="020F0502020204030204"/>
                        </a:defRPr>
                      </a:lvl3pPr>
                      <a:lvl4pPr marL="1828664" algn="l" defTabSz="1219110" rtl="0" eaLnBrk="1" latinLnBrk="0" hangingPunct="1">
                        <a:defRPr sz="2400" kern="1200">
                          <a:solidFill>
                            <a:schemeClr val="tx1"/>
                          </a:solidFill>
                          <a:latin typeface="Calibri" panose="020F0502020204030204"/>
                        </a:defRPr>
                      </a:lvl4pPr>
                      <a:lvl5pPr marL="2438218" algn="l" defTabSz="1219110" rtl="0" eaLnBrk="1" latinLnBrk="0" hangingPunct="1">
                        <a:defRPr sz="2400" kern="1200">
                          <a:solidFill>
                            <a:schemeClr val="tx1"/>
                          </a:solidFill>
                          <a:latin typeface="Calibri" panose="020F0502020204030204"/>
                        </a:defRPr>
                      </a:lvl5pPr>
                      <a:lvl6pPr marL="3047772" algn="l" defTabSz="1219110" rtl="0" eaLnBrk="1" latinLnBrk="0" hangingPunct="1">
                        <a:defRPr sz="2400" kern="1200">
                          <a:solidFill>
                            <a:schemeClr val="tx1"/>
                          </a:solidFill>
                          <a:latin typeface="Calibri" panose="020F0502020204030204"/>
                        </a:defRPr>
                      </a:lvl6pPr>
                      <a:lvl7pPr marL="3657327" algn="l" defTabSz="1219110" rtl="0" eaLnBrk="1" latinLnBrk="0" hangingPunct="1">
                        <a:defRPr sz="2400" kern="1200">
                          <a:solidFill>
                            <a:schemeClr val="tx1"/>
                          </a:solidFill>
                          <a:latin typeface="Calibri" panose="020F0502020204030204"/>
                        </a:defRPr>
                      </a:lvl7pPr>
                      <a:lvl8pPr marL="4266880" algn="l" defTabSz="1219110" rtl="0" eaLnBrk="1" latinLnBrk="0" hangingPunct="1">
                        <a:defRPr sz="2400" kern="1200">
                          <a:solidFill>
                            <a:schemeClr val="tx1"/>
                          </a:solidFill>
                          <a:latin typeface="Calibri" panose="020F0502020204030204"/>
                        </a:defRPr>
                      </a:lvl8pPr>
                      <a:lvl9pPr marL="4876435" algn="l" defTabSz="1219110" rtl="0" eaLnBrk="1" latinLnBrk="0" hangingPunct="1">
                        <a:defRPr sz="2400" kern="1200">
                          <a:solidFill>
                            <a:schemeClr val="tx1"/>
                          </a:solidFill>
                          <a:latin typeface="Calibri" panose="020F0502020204030204"/>
                        </a:defRPr>
                      </a:lvl9pPr>
                    </a:lstStyle>
                    <a:p>
                      <a:pPr algn="ctr"/>
                      <a:r>
                        <a:rPr lang="en-US" sz="1050" dirty="0" smtClean="0">
                          <a:solidFill>
                            <a:schemeClr val="tx2">
                              <a:lumMod val="85000"/>
                              <a:lumOff val="15000"/>
                            </a:schemeClr>
                          </a:solidFill>
                          <a:latin typeface="Segoe UI Semibold" panose="020B0702040204020203" pitchFamily="34" charset="0"/>
                          <a:cs typeface="Segoe UI Semibold" panose="020B0702040204020203" pitchFamily="34" charset="0"/>
                        </a:rPr>
                        <a:t>100%</a:t>
                      </a:r>
                      <a:endParaRPr lang="en-US" sz="1050" baseline="0" dirty="0" smtClean="0">
                        <a:solidFill>
                          <a:schemeClr val="tx2">
                            <a:lumMod val="85000"/>
                            <a:lumOff val="15000"/>
                          </a:schemeClr>
                        </a:solidFill>
                        <a:latin typeface="Segoe UI Semibold" panose="020B0702040204020203" pitchFamily="34" charset="0"/>
                        <a:cs typeface="Segoe UI Semibold" panose="020B0702040204020203" pitchFamily="34" charset="0"/>
                      </a:endParaRPr>
                    </a:p>
                  </a:txBody>
                  <a:tcPr anchor="ctr">
                    <a:lnL>
                      <a:noFill/>
                    </a:lnL>
                    <a:lnR>
                      <a:noFill/>
                    </a:lnR>
                    <a:lnT w="12700" cmpd="sng">
                      <a:solidFill>
                        <a:srgbClr val="4472C4"/>
                      </a:solidFill>
                    </a:lnT>
                    <a:lnB w="12700" cmpd="sng">
                      <a:solidFill>
                        <a:srgbClr val="4472C4"/>
                      </a:solidFill>
                    </a:lnB>
                    <a:lnTlToBr w="12700" cmpd="sng">
                      <a:noFill/>
                      <a:prstDash val="solid"/>
                    </a:lnTlToBr>
                    <a:lnBlToTr w="12700" cmpd="sng">
                      <a:noFill/>
                      <a:prstDash val="solid"/>
                    </a:lnBlToTr>
                    <a:solidFill>
                      <a:srgbClr val="4472C4">
                        <a:alpha val="20000"/>
                      </a:srgbClr>
                    </a:solidFill>
                  </a:tcPr>
                </a:tc>
                <a:extLst>
                  <a:ext uri="{0D108BD9-81ED-4DB2-BD59-A6C34878D82A}">
                    <a16:rowId xmlns:a16="http://schemas.microsoft.com/office/drawing/2014/main" val="3769271022"/>
                  </a:ext>
                </a:extLst>
              </a:tr>
            </a:tbl>
          </a:graphicData>
        </a:graphic>
      </p:graphicFrame>
      <p:sp>
        <p:nvSpPr>
          <p:cNvPr id="135" name="Rectangle 134"/>
          <p:cNvSpPr/>
          <p:nvPr/>
        </p:nvSpPr>
        <p:spPr>
          <a:xfrm>
            <a:off x="341609" y="1758843"/>
            <a:ext cx="3700997" cy="492443"/>
          </a:xfrm>
          <a:prstGeom prst="rect">
            <a:avLst/>
          </a:prstGeom>
          <a:noFill/>
        </p:spPr>
        <p:txBody>
          <a:bodyPr wrap="square">
            <a:spAutoFit/>
          </a:bodyPr>
          <a:lstStyle/>
          <a:p>
            <a:pPr defTabSz="914377" fontAlgn="base">
              <a:spcBef>
                <a:spcPct val="0"/>
              </a:spcBef>
              <a:spcAft>
                <a:spcPct val="0"/>
              </a:spcAft>
              <a:defRPr/>
            </a:pPr>
            <a:r>
              <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1. </a:t>
            </a: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We start by baselining the Business KPI for Customer Experience impacting process…</a:t>
            </a:r>
            <a:endPar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36" name="Straight Connector 135"/>
          <p:cNvCxnSpPr/>
          <p:nvPr/>
        </p:nvCxnSpPr>
        <p:spPr>
          <a:xfrm>
            <a:off x="4004506" y="1886943"/>
            <a:ext cx="0" cy="1666536"/>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37" name="Rectangle 136"/>
          <p:cNvSpPr/>
          <p:nvPr/>
        </p:nvSpPr>
        <p:spPr>
          <a:xfrm>
            <a:off x="4093008" y="1758843"/>
            <a:ext cx="7517347" cy="492443"/>
          </a:xfrm>
          <a:prstGeom prst="rect">
            <a:avLst/>
          </a:prstGeom>
          <a:noFill/>
        </p:spPr>
        <p:txBody>
          <a:bodyPr wrap="square">
            <a:spAutoFit/>
          </a:bodyPr>
          <a:lstStyle/>
          <a:p>
            <a:pPr defTabSz="914377" fontAlgn="base">
              <a:spcBef>
                <a:spcPct val="0"/>
              </a:spcBef>
              <a:spcAft>
                <a:spcPct val="0"/>
              </a:spcAft>
              <a:defRPr/>
            </a:pP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2. </a:t>
            </a:r>
            <a:r>
              <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Digital Footprint Diagnostics is performed on </a:t>
            </a: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representative business </a:t>
            </a:r>
            <a:r>
              <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transaction data to determine the business process and IT </a:t>
            </a: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hotspots ( relative to Online Hotel Booking)</a:t>
            </a:r>
            <a:endPar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69" name="Straight Connector 168"/>
          <p:cNvCxnSpPr/>
          <p:nvPr/>
        </p:nvCxnSpPr>
        <p:spPr>
          <a:xfrm>
            <a:off x="484417" y="3756895"/>
            <a:ext cx="11235543" cy="0"/>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70" name="Rectangle 169"/>
          <p:cNvSpPr/>
          <p:nvPr/>
        </p:nvSpPr>
        <p:spPr>
          <a:xfrm>
            <a:off x="253107" y="3831051"/>
            <a:ext cx="3751399" cy="292388"/>
          </a:xfrm>
          <a:prstGeom prst="rect">
            <a:avLst/>
          </a:prstGeom>
          <a:noFill/>
        </p:spPr>
        <p:txBody>
          <a:bodyPr wrap="square">
            <a:spAutoFit/>
          </a:bodyPr>
          <a:lstStyle/>
          <a:p>
            <a:pPr defTabSz="914377" fontAlgn="base">
              <a:spcBef>
                <a:spcPct val="0"/>
              </a:spcBef>
              <a:spcAft>
                <a:spcPct val="0"/>
              </a:spcAft>
              <a:defRPr/>
            </a:pP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3. Reasons that impede process performance…</a:t>
            </a:r>
            <a:endPar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71" name="Straight Connector 170"/>
          <p:cNvCxnSpPr/>
          <p:nvPr/>
        </p:nvCxnSpPr>
        <p:spPr>
          <a:xfrm>
            <a:off x="4156059" y="3860489"/>
            <a:ext cx="0" cy="2261051"/>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72" name="Rectangle 171"/>
          <p:cNvSpPr/>
          <p:nvPr/>
        </p:nvSpPr>
        <p:spPr>
          <a:xfrm>
            <a:off x="4209187" y="3789874"/>
            <a:ext cx="3867010" cy="292388"/>
          </a:xfrm>
          <a:prstGeom prst="rect">
            <a:avLst/>
          </a:prstGeom>
          <a:noFill/>
        </p:spPr>
        <p:txBody>
          <a:bodyPr wrap="square">
            <a:spAutoFit/>
          </a:bodyPr>
          <a:lstStyle/>
          <a:p>
            <a:pPr defTabSz="914377" fontAlgn="base">
              <a:spcBef>
                <a:spcPct val="0"/>
              </a:spcBef>
              <a:spcAft>
                <a:spcPct val="0"/>
              </a:spcAft>
              <a:defRPr/>
            </a:pP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4. Typical solutions that can benefit the process</a:t>
            </a:r>
            <a:endPar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73" name="Straight Connector 172"/>
          <p:cNvCxnSpPr/>
          <p:nvPr/>
        </p:nvCxnSpPr>
        <p:spPr>
          <a:xfrm>
            <a:off x="7917718" y="3857537"/>
            <a:ext cx="0" cy="2261051"/>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74" name="Rectangle 173"/>
          <p:cNvSpPr/>
          <p:nvPr/>
        </p:nvSpPr>
        <p:spPr>
          <a:xfrm>
            <a:off x="7907472" y="3780932"/>
            <a:ext cx="3812488" cy="292388"/>
          </a:xfrm>
          <a:prstGeom prst="rect">
            <a:avLst/>
          </a:prstGeom>
          <a:noFill/>
        </p:spPr>
        <p:txBody>
          <a:bodyPr wrap="square">
            <a:spAutoFit/>
          </a:bodyPr>
          <a:lstStyle/>
          <a:p>
            <a:pPr defTabSz="914377" fontAlgn="base">
              <a:spcBef>
                <a:spcPct val="0"/>
              </a:spcBef>
              <a:spcAft>
                <a:spcPct val="0"/>
              </a:spcAft>
              <a:defRPr/>
            </a:pP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5</a:t>
            </a:r>
            <a:r>
              <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 Monitor </a:t>
            </a: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Process </a:t>
            </a:r>
            <a:r>
              <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KPIs, IT BSLAs  and IT </a:t>
            </a:r>
            <a:r>
              <a:rPr lang="en-US" sz="1300" dirty="0" smtClean="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rPr>
              <a:t>KPIs….</a:t>
            </a:r>
            <a:endParaRPr lang="en-US" sz="1300" dirty="0">
              <a:solidFill>
                <a:srgbClr val="BDCFFF">
                  <a:lumMod val="50000"/>
                </a:srgb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7" name="Rectangle 6"/>
          <p:cNvSpPr/>
          <p:nvPr/>
        </p:nvSpPr>
        <p:spPr>
          <a:xfrm>
            <a:off x="4077223" y="4430356"/>
            <a:ext cx="1832674" cy="1754326"/>
          </a:xfrm>
          <a:prstGeom prst="rect">
            <a:avLst/>
          </a:prstGeom>
        </p:spPr>
        <p:txBody>
          <a:bodyPr wrap="square">
            <a:spAutoFit/>
          </a:bodyPr>
          <a:lstStyle/>
          <a:p>
            <a:pPr marL="76197" indent="-76197" algn="just">
              <a:buFont typeface="Arial" panose="020B0604020202020204" pitchFamily="34" charset="0"/>
              <a:buChar char="•"/>
            </a:pPr>
            <a:r>
              <a:rPr lang="en-US" sz="900" dirty="0" smtClean="0">
                <a:solidFill>
                  <a:srgbClr val="3C80B2"/>
                </a:solidFill>
                <a:latin typeface="Segoe UI Semibold" panose="020B0702040204020203" pitchFamily="34" charset="0"/>
                <a:ea typeface="Segoe UI" panose="020B0502040204020203" pitchFamily="34" charset="0"/>
                <a:cs typeface="Segoe UI Semibold" panose="020B0702040204020203" pitchFamily="34" charset="0"/>
              </a:rPr>
              <a:t>Monitoring tools to auto collect and analyze Customer Feedback data </a:t>
            </a:r>
          </a:p>
          <a:p>
            <a:pPr marL="76197" indent="-76197" algn="just">
              <a:buFont typeface="Arial" panose="020B0604020202020204" pitchFamily="34" charset="0"/>
              <a:buChar char="•"/>
            </a:pPr>
            <a:r>
              <a:rPr lang="en-US" sz="900" dirty="0" smtClean="0">
                <a:solidFill>
                  <a:srgbClr val="3C80B2"/>
                </a:solidFill>
                <a:latin typeface="Segoe UI Semibold" panose="020B0702040204020203" pitchFamily="34" charset="0"/>
                <a:ea typeface="Segoe UI" panose="020B0502040204020203" pitchFamily="34" charset="0"/>
                <a:cs typeface="Segoe UI Semibold" panose="020B0702040204020203" pitchFamily="34" charset="0"/>
              </a:rPr>
              <a:t>Proper training to Staff and employees</a:t>
            </a:r>
          </a:p>
          <a:p>
            <a:pPr marL="76197" indent="-76197" algn="just">
              <a:buFont typeface="Arial" panose="020B0604020202020204" pitchFamily="34" charset="0"/>
              <a:buChar char="•"/>
            </a:pPr>
            <a:r>
              <a:rPr lang="en-US" sz="900" dirty="0" smtClean="0">
                <a:solidFill>
                  <a:srgbClr val="3C80B2"/>
                </a:solidFill>
                <a:latin typeface="Segoe UI Semibold" panose="020B0702040204020203" pitchFamily="34" charset="0"/>
                <a:ea typeface="Segoe UI" panose="020B0502040204020203" pitchFamily="34" charset="0"/>
                <a:cs typeface="Segoe UI Semibold" panose="020B0702040204020203" pitchFamily="34" charset="0"/>
              </a:rPr>
              <a:t>AI enabled approach in creating and handling reservations for eradicating any manual Intervention</a:t>
            </a:r>
          </a:p>
          <a:p>
            <a:pPr marL="76197" indent="-76197" algn="just">
              <a:buFont typeface="Arial" panose="020B0604020202020204" pitchFamily="34" charset="0"/>
              <a:buChar char="•"/>
            </a:pPr>
            <a:r>
              <a:rPr lang="en-US" sz="900" dirty="0" smtClean="0">
                <a:solidFill>
                  <a:srgbClr val="3C80B2"/>
                </a:solidFill>
                <a:latin typeface="Segoe UI Semibold" panose="020B0702040204020203" pitchFamily="34" charset="0"/>
                <a:ea typeface="Segoe UI" panose="020B0502040204020203" pitchFamily="34" charset="0"/>
                <a:cs typeface="Segoe UI Semibold" panose="020B0702040204020203" pitchFamily="34" charset="0"/>
              </a:rPr>
              <a:t>Automated rules engine for processing the reservation related transactions</a:t>
            </a:r>
            <a:endParaRPr lang="en-US" sz="900" dirty="0">
              <a:solidFill>
                <a:srgbClr val="3C80B2"/>
              </a:solidFill>
              <a:latin typeface="Segoe UI Semibold" panose="020B0702040204020203" pitchFamily="34" charset="0"/>
              <a:ea typeface="Segoe UI" panose="020B0502040204020203" pitchFamily="34" charset="0"/>
              <a:cs typeface="Segoe UI Semibold" panose="020B0702040204020203" pitchFamily="34" charset="0"/>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86725" y="4132632"/>
            <a:ext cx="3708507" cy="2030243"/>
          </a:xfrm>
          <a:prstGeom prst="rect">
            <a:avLst/>
          </a:prstGeom>
        </p:spPr>
      </p:pic>
      <p:grpSp>
        <p:nvGrpSpPr>
          <p:cNvPr id="53" name="Group 52"/>
          <p:cNvGrpSpPr/>
          <p:nvPr/>
        </p:nvGrpSpPr>
        <p:grpSpPr>
          <a:xfrm>
            <a:off x="4168829" y="2242494"/>
            <a:ext cx="7880709" cy="1343038"/>
            <a:chOff x="-8416" y="1436512"/>
            <a:chExt cx="9325282" cy="2290424"/>
          </a:xfrm>
        </p:grpSpPr>
        <p:sp>
          <p:nvSpPr>
            <p:cNvPr id="54" name="Rectangle 53"/>
            <p:cNvSpPr/>
            <p:nvPr/>
          </p:nvSpPr>
          <p:spPr>
            <a:xfrm>
              <a:off x="-8416" y="2478647"/>
              <a:ext cx="1212684" cy="679071"/>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Initiate Query</a:t>
              </a:r>
              <a:endParaRPr lang="en-US" sz="800" dirty="0">
                <a:solidFill>
                  <a:schemeClr val="tx1"/>
                </a:solidFill>
                <a:latin typeface="Segoe UI" panose="020B0502040204020203" pitchFamily="34" charset="0"/>
                <a:cs typeface="Segoe UI" panose="020B0502040204020203" pitchFamily="34" charset="0"/>
              </a:endParaRPr>
            </a:p>
          </p:txBody>
        </p:sp>
        <p:sp>
          <p:nvSpPr>
            <p:cNvPr id="55" name="Rectangle 54"/>
            <p:cNvSpPr/>
            <p:nvPr/>
          </p:nvSpPr>
          <p:spPr>
            <a:xfrm>
              <a:off x="1773239" y="2471398"/>
              <a:ext cx="1094133" cy="639756"/>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Room Inventory Check</a:t>
              </a:r>
              <a:endParaRPr lang="en-US" sz="800" dirty="0">
                <a:solidFill>
                  <a:schemeClr val="tx1"/>
                </a:solidFill>
                <a:latin typeface="Segoe UI" panose="020B0502040204020203" pitchFamily="34" charset="0"/>
                <a:cs typeface="Segoe UI" panose="020B0502040204020203" pitchFamily="34" charset="0"/>
              </a:endParaRPr>
            </a:p>
          </p:txBody>
        </p:sp>
        <p:sp>
          <p:nvSpPr>
            <p:cNvPr id="57" name="Rectangle 56"/>
            <p:cNvSpPr/>
            <p:nvPr/>
          </p:nvSpPr>
          <p:spPr>
            <a:xfrm>
              <a:off x="3373842" y="2526725"/>
              <a:ext cx="1227274" cy="602777"/>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Customer Account Creation</a:t>
              </a:r>
              <a:endParaRPr lang="en-US" sz="800" dirty="0">
                <a:solidFill>
                  <a:schemeClr val="tx1"/>
                </a:solidFill>
                <a:latin typeface="Segoe UI" panose="020B0502040204020203" pitchFamily="34" charset="0"/>
                <a:cs typeface="Segoe UI" panose="020B0502040204020203" pitchFamily="34" charset="0"/>
              </a:endParaRPr>
            </a:p>
          </p:txBody>
        </p:sp>
        <p:sp>
          <p:nvSpPr>
            <p:cNvPr id="58" name="Rectangle 57"/>
            <p:cNvSpPr/>
            <p:nvPr/>
          </p:nvSpPr>
          <p:spPr>
            <a:xfrm>
              <a:off x="5056029" y="2523843"/>
              <a:ext cx="969143" cy="612143"/>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Options for Rewards Points</a:t>
              </a:r>
              <a:endParaRPr lang="en-US" sz="800" dirty="0">
                <a:solidFill>
                  <a:schemeClr val="tx1"/>
                </a:solidFill>
                <a:latin typeface="Segoe UI" panose="020B0502040204020203" pitchFamily="34" charset="0"/>
                <a:cs typeface="Segoe UI" panose="020B0502040204020203" pitchFamily="34" charset="0"/>
              </a:endParaRPr>
            </a:p>
          </p:txBody>
        </p:sp>
        <p:sp>
          <p:nvSpPr>
            <p:cNvPr id="59" name="Rectangle 58"/>
            <p:cNvSpPr/>
            <p:nvPr/>
          </p:nvSpPr>
          <p:spPr>
            <a:xfrm>
              <a:off x="6570686" y="2476808"/>
              <a:ext cx="1058813" cy="649125"/>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Online Payment</a:t>
              </a:r>
              <a:endParaRPr lang="en-US" sz="800" dirty="0">
                <a:solidFill>
                  <a:schemeClr val="tx1"/>
                </a:solidFill>
                <a:latin typeface="Segoe UI" panose="020B0502040204020203" pitchFamily="34" charset="0"/>
                <a:cs typeface="Segoe UI" panose="020B0502040204020203" pitchFamily="34" charset="0"/>
              </a:endParaRPr>
            </a:p>
          </p:txBody>
        </p:sp>
        <p:cxnSp>
          <p:nvCxnSpPr>
            <p:cNvPr id="60" name="Straight Arrow Connector 59"/>
            <p:cNvCxnSpPr/>
            <p:nvPr/>
          </p:nvCxnSpPr>
          <p:spPr>
            <a:xfrm>
              <a:off x="1222938" y="2828069"/>
              <a:ext cx="58763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2861352" y="2829949"/>
              <a:ext cx="53421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4615192" y="2852936"/>
              <a:ext cx="44150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036470" y="2850347"/>
              <a:ext cx="53421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07263" y="2046997"/>
              <a:ext cx="0" cy="479401"/>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55" idx="0"/>
            </p:cNvCxnSpPr>
            <p:nvPr/>
          </p:nvCxnSpPr>
          <p:spPr>
            <a:xfrm flipH="1" flipV="1">
              <a:off x="2316900" y="2063588"/>
              <a:ext cx="3406" cy="40781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530061" y="2105307"/>
              <a:ext cx="1232" cy="42888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flipV="1">
              <a:off x="7149603" y="2081809"/>
              <a:ext cx="1232" cy="42888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178696" y="1578025"/>
              <a:ext cx="276408" cy="32429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A</a:t>
              </a:r>
              <a:endParaRPr lang="en-US" sz="1400" b="1" dirty="0">
                <a:solidFill>
                  <a:schemeClr val="bg1"/>
                </a:solidFill>
              </a:endParaRPr>
            </a:p>
          </p:txBody>
        </p:sp>
        <p:sp>
          <p:nvSpPr>
            <p:cNvPr id="70" name="Rounded Rectangle 69"/>
            <p:cNvSpPr/>
            <p:nvPr/>
          </p:nvSpPr>
          <p:spPr>
            <a:xfrm>
              <a:off x="2693150" y="2052675"/>
              <a:ext cx="1255876" cy="278704"/>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p:cNvSpPr txBox="1"/>
            <p:nvPr/>
          </p:nvSpPr>
          <p:spPr>
            <a:xfrm>
              <a:off x="-8416" y="1722580"/>
              <a:ext cx="1186081" cy="43302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100 % (100</a:t>
              </a:r>
              <a:r>
                <a:rPr lang="en-US" sz="1050" dirty="0" smtClean="0">
                  <a:latin typeface="Segoe UI" panose="020B0502040204020203" pitchFamily="34" charset="0"/>
                  <a:cs typeface="Segoe UI" panose="020B0502040204020203" pitchFamily="34" charset="0"/>
                </a:rPr>
                <a:t>)</a:t>
              </a:r>
              <a:endParaRPr lang="en-US" sz="1050" dirty="0">
                <a:latin typeface="Segoe UI" panose="020B0502040204020203" pitchFamily="34" charset="0"/>
                <a:cs typeface="Segoe UI" panose="020B0502040204020203" pitchFamily="34" charset="0"/>
              </a:endParaRPr>
            </a:p>
          </p:txBody>
        </p:sp>
        <p:sp>
          <p:nvSpPr>
            <p:cNvPr id="72" name="TextBox 71"/>
            <p:cNvSpPr txBox="1"/>
            <p:nvPr/>
          </p:nvSpPr>
          <p:spPr>
            <a:xfrm>
              <a:off x="748853" y="2046154"/>
              <a:ext cx="1750696"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100 % (100) - 15 min</a:t>
              </a:r>
              <a:endParaRPr lang="en-US" sz="800" dirty="0">
                <a:latin typeface="Segoe UI" panose="020B0502040204020203" pitchFamily="34" charset="0"/>
                <a:cs typeface="Segoe UI" panose="020B0502040204020203" pitchFamily="34" charset="0"/>
              </a:endParaRPr>
            </a:p>
          </p:txBody>
        </p:sp>
        <p:sp>
          <p:nvSpPr>
            <p:cNvPr id="73" name="TextBox 72"/>
            <p:cNvSpPr txBox="1"/>
            <p:nvPr/>
          </p:nvSpPr>
          <p:spPr>
            <a:xfrm>
              <a:off x="2668472" y="2005785"/>
              <a:ext cx="1429993"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100% (100) - 25 </a:t>
              </a:r>
              <a:r>
                <a:rPr lang="en-US" sz="800" dirty="0" err="1" smtClean="0">
                  <a:latin typeface="Segoe UI" panose="020B0502040204020203" pitchFamily="34" charset="0"/>
                  <a:cs typeface="Segoe UI" panose="020B0502040204020203" pitchFamily="34" charset="0"/>
                </a:rPr>
                <a:t>mins</a:t>
              </a:r>
              <a:endParaRPr lang="en-US" sz="800" dirty="0">
                <a:latin typeface="Segoe UI" panose="020B0502040204020203" pitchFamily="34" charset="0"/>
                <a:cs typeface="Segoe UI" panose="020B0502040204020203" pitchFamily="34" charset="0"/>
              </a:endParaRPr>
            </a:p>
          </p:txBody>
        </p:sp>
        <p:sp>
          <p:nvSpPr>
            <p:cNvPr id="74" name="TextBox 73"/>
            <p:cNvSpPr txBox="1"/>
            <p:nvPr/>
          </p:nvSpPr>
          <p:spPr>
            <a:xfrm>
              <a:off x="4055486" y="2204321"/>
              <a:ext cx="1982112"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100 % (100) -  30 min</a:t>
              </a:r>
              <a:endParaRPr lang="en-US" sz="800" dirty="0">
                <a:latin typeface="Segoe UI" panose="020B0502040204020203" pitchFamily="34" charset="0"/>
                <a:cs typeface="Segoe UI" panose="020B0502040204020203" pitchFamily="34" charset="0"/>
              </a:endParaRPr>
            </a:p>
          </p:txBody>
        </p:sp>
        <p:sp>
          <p:nvSpPr>
            <p:cNvPr id="75" name="TextBox 74"/>
            <p:cNvSpPr txBox="1"/>
            <p:nvPr/>
          </p:nvSpPr>
          <p:spPr>
            <a:xfrm>
              <a:off x="5735410" y="2091933"/>
              <a:ext cx="2141186"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80 % (80) -  45 min</a:t>
              </a:r>
              <a:endParaRPr lang="en-US" sz="800" dirty="0">
                <a:latin typeface="Segoe UI" panose="020B0502040204020203" pitchFamily="34" charset="0"/>
                <a:cs typeface="Segoe UI" panose="020B0502040204020203" pitchFamily="34" charset="0"/>
              </a:endParaRPr>
            </a:p>
          </p:txBody>
        </p:sp>
        <p:sp>
          <p:nvSpPr>
            <p:cNvPr id="76" name="TextBox 75"/>
            <p:cNvSpPr txBox="1"/>
            <p:nvPr/>
          </p:nvSpPr>
          <p:spPr>
            <a:xfrm>
              <a:off x="7358871" y="2046154"/>
              <a:ext cx="1956293"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76 % (76) – 15 min</a:t>
              </a:r>
              <a:endParaRPr lang="en-US" sz="800" dirty="0">
                <a:latin typeface="Segoe UI" panose="020B0502040204020203" pitchFamily="34" charset="0"/>
                <a:cs typeface="Segoe UI" panose="020B0502040204020203" pitchFamily="34" charset="0"/>
              </a:endParaRPr>
            </a:p>
          </p:txBody>
        </p:sp>
        <p:sp>
          <p:nvSpPr>
            <p:cNvPr id="79" name="Rounded Rectangle 78"/>
            <p:cNvSpPr/>
            <p:nvPr/>
          </p:nvSpPr>
          <p:spPr>
            <a:xfrm>
              <a:off x="5698585" y="2130013"/>
              <a:ext cx="1281657" cy="312899"/>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ounded Rectangle 79"/>
            <p:cNvSpPr/>
            <p:nvPr/>
          </p:nvSpPr>
          <p:spPr>
            <a:xfrm>
              <a:off x="7333110" y="2099628"/>
              <a:ext cx="1464069" cy="309763"/>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6450893" y="1436512"/>
              <a:ext cx="265877" cy="39560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C</a:t>
              </a:r>
              <a:endParaRPr lang="en-US" sz="1400" b="1" dirty="0">
                <a:solidFill>
                  <a:schemeClr val="bg1"/>
                </a:solidFill>
              </a:endParaRPr>
            </a:p>
          </p:txBody>
        </p:sp>
        <p:sp>
          <p:nvSpPr>
            <p:cNvPr id="83" name="Oval 82"/>
            <p:cNvSpPr/>
            <p:nvPr/>
          </p:nvSpPr>
          <p:spPr>
            <a:xfrm>
              <a:off x="5137544" y="3368992"/>
              <a:ext cx="248672" cy="35794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B</a:t>
              </a:r>
              <a:endParaRPr lang="en-US" sz="1400" b="1" dirty="0">
                <a:solidFill>
                  <a:schemeClr val="bg1"/>
                </a:solidFill>
              </a:endParaRPr>
            </a:p>
          </p:txBody>
        </p:sp>
        <p:sp>
          <p:nvSpPr>
            <p:cNvPr id="88" name="TextBox 87"/>
            <p:cNvSpPr txBox="1"/>
            <p:nvPr/>
          </p:nvSpPr>
          <p:spPr>
            <a:xfrm>
              <a:off x="7360573" y="2047404"/>
              <a:ext cx="1956293" cy="367419"/>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76 % (76) – 15 min</a:t>
              </a:r>
              <a:endParaRPr lang="en-US" sz="800" dirty="0">
                <a:latin typeface="Segoe UI" panose="020B0502040204020203" pitchFamily="34" charset="0"/>
                <a:cs typeface="Segoe UI" panose="020B0502040204020203" pitchFamily="34" charset="0"/>
              </a:endParaRPr>
            </a:p>
          </p:txBody>
        </p:sp>
      </p:grpSp>
      <p:pic>
        <p:nvPicPr>
          <p:cNvPr id="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5865" y="4367687"/>
            <a:ext cx="1932912" cy="1498634"/>
          </a:xfrm>
          <a:prstGeom prst="rect">
            <a:avLst/>
          </a:prstGeom>
        </p:spPr>
      </p:pic>
      <p:sp>
        <p:nvSpPr>
          <p:cNvPr id="84" name="Rectangle 83"/>
          <p:cNvSpPr/>
          <p:nvPr/>
        </p:nvSpPr>
        <p:spPr>
          <a:xfrm>
            <a:off x="10934897" y="2839300"/>
            <a:ext cx="894793" cy="380628"/>
          </a:xfrm>
          <a:prstGeom prst="rect">
            <a:avLst/>
          </a:prstGeom>
          <a:solidFill>
            <a:srgbClr val="9DC3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latin typeface="Segoe UI" panose="020B0502040204020203" pitchFamily="34" charset="0"/>
                <a:cs typeface="Segoe UI" panose="020B0502040204020203" pitchFamily="34" charset="0"/>
              </a:rPr>
              <a:t>Room Booked</a:t>
            </a:r>
            <a:endParaRPr lang="en-US" sz="800" dirty="0">
              <a:solidFill>
                <a:schemeClr val="tx1"/>
              </a:solidFill>
              <a:latin typeface="Segoe UI" panose="020B0502040204020203" pitchFamily="34" charset="0"/>
              <a:cs typeface="Segoe UI" panose="020B0502040204020203" pitchFamily="34" charset="0"/>
            </a:endParaRPr>
          </a:p>
        </p:txBody>
      </p:sp>
      <p:cxnSp>
        <p:nvCxnSpPr>
          <p:cNvPr id="86" name="Straight Arrow Connector 85"/>
          <p:cNvCxnSpPr/>
          <p:nvPr/>
        </p:nvCxnSpPr>
        <p:spPr>
          <a:xfrm>
            <a:off x="10635455" y="3043469"/>
            <a:ext cx="30835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H="1" flipV="1">
            <a:off x="11423307" y="2581133"/>
            <a:ext cx="1041" cy="251485"/>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991719" y="2372949"/>
            <a:ext cx="1653245" cy="215444"/>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76 % (76) – 15 min</a:t>
            </a:r>
            <a:endParaRPr lang="en-US" sz="800" dirty="0">
              <a:latin typeface="Segoe UI" panose="020B0502040204020203" pitchFamily="34" charset="0"/>
              <a:cs typeface="Segoe UI" panose="020B0502040204020203" pitchFamily="34" charset="0"/>
            </a:endParaRPr>
          </a:p>
        </p:txBody>
      </p:sp>
      <p:sp>
        <p:nvSpPr>
          <p:cNvPr id="15" name="TextBox 14"/>
          <p:cNvSpPr txBox="1"/>
          <p:nvPr/>
        </p:nvSpPr>
        <p:spPr>
          <a:xfrm>
            <a:off x="6288325" y="2288924"/>
            <a:ext cx="1540807" cy="276999"/>
          </a:xfrm>
          <a:prstGeom prst="rect">
            <a:avLst/>
          </a:prstGeom>
        </p:spPr>
        <p:txBody>
          <a:bodyPr wrap="square" lIns="0" tIns="0" rIns="0" bIns="0" rtlCol="0">
            <a:spAutoFit/>
          </a:bodyPr>
          <a:lstStyle/>
          <a:p>
            <a:pPr algn="l"/>
            <a:r>
              <a:rPr lang="en-US" sz="900" i="1" dirty="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Type of Room demanded </a:t>
            </a:r>
            <a:r>
              <a:rPr lang="en-US" sz="900" i="1" dirty="0" smtClean="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by</a:t>
            </a:r>
          </a:p>
          <a:p>
            <a:pPr algn="l"/>
            <a:r>
              <a:rPr lang="en-US" sz="900" i="1" dirty="0" smtClean="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 Customer </a:t>
            </a:r>
            <a:r>
              <a:rPr lang="en-US" sz="900" i="1" dirty="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not Available</a:t>
            </a:r>
          </a:p>
        </p:txBody>
      </p:sp>
      <p:sp>
        <p:nvSpPr>
          <p:cNvPr id="90" name="TextBox 89"/>
          <p:cNvSpPr txBox="1"/>
          <p:nvPr/>
        </p:nvSpPr>
        <p:spPr>
          <a:xfrm>
            <a:off x="8778579" y="3337754"/>
            <a:ext cx="1540807" cy="276999"/>
          </a:xfrm>
          <a:prstGeom prst="rect">
            <a:avLst/>
          </a:prstGeom>
        </p:spPr>
        <p:txBody>
          <a:bodyPr wrap="square" lIns="0" tIns="0" rIns="0" bIns="0" rtlCol="0">
            <a:spAutoFit/>
          </a:bodyPr>
          <a:lstStyle/>
          <a:p>
            <a:pPr algn="l"/>
            <a:r>
              <a:rPr lang="en-US" sz="900" i="1" dirty="0" smtClean="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Rewards points available but Customer not able to use</a:t>
            </a:r>
            <a:endParaRPr lang="en-US" sz="900" i="1" dirty="0">
              <a:solidFill>
                <a:srgbClr val="C00000"/>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1" name="TextBox 90"/>
          <p:cNvSpPr txBox="1"/>
          <p:nvPr/>
        </p:nvSpPr>
        <p:spPr>
          <a:xfrm>
            <a:off x="9882796" y="2152213"/>
            <a:ext cx="1540807" cy="415498"/>
          </a:xfrm>
          <a:prstGeom prst="rect">
            <a:avLst/>
          </a:prstGeom>
        </p:spPr>
        <p:txBody>
          <a:bodyPr wrap="square" lIns="0" tIns="0" rIns="0" bIns="0" rtlCol="0">
            <a:spAutoFit/>
          </a:bodyPr>
          <a:lstStyle/>
          <a:p>
            <a:pPr algn="l"/>
            <a:r>
              <a:rPr lang="en-US" sz="900" i="1" dirty="0" smtClean="0">
                <a:solidFill>
                  <a:srgbClr val="C00000"/>
                </a:solidFill>
                <a:latin typeface="Segoe UI Semibold" panose="020B0702040204020203" pitchFamily="34" charset="0"/>
                <a:ea typeface="Segoe UI" panose="020B0502040204020203" pitchFamily="34" charset="0"/>
                <a:cs typeface="Segoe UI Semibold" panose="020B0702040204020203" pitchFamily="34" charset="0"/>
              </a:rPr>
              <a:t>Issues in Payments- Payments failed /Taking much time</a:t>
            </a:r>
            <a:endParaRPr lang="en-US" sz="900" i="1" dirty="0">
              <a:solidFill>
                <a:srgbClr val="C00000"/>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1" name="Curved Connector 30"/>
          <p:cNvCxnSpPr/>
          <p:nvPr/>
        </p:nvCxnSpPr>
        <p:spPr>
          <a:xfrm>
            <a:off x="4572244" y="1595093"/>
            <a:ext cx="116890" cy="22207"/>
          </a:xfrm>
          <a:prstGeom prst="curvedConnector4">
            <a:avLst>
              <a:gd name="adj1" fmla="val 5316228"/>
              <a:gd name="adj2" fmla="val 1129405"/>
            </a:avLst>
          </a:prstGeom>
        </p:spPr>
        <p:style>
          <a:lnRef idx="1">
            <a:schemeClr val="accent1"/>
          </a:lnRef>
          <a:fillRef idx="0">
            <a:schemeClr val="accent1"/>
          </a:fillRef>
          <a:effectRef idx="0">
            <a:schemeClr val="accent1"/>
          </a:effectRef>
          <a:fontRef idx="minor">
            <a:schemeClr val="tx1"/>
          </a:fontRef>
        </p:style>
      </p:cxnSp>
      <p:cxnSp>
        <p:nvCxnSpPr>
          <p:cNvPr id="33" name="Curved Connector 32"/>
          <p:cNvCxnSpPr>
            <a:stCxn id="55" idx="2"/>
          </p:cNvCxnSpPr>
          <p:nvPr/>
        </p:nvCxnSpPr>
        <p:spPr>
          <a:xfrm rot="16200000" flipH="1">
            <a:off x="6294622" y="3066643"/>
            <a:ext cx="367340" cy="682964"/>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35" name="Curved Connector 34"/>
          <p:cNvCxnSpPr/>
          <p:nvPr/>
        </p:nvCxnSpPr>
        <p:spPr>
          <a:xfrm flipV="1">
            <a:off x="6819774" y="3505853"/>
            <a:ext cx="1107371" cy="85942"/>
          </a:xfrm>
          <a:prstGeom prst="curvedConnector3">
            <a:avLst/>
          </a:prstGeom>
        </p:spPr>
        <p:style>
          <a:lnRef idx="1">
            <a:schemeClr val="accent1"/>
          </a:lnRef>
          <a:fillRef idx="0">
            <a:schemeClr val="accent1"/>
          </a:fillRef>
          <a:effectRef idx="0">
            <a:schemeClr val="accent1"/>
          </a:effectRef>
          <a:fontRef idx="minor">
            <a:schemeClr val="tx1"/>
          </a:fontRef>
        </p:style>
      </p:cxnSp>
      <p:cxnSp>
        <p:nvCxnSpPr>
          <p:cNvPr id="37" name="Curved Connector 36"/>
          <p:cNvCxnSpPr/>
          <p:nvPr/>
        </p:nvCxnSpPr>
        <p:spPr>
          <a:xfrm flipV="1">
            <a:off x="7927145" y="3079295"/>
            <a:ext cx="464233" cy="42129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6457724" y="3338392"/>
            <a:ext cx="1208474" cy="215444"/>
          </a:xfrm>
          <a:prstGeom prst="rect">
            <a:avLst/>
          </a:prstGeom>
          <a:noFill/>
        </p:spPr>
        <p:txBody>
          <a:bodyPr wrap="square" rtlCol="0">
            <a:spAutoFit/>
          </a:bodyPr>
          <a:lstStyle/>
          <a:p>
            <a:r>
              <a:rPr lang="en-US" sz="800" dirty="0" smtClean="0">
                <a:latin typeface="Segoe UI" panose="020B0502040204020203" pitchFamily="34" charset="0"/>
                <a:cs typeface="Segoe UI" panose="020B0502040204020203" pitchFamily="34" charset="0"/>
              </a:rPr>
              <a:t>100% (100) - </a:t>
            </a:r>
            <a:r>
              <a:rPr lang="en-US" sz="800" dirty="0">
                <a:latin typeface="Segoe UI" panose="020B0502040204020203" pitchFamily="34" charset="0"/>
                <a:cs typeface="Segoe UI" panose="020B0502040204020203" pitchFamily="34" charset="0"/>
              </a:rPr>
              <a:t>1</a:t>
            </a:r>
            <a:r>
              <a:rPr lang="en-US" sz="800" dirty="0" smtClean="0">
                <a:latin typeface="Segoe UI" panose="020B0502040204020203" pitchFamily="34" charset="0"/>
                <a:cs typeface="Segoe UI" panose="020B0502040204020203" pitchFamily="34" charset="0"/>
              </a:rPr>
              <a:t>5 </a:t>
            </a:r>
            <a:r>
              <a:rPr lang="en-US" sz="800" dirty="0" err="1" smtClean="0">
                <a:latin typeface="Segoe UI" panose="020B0502040204020203" pitchFamily="34" charset="0"/>
                <a:cs typeface="Segoe UI" panose="020B0502040204020203" pitchFamily="34" charset="0"/>
              </a:rPr>
              <a:t>mins</a:t>
            </a:r>
            <a:endParaRPr lang="en-US" sz="800" dirty="0">
              <a:latin typeface="Segoe UI" panose="020B0502040204020203" pitchFamily="34" charset="0"/>
              <a:cs typeface="Segoe UI" panose="020B0502040204020203" pitchFamily="34" charset="0"/>
            </a:endParaRPr>
          </a:p>
        </p:txBody>
      </p:sp>
      <p:sp>
        <p:nvSpPr>
          <p:cNvPr id="104" name="TextBox 103"/>
          <p:cNvSpPr txBox="1"/>
          <p:nvPr/>
        </p:nvSpPr>
        <p:spPr>
          <a:xfrm>
            <a:off x="5075263" y="3420673"/>
            <a:ext cx="1540807" cy="276999"/>
          </a:xfrm>
          <a:prstGeom prst="rect">
            <a:avLst/>
          </a:prstGeom>
        </p:spPr>
        <p:txBody>
          <a:bodyPr wrap="square" lIns="0" tIns="0" rIns="0" bIns="0" rtlCol="0">
            <a:spAutoFit/>
          </a:bodyPr>
          <a:lstStyle/>
          <a:p>
            <a:pPr algn="l"/>
            <a:r>
              <a:rPr lang="en-US" sz="900" b="1" i="1" dirty="0" smtClean="0">
                <a:solidFill>
                  <a:schemeClr val="accent3">
                    <a:lumMod val="50000"/>
                  </a:schemeClr>
                </a:solidFill>
                <a:latin typeface="Segoe UI Semibold" panose="020B0702040204020203" pitchFamily="34" charset="0"/>
                <a:ea typeface="Segoe UI" panose="020B0502040204020203" pitchFamily="34" charset="0"/>
                <a:cs typeface="Segoe UI Semibold" panose="020B0702040204020203" pitchFamily="34" charset="0"/>
              </a:rPr>
              <a:t>*In case of Existing Elite Customer</a:t>
            </a:r>
            <a:endParaRPr lang="en-US" sz="900" b="1" i="1" dirty="0">
              <a:solidFill>
                <a:schemeClr val="accent3">
                  <a:lumMod val="50000"/>
                </a:scheme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6" name="Rectangle 105"/>
          <p:cNvSpPr/>
          <p:nvPr/>
        </p:nvSpPr>
        <p:spPr>
          <a:xfrm>
            <a:off x="6078903" y="4367687"/>
            <a:ext cx="1784488" cy="2015936"/>
          </a:xfrm>
          <a:prstGeom prst="rect">
            <a:avLst/>
          </a:prstGeom>
        </p:spPr>
        <p:txBody>
          <a:bodyPr wrap="square">
            <a:spAutoFit/>
          </a:bodyPr>
          <a:lstStyle/>
          <a:p>
            <a:pPr marL="76197" indent="-76197" algn="just">
              <a:buFont typeface="Arial" panose="020B0604020202020204" pitchFamily="34" charset="0"/>
              <a:buChar char="•"/>
            </a:pP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Resolve </a:t>
            </a:r>
            <a:r>
              <a:rPr lang="en-US" sz="900" dirty="0" smtClean="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Website </a:t>
            </a: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sync issue via bug fixes</a:t>
            </a:r>
          </a:p>
          <a:p>
            <a:pPr marL="76197" indent="-76197" algn="just">
              <a:buFont typeface="Arial" panose="020B0604020202020204" pitchFamily="34" charset="0"/>
              <a:buChar char="•"/>
            </a:pP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Secure cloud-based platform for seamless exchange of </a:t>
            </a:r>
            <a:r>
              <a:rPr lang="en-US" sz="900" dirty="0" smtClean="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Customer </a:t>
            </a: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information</a:t>
            </a:r>
          </a:p>
          <a:p>
            <a:pPr marL="76197" indent="-76197" algn="just">
              <a:buFont typeface="Arial" panose="020B0604020202020204" pitchFamily="34" charset="0"/>
              <a:buChar char="•"/>
            </a:pPr>
            <a:r>
              <a:rPr lang="en-US" sz="900" dirty="0" smtClean="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API-based </a:t>
            </a: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connectivity, service based architecture, configurable business rules, and robust data architecture</a:t>
            </a:r>
          </a:p>
          <a:p>
            <a:pPr marL="76197" indent="-76197" algn="just">
              <a:buFont typeface="Arial" panose="020B0604020202020204" pitchFamily="34" charset="0"/>
              <a:buChar char="•"/>
            </a:pP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24*7 support for </a:t>
            </a:r>
            <a:r>
              <a:rPr lang="en-US" sz="900" dirty="0" smtClean="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syncing Customer-Billing updates</a:t>
            </a:r>
          </a:p>
          <a:p>
            <a:pPr marL="76197" indent="-76197" algn="just">
              <a:buFont typeface="Arial" panose="020B0604020202020204" pitchFamily="34" charset="0"/>
              <a:buChar char="•"/>
            </a:pPr>
            <a:r>
              <a:rPr lang="en-US" sz="9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rPr>
              <a:t>Automated valuation &amp; validation models</a:t>
            </a:r>
          </a:p>
          <a:p>
            <a:pPr marL="76197" indent="-76197">
              <a:buFont typeface="Arial" panose="020B0604020202020204" pitchFamily="34" charset="0"/>
              <a:buChar char="•"/>
            </a:pPr>
            <a:endParaRPr lang="en-US" sz="800" dirty="0">
              <a:solidFill>
                <a:srgbClr val="347BB0"/>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07" name="Straight Connector 106"/>
          <p:cNvCxnSpPr/>
          <p:nvPr/>
        </p:nvCxnSpPr>
        <p:spPr>
          <a:xfrm>
            <a:off x="6006497" y="4371470"/>
            <a:ext cx="0" cy="1698761"/>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pic>
        <p:nvPicPr>
          <p:cNvPr id="108" name="Picture 10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8505" y="4369676"/>
            <a:ext cx="1930001" cy="1499967"/>
          </a:xfrm>
          <a:prstGeom prst="rect">
            <a:avLst/>
          </a:prstGeom>
        </p:spPr>
      </p:pic>
      <p:cxnSp>
        <p:nvCxnSpPr>
          <p:cNvPr id="110" name="Straight Connector 109"/>
          <p:cNvCxnSpPr/>
          <p:nvPr/>
        </p:nvCxnSpPr>
        <p:spPr>
          <a:xfrm>
            <a:off x="2121302" y="4264817"/>
            <a:ext cx="0" cy="1698761"/>
          </a:xfrm>
          <a:prstGeom prst="line">
            <a:avLst/>
          </a:prstGeom>
          <a:solidFill>
            <a:srgbClr val="FFC000">
              <a:lumMod val="20000"/>
              <a:lumOff val="80000"/>
            </a:srgbClr>
          </a:solidFill>
          <a:ln w="12700" cap="flat" cmpd="sng" algn="ctr">
            <a:solidFill>
              <a:schemeClr val="accent2">
                <a:lumMod val="50000"/>
              </a:schemeClr>
            </a:solidFill>
            <a:prstDash val="dash"/>
            <a:miter lim="800000"/>
            <a:headEnd type="oval"/>
            <a:tailEnd type="oval"/>
          </a:ln>
          <a:effectLst/>
        </p:spPr>
      </p:cxnSp>
      <p:sp>
        <p:nvSpPr>
          <p:cNvPr id="111" name="Rectangle 110"/>
          <p:cNvSpPr/>
          <p:nvPr/>
        </p:nvSpPr>
        <p:spPr>
          <a:xfrm>
            <a:off x="4065681" y="4106726"/>
            <a:ext cx="2155275" cy="318030"/>
          </a:xfrm>
          <a:prstGeom prst="rect">
            <a:avLst/>
          </a:prstGeom>
          <a:noFill/>
        </p:spPr>
        <p:txBody>
          <a:bodyPr wrap="square" lIns="162556" tIns="81277" rIns="162556" bIns="81277" rtlCol="0">
            <a:spAutoFit/>
          </a:bodyPr>
          <a:lstStyle/>
          <a:p>
            <a:pPr algn="ctr" defTabSz="609510"/>
            <a:r>
              <a:rPr lang="en-US" sz="1000" b="1" kern="0" dirty="0">
                <a:solidFill>
                  <a:srgbClr val="C00000"/>
                </a:solidFill>
                <a:latin typeface="Segoe UI Semibold" panose="020B0702040204020203" pitchFamily="34" charset="0"/>
              </a:rPr>
              <a:t>Process Solutions</a:t>
            </a:r>
          </a:p>
        </p:txBody>
      </p:sp>
      <p:sp>
        <p:nvSpPr>
          <p:cNvPr id="112" name="Rectangle 111"/>
          <p:cNvSpPr/>
          <p:nvPr/>
        </p:nvSpPr>
        <p:spPr>
          <a:xfrm>
            <a:off x="5789114" y="4087862"/>
            <a:ext cx="2155275" cy="318030"/>
          </a:xfrm>
          <a:prstGeom prst="rect">
            <a:avLst/>
          </a:prstGeom>
          <a:noFill/>
        </p:spPr>
        <p:txBody>
          <a:bodyPr wrap="square" lIns="162556" tIns="81277" rIns="162556" bIns="81277" rtlCol="0">
            <a:spAutoFit/>
          </a:bodyPr>
          <a:lstStyle/>
          <a:p>
            <a:pPr algn="ctr" defTabSz="609510"/>
            <a:r>
              <a:rPr lang="en-US" sz="1000" b="1" kern="0" dirty="0" smtClean="0">
                <a:solidFill>
                  <a:srgbClr val="C00000"/>
                </a:solidFill>
                <a:latin typeface="Segoe UI Semibold" panose="020B0702040204020203" pitchFamily="34" charset="0"/>
              </a:rPr>
              <a:t>IT </a:t>
            </a:r>
            <a:r>
              <a:rPr lang="en-US" sz="1000" b="1" kern="0" dirty="0">
                <a:solidFill>
                  <a:srgbClr val="C00000"/>
                </a:solidFill>
                <a:latin typeface="Segoe UI Semibold" panose="020B0702040204020203" pitchFamily="34" charset="0"/>
              </a:rPr>
              <a:t>Solutions</a:t>
            </a:r>
          </a:p>
        </p:txBody>
      </p:sp>
      <p:grpSp>
        <p:nvGrpSpPr>
          <p:cNvPr id="82" name="Group 81"/>
          <p:cNvGrpSpPr/>
          <p:nvPr/>
        </p:nvGrpSpPr>
        <p:grpSpPr>
          <a:xfrm>
            <a:off x="8763847" y="215593"/>
            <a:ext cx="2695352" cy="282408"/>
            <a:chOff x="8145350" y="225859"/>
            <a:chExt cx="2695352" cy="282408"/>
          </a:xfrm>
        </p:grpSpPr>
        <p:grpSp>
          <p:nvGrpSpPr>
            <p:cNvPr id="85" name="Group 84"/>
            <p:cNvGrpSpPr/>
            <p:nvPr/>
          </p:nvGrpSpPr>
          <p:grpSpPr>
            <a:xfrm>
              <a:off x="8335160" y="246313"/>
              <a:ext cx="2505542" cy="212634"/>
              <a:chOff x="299631" y="452732"/>
              <a:chExt cx="3147489" cy="320558"/>
            </a:xfrm>
          </p:grpSpPr>
          <p:grpSp>
            <p:nvGrpSpPr>
              <p:cNvPr id="94" name="Group 93"/>
              <p:cNvGrpSpPr/>
              <p:nvPr/>
            </p:nvGrpSpPr>
            <p:grpSpPr>
              <a:xfrm>
                <a:off x="299631" y="484807"/>
                <a:ext cx="270857" cy="281833"/>
                <a:chOff x="299631" y="484807"/>
                <a:chExt cx="270857" cy="281833"/>
              </a:xfrm>
            </p:grpSpPr>
            <p:sp>
              <p:nvSpPr>
                <p:cNvPr id="115" name="Oval 114"/>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16" name="Picture 115" descr="http://i1.cpcache.com/product_zoom/1264121174/skydiving_icon_business_cards.jpg?height=250&amp;width=250&amp;padToSquare=true"/>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95" name="TextBox 94"/>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96" name="Group 95"/>
              <p:cNvGrpSpPr/>
              <p:nvPr/>
            </p:nvGrpSpPr>
            <p:grpSpPr>
              <a:xfrm>
                <a:off x="1298515" y="490776"/>
                <a:ext cx="271717" cy="275864"/>
                <a:chOff x="5057725" y="5770940"/>
                <a:chExt cx="496562" cy="496562"/>
              </a:xfrm>
            </p:grpSpPr>
            <p:sp>
              <p:nvSpPr>
                <p:cNvPr id="113" name="Oval 112"/>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14" name="Picture 4" descr="http://sr.photos3.fotosearch.com/bthumb/CSP/CSP345/k3453379.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97" name="TextBox 96"/>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98" name="Group 97"/>
              <p:cNvGrpSpPr/>
              <p:nvPr/>
            </p:nvGrpSpPr>
            <p:grpSpPr>
              <a:xfrm>
                <a:off x="2310382" y="479627"/>
                <a:ext cx="304919" cy="293663"/>
                <a:chOff x="8469842" y="5748867"/>
                <a:chExt cx="496562" cy="496562"/>
              </a:xfrm>
            </p:grpSpPr>
            <p:sp>
              <p:nvSpPr>
                <p:cNvPr id="102" name="Oval 101"/>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03" name="Picture 2" descr="http://www.kewauneeprcommittee.com/High_hurdles.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99" name="TextBox 98"/>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92" name="Rounded Rectangle 91"/>
            <p:cNvSpPr/>
            <p:nvPr/>
          </p:nvSpPr>
          <p:spPr>
            <a:xfrm>
              <a:off x="8980833" y="229034"/>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3" name="Rounded Rectangle 92"/>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18347183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9338100" y="4678005"/>
            <a:ext cx="2120465" cy="1711255"/>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 name="Title 17"/>
          <p:cNvSpPr>
            <a:spLocks noGrp="1"/>
          </p:cNvSpPr>
          <p:nvPr>
            <p:ph type="title"/>
          </p:nvPr>
        </p:nvSpPr>
        <p:spPr/>
        <p:txBody>
          <a:bodyPr/>
          <a:lstStyle/>
          <a:p>
            <a:r>
              <a:rPr lang="en-US" dirty="0"/>
              <a:t>Key capabilities to deliver the </a:t>
            </a:r>
            <a:r>
              <a:rPr lang="en-US" dirty="0" smtClean="0"/>
              <a:t>outcomes</a:t>
            </a:r>
            <a:endParaRPr lang="en-US" dirty="0"/>
          </a:p>
        </p:txBody>
      </p:sp>
      <p:sp>
        <p:nvSpPr>
          <p:cNvPr id="83"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xfrm>
            <a:off x="0" y="6486525"/>
            <a:ext cx="1735138" cy="244475"/>
          </a:xfrm>
          <a:solidFill>
            <a:schemeClr val="bg1"/>
          </a:solidFill>
        </p:spPr>
        <p:txBody>
          <a:bodyPr/>
          <a:lstStyle>
            <a:lvl1pPr>
              <a:defRPr sz="14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2019 Cognizan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xfrm>
            <a:off x="0" y="6430963"/>
            <a:ext cx="1212850" cy="322262"/>
          </a:xfrm>
          <a:solidFill>
            <a:schemeClr val="bg1"/>
          </a:solidFill>
        </p:spPr>
        <p:txBody>
          <a:bodyPr/>
          <a:lstStyle>
            <a:lvl1pP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lide </a:t>
            </a:r>
            <a:fld id="{2EFEF571-C9B4-4D92-A7F7-315B89486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 of XX</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Rectangle 2"/>
          <p:cNvSpPr/>
          <p:nvPr/>
        </p:nvSpPr>
        <p:spPr>
          <a:xfrm>
            <a:off x="218353" y="1340219"/>
            <a:ext cx="2098432" cy="1385818"/>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p:cNvSpPr/>
          <p:nvPr/>
        </p:nvSpPr>
        <p:spPr>
          <a:xfrm>
            <a:off x="218354" y="2931218"/>
            <a:ext cx="2098432" cy="1506435"/>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p:cNvSpPr/>
          <p:nvPr/>
        </p:nvSpPr>
        <p:spPr>
          <a:xfrm>
            <a:off x="218354" y="4659990"/>
            <a:ext cx="2098432" cy="1776211"/>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6" name="Rectangle 5"/>
          <p:cNvSpPr/>
          <p:nvPr/>
        </p:nvSpPr>
        <p:spPr>
          <a:xfrm>
            <a:off x="2911337" y="1332789"/>
            <a:ext cx="2098432" cy="1457934"/>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Rectangle 6"/>
          <p:cNvSpPr/>
          <p:nvPr/>
        </p:nvSpPr>
        <p:spPr>
          <a:xfrm>
            <a:off x="2921193" y="2901037"/>
            <a:ext cx="2098432" cy="1474987"/>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7"/>
          <p:cNvSpPr/>
          <p:nvPr/>
        </p:nvSpPr>
        <p:spPr>
          <a:xfrm>
            <a:off x="2910176" y="4548447"/>
            <a:ext cx="2120465" cy="1781202"/>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381AEB6B-CAC7-B446-976E-DC96BA31E68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4993" y="1428088"/>
            <a:ext cx="651341" cy="583669"/>
          </a:xfrm>
          <a:prstGeom prst="rect">
            <a:avLst/>
          </a:prstGeom>
        </p:spPr>
      </p:pic>
      <p:sp>
        <p:nvSpPr>
          <p:cNvPr id="10" name="object 15"/>
          <p:cNvSpPr txBox="1"/>
          <p:nvPr/>
        </p:nvSpPr>
        <p:spPr>
          <a:xfrm>
            <a:off x="3094421" y="5714484"/>
            <a:ext cx="1835711" cy="507290"/>
          </a:xfrm>
          <a:prstGeom prst="rect">
            <a:avLst/>
          </a:prstGeom>
        </p:spPr>
        <p:txBody>
          <a:bodyPr vert="horz" wrap="square" lIns="0" tIns="0" rIns="0" bIns="0" rtlCol="0" anchor="t" anchorCtr="0">
            <a:noAutofit/>
          </a:bodyPr>
          <a:lstStyle/>
          <a:p>
            <a:pPr marL="0" marR="0" lvl="0" indent="0" algn="ctr" defTabSz="838158" rtl="0" eaLnBrk="1" fontAlgn="auto" latinLnBrk="0" hangingPunct="1">
              <a:lnSpc>
                <a:spcPct val="90000"/>
              </a:lnSpc>
              <a:spcBef>
                <a:spcPts val="0"/>
              </a:spcBef>
              <a:spcAft>
                <a:spcPts val="0"/>
              </a:spcAft>
              <a:buClrTx/>
              <a:buSzTx/>
              <a:buFontTx/>
              <a:buNone/>
              <a:tabLst/>
              <a:defRPr/>
            </a:pPr>
            <a:r>
              <a:rPr kumimoji="0" sz="1400" b="1" i="0" u="none" strike="noStrike" kern="0" cap="none" spc="28" normalizeH="0" baseline="0" noProof="0" dirty="0">
                <a:ln>
                  <a:noFill/>
                </a:ln>
                <a:solidFill>
                  <a:prstClr val="white"/>
                </a:solidFill>
                <a:effectLst/>
                <a:uLnTx/>
                <a:uFillTx/>
                <a:latin typeface="Calibri Light" panose="020F0302020204030204"/>
                <a:ea typeface="+mn-ea"/>
                <a:cs typeface="Arial" panose="020B0604020202020204" pitchFamily="34" charset="0"/>
              </a:rPr>
              <a:t>INNOVATION</a:t>
            </a:r>
            <a:r>
              <a:rPr kumimoji="0" sz="1400" b="1" i="0" u="none" strike="noStrike" kern="0" cap="none" spc="-28" normalizeH="0" baseline="0" noProof="0" dirty="0">
                <a:ln>
                  <a:noFill/>
                </a:ln>
                <a:solidFill>
                  <a:prstClr val="white"/>
                </a:solidFill>
                <a:effectLst/>
                <a:uLnTx/>
                <a:uFillTx/>
                <a:latin typeface="Calibri Light" panose="020F0302020204030204"/>
                <a:ea typeface="+mn-ea"/>
                <a:cs typeface="Arial" panose="020B0604020202020204" pitchFamily="34" charset="0"/>
              </a:rPr>
              <a:t> </a:t>
            </a:r>
            <a:r>
              <a:rPr kumimoji="0" sz="1400" b="1" i="0" u="none" strike="noStrike" kern="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amp;</a:t>
            </a:r>
          </a:p>
          <a:p>
            <a:pPr marL="0" marR="0" lvl="0" indent="0" algn="ctr" defTabSz="838158" rtl="0" eaLnBrk="1" fontAlgn="auto" latinLnBrk="0" hangingPunct="1">
              <a:lnSpc>
                <a:spcPct val="90000"/>
              </a:lnSpc>
              <a:spcBef>
                <a:spcPts val="0"/>
              </a:spcBef>
              <a:spcAft>
                <a:spcPts val="0"/>
              </a:spcAft>
              <a:buClrTx/>
              <a:buSzTx/>
              <a:buFontTx/>
              <a:buNone/>
              <a:tabLst/>
              <a:defRPr/>
            </a:pPr>
            <a:r>
              <a:rPr kumimoji="0" lang="en-US" sz="1400" b="1" i="0" u="none" strike="noStrike" kern="0" cap="none" spc="55"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AUTOMATION </a:t>
            </a:r>
            <a:r>
              <a:rPr kumimoji="0" lang="en-US" sz="1400" b="1" i="0" u="none" strike="noStrike" kern="0" cap="none" spc="55" normalizeH="0" baseline="0" noProof="0" dirty="0">
                <a:ln>
                  <a:noFill/>
                </a:ln>
                <a:solidFill>
                  <a:prstClr val="white"/>
                </a:solidFill>
                <a:effectLst/>
                <a:uLnTx/>
                <a:uFillTx/>
                <a:latin typeface="Calibri Light" panose="020F0302020204030204"/>
                <a:ea typeface="+mn-ea"/>
                <a:cs typeface="Arial" panose="020B0604020202020204" pitchFamily="34" charset="0"/>
              </a:rPr>
              <a:t>DRIVEN APPROACH</a:t>
            </a:r>
            <a:endParaRPr kumimoji="0" sz="1400" b="1" i="0" u="none" strike="noStrike" kern="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11" name="object 35"/>
          <p:cNvSpPr/>
          <p:nvPr/>
        </p:nvSpPr>
        <p:spPr>
          <a:xfrm>
            <a:off x="3616795" y="4605925"/>
            <a:ext cx="532076" cy="744393"/>
          </a:xfrm>
          <a:custGeom>
            <a:avLst/>
            <a:gdLst/>
            <a:ahLst/>
            <a:cxnLst/>
            <a:rect l="l" t="t" r="r" b="b"/>
            <a:pathLst>
              <a:path w="511175" h="546735">
                <a:moveTo>
                  <a:pt x="377609" y="30365"/>
                </a:moveTo>
                <a:lnTo>
                  <a:pt x="370293" y="32385"/>
                </a:lnTo>
                <a:lnTo>
                  <a:pt x="366979" y="38354"/>
                </a:lnTo>
                <a:lnTo>
                  <a:pt x="352348" y="62928"/>
                </a:lnTo>
                <a:lnTo>
                  <a:pt x="349034" y="68948"/>
                </a:lnTo>
                <a:lnTo>
                  <a:pt x="351002" y="76200"/>
                </a:lnTo>
                <a:lnTo>
                  <a:pt x="357022" y="79463"/>
                </a:lnTo>
                <a:lnTo>
                  <a:pt x="361010" y="80810"/>
                </a:lnTo>
                <a:lnTo>
                  <a:pt x="366979" y="80810"/>
                </a:lnTo>
                <a:lnTo>
                  <a:pt x="371640" y="78841"/>
                </a:lnTo>
                <a:lnTo>
                  <a:pt x="373608" y="74853"/>
                </a:lnTo>
                <a:lnTo>
                  <a:pt x="388239" y="50266"/>
                </a:lnTo>
                <a:lnTo>
                  <a:pt x="391553" y="44310"/>
                </a:lnTo>
                <a:lnTo>
                  <a:pt x="389521" y="36995"/>
                </a:lnTo>
                <a:lnTo>
                  <a:pt x="377609" y="30365"/>
                </a:lnTo>
                <a:close/>
              </a:path>
              <a:path w="511175" h="546735">
                <a:moveTo>
                  <a:pt x="133337" y="30365"/>
                </a:moveTo>
                <a:lnTo>
                  <a:pt x="121424" y="36995"/>
                </a:lnTo>
                <a:lnTo>
                  <a:pt x="119392" y="44310"/>
                </a:lnTo>
                <a:lnTo>
                  <a:pt x="122707" y="50266"/>
                </a:lnTo>
                <a:lnTo>
                  <a:pt x="137337" y="74917"/>
                </a:lnTo>
                <a:lnTo>
                  <a:pt x="139306" y="78905"/>
                </a:lnTo>
                <a:lnTo>
                  <a:pt x="143979" y="80873"/>
                </a:lnTo>
                <a:lnTo>
                  <a:pt x="149936" y="80873"/>
                </a:lnTo>
                <a:lnTo>
                  <a:pt x="153924" y="79527"/>
                </a:lnTo>
                <a:lnTo>
                  <a:pt x="159893" y="76200"/>
                </a:lnTo>
                <a:lnTo>
                  <a:pt x="161912" y="68884"/>
                </a:lnTo>
                <a:lnTo>
                  <a:pt x="158597" y="62928"/>
                </a:lnTo>
                <a:lnTo>
                  <a:pt x="143979" y="38354"/>
                </a:lnTo>
                <a:lnTo>
                  <a:pt x="140652" y="32385"/>
                </a:lnTo>
                <a:lnTo>
                  <a:pt x="133337" y="30365"/>
                </a:lnTo>
                <a:close/>
              </a:path>
              <a:path w="511175" h="546735">
                <a:moveTo>
                  <a:pt x="262077" y="0"/>
                </a:moveTo>
                <a:lnTo>
                  <a:pt x="248805" y="0"/>
                </a:lnTo>
                <a:lnTo>
                  <a:pt x="243522" y="5283"/>
                </a:lnTo>
                <a:lnTo>
                  <a:pt x="243522" y="40436"/>
                </a:lnTo>
                <a:lnTo>
                  <a:pt x="242849" y="47015"/>
                </a:lnTo>
                <a:lnTo>
                  <a:pt x="248132" y="52362"/>
                </a:lnTo>
                <a:lnTo>
                  <a:pt x="262077" y="52362"/>
                </a:lnTo>
                <a:lnTo>
                  <a:pt x="267360" y="47078"/>
                </a:lnTo>
                <a:lnTo>
                  <a:pt x="267360" y="5283"/>
                </a:lnTo>
                <a:lnTo>
                  <a:pt x="262077" y="0"/>
                </a:lnTo>
                <a:close/>
              </a:path>
              <a:path w="511175" h="546735">
                <a:moveTo>
                  <a:pt x="47066" y="242798"/>
                </a:moveTo>
                <a:lnTo>
                  <a:pt x="5283" y="242798"/>
                </a:lnTo>
                <a:lnTo>
                  <a:pt x="0" y="248081"/>
                </a:lnTo>
                <a:lnTo>
                  <a:pt x="0" y="261353"/>
                </a:lnTo>
                <a:lnTo>
                  <a:pt x="5283" y="266636"/>
                </a:lnTo>
                <a:lnTo>
                  <a:pt x="47066" y="266636"/>
                </a:lnTo>
                <a:lnTo>
                  <a:pt x="52349" y="261353"/>
                </a:lnTo>
                <a:lnTo>
                  <a:pt x="52349" y="248081"/>
                </a:lnTo>
                <a:lnTo>
                  <a:pt x="47066" y="242798"/>
                </a:lnTo>
                <a:close/>
              </a:path>
              <a:path w="511175" h="546735">
                <a:moveTo>
                  <a:pt x="505663" y="242798"/>
                </a:moveTo>
                <a:lnTo>
                  <a:pt x="463880" y="242798"/>
                </a:lnTo>
                <a:lnTo>
                  <a:pt x="458597" y="248081"/>
                </a:lnTo>
                <a:lnTo>
                  <a:pt x="458597" y="261353"/>
                </a:lnTo>
                <a:lnTo>
                  <a:pt x="463880" y="266636"/>
                </a:lnTo>
                <a:lnTo>
                  <a:pt x="505663" y="266636"/>
                </a:lnTo>
                <a:lnTo>
                  <a:pt x="510959" y="261353"/>
                </a:lnTo>
                <a:lnTo>
                  <a:pt x="510959" y="248081"/>
                </a:lnTo>
                <a:lnTo>
                  <a:pt x="505663" y="242798"/>
                </a:lnTo>
                <a:close/>
              </a:path>
              <a:path w="511175" h="546735">
                <a:moveTo>
                  <a:pt x="466458" y="119341"/>
                </a:moveTo>
                <a:lnTo>
                  <a:pt x="460502" y="122656"/>
                </a:lnTo>
                <a:lnTo>
                  <a:pt x="435927" y="137287"/>
                </a:lnTo>
                <a:lnTo>
                  <a:pt x="429958" y="140601"/>
                </a:lnTo>
                <a:lnTo>
                  <a:pt x="427939" y="147916"/>
                </a:lnTo>
                <a:lnTo>
                  <a:pt x="431253" y="153873"/>
                </a:lnTo>
                <a:lnTo>
                  <a:pt x="433222" y="157873"/>
                </a:lnTo>
                <a:lnTo>
                  <a:pt x="437883" y="159829"/>
                </a:lnTo>
                <a:lnTo>
                  <a:pt x="443852" y="159829"/>
                </a:lnTo>
                <a:lnTo>
                  <a:pt x="447840" y="158483"/>
                </a:lnTo>
                <a:lnTo>
                  <a:pt x="472427" y="143852"/>
                </a:lnTo>
                <a:lnTo>
                  <a:pt x="478447" y="140601"/>
                </a:lnTo>
                <a:lnTo>
                  <a:pt x="480415" y="133286"/>
                </a:lnTo>
                <a:lnTo>
                  <a:pt x="473773" y="121361"/>
                </a:lnTo>
                <a:lnTo>
                  <a:pt x="466458" y="119341"/>
                </a:lnTo>
                <a:close/>
              </a:path>
              <a:path w="511175" h="546735">
                <a:moveTo>
                  <a:pt x="254152" y="96177"/>
                </a:moveTo>
                <a:lnTo>
                  <a:pt x="204366" y="104253"/>
                </a:lnTo>
                <a:lnTo>
                  <a:pt x="161030" y="126722"/>
                </a:lnTo>
                <a:lnTo>
                  <a:pt x="126795" y="160946"/>
                </a:lnTo>
                <a:lnTo>
                  <a:pt x="104311" y="204286"/>
                </a:lnTo>
                <a:lnTo>
                  <a:pt x="96227" y="254101"/>
                </a:lnTo>
                <a:lnTo>
                  <a:pt x="97588" y="274432"/>
                </a:lnTo>
                <a:lnTo>
                  <a:pt x="101628" y="294466"/>
                </a:lnTo>
                <a:lnTo>
                  <a:pt x="108282" y="313889"/>
                </a:lnTo>
                <a:lnTo>
                  <a:pt x="117487" y="332384"/>
                </a:lnTo>
                <a:lnTo>
                  <a:pt x="118110" y="333743"/>
                </a:lnTo>
                <a:lnTo>
                  <a:pt x="118783" y="334352"/>
                </a:lnTo>
                <a:lnTo>
                  <a:pt x="119486" y="335762"/>
                </a:lnTo>
                <a:lnTo>
                  <a:pt x="123767" y="342930"/>
                </a:lnTo>
                <a:lnTo>
                  <a:pt x="128651" y="349716"/>
                </a:lnTo>
                <a:lnTo>
                  <a:pt x="133915" y="356135"/>
                </a:lnTo>
                <a:lnTo>
                  <a:pt x="139369" y="362254"/>
                </a:lnTo>
                <a:lnTo>
                  <a:pt x="153875" y="385178"/>
                </a:lnTo>
                <a:lnTo>
                  <a:pt x="164415" y="405874"/>
                </a:lnTo>
                <a:lnTo>
                  <a:pt x="170729" y="423839"/>
                </a:lnTo>
                <a:lnTo>
                  <a:pt x="172554" y="438569"/>
                </a:lnTo>
                <a:lnTo>
                  <a:pt x="172554" y="501624"/>
                </a:lnTo>
                <a:lnTo>
                  <a:pt x="176058" y="519011"/>
                </a:lnTo>
                <a:lnTo>
                  <a:pt x="185654" y="533365"/>
                </a:lnTo>
                <a:lnTo>
                  <a:pt x="199976" y="543122"/>
                </a:lnTo>
                <a:lnTo>
                  <a:pt x="217652" y="546722"/>
                </a:lnTo>
                <a:lnTo>
                  <a:pt x="291274" y="546722"/>
                </a:lnTo>
                <a:lnTo>
                  <a:pt x="308661" y="543219"/>
                </a:lnTo>
                <a:lnTo>
                  <a:pt x="323014" y="533622"/>
                </a:lnTo>
                <a:lnTo>
                  <a:pt x="331256" y="521525"/>
                </a:lnTo>
                <a:lnTo>
                  <a:pt x="217652" y="521525"/>
                </a:lnTo>
                <a:lnTo>
                  <a:pt x="210142" y="520121"/>
                </a:lnTo>
                <a:lnTo>
                  <a:pt x="203882" y="516234"/>
                </a:lnTo>
                <a:lnTo>
                  <a:pt x="199361" y="510354"/>
                </a:lnTo>
                <a:lnTo>
                  <a:pt x="197065" y="502970"/>
                </a:lnTo>
                <a:lnTo>
                  <a:pt x="197065" y="498297"/>
                </a:lnTo>
                <a:lnTo>
                  <a:pt x="336372" y="498297"/>
                </a:lnTo>
                <a:lnTo>
                  <a:pt x="336372" y="473722"/>
                </a:lnTo>
                <a:lnTo>
                  <a:pt x="197065" y="473722"/>
                </a:lnTo>
                <a:lnTo>
                  <a:pt x="197065" y="451167"/>
                </a:lnTo>
                <a:lnTo>
                  <a:pt x="336372" y="451167"/>
                </a:lnTo>
                <a:lnTo>
                  <a:pt x="336372" y="442569"/>
                </a:lnTo>
                <a:lnTo>
                  <a:pt x="335699" y="440601"/>
                </a:lnTo>
                <a:lnTo>
                  <a:pt x="335699" y="438569"/>
                </a:lnTo>
                <a:lnTo>
                  <a:pt x="337159" y="426707"/>
                </a:lnTo>
                <a:lnTo>
                  <a:pt x="196392" y="426707"/>
                </a:lnTo>
                <a:lnTo>
                  <a:pt x="184421" y="390398"/>
                </a:lnTo>
                <a:lnTo>
                  <a:pt x="158534" y="347078"/>
                </a:lnTo>
                <a:lnTo>
                  <a:pt x="157187" y="345719"/>
                </a:lnTo>
                <a:lnTo>
                  <a:pt x="152324" y="340107"/>
                </a:lnTo>
                <a:lnTo>
                  <a:pt x="147705" y="334249"/>
                </a:lnTo>
                <a:lnTo>
                  <a:pt x="143341" y="328151"/>
                </a:lnTo>
                <a:lnTo>
                  <a:pt x="139242" y="321818"/>
                </a:lnTo>
                <a:lnTo>
                  <a:pt x="139242" y="321144"/>
                </a:lnTo>
                <a:lnTo>
                  <a:pt x="131312" y="305240"/>
                </a:lnTo>
                <a:lnTo>
                  <a:pt x="125476" y="288445"/>
                </a:lnTo>
                <a:lnTo>
                  <a:pt x="121909" y="271187"/>
                </a:lnTo>
                <a:lnTo>
                  <a:pt x="120688" y="253428"/>
                </a:lnTo>
                <a:lnTo>
                  <a:pt x="127489" y="211258"/>
                </a:lnTo>
                <a:lnTo>
                  <a:pt x="146427" y="174634"/>
                </a:lnTo>
                <a:lnTo>
                  <a:pt x="175305" y="145755"/>
                </a:lnTo>
                <a:lnTo>
                  <a:pt x="211924" y="126816"/>
                </a:lnTo>
                <a:lnTo>
                  <a:pt x="254088" y="120015"/>
                </a:lnTo>
                <a:lnTo>
                  <a:pt x="335263" y="120015"/>
                </a:lnTo>
                <a:lnTo>
                  <a:pt x="303943" y="103920"/>
                </a:lnTo>
                <a:lnTo>
                  <a:pt x="254152" y="96177"/>
                </a:lnTo>
                <a:close/>
              </a:path>
              <a:path w="511175" h="546735">
                <a:moveTo>
                  <a:pt x="336372" y="498297"/>
                </a:moveTo>
                <a:lnTo>
                  <a:pt x="311848" y="498297"/>
                </a:lnTo>
                <a:lnTo>
                  <a:pt x="311848" y="502970"/>
                </a:lnTo>
                <a:lnTo>
                  <a:pt x="309588" y="510354"/>
                </a:lnTo>
                <a:lnTo>
                  <a:pt x="305073" y="516234"/>
                </a:lnTo>
                <a:lnTo>
                  <a:pt x="298814" y="520121"/>
                </a:lnTo>
                <a:lnTo>
                  <a:pt x="291325" y="521525"/>
                </a:lnTo>
                <a:lnTo>
                  <a:pt x="331256" y="521525"/>
                </a:lnTo>
                <a:lnTo>
                  <a:pt x="332772" y="519301"/>
                </a:lnTo>
                <a:lnTo>
                  <a:pt x="336372" y="501624"/>
                </a:lnTo>
                <a:lnTo>
                  <a:pt x="336372" y="498297"/>
                </a:lnTo>
                <a:close/>
              </a:path>
              <a:path w="511175" h="546735">
                <a:moveTo>
                  <a:pt x="336372" y="451167"/>
                </a:moveTo>
                <a:lnTo>
                  <a:pt x="311848" y="451167"/>
                </a:lnTo>
                <a:lnTo>
                  <a:pt x="311848" y="473722"/>
                </a:lnTo>
                <a:lnTo>
                  <a:pt x="336372" y="473722"/>
                </a:lnTo>
                <a:lnTo>
                  <a:pt x="336372" y="451167"/>
                </a:lnTo>
                <a:close/>
              </a:path>
              <a:path w="511175" h="546735">
                <a:moveTo>
                  <a:pt x="335263" y="120015"/>
                </a:moveTo>
                <a:lnTo>
                  <a:pt x="254088" y="120015"/>
                </a:lnTo>
                <a:lnTo>
                  <a:pt x="296259" y="126816"/>
                </a:lnTo>
                <a:lnTo>
                  <a:pt x="332882" y="145755"/>
                </a:lnTo>
                <a:lnTo>
                  <a:pt x="361762" y="174634"/>
                </a:lnTo>
                <a:lnTo>
                  <a:pt x="380701" y="211258"/>
                </a:lnTo>
                <a:lnTo>
                  <a:pt x="387502" y="253428"/>
                </a:lnTo>
                <a:lnTo>
                  <a:pt x="386381" y="271197"/>
                </a:lnTo>
                <a:lnTo>
                  <a:pt x="383000" y="288529"/>
                </a:lnTo>
                <a:lnTo>
                  <a:pt x="377440" y="304956"/>
                </a:lnTo>
                <a:lnTo>
                  <a:pt x="369620" y="320471"/>
                </a:lnTo>
                <a:lnTo>
                  <a:pt x="369620" y="321144"/>
                </a:lnTo>
                <a:lnTo>
                  <a:pt x="368947" y="321144"/>
                </a:lnTo>
                <a:lnTo>
                  <a:pt x="368947" y="322491"/>
                </a:lnTo>
                <a:lnTo>
                  <a:pt x="368261" y="322491"/>
                </a:lnTo>
                <a:lnTo>
                  <a:pt x="368261" y="323164"/>
                </a:lnTo>
                <a:lnTo>
                  <a:pt x="365064" y="328629"/>
                </a:lnTo>
                <a:lnTo>
                  <a:pt x="361408" y="333967"/>
                </a:lnTo>
                <a:lnTo>
                  <a:pt x="357369" y="339050"/>
                </a:lnTo>
                <a:lnTo>
                  <a:pt x="353021" y="343750"/>
                </a:lnTo>
                <a:lnTo>
                  <a:pt x="352348" y="344436"/>
                </a:lnTo>
                <a:lnTo>
                  <a:pt x="351675" y="344436"/>
                </a:lnTo>
                <a:lnTo>
                  <a:pt x="351675" y="345109"/>
                </a:lnTo>
                <a:lnTo>
                  <a:pt x="339123" y="363831"/>
                </a:lnTo>
                <a:lnTo>
                  <a:pt x="327380" y="384413"/>
                </a:lnTo>
                <a:lnTo>
                  <a:pt x="318000" y="405742"/>
                </a:lnTo>
                <a:lnTo>
                  <a:pt x="312534" y="426707"/>
                </a:lnTo>
                <a:lnTo>
                  <a:pt x="337159" y="426707"/>
                </a:lnTo>
                <a:lnTo>
                  <a:pt x="337570" y="423365"/>
                </a:lnTo>
                <a:lnTo>
                  <a:pt x="344025" y="404914"/>
                </a:lnTo>
                <a:lnTo>
                  <a:pt x="354949" y="383719"/>
                </a:lnTo>
                <a:lnTo>
                  <a:pt x="370230" y="360286"/>
                </a:lnTo>
                <a:lnTo>
                  <a:pt x="374988" y="355083"/>
                </a:lnTo>
                <a:lnTo>
                  <a:pt x="379375" y="349513"/>
                </a:lnTo>
                <a:lnTo>
                  <a:pt x="383508" y="343691"/>
                </a:lnTo>
                <a:lnTo>
                  <a:pt x="387502" y="337731"/>
                </a:lnTo>
                <a:lnTo>
                  <a:pt x="388897" y="335711"/>
                </a:lnTo>
                <a:lnTo>
                  <a:pt x="390144" y="334416"/>
                </a:lnTo>
                <a:lnTo>
                  <a:pt x="390817" y="333057"/>
                </a:lnTo>
                <a:lnTo>
                  <a:pt x="391490" y="331101"/>
                </a:lnTo>
                <a:lnTo>
                  <a:pt x="400305" y="312703"/>
                </a:lnTo>
                <a:lnTo>
                  <a:pt x="406760" y="293503"/>
                </a:lnTo>
                <a:lnTo>
                  <a:pt x="410726" y="273683"/>
                </a:lnTo>
                <a:lnTo>
                  <a:pt x="412076" y="253428"/>
                </a:lnTo>
                <a:lnTo>
                  <a:pt x="403994" y="203617"/>
                </a:lnTo>
                <a:lnTo>
                  <a:pt x="381512" y="160313"/>
                </a:lnTo>
                <a:lnTo>
                  <a:pt x="347279" y="126189"/>
                </a:lnTo>
                <a:lnTo>
                  <a:pt x="335263" y="120015"/>
                </a:lnTo>
                <a:close/>
              </a:path>
              <a:path w="511175" h="546735">
                <a:moveTo>
                  <a:pt x="44424" y="119341"/>
                </a:moveTo>
                <a:lnTo>
                  <a:pt x="37109" y="121310"/>
                </a:lnTo>
                <a:lnTo>
                  <a:pt x="33794" y="127330"/>
                </a:lnTo>
                <a:lnTo>
                  <a:pt x="30480" y="133286"/>
                </a:lnTo>
                <a:lnTo>
                  <a:pt x="32448" y="140601"/>
                </a:lnTo>
                <a:lnTo>
                  <a:pt x="38468" y="143916"/>
                </a:lnTo>
                <a:lnTo>
                  <a:pt x="63042" y="158546"/>
                </a:lnTo>
                <a:lnTo>
                  <a:pt x="65011" y="159893"/>
                </a:lnTo>
                <a:lnTo>
                  <a:pt x="72999" y="159893"/>
                </a:lnTo>
                <a:lnTo>
                  <a:pt x="77609" y="157924"/>
                </a:lnTo>
                <a:lnTo>
                  <a:pt x="79629" y="153936"/>
                </a:lnTo>
                <a:lnTo>
                  <a:pt x="82892" y="147916"/>
                </a:lnTo>
                <a:lnTo>
                  <a:pt x="80924" y="140601"/>
                </a:lnTo>
                <a:lnTo>
                  <a:pt x="74968" y="137287"/>
                </a:lnTo>
                <a:lnTo>
                  <a:pt x="50380" y="122656"/>
                </a:lnTo>
                <a:lnTo>
                  <a:pt x="44424" y="119341"/>
                </a:lnTo>
                <a:close/>
              </a:path>
            </a:pathLst>
          </a:custGeom>
          <a:solidFill>
            <a:sysClr val="window" lastClr="FFFFFF"/>
          </a:solidFill>
        </p:spPr>
        <p:txBody>
          <a:bodyPr wrap="square" lIns="0" tIns="0" rIns="0" bIns="0" rtlCol="0"/>
          <a:lstStyle/>
          <a:p>
            <a:pPr marL="0" marR="0" lvl="0" indent="0" algn="ctr" defTabSz="838158" rtl="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sp>
        <p:nvSpPr>
          <p:cNvPr id="12" name="object 19"/>
          <p:cNvSpPr txBox="1"/>
          <p:nvPr/>
        </p:nvSpPr>
        <p:spPr>
          <a:xfrm>
            <a:off x="350408" y="3819323"/>
            <a:ext cx="1654059" cy="470638"/>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OPERATIONAL EFFICIENCY</a:t>
            </a:r>
            <a:r>
              <a:rPr kumimoji="0"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 </a:t>
            </a:r>
            <a: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
            </a:r>
            <a:b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br>
            <a:r>
              <a:rPr kumimoji="0" sz="1400" b="1" i="0" u="none" strike="noStrike" kern="1200" cap="none" spc="-33" normalizeH="0" baseline="0" noProof="0" dirty="0">
                <a:ln>
                  <a:noFill/>
                </a:ln>
                <a:solidFill>
                  <a:prstClr val="white"/>
                </a:solidFill>
                <a:effectLst/>
                <a:uLnTx/>
                <a:uFillTx/>
                <a:latin typeface="Calibri Light" panose="020F0302020204030204"/>
                <a:ea typeface="+mn-ea"/>
                <a:cs typeface="Arial" panose="020B0604020202020204" pitchFamily="34" charset="0"/>
              </a:rPr>
              <a:t>AT</a:t>
            </a:r>
            <a:r>
              <a:rPr kumimoji="0" sz="1400" b="1" i="0" u="none" strike="noStrike" kern="1200" cap="none" spc="-7" normalizeH="0" baseline="0" noProof="0" dirty="0">
                <a:ln>
                  <a:noFill/>
                </a:ln>
                <a:solidFill>
                  <a:prstClr val="white"/>
                </a:solidFill>
                <a:effectLst/>
                <a:uLnTx/>
                <a:uFillTx/>
                <a:latin typeface="Calibri Light" panose="020F0302020204030204"/>
                <a:ea typeface="+mn-ea"/>
                <a:cs typeface="Arial" panose="020B0604020202020204" pitchFamily="34" charset="0"/>
              </a:rPr>
              <a:t> </a:t>
            </a:r>
            <a:r>
              <a:rPr kumimoji="0" sz="1400" b="1" i="0" u="none" strike="noStrike" kern="1200" cap="none" spc="47" normalizeH="0" baseline="0" noProof="0" dirty="0">
                <a:ln>
                  <a:noFill/>
                </a:ln>
                <a:solidFill>
                  <a:prstClr val="white"/>
                </a:solidFill>
                <a:effectLst/>
                <a:uLnTx/>
                <a:uFillTx/>
                <a:latin typeface="Calibri Light" panose="020F0302020204030204"/>
                <a:ea typeface="+mn-ea"/>
                <a:cs typeface="Arial" panose="020B0604020202020204" pitchFamily="34" charset="0"/>
              </a:rPr>
              <a:t>SCALE</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pic>
        <p:nvPicPr>
          <p:cNvPr id="13" name="Picture 12">
            <a:extLst>
              <a:ext uri="{FF2B5EF4-FFF2-40B4-BE49-F238E27FC236}">
                <a16:creationId xmlns:a16="http://schemas.microsoft.com/office/drawing/2014/main" id="{EA2254EF-C6C5-B044-B8A1-5233F27565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9771" y="3016551"/>
            <a:ext cx="755334" cy="755334"/>
          </a:xfrm>
          <a:prstGeom prst="rect">
            <a:avLst/>
          </a:prstGeom>
        </p:spPr>
      </p:pic>
      <p:sp>
        <p:nvSpPr>
          <p:cNvPr id="14" name="object 17"/>
          <p:cNvSpPr txBox="1"/>
          <p:nvPr/>
        </p:nvSpPr>
        <p:spPr>
          <a:xfrm>
            <a:off x="2898203" y="2122071"/>
            <a:ext cx="2133599" cy="520578"/>
          </a:xfrm>
          <a:prstGeom prst="rect">
            <a:avLst/>
          </a:prstGeom>
        </p:spPr>
        <p:txBody>
          <a:bodyPr vert="horz" wrap="square" lIns="0" tIns="0" rIns="0" bIns="0" rtlCol="0" anchor="ctr" anchorCtr="0">
            <a:noAutofit/>
          </a:bodyPr>
          <a:lstStyle/>
          <a:p>
            <a:pPr marL="0" marR="9030" lvl="0" indent="156908" algn="ctr" defTabSz="1625519" rtl="0" eaLnBrk="1" fontAlgn="auto" latinLnBrk="0" hangingPunct="1">
              <a:lnSpc>
                <a:spcPct val="90000"/>
              </a:lnSpc>
              <a:spcBef>
                <a:spcPts val="0"/>
              </a:spcBef>
              <a:spcAft>
                <a:spcPts val="0"/>
              </a:spcAft>
              <a:buClrTx/>
              <a:buSzTx/>
              <a:buFontTx/>
              <a:buNone/>
              <a:tabLst/>
              <a:defRPr/>
            </a:pPr>
            <a:r>
              <a:rPr kumimoji="0" lang="en-US" sz="1400" b="1" i="0" u="none" strike="noStrike" kern="0" cap="none" spc="63" normalizeH="0" baseline="0" noProof="0" dirty="0">
                <a:ln>
                  <a:noFill/>
                </a:ln>
                <a:solidFill>
                  <a:prstClr val="white"/>
                </a:solidFill>
                <a:effectLst/>
                <a:uLnTx/>
                <a:uFillTx/>
                <a:latin typeface="Calibri Light" panose="020F0302020204030204"/>
                <a:ea typeface="+mn-ea"/>
                <a:cs typeface="Arial" panose="020B0604020202020204" pitchFamily="34" charset="0"/>
              </a:rPr>
              <a:t>PROVEN FRAMEWORK FOR CONTINUOUS SERVICE IMPROVEMENT </a:t>
            </a:r>
          </a:p>
        </p:txBody>
      </p:sp>
      <p:pic>
        <p:nvPicPr>
          <p:cNvPr id="15" name="Picture 14">
            <a:extLst>
              <a:ext uri="{FF2B5EF4-FFF2-40B4-BE49-F238E27FC236}">
                <a16:creationId xmlns:a16="http://schemas.microsoft.com/office/drawing/2014/main" id="{A2F5D69E-F9AB-0046-8771-90AEAA37AD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9771" y="1354710"/>
            <a:ext cx="862809" cy="862809"/>
          </a:xfrm>
          <a:prstGeom prst="rect">
            <a:avLst/>
          </a:prstGeom>
          <a:noFill/>
          <a:ln>
            <a:noFill/>
          </a:ln>
        </p:spPr>
      </p:pic>
      <p:sp>
        <p:nvSpPr>
          <p:cNvPr id="16" name="object 19"/>
          <p:cNvSpPr txBox="1"/>
          <p:nvPr/>
        </p:nvSpPr>
        <p:spPr>
          <a:xfrm>
            <a:off x="324410" y="2257980"/>
            <a:ext cx="1886317" cy="472067"/>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STRONG ITIL BASED SERVICE DELIVERY</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pic>
        <p:nvPicPr>
          <p:cNvPr id="17" name="Picture 16">
            <a:extLst>
              <a:ext uri="{FF2B5EF4-FFF2-40B4-BE49-F238E27FC236}">
                <a16:creationId xmlns:a16="http://schemas.microsoft.com/office/drawing/2014/main" id="{7EB35B18-EBE0-6F48-B1B5-946A400345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6751" y="4690587"/>
            <a:ext cx="678266" cy="694045"/>
          </a:xfrm>
          <a:prstGeom prst="rect">
            <a:avLst/>
          </a:prstGeom>
        </p:spPr>
      </p:pic>
      <p:sp>
        <p:nvSpPr>
          <p:cNvPr id="19" name="object 13"/>
          <p:cNvSpPr txBox="1"/>
          <p:nvPr/>
        </p:nvSpPr>
        <p:spPr>
          <a:xfrm>
            <a:off x="248867" y="5606969"/>
            <a:ext cx="2018019" cy="634224"/>
          </a:xfrm>
          <a:prstGeom prst="rect">
            <a:avLst/>
          </a:prstGeom>
        </p:spPr>
        <p:txBody>
          <a:bodyPr vert="horz" wrap="square" lIns="0" tIns="0" rIns="0" bIns="0" rtlCol="0" anchor="ctr" anchorCtr="0">
            <a:noAutofit/>
          </a:bodyPr>
          <a:lstStyle/>
          <a:p>
            <a:pPr marL="0" marR="9030" lvl="0" indent="156908" algn="ctr" defTabSz="1625519" rtl="0" eaLnBrk="1" fontAlgn="auto" latinLnBrk="0" hangingPunct="1">
              <a:lnSpc>
                <a:spcPct val="90000"/>
              </a:lnSpc>
              <a:spcBef>
                <a:spcPts val="0"/>
              </a:spcBef>
              <a:spcAft>
                <a:spcPts val="0"/>
              </a:spcAft>
              <a:buClrTx/>
              <a:buSzTx/>
              <a:buFontTx/>
              <a:buNone/>
              <a:tabLst/>
              <a:defRPr/>
            </a:pPr>
            <a:r>
              <a:rPr kumimoji="0" lang="en-US" sz="1400" b="1" i="0" u="none" strike="noStrike" kern="0" cap="none" spc="63" normalizeH="0" baseline="0" noProof="0" dirty="0">
                <a:ln>
                  <a:noFill/>
                </a:ln>
                <a:solidFill>
                  <a:prstClr val="white"/>
                </a:solidFill>
                <a:effectLst/>
                <a:uLnTx/>
                <a:uFillTx/>
                <a:latin typeface="Calibri Light" panose="020F0302020204030204"/>
                <a:ea typeface="+mn-ea"/>
                <a:cs typeface="Arial" panose="020B0604020202020204" pitchFamily="34" charset="0"/>
              </a:rPr>
              <a:t>PROVEN GOVERNANCE FRAMEWORK AND METHDOLOGY </a:t>
            </a:r>
          </a:p>
        </p:txBody>
      </p:sp>
      <p:sp>
        <p:nvSpPr>
          <p:cNvPr id="20" name="object 19"/>
          <p:cNvSpPr txBox="1"/>
          <p:nvPr/>
        </p:nvSpPr>
        <p:spPr>
          <a:xfrm>
            <a:off x="2921193" y="3764124"/>
            <a:ext cx="2036951" cy="460813"/>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EXPERIENCE OF WORKING IN MULTI VENDOR ENVIRONMENT</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grpSp>
        <p:nvGrpSpPr>
          <p:cNvPr id="21" name="Gruppieren 535"/>
          <p:cNvGrpSpPr/>
          <p:nvPr/>
        </p:nvGrpSpPr>
        <p:grpSpPr bwMode="gray">
          <a:xfrm>
            <a:off x="3616795" y="2994427"/>
            <a:ext cx="645746" cy="511309"/>
            <a:chOff x="5413375" y="2914650"/>
            <a:chExt cx="331788" cy="285750"/>
          </a:xfrm>
          <a:solidFill>
            <a:schemeClr val="bg1"/>
          </a:solidFill>
        </p:grpSpPr>
        <p:sp>
          <p:nvSpPr>
            <p:cNvPr id="22" name="Freeform 266"/>
            <p:cNvSpPr>
              <a:spLocks/>
            </p:cNvSpPr>
            <p:nvPr/>
          </p:nvSpPr>
          <p:spPr bwMode="gray">
            <a:xfrm>
              <a:off x="5516563" y="2998788"/>
              <a:ext cx="123825" cy="47625"/>
            </a:xfrm>
            <a:custGeom>
              <a:avLst/>
              <a:gdLst>
                <a:gd name="T0" fmla="*/ 121 w 146"/>
                <a:gd name="T1" fmla="*/ 8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8 h 56"/>
                <a:gd name="T16" fmla="*/ 0 w 146"/>
                <a:gd name="T17" fmla="*/ 56 h 56"/>
                <a:gd name="T18" fmla="*/ 146 w 146"/>
                <a:gd name="T19" fmla="*/ 56 h 56"/>
                <a:gd name="T20" fmla="*/ 121 w 146"/>
                <a:gd name="T21"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8"/>
                  </a:moveTo>
                  <a:cubicBezTo>
                    <a:pt x="117"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29" y="6"/>
                    <a:pt x="25" y="8"/>
                  </a:cubicBezTo>
                  <a:cubicBezTo>
                    <a:pt x="4" y="19"/>
                    <a:pt x="0" y="56"/>
                    <a:pt x="0" y="56"/>
                  </a:cubicBezTo>
                  <a:cubicBezTo>
                    <a:pt x="146" y="56"/>
                    <a:pt x="146" y="56"/>
                    <a:pt x="146" y="56"/>
                  </a:cubicBezTo>
                  <a:cubicBezTo>
                    <a:pt x="146" y="56"/>
                    <a:pt x="142" y="19"/>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3" name="Freeform 267"/>
            <p:cNvSpPr>
              <a:spLocks/>
            </p:cNvSpPr>
            <p:nvPr/>
          </p:nvSpPr>
          <p:spPr bwMode="gray">
            <a:xfrm>
              <a:off x="5541963" y="2914650"/>
              <a:ext cx="74613" cy="76200"/>
            </a:xfrm>
            <a:custGeom>
              <a:avLst/>
              <a:gdLst>
                <a:gd name="T0" fmla="*/ 83 w 88"/>
                <a:gd name="T1" fmla="*/ 49 h 90"/>
                <a:gd name="T2" fmla="*/ 84 w 88"/>
                <a:gd name="T3" fmla="*/ 40 h 90"/>
                <a:gd name="T4" fmla="*/ 44 w 88"/>
                <a:gd name="T5" fmla="*/ 0 h 90"/>
                <a:gd name="T6" fmla="*/ 4 w 88"/>
                <a:gd name="T7" fmla="*/ 40 h 90"/>
                <a:gd name="T8" fmla="*/ 5 w 88"/>
                <a:gd name="T9" fmla="*/ 49 h 90"/>
                <a:gd name="T10" fmla="*/ 1 w 88"/>
                <a:gd name="T11" fmla="*/ 59 h 90"/>
                <a:gd name="T12" fmla="*/ 15 w 88"/>
                <a:gd name="T13" fmla="*/ 73 h 90"/>
                <a:gd name="T14" fmla="*/ 44 w 88"/>
                <a:gd name="T15" fmla="*/ 90 h 90"/>
                <a:gd name="T16" fmla="*/ 73 w 88"/>
                <a:gd name="T17" fmla="*/ 73 h 90"/>
                <a:gd name="T18" fmla="*/ 87 w 88"/>
                <a:gd name="T19" fmla="*/ 59 h 90"/>
                <a:gd name="T20" fmla="*/ 83 w 88"/>
                <a:gd name="T2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0">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0"/>
                    <a:pt x="44" y="90"/>
                  </a:cubicBezTo>
                  <a:cubicBezTo>
                    <a:pt x="56" y="90"/>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4" name="Freeform 268"/>
            <p:cNvSpPr>
              <a:spLocks/>
            </p:cNvSpPr>
            <p:nvPr/>
          </p:nvSpPr>
          <p:spPr bwMode="gray">
            <a:xfrm>
              <a:off x="5413375" y="3152775"/>
              <a:ext cx="123825" cy="47625"/>
            </a:xfrm>
            <a:custGeom>
              <a:avLst/>
              <a:gdLst>
                <a:gd name="T0" fmla="*/ 121 w 146"/>
                <a:gd name="T1" fmla="*/ 9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9 h 56"/>
                <a:gd name="T16" fmla="*/ 0 w 146"/>
                <a:gd name="T17" fmla="*/ 56 h 56"/>
                <a:gd name="T18" fmla="*/ 146 w 146"/>
                <a:gd name="T19" fmla="*/ 56 h 56"/>
                <a:gd name="T20" fmla="*/ 121 w 146"/>
                <a:gd name="T2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9"/>
                  </a:moveTo>
                  <a:cubicBezTo>
                    <a:pt x="116"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29" y="6"/>
                    <a:pt x="25" y="9"/>
                  </a:cubicBezTo>
                  <a:cubicBezTo>
                    <a:pt x="4" y="19"/>
                    <a:pt x="0" y="56"/>
                    <a:pt x="0" y="56"/>
                  </a:cubicBezTo>
                  <a:cubicBezTo>
                    <a:pt x="146" y="56"/>
                    <a:pt x="146" y="56"/>
                    <a:pt x="146" y="56"/>
                  </a:cubicBezTo>
                  <a:cubicBezTo>
                    <a:pt x="146" y="56"/>
                    <a:pt x="142" y="19"/>
                    <a:pt x="12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5" name="Freeform 269"/>
            <p:cNvSpPr>
              <a:spLocks/>
            </p:cNvSpPr>
            <p:nvPr/>
          </p:nvSpPr>
          <p:spPr bwMode="gray">
            <a:xfrm>
              <a:off x="5437188" y="3070225"/>
              <a:ext cx="74613" cy="76200"/>
            </a:xfrm>
            <a:custGeom>
              <a:avLst/>
              <a:gdLst>
                <a:gd name="T0" fmla="*/ 83 w 88"/>
                <a:gd name="T1" fmla="*/ 49 h 91"/>
                <a:gd name="T2" fmla="*/ 84 w 88"/>
                <a:gd name="T3" fmla="*/ 40 h 91"/>
                <a:gd name="T4" fmla="*/ 44 w 88"/>
                <a:gd name="T5" fmla="*/ 0 h 91"/>
                <a:gd name="T6" fmla="*/ 4 w 88"/>
                <a:gd name="T7" fmla="*/ 40 h 91"/>
                <a:gd name="T8" fmla="*/ 5 w 88"/>
                <a:gd name="T9" fmla="*/ 49 h 91"/>
                <a:gd name="T10" fmla="*/ 1 w 88"/>
                <a:gd name="T11" fmla="*/ 59 h 91"/>
                <a:gd name="T12" fmla="*/ 15 w 88"/>
                <a:gd name="T13" fmla="*/ 73 h 91"/>
                <a:gd name="T14" fmla="*/ 44 w 88"/>
                <a:gd name="T15" fmla="*/ 91 h 91"/>
                <a:gd name="T16" fmla="*/ 73 w 88"/>
                <a:gd name="T17" fmla="*/ 73 h 91"/>
                <a:gd name="T18" fmla="*/ 87 w 88"/>
                <a:gd name="T19" fmla="*/ 59 h 91"/>
                <a:gd name="T20" fmla="*/ 83 w 88"/>
                <a:gd name="T2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1">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1"/>
                    <a:pt x="44" y="91"/>
                  </a:cubicBezTo>
                  <a:cubicBezTo>
                    <a:pt x="56" y="91"/>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6" name="Freeform 270"/>
            <p:cNvSpPr>
              <a:spLocks/>
            </p:cNvSpPr>
            <p:nvPr/>
          </p:nvSpPr>
          <p:spPr bwMode="gray">
            <a:xfrm>
              <a:off x="5621338" y="3152775"/>
              <a:ext cx="123825" cy="47625"/>
            </a:xfrm>
            <a:custGeom>
              <a:avLst/>
              <a:gdLst>
                <a:gd name="T0" fmla="*/ 121 w 146"/>
                <a:gd name="T1" fmla="*/ 9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9 h 56"/>
                <a:gd name="T16" fmla="*/ 0 w 146"/>
                <a:gd name="T17" fmla="*/ 56 h 56"/>
                <a:gd name="T18" fmla="*/ 146 w 146"/>
                <a:gd name="T19" fmla="*/ 56 h 56"/>
                <a:gd name="T20" fmla="*/ 121 w 146"/>
                <a:gd name="T2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9"/>
                  </a:moveTo>
                  <a:cubicBezTo>
                    <a:pt x="117"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30" y="6"/>
                    <a:pt x="25" y="9"/>
                  </a:cubicBezTo>
                  <a:cubicBezTo>
                    <a:pt x="4" y="19"/>
                    <a:pt x="0" y="56"/>
                    <a:pt x="0" y="56"/>
                  </a:cubicBezTo>
                  <a:cubicBezTo>
                    <a:pt x="146" y="56"/>
                    <a:pt x="146" y="56"/>
                    <a:pt x="146" y="56"/>
                  </a:cubicBezTo>
                  <a:cubicBezTo>
                    <a:pt x="146" y="56"/>
                    <a:pt x="142" y="19"/>
                    <a:pt x="12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7" name="Freeform 271"/>
            <p:cNvSpPr>
              <a:spLocks/>
            </p:cNvSpPr>
            <p:nvPr/>
          </p:nvSpPr>
          <p:spPr bwMode="gray">
            <a:xfrm>
              <a:off x="5645150" y="3070225"/>
              <a:ext cx="74613" cy="76200"/>
            </a:xfrm>
            <a:custGeom>
              <a:avLst/>
              <a:gdLst>
                <a:gd name="T0" fmla="*/ 83 w 88"/>
                <a:gd name="T1" fmla="*/ 49 h 91"/>
                <a:gd name="T2" fmla="*/ 84 w 88"/>
                <a:gd name="T3" fmla="*/ 40 h 91"/>
                <a:gd name="T4" fmla="*/ 44 w 88"/>
                <a:gd name="T5" fmla="*/ 0 h 91"/>
                <a:gd name="T6" fmla="*/ 4 w 88"/>
                <a:gd name="T7" fmla="*/ 40 h 91"/>
                <a:gd name="T8" fmla="*/ 5 w 88"/>
                <a:gd name="T9" fmla="*/ 49 h 91"/>
                <a:gd name="T10" fmla="*/ 1 w 88"/>
                <a:gd name="T11" fmla="*/ 59 h 91"/>
                <a:gd name="T12" fmla="*/ 15 w 88"/>
                <a:gd name="T13" fmla="*/ 73 h 91"/>
                <a:gd name="T14" fmla="*/ 44 w 88"/>
                <a:gd name="T15" fmla="*/ 91 h 91"/>
                <a:gd name="T16" fmla="*/ 73 w 88"/>
                <a:gd name="T17" fmla="*/ 73 h 91"/>
                <a:gd name="T18" fmla="*/ 87 w 88"/>
                <a:gd name="T19" fmla="*/ 59 h 91"/>
                <a:gd name="T20" fmla="*/ 83 w 88"/>
                <a:gd name="T2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1">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1"/>
                    <a:pt x="44" y="91"/>
                  </a:cubicBezTo>
                  <a:cubicBezTo>
                    <a:pt x="56" y="91"/>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8" name="Freeform 272"/>
            <p:cNvSpPr>
              <a:spLocks/>
            </p:cNvSpPr>
            <p:nvPr/>
          </p:nvSpPr>
          <p:spPr bwMode="gray">
            <a:xfrm>
              <a:off x="5541963" y="3063875"/>
              <a:ext cx="74613" cy="65088"/>
            </a:xfrm>
            <a:custGeom>
              <a:avLst/>
              <a:gdLst>
                <a:gd name="T0" fmla="*/ 28 w 47"/>
                <a:gd name="T1" fmla="*/ 22 h 41"/>
                <a:gd name="T2" fmla="*/ 28 w 47"/>
                <a:gd name="T3" fmla="*/ 0 h 41"/>
                <a:gd name="T4" fmla="*/ 19 w 47"/>
                <a:gd name="T5" fmla="*/ 0 h 41"/>
                <a:gd name="T6" fmla="*/ 19 w 47"/>
                <a:gd name="T7" fmla="*/ 22 h 41"/>
                <a:gd name="T8" fmla="*/ 0 w 47"/>
                <a:gd name="T9" fmla="*/ 34 h 41"/>
                <a:gd name="T10" fmla="*/ 4 w 47"/>
                <a:gd name="T11" fmla="*/ 41 h 41"/>
                <a:gd name="T12" fmla="*/ 23 w 47"/>
                <a:gd name="T13" fmla="*/ 30 h 41"/>
                <a:gd name="T14" fmla="*/ 43 w 47"/>
                <a:gd name="T15" fmla="*/ 41 h 41"/>
                <a:gd name="T16" fmla="*/ 47 w 47"/>
                <a:gd name="T17" fmla="*/ 34 h 41"/>
                <a:gd name="T18" fmla="*/ 28 w 47"/>
                <a:gd name="T19"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1">
                  <a:moveTo>
                    <a:pt x="28" y="22"/>
                  </a:moveTo>
                  <a:lnTo>
                    <a:pt x="28" y="0"/>
                  </a:lnTo>
                  <a:lnTo>
                    <a:pt x="19" y="0"/>
                  </a:lnTo>
                  <a:lnTo>
                    <a:pt x="19" y="22"/>
                  </a:lnTo>
                  <a:lnTo>
                    <a:pt x="0" y="34"/>
                  </a:lnTo>
                  <a:lnTo>
                    <a:pt x="4" y="41"/>
                  </a:lnTo>
                  <a:lnTo>
                    <a:pt x="23" y="30"/>
                  </a:lnTo>
                  <a:lnTo>
                    <a:pt x="43" y="41"/>
                  </a:lnTo>
                  <a:lnTo>
                    <a:pt x="47" y="34"/>
                  </a:lnTo>
                  <a:lnTo>
                    <a:pt x="2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sp>
        <p:nvSpPr>
          <p:cNvPr id="30" name="Rectangle 29"/>
          <p:cNvSpPr/>
          <p:nvPr/>
        </p:nvSpPr>
        <p:spPr>
          <a:xfrm rot="5400000">
            <a:off x="2501195" y="-469526"/>
            <a:ext cx="364174" cy="30147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KEY </a:t>
            </a:r>
            <a:r>
              <a:rPr kumimoji="0" lang="en-US" sz="1400" b="1" i="0" u="none" strike="noStrike" kern="1200" cap="none" spc="0" normalizeH="0" baseline="0" noProof="0" dirty="0" smtClean="0">
                <a:ln>
                  <a:noFill/>
                </a:ln>
                <a:solidFill>
                  <a:prstClr val="white"/>
                </a:solidFill>
                <a:effectLst/>
                <a:uLnTx/>
                <a:uFillTx/>
                <a:latin typeface="Calibri" panose="020F0502020204030204"/>
                <a:ea typeface="+mn-ea"/>
                <a:cs typeface="+mn-cs"/>
              </a:rPr>
              <a:t>CAPABILITIES - RFP1</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56"/>
          <p:cNvSpPr/>
          <p:nvPr/>
        </p:nvSpPr>
        <p:spPr>
          <a:xfrm>
            <a:off x="6667149" y="1368847"/>
            <a:ext cx="2098432" cy="1385818"/>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58" name="Rectangle 57"/>
          <p:cNvSpPr/>
          <p:nvPr/>
        </p:nvSpPr>
        <p:spPr>
          <a:xfrm>
            <a:off x="6667150" y="2959846"/>
            <a:ext cx="2098432" cy="1506435"/>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59" name="Rectangle 58"/>
          <p:cNvSpPr/>
          <p:nvPr/>
        </p:nvSpPr>
        <p:spPr>
          <a:xfrm>
            <a:off x="6667150" y="4688618"/>
            <a:ext cx="2098432" cy="1776211"/>
          </a:xfrm>
          <a:prstGeom prst="rect">
            <a:avLst/>
          </a:prstGeom>
          <a:solidFill>
            <a:srgbClr val="0072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Calibri"/>
              <a:ea typeface="+mn-ea"/>
              <a:cs typeface="+mn-cs"/>
            </a:endParaRPr>
          </a:p>
        </p:txBody>
      </p:sp>
      <p:sp>
        <p:nvSpPr>
          <p:cNvPr id="60" name="Rectangle 59"/>
          <p:cNvSpPr/>
          <p:nvPr/>
        </p:nvSpPr>
        <p:spPr>
          <a:xfrm>
            <a:off x="9360133" y="1361417"/>
            <a:ext cx="2098432" cy="1457934"/>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60"/>
          <p:cNvSpPr/>
          <p:nvPr/>
        </p:nvSpPr>
        <p:spPr>
          <a:xfrm>
            <a:off x="9346999" y="3026630"/>
            <a:ext cx="2098432" cy="1474987"/>
          </a:xfrm>
          <a:prstGeom prst="rect">
            <a:avLst/>
          </a:prstGeom>
          <a:solidFill>
            <a:srgbClr val="4A7729"/>
          </a:solidFill>
        </p:spPr>
        <p:txBody>
          <a:bodyPr wrap="square" lIns="0" tIns="0" rIns="0" bIns="0" rtlCol="0"/>
          <a:lstStyle/>
          <a:p>
            <a:pPr marL="0" marR="0" lvl="0" indent="0" algn="l" defTabSz="83815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63" name="Picture 62">
            <a:extLst>
              <a:ext uri="{FF2B5EF4-FFF2-40B4-BE49-F238E27FC236}">
                <a16:creationId xmlns:a16="http://schemas.microsoft.com/office/drawing/2014/main" id="{381AEB6B-CAC7-B446-976E-DC96BA31E68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83789" y="1456716"/>
            <a:ext cx="651341" cy="583669"/>
          </a:xfrm>
          <a:prstGeom prst="rect">
            <a:avLst/>
          </a:prstGeom>
        </p:spPr>
      </p:pic>
      <p:sp>
        <p:nvSpPr>
          <p:cNvPr id="64" name="object 15"/>
          <p:cNvSpPr txBox="1"/>
          <p:nvPr/>
        </p:nvSpPr>
        <p:spPr>
          <a:xfrm>
            <a:off x="9421794" y="5592936"/>
            <a:ext cx="1835711" cy="507290"/>
          </a:xfrm>
          <a:prstGeom prst="rect">
            <a:avLst/>
          </a:prstGeom>
        </p:spPr>
        <p:txBody>
          <a:bodyPr vert="horz" wrap="square" lIns="0" tIns="0" rIns="0" bIns="0" rtlCol="0" anchor="t" anchorCtr="0">
            <a:noAutofit/>
          </a:bodyPr>
          <a:lstStyle/>
          <a:p>
            <a:pPr marL="0" marR="0" lvl="0" indent="0" algn="ctr" defTabSz="838158" rtl="0" eaLnBrk="1" fontAlgn="auto" latinLnBrk="0" hangingPunct="1">
              <a:lnSpc>
                <a:spcPct val="90000"/>
              </a:lnSpc>
              <a:spcBef>
                <a:spcPts val="0"/>
              </a:spcBef>
              <a:spcAft>
                <a:spcPts val="0"/>
              </a:spcAft>
              <a:buClrTx/>
              <a:buSzTx/>
              <a:buFontTx/>
              <a:buNone/>
              <a:tabLst/>
              <a:defRPr/>
            </a:pPr>
            <a:r>
              <a:rPr kumimoji="0" lang="en-US" sz="1400" b="1" i="0" u="none" strike="noStrike" kern="0" cap="none" spc="28"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CONTINUOUS INNOVATION &amp;</a:t>
            </a:r>
          </a:p>
          <a:p>
            <a:pPr marL="0" marR="0" lvl="0" indent="0" algn="ctr" defTabSz="838158" rtl="0" eaLnBrk="1" fontAlgn="auto" latinLnBrk="0" hangingPunct="1">
              <a:lnSpc>
                <a:spcPct val="90000"/>
              </a:lnSpc>
              <a:spcBef>
                <a:spcPts val="0"/>
              </a:spcBef>
              <a:spcAft>
                <a:spcPts val="0"/>
              </a:spcAft>
              <a:buClrTx/>
              <a:buSzTx/>
              <a:buFontTx/>
              <a:buNone/>
              <a:tabLst/>
              <a:defRPr/>
            </a:pPr>
            <a:r>
              <a:rPr kumimoji="0" lang="en-US" sz="1400" b="1" i="0" u="none" strike="noStrike" kern="0" cap="none" spc="28"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TRANSFORMATION</a:t>
            </a:r>
            <a:endParaRPr kumimoji="0" sz="1400" b="1" i="0" u="none" strike="noStrike" kern="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66" name="object 19"/>
          <p:cNvSpPr txBox="1"/>
          <p:nvPr/>
        </p:nvSpPr>
        <p:spPr>
          <a:xfrm>
            <a:off x="6799204" y="3847951"/>
            <a:ext cx="1654059" cy="470638"/>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DEEP DOMAIN</a:t>
            </a:r>
          </a:p>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EXPERIENCE</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pic>
        <p:nvPicPr>
          <p:cNvPr id="67" name="Picture 66">
            <a:extLst>
              <a:ext uri="{FF2B5EF4-FFF2-40B4-BE49-F238E27FC236}">
                <a16:creationId xmlns:a16="http://schemas.microsoft.com/office/drawing/2014/main" id="{EA2254EF-C6C5-B044-B8A1-5233F27565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8567" y="3045179"/>
            <a:ext cx="755334" cy="755334"/>
          </a:xfrm>
          <a:prstGeom prst="rect">
            <a:avLst/>
          </a:prstGeom>
        </p:spPr>
      </p:pic>
      <p:sp>
        <p:nvSpPr>
          <p:cNvPr id="68" name="object 17"/>
          <p:cNvSpPr txBox="1"/>
          <p:nvPr/>
        </p:nvSpPr>
        <p:spPr>
          <a:xfrm>
            <a:off x="9346999" y="2150699"/>
            <a:ext cx="2133599" cy="520578"/>
          </a:xfrm>
          <a:prstGeom prst="rect">
            <a:avLst/>
          </a:prstGeom>
        </p:spPr>
        <p:txBody>
          <a:bodyPr vert="horz" wrap="square" lIns="0" tIns="0" rIns="0" bIns="0" rtlCol="0" anchor="ctr" anchorCtr="0">
            <a:noAutofit/>
          </a:bodyPr>
          <a:lstStyle/>
          <a:p>
            <a:pPr marL="0" marR="9030" lvl="0" indent="156908" algn="ctr" defTabSz="1625519" rtl="0" eaLnBrk="1" fontAlgn="auto" latinLnBrk="0" hangingPunct="1">
              <a:lnSpc>
                <a:spcPct val="90000"/>
              </a:lnSpc>
              <a:spcBef>
                <a:spcPts val="0"/>
              </a:spcBef>
              <a:spcAft>
                <a:spcPts val="0"/>
              </a:spcAft>
              <a:buClrTx/>
              <a:buSzTx/>
              <a:buFontTx/>
              <a:buNone/>
              <a:tabLst/>
              <a:defRPr/>
            </a:pPr>
            <a:r>
              <a:rPr kumimoji="0" lang="en-US" sz="1400" b="1" i="0" u="none" strike="noStrike" kern="0" cap="none" spc="63"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MODERN ENGINEERING PRACTISES</a:t>
            </a:r>
            <a:endParaRPr kumimoji="0" lang="en-US" sz="1400" b="1" i="0" u="none" strike="noStrike" kern="0" cap="none" spc="63"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pic>
        <p:nvPicPr>
          <p:cNvPr id="69" name="Picture 68">
            <a:extLst>
              <a:ext uri="{FF2B5EF4-FFF2-40B4-BE49-F238E27FC236}">
                <a16:creationId xmlns:a16="http://schemas.microsoft.com/office/drawing/2014/main" id="{A2F5D69E-F9AB-0046-8771-90AEAA37AD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48567" y="1383338"/>
            <a:ext cx="862809" cy="862809"/>
          </a:xfrm>
          <a:prstGeom prst="rect">
            <a:avLst/>
          </a:prstGeom>
          <a:noFill/>
          <a:ln>
            <a:noFill/>
          </a:ln>
        </p:spPr>
      </p:pic>
      <p:sp>
        <p:nvSpPr>
          <p:cNvPr id="70" name="object 19"/>
          <p:cNvSpPr txBox="1"/>
          <p:nvPr/>
        </p:nvSpPr>
        <p:spPr>
          <a:xfrm>
            <a:off x="6773206" y="2286608"/>
            <a:ext cx="1886317" cy="472067"/>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COMPLEX TRANSITION</a:t>
            </a:r>
          </a:p>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EXPERIENCE</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pic>
        <p:nvPicPr>
          <p:cNvPr id="71" name="Picture 70">
            <a:extLst>
              <a:ext uri="{FF2B5EF4-FFF2-40B4-BE49-F238E27FC236}">
                <a16:creationId xmlns:a16="http://schemas.microsoft.com/office/drawing/2014/main" id="{7EB35B18-EBE0-6F48-B1B5-946A400345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19924" y="4708896"/>
            <a:ext cx="678266" cy="694045"/>
          </a:xfrm>
          <a:prstGeom prst="rect">
            <a:avLst/>
          </a:prstGeom>
        </p:spPr>
      </p:pic>
      <p:sp>
        <p:nvSpPr>
          <p:cNvPr id="72" name="object 13"/>
          <p:cNvSpPr txBox="1"/>
          <p:nvPr/>
        </p:nvSpPr>
        <p:spPr>
          <a:xfrm>
            <a:off x="6697663" y="5635597"/>
            <a:ext cx="2018019" cy="634224"/>
          </a:xfrm>
          <a:prstGeom prst="rect">
            <a:avLst/>
          </a:prstGeom>
        </p:spPr>
        <p:txBody>
          <a:bodyPr vert="horz" wrap="square" lIns="0" tIns="0" rIns="0" bIns="0" rtlCol="0" anchor="ctr" anchorCtr="0">
            <a:noAutofit/>
          </a:bodyPr>
          <a:lstStyle/>
          <a:p>
            <a:pPr marL="0" marR="9030" lvl="0" indent="156908" algn="ctr" defTabSz="1625519" rtl="0" eaLnBrk="1" fontAlgn="auto" latinLnBrk="0" hangingPunct="1">
              <a:lnSpc>
                <a:spcPct val="90000"/>
              </a:lnSpc>
              <a:spcBef>
                <a:spcPts val="0"/>
              </a:spcBef>
              <a:spcAft>
                <a:spcPts val="0"/>
              </a:spcAft>
              <a:buClrTx/>
              <a:buSzTx/>
              <a:buFontTx/>
              <a:buNone/>
              <a:tabLst/>
              <a:defRPr/>
            </a:pPr>
            <a:r>
              <a:rPr kumimoji="0" lang="en-US" sz="1400" b="1" i="0" u="none" strike="noStrike" kern="0" cap="none" spc="63" normalizeH="0" baseline="0" noProof="0" dirty="0" smtClean="0">
                <a:ln>
                  <a:noFill/>
                </a:ln>
                <a:solidFill>
                  <a:prstClr val="white"/>
                </a:solidFill>
                <a:effectLst/>
                <a:uLnTx/>
                <a:uFillTx/>
                <a:latin typeface="Calibri Light" panose="020F0302020204030204"/>
                <a:ea typeface="+mn-ea"/>
                <a:cs typeface="Arial" panose="020B0604020202020204" pitchFamily="34" charset="0"/>
              </a:rPr>
              <a:t>AGILE &amp; ENTERPRISE AGILE DELIVERY</a:t>
            </a:r>
            <a:endParaRPr kumimoji="0" lang="en-US" sz="1400" b="1" i="0" u="none" strike="noStrike" kern="0" cap="none" spc="63"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73" name="object 19"/>
          <p:cNvSpPr txBox="1"/>
          <p:nvPr/>
        </p:nvSpPr>
        <p:spPr>
          <a:xfrm>
            <a:off x="9369989" y="3792752"/>
            <a:ext cx="2036951" cy="460813"/>
          </a:xfrm>
          <a:prstGeom prst="rect">
            <a:avLst/>
          </a:prstGeom>
        </p:spPr>
        <p:txBody>
          <a:bodyPr vert="horz" wrap="square" lIns="0" tIns="0" rIns="0" bIns="0" rtlCol="0" anchor="t" anchorCtr="0">
            <a:noAutofit/>
          </a:bodyPr>
          <a:lstStyle/>
          <a:p>
            <a:pPr marL="0" marR="6773" lvl="0" indent="15240" algn="ctr" defTabSz="60958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40" normalizeH="0" baseline="0" noProof="0" dirty="0">
                <a:ln>
                  <a:noFill/>
                </a:ln>
                <a:solidFill>
                  <a:prstClr val="white"/>
                </a:solidFill>
                <a:effectLst/>
                <a:uLnTx/>
                <a:uFillTx/>
                <a:latin typeface="Calibri Light" panose="020F0302020204030204"/>
                <a:ea typeface="+mn-ea"/>
                <a:cs typeface="Arial" panose="020B0604020202020204" pitchFamily="34" charset="0"/>
              </a:rPr>
              <a:t>EXPERIENCE OF WORKING IN MULTI VENDOR ENVIRONMENT</a:t>
            </a:r>
            <a:endParaRPr kumimoji="0" sz="14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grpSp>
        <p:nvGrpSpPr>
          <p:cNvPr id="74" name="Gruppieren 535"/>
          <p:cNvGrpSpPr/>
          <p:nvPr/>
        </p:nvGrpSpPr>
        <p:grpSpPr bwMode="gray">
          <a:xfrm>
            <a:off x="10089384" y="3117516"/>
            <a:ext cx="645746" cy="511309"/>
            <a:chOff x="5413375" y="2914650"/>
            <a:chExt cx="331788" cy="285750"/>
          </a:xfrm>
          <a:solidFill>
            <a:schemeClr val="bg1"/>
          </a:solidFill>
        </p:grpSpPr>
        <p:sp>
          <p:nvSpPr>
            <p:cNvPr id="75" name="Freeform 266"/>
            <p:cNvSpPr>
              <a:spLocks/>
            </p:cNvSpPr>
            <p:nvPr/>
          </p:nvSpPr>
          <p:spPr bwMode="gray">
            <a:xfrm>
              <a:off x="5516563" y="2998788"/>
              <a:ext cx="123825" cy="47625"/>
            </a:xfrm>
            <a:custGeom>
              <a:avLst/>
              <a:gdLst>
                <a:gd name="T0" fmla="*/ 121 w 146"/>
                <a:gd name="T1" fmla="*/ 8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8 h 56"/>
                <a:gd name="T16" fmla="*/ 0 w 146"/>
                <a:gd name="T17" fmla="*/ 56 h 56"/>
                <a:gd name="T18" fmla="*/ 146 w 146"/>
                <a:gd name="T19" fmla="*/ 56 h 56"/>
                <a:gd name="T20" fmla="*/ 121 w 146"/>
                <a:gd name="T21"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8"/>
                  </a:moveTo>
                  <a:cubicBezTo>
                    <a:pt x="117"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29" y="6"/>
                    <a:pt x="25" y="8"/>
                  </a:cubicBezTo>
                  <a:cubicBezTo>
                    <a:pt x="4" y="19"/>
                    <a:pt x="0" y="56"/>
                    <a:pt x="0" y="56"/>
                  </a:cubicBezTo>
                  <a:cubicBezTo>
                    <a:pt x="146" y="56"/>
                    <a:pt x="146" y="56"/>
                    <a:pt x="146" y="56"/>
                  </a:cubicBezTo>
                  <a:cubicBezTo>
                    <a:pt x="146" y="56"/>
                    <a:pt x="142" y="19"/>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6" name="Freeform 267"/>
            <p:cNvSpPr>
              <a:spLocks/>
            </p:cNvSpPr>
            <p:nvPr/>
          </p:nvSpPr>
          <p:spPr bwMode="gray">
            <a:xfrm>
              <a:off x="5541963" y="2914650"/>
              <a:ext cx="74613" cy="76200"/>
            </a:xfrm>
            <a:custGeom>
              <a:avLst/>
              <a:gdLst>
                <a:gd name="T0" fmla="*/ 83 w 88"/>
                <a:gd name="T1" fmla="*/ 49 h 90"/>
                <a:gd name="T2" fmla="*/ 84 w 88"/>
                <a:gd name="T3" fmla="*/ 40 h 90"/>
                <a:gd name="T4" fmla="*/ 44 w 88"/>
                <a:gd name="T5" fmla="*/ 0 h 90"/>
                <a:gd name="T6" fmla="*/ 4 w 88"/>
                <a:gd name="T7" fmla="*/ 40 h 90"/>
                <a:gd name="T8" fmla="*/ 5 w 88"/>
                <a:gd name="T9" fmla="*/ 49 h 90"/>
                <a:gd name="T10" fmla="*/ 1 w 88"/>
                <a:gd name="T11" fmla="*/ 59 h 90"/>
                <a:gd name="T12" fmla="*/ 15 w 88"/>
                <a:gd name="T13" fmla="*/ 73 h 90"/>
                <a:gd name="T14" fmla="*/ 44 w 88"/>
                <a:gd name="T15" fmla="*/ 90 h 90"/>
                <a:gd name="T16" fmla="*/ 73 w 88"/>
                <a:gd name="T17" fmla="*/ 73 h 90"/>
                <a:gd name="T18" fmla="*/ 87 w 88"/>
                <a:gd name="T19" fmla="*/ 59 h 90"/>
                <a:gd name="T20" fmla="*/ 83 w 88"/>
                <a:gd name="T2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0">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0"/>
                    <a:pt x="44" y="90"/>
                  </a:cubicBezTo>
                  <a:cubicBezTo>
                    <a:pt x="56" y="90"/>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7" name="Freeform 268"/>
            <p:cNvSpPr>
              <a:spLocks/>
            </p:cNvSpPr>
            <p:nvPr/>
          </p:nvSpPr>
          <p:spPr bwMode="gray">
            <a:xfrm>
              <a:off x="5413375" y="3152775"/>
              <a:ext cx="123825" cy="47625"/>
            </a:xfrm>
            <a:custGeom>
              <a:avLst/>
              <a:gdLst>
                <a:gd name="T0" fmla="*/ 121 w 146"/>
                <a:gd name="T1" fmla="*/ 9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9 h 56"/>
                <a:gd name="T16" fmla="*/ 0 w 146"/>
                <a:gd name="T17" fmla="*/ 56 h 56"/>
                <a:gd name="T18" fmla="*/ 146 w 146"/>
                <a:gd name="T19" fmla="*/ 56 h 56"/>
                <a:gd name="T20" fmla="*/ 121 w 146"/>
                <a:gd name="T2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9"/>
                  </a:moveTo>
                  <a:cubicBezTo>
                    <a:pt x="116"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29" y="6"/>
                    <a:pt x="25" y="9"/>
                  </a:cubicBezTo>
                  <a:cubicBezTo>
                    <a:pt x="4" y="19"/>
                    <a:pt x="0" y="56"/>
                    <a:pt x="0" y="56"/>
                  </a:cubicBezTo>
                  <a:cubicBezTo>
                    <a:pt x="146" y="56"/>
                    <a:pt x="146" y="56"/>
                    <a:pt x="146" y="56"/>
                  </a:cubicBezTo>
                  <a:cubicBezTo>
                    <a:pt x="146" y="56"/>
                    <a:pt x="142" y="19"/>
                    <a:pt x="12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8" name="Freeform 269"/>
            <p:cNvSpPr>
              <a:spLocks/>
            </p:cNvSpPr>
            <p:nvPr/>
          </p:nvSpPr>
          <p:spPr bwMode="gray">
            <a:xfrm>
              <a:off x="5437188" y="3070225"/>
              <a:ext cx="74613" cy="76200"/>
            </a:xfrm>
            <a:custGeom>
              <a:avLst/>
              <a:gdLst>
                <a:gd name="T0" fmla="*/ 83 w 88"/>
                <a:gd name="T1" fmla="*/ 49 h 91"/>
                <a:gd name="T2" fmla="*/ 84 w 88"/>
                <a:gd name="T3" fmla="*/ 40 h 91"/>
                <a:gd name="T4" fmla="*/ 44 w 88"/>
                <a:gd name="T5" fmla="*/ 0 h 91"/>
                <a:gd name="T6" fmla="*/ 4 w 88"/>
                <a:gd name="T7" fmla="*/ 40 h 91"/>
                <a:gd name="T8" fmla="*/ 5 w 88"/>
                <a:gd name="T9" fmla="*/ 49 h 91"/>
                <a:gd name="T10" fmla="*/ 1 w 88"/>
                <a:gd name="T11" fmla="*/ 59 h 91"/>
                <a:gd name="T12" fmla="*/ 15 w 88"/>
                <a:gd name="T13" fmla="*/ 73 h 91"/>
                <a:gd name="T14" fmla="*/ 44 w 88"/>
                <a:gd name="T15" fmla="*/ 91 h 91"/>
                <a:gd name="T16" fmla="*/ 73 w 88"/>
                <a:gd name="T17" fmla="*/ 73 h 91"/>
                <a:gd name="T18" fmla="*/ 87 w 88"/>
                <a:gd name="T19" fmla="*/ 59 h 91"/>
                <a:gd name="T20" fmla="*/ 83 w 88"/>
                <a:gd name="T2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1">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1"/>
                    <a:pt x="44" y="91"/>
                  </a:cubicBezTo>
                  <a:cubicBezTo>
                    <a:pt x="56" y="91"/>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9" name="Freeform 270"/>
            <p:cNvSpPr>
              <a:spLocks/>
            </p:cNvSpPr>
            <p:nvPr/>
          </p:nvSpPr>
          <p:spPr bwMode="gray">
            <a:xfrm>
              <a:off x="5621338" y="3152775"/>
              <a:ext cx="123825" cy="47625"/>
            </a:xfrm>
            <a:custGeom>
              <a:avLst/>
              <a:gdLst>
                <a:gd name="T0" fmla="*/ 121 w 146"/>
                <a:gd name="T1" fmla="*/ 9 h 56"/>
                <a:gd name="T2" fmla="*/ 103 w 146"/>
                <a:gd name="T3" fmla="*/ 0 h 56"/>
                <a:gd name="T4" fmla="*/ 80 w 146"/>
                <a:gd name="T5" fmla="*/ 27 h 56"/>
                <a:gd name="T6" fmla="*/ 79 w 146"/>
                <a:gd name="T7" fmla="*/ 7 h 56"/>
                <a:gd name="T8" fmla="*/ 67 w 146"/>
                <a:gd name="T9" fmla="*/ 7 h 56"/>
                <a:gd name="T10" fmla="*/ 66 w 146"/>
                <a:gd name="T11" fmla="*/ 27 h 56"/>
                <a:gd name="T12" fmla="*/ 43 w 146"/>
                <a:gd name="T13" fmla="*/ 0 h 56"/>
                <a:gd name="T14" fmla="*/ 25 w 146"/>
                <a:gd name="T15" fmla="*/ 9 h 56"/>
                <a:gd name="T16" fmla="*/ 0 w 146"/>
                <a:gd name="T17" fmla="*/ 56 h 56"/>
                <a:gd name="T18" fmla="*/ 146 w 146"/>
                <a:gd name="T19" fmla="*/ 56 h 56"/>
                <a:gd name="T20" fmla="*/ 121 w 146"/>
                <a:gd name="T2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56">
                  <a:moveTo>
                    <a:pt x="121" y="9"/>
                  </a:moveTo>
                  <a:cubicBezTo>
                    <a:pt x="117" y="6"/>
                    <a:pt x="109" y="3"/>
                    <a:pt x="103" y="0"/>
                  </a:cubicBezTo>
                  <a:cubicBezTo>
                    <a:pt x="80" y="27"/>
                    <a:pt x="80" y="27"/>
                    <a:pt x="80" y="27"/>
                  </a:cubicBezTo>
                  <a:cubicBezTo>
                    <a:pt x="79" y="7"/>
                    <a:pt x="79" y="7"/>
                    <a:pt x="79" y="7"/>
                  </a:cubicBezTo>
                  <a:cubicBezTo>
                    <a:pt x="67" y="7"/>
                    <a:pt x="67" y="7"/>
                    <a:pt x="67" y="7"/>
                  </a:cubicBezTo>
                  <a:cubicBezTo>
                    <a:pt x="66" y="27"/>
                    <a:pt x="66" y="27"/>
                    <a:pt x="66" y="27"/>
                  </a:cubicBezTo>
                  <a:cubicBezTo>
                    <a:pt x="43" y="0"/>
                    <a:pt x="43" y="0"/>
                    <a:pt x="43" y="0"/>
                  </a:cubicBezTo>
                  <a:cubicBezTo>
                    <a:pt x="37" y="3"/>
                    <a:pt x="30" y="6"/>
                    <a:pt x="25" y="9"/>
                  </a:cubicBezTo>
                  <a:cubicBezTo>
                    <a:pt x="4" y="19"/>
                    <a:pt x="0" y="56"/>
                    <a:pt x="0" y="56"/>
                  </a:cubicBezTo>
                  <a:cubicBezTo>
                    <a:pt x="146" y="56"/>
                    <a:pt x="146" y="56"/>
                    <a:pt x="146" y="56"/>
                  </a:cubicBezTo>
                  <a:cubicBezTo>
                    <a:pt x="146" y="56"/>
                    <a:pt x="142" y="19"/>
                    <a:pt x="12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0" name="Freeform 271"/>
            <p:cNvSpPr>
              <a:spLocks/>
            </p:cNvSpPr>
            <p:nvPr/>
          </p:nvSpPr>
          <p:spPr bwMode="gray">
            <a:xfrm>
              <a:off x="5645150" y="3070225"/>
              <a:ext cx="74613" cy="76200"/>
            </a:xfrm>
            <a:custGeom>
              <a:avLst/>
              <a:gdLst>
                <a:gd name="T0" fmla="*/ 83 w 88"/>
                <a:gd name="T1" fmla="*/ 49 h 91"/>
                <a:gd name="T2" fmla="*/ 84 w 88"/>
                <a:gd name="T3" fmla="*/ 40 h 91"/>
                <a:gd name="T4" fmla="*/ 44 w 88"/>
                <a:gd name="T5" fmla="*/ 0 h 91"/>
                <a:gd name="T6" fmla="*/ 4 w 88"/>
                <a:gd name="T7" fmla="*/ 40 h 91"/>
                <a:gd name="T8" fmla="*/ 5 w 88"/>
                <a:gd name="T9" fmla="*/ 49 h 91"/>
                <a:gd name="T10" fmla="*/ 1 w 88"/>
                <a:gd name="T11" fmla="*/ 59 h 91"/>
                <a:gd name="T12" fmla="*/ 15 w 88"/>
                <a:gd name="T13" fmla="*/ 73 h 91"/>
                <a:gd name="T14" fmla="*/ 44 w 88"/>
                <a:gd name="T15" fmla="*/ 91 h 91"/>
                <a:gd name="T16" fmla="*/ 73 w 88"/>
                <a:gd name="T17" fmla="*/ 73 h 91"/>
                <a:gd name="T18" fmla="*/ 87 w 88"/>
                <a:gd name="T19" fmla="*/ 59 h 91"/>
                <a:gd name="T20" fmla="*/ 83 w 88"/>
                <a:gd name="T2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91">
                  <a:moveTo>
                    <a:pt x="83" y="49"/>
                  </a:moveTo>
                  <a:cubicBezTo>
                    <a:pt x="83" y="46"/>
                    <a:pt x="84" y="43"/>
                    <a:pt x="84" y="40"/>
                  </a:cubicBezTo>
                  <a:cubicBezTo>
                    <a:pt x="84" y="18"/>
                    <a:pt x="66" y="0"/>
                    <a:pt x="44" y="0"/>
                  </a:cubicBezTo>
                  <a:cubicBezTo>
                    <a:pt x="22" y="0"/>
                    <a:pt x="4" y="18"/>
                    <a:pt x="4" y="40"/>
                  </a:cubicBezTo>
                  <a:cubicBezTo>
                    <a:pt x="4" y="43"/>
                    <a:pt x="5" y="46"/>
                    <a:pt x="5" y="49"/>
                  </a:cubicBezTo>
                  <a:cubicBezTo>
                    <a:pt x="3" y="51"/>
                    <a:pt x="0" y="54"/>
                    <a:pt x="1" y="59"/>
                  </a:cubicBezTo>
                  <a:cubicBezTo>
                    <a:pt x="1" y="65"/>
                    <a:pt x="7" y="71"/>
                    <a:pt x="15" y="73"/>
                  </a:cubicBezTo>
                  <a:cubicBezTo>
                    <a:pt x="22" y="83"/>
                    <a:pt x="32" y="91"/>
                    <a:pt x="44" y="91"/>
                  </a:cubicBezTo>
                  <a:cubicBezTo>
                    <a:pt x="56" y="91"/>
                    <a:pt x="66" y="83"/>
                    <a:pt x="73" y="73"/>
                  </a:cubicBezTo>
                  <a:cubicBezTo>
                    <a:pt x="81" y="71"/>
                    <a:pt x="87" y="65"/>
                    <a:pt x="87" y="59"/>
                  </a:cubicBezTo>
                  <a:cubicBezTo>
                    <a:pt x="88" y="54"/>
                    <a:pt x="85" y="51"/>
                    <a:pt x="8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1" name="Freeform 272"/>
            <p:cNvSpPr>
              <a:spLocks/>
            </p:cNvSpPr>
            <p:nvPr/>
          </p:nvSpPr>
          <p:spPr bwMode="gray">
            <a:xfrm>
              <a:off x="5541963" y="3063875"/>
              <a:ext cx="74613" cy="65088"/>
            </a:xfrm>
            <a:custGeom>
              <a:avLst/>
              <a:gdLst>
                <a:gd name="T0" fmla="*/ 28 w 47"/>
                <a:gd name="T1" fmla="*/ 22 h 41"/>
                <a:gd name="T2" fmla="*/ 28 w 47"/>
                <a:gd name="T3" fmla="*/ 0 h 41"/>
                <a:gd name="T4" fmla="*/ 19 w 47"/>
                <a:gd name="T5" fmla="*/ 0 h 41"/>
                <a:gd name="T6" fmla="*/ 19 w 47"/>
                <a:gd name="T7" fmla="*/ 22 h 41"/>
                <a:gd name="T8" fmla="*/ 0 w 47"/>
                <a:gd name="T9" fmla="*/ 34 h 41"/>
                <a:gd name="T10" fmla="*/ 4 w 47"/>
                <a:gd name="T11" fmla="*/ 41 h 41"/>
                <a:gd name="T12" fmla="*/ 23 w 47"/>
                <a:gd name="T13" fmla="*/ 30 h 41"/>
                <a:gd name="T14" fmla="*/ 43 w 47"/>
                <a:gd name="T15" fmla="*/ 41 h 41"/>
                <a:gd name="T16" fmla="*/ 47 w 47"/>
                <a:gd name="T17" fmla="*/ 34 h 41"/>
                <a:gd name="T18" fmla="*/ 28 w 47"/>
                <a:gd name="T19"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1">
                  <a:moveTo>
                    <a:pt x="28" y="22"/>
                  </a:moveTo>
                  <a:lnTo>
                    <a:pt x="28" y="0"/>
                  </a:lnTo>
                  <a:lnTo>
                    <a:pt x="19" y="0"/>
                  </a:lnTo>
                  <a:lnTo>
                    <a:pt x="19" y="22"/>
                  </a:lnTo>
                  <a:lnTo>
                    <a:pt x="0" y="34"/>
                  </a:lnTo>
                  <a:lnTo>
                    <a:pt x="4" y="41"/>
                  </a:lnTo>
                  <a:lnTo>
                    <a:pt x="23" y="30"/>
                  </a:lnTo>
                  <a:lnTo>
                    <a:pt x="43" y="41"/>
                  </a:lnTo>
                  <a:lnTo>
                    <a:pt x="47" y="34"/>
                  </a:lnTo>
                  <a:lnTo>
                    <a:pt x="2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sp>
        <p:nvSpPr>
          <p:cNvPr id="82" name="Rectangle 81"/>
          <p:cNvSpPr/>
          <p:nvPr/>
        </p:nvSpPr>
        <p:spPr>
          <a:xfrm rot="5400000">
            <a:off x="8908183" y="-457262"/>
            <a:ext cx="364174" cy="301479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KEY </a:t>
            </a:r>
            <a:r>
              <a:rPr kumimoji="0" lang="en-US" sz="1400" b="1" i="0" u="none" strike="noStrike" kern="1200" cap="none" spc="0" normalizeH="0" baseline="0" noProof="0" dirty="0" smtClean="0">
                <a:ln>
                  <a:noFill/>
                </a:ln>
                <a:solidFill>
                  <a:prstClr val="white"/>
                </a:solidFill>
                <a:effectLst/>
                <a:uLnTx/>
                <a:uFillTx/>
                <a:latin typeface="Calibri" panose="020F0502020204030204"/>
                <a:ea typeface="+mn-ea"/>
                <a:cs typeface="+mn-cs"/>
              </a:rPr>
              <a:t>CAPABILITIES - RFP2</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Connector 30"/>
          <p:cNvCxnSpPr/>
          <p:nvPr/>
        </p:nvCxnSpPr>
        <p:spPr>
          <a:xfrm>
            <a:off x="5888182" y="827318"/>
            <a:ext cx="28854" cy="5603152"/>
          </a:xfrm>
          <a:prstGeom prst="line">
            <a:avLst/>
          </a:prstGeom>
        </p:spPr>
        <p:style>
          <a:lnRef idx="1">
            <a:schemeClr val="accent1"/>
          </a:lnRef>
          <a:fillRef idx="0">
            <a:schemeClr val="accent1"/>
          </a:fillRef>
          <a:effectRef idx="0">
            <a:schemeClr val="accent1"/>
          </a:effectRef>
          <a:fontRef idx="minor">
            <a:schemeClr val="tx1"/>
          </a:fontRef>
        </p:style>
      </p:cxnSp>
      <p:sp>
        <p:nvSpPr>
          <p:cNvPr id="65" name="object 35"/>
          <p:cNvSpPr/>
          <p:nvPr/>
        </p:nvSpPr>
        <p:spPr>
          <a:xfrm>
            <a:off x="10065591" y="4634553"/>
            <a:ext cx="532076" cy="744393"/>
          </a:xfrm>
          <a:custGeom>
            <a:avLst/>
            <a:gdLst/>
            <a:ahLst/>
            <a:cxnLst/>
            <a:rect l="l" t="t" r="r" b="b"/>
            <a:pathLst>
              <a:path w="511175" h="546735">
                <a:moveTo>
                  <a:pt x="377609" y="30365"/>
                </a:moveTo>
                <a:lnTo>
                  <a:pt x="370293" y="32385"/>
                </a:lnTo>
                <a:lnTo>
                  <a:pt x="366979" y="38354"/>
                </a:lnTo>
                <a:lnTo>
                  <a:pt x="352348" y="62928"/>
                </a:lnTo>
                <a:lnTo>
                  <a:pt x="349034" y="68948"/>
                </a:lnTo>
                <a:lnTo>
                  <a:pt x="351002" y="76200"/>
                </a:lnTo>
                <a:lnTo>
                  <a:pt x="357022" y="79463"/>
                </a:lnTo>
                <a:lnTo>
                  <a:pt x="361010" y="80810"/>
                </a:lnTo>
                <a:lnTo>
                  <a:pt x="366979" y="80810"/>
                </a:lnTo>
                <a:lnTo>
                  <a:pt x="371640" y="78841"/>
                </a:lnTo>
                <a:lnTo>
                  <a:pt x="373608" y="74853"/>
                </a:lnTo>
                <a:lnTo>
                  <a:pt x="388239" y="50266"/>
                </a:lnTo>
                <a:lnTo>
                  <a:pt x="391553" y="44310"/>
                </a:lnTo>
                <a:lnTo>
                  <a:pt x="389521" y="36995"/>
                </a:lnTo>
                <a:lnTo>
                  <a:pt x="377609" y="30365"/>
                </a:lnTo>
                <a:close/>
              </a:path>
              <a:path w="511175" h="546735">
                <a:moveTo>
                  <a:pt x="133337" y="30365"/>
                </a:moveTo>
                <a:lnTo>
                  <a:pt x="121424" y="36995"/>
                </a:lnTo>
                <a:lnTo>
                  <a:pt x="119392" y="44310"/>
                </a:lnTo>
                <a:lnTo>
                  <a:pt x="122707" y="50266"/>
                </a:lnTo>
                <a:lnTo>
                  <a:pt x="137337" y="74917"/>
                </a:lnTo>
                <a:lnTo>
                  <a:pt x="139306" y="78905"/>
                </a:lnTo>
                <a:lnTo>
                  <a:pt x="143979" y="80873"/>
                </a:lnTo>
                <a:lnTo>
                  <a:pt x="149936" y="80873"/>
                </a:lnTo>
                <a:lnTo>
                  <a:pt x="153924" y="79527"/>
                </a:lnTo>
                <a:lnTo>
                  <a:pt x="159893" y="76200"/>
                </a:lnTo>
                <a:lnTo>
                  <a:pt x="161912" y="68884"/>
                </a:lnTo>
                <a:lnTo>
                  <a:pt x="158597" y="62928"/>
                </a:lnTo>
                <a:lnTo>
                  <a:pt x="143979" y="38354"/>
                </a:lnTo>
                <a:lnTo>
                  <a:pt x="140652" y="32385"/>
                </a:lnTo>
                <a:lnTo>
                  <a:pt x="133337" y="30365"/>
                </a:lnTo>
                <a:close/>
              </a:path>
              <a:path w="511175" h="546735">
                <a:moveTo>
                  <a:pt x="262077" y="0"/>
                </a:moveTo>
                <a:lnTo>
                  <a:pt x="248805" y="0"/>
                </a:lnTo>
                <a:lnTo>
                  <a:pt x="243522" y="5283"/>
                </a:lnTo>
                <a:lnTo>
                  <a:pt x="243522" y="40436"/>
                </a:lnTo>
                <a:lnTo>
                  <a:pt x="242849" y="47015"/>
                </a:lnTo>
                <a:lnTo>
                  <a:pt x="248132" y="52362"/>
                </a:lnTo>
                <a:lnTo>
                  <a:pt x="262077" y="52362"/>
                </a:lnTo>
                <a:lnTo>
                  <a:pt x="267360" y="47078"/>
                </a:lnTo>
                <a:lnTo>
                  <a:pt x="267360" y="5283"/>
                </a:lnTo>
                <a:lnTo>
                  <a:pt x="262077" y="0"/>
                </a:lnTo>
                <a:close/>
              </a:path>
              <a:path w="511175" h="546735">
                <a:moveTo>
                  <a:pt x="47066" y="242798"/>
                </a:moveTo>
                <a:lnTo>
                  <a:pt x="5283" y="242798"/>
                </a:lnTo>
                <a:lnTo>
                  <a:pt x="0" y="248081"/>
                </a:lnTo>
                <a:lnTo>
                  <a:pt x="0" y="261353"/>
                </a:lnTo>
                <a:lnTo>
                  <a:pt x="5283" y="266636"/>
                </a:lnTo>
                <a:lnTo>
                  <a:pt x="47066" y="266636"/>
                </a:lnTo>
                <a:lnTo>
                  <a:pt x="52349" y="261353"/>
                </a:lnTo>
                <a:lnTo>
                  <a:pt x="52349" y="248081"/>
                </a:lnTo>
                <a:lnTo>
                  <a:pt x="47066" y="242798"/>
                </a:lnTo>
                <a:close/>
              </a:path>
              <a:path w="511175" h="546735">
                <a:moveTo>
                  <a:pt x="505663" y="242798"/>
                </a:moveTo>
                <a:lnTo>
                  <a:pt x="463880" y="242798"/>
                </a:lnTo>
                <a:lnTo>
                  <a:pt x="458597" y="248081"/>
                </a:lnTo>
                <a:lnTo>
                  <a:pt x="458597" y="261353"/>
                </a:lnTo>
                <a:lnTo>
                  <a:pt x="463880" y="266636"/>
                </a:lnTo>
                <a:lnTo>
                  <a:pt x="505663" y="266636"/>
                </a:lnTo>
                <a:lnTo>
                  <a:pt x="510959" y="261353"/>
                </a:lnTo>
                <a:lnTo>
                  <a:pt x="510959" y="248081"/>
                </a:lnTo>
                <a:lnTo>
                  <a:pt x="505663" y="242798"/>
                </a:lnTo>
                <a:close/>
              </a:path>
              <a:path w="511175" h="546735">
                <a:moveTo>
                  <a:pt x="466458" y="119341"/>
                </a:moveTo>
                <a:lnTo>
                  <a:pt x="460502" y="122656"/>
                </a:lnTo>
                <a:lnTo>
                  <a:pt x="435927" y="137287"/>
                </a:lnTo>
                <a:lnTo>
                  <a:pt x="429958" y="140601"/>
                </a:lnTo>
                <a:lnTo>
                  <a:pt x="427939" y="147916"/>
                </a:lnTo>
                <a:lnTo>
                  <a:pt x="431253" y="153873"/>
                </a:lnTo>
                <a:lnTo>
                  <a:pt x="433222" y="157873"/>
                </a:lnTo>
                <a:lnTo>
                  <a:pt x="437883" y="159829"/>
                </a:lnTo>
                <a:lnTo>
                  <a:pt x="443852" y="159829"/>
                </a:lnTo>
                <a:lnTo>
                  <a:pt x="447840" y="158483"/>
                </a:lnTo>
                <a:lnTo>
                  <a:pt x="472427" y="143852"/>
                </a:lnTo>
                <a:lnTo>
                  <a:pt x="478447" y="140601"/>
                </a:lnTo>
                <a:lnTo>
                  <a:pt x="480415" y="133286"/>
                </a:lnTo>
                <a:lnTo>
                  <a:pt x="473773" y="121361"/>
                </a:lnTo>
                <a:lnTo>
                  <a:pt x="466458" y="119341"/>
                </a:lnTo>
                <a:close/>
              </a:path>
              <a:path w="511175" h="546735">
                <a:moveTo>
                  <a:pt x="254152" y="96177"/>
                </a:moveTo>
                <a:lnTo>
                  <a:pt x="204366" y="104253"/>
                </a:lnTo>
                <a:lnTo>
                  <a:pt x="161030" y="126722"/>
                </a:lnTo>
                <a:lnTo>
                  <a:pt x="126795" y="160946"/>
                </a:lnTo>
                <a:lnTo>
                  <a:pt x="104311" y="204286"/>
                </a:lnTo>
                <a:lnTo>
                  <a:pt x="96227" y="254101"/>
                </a:lnTo>
                <a:lnTo>
                  <a:pt x="97588" y="274432"/>
                </a:lnTo>
                <a:lnTo>
                  <a:pt x="101628" y="294466"/>
                </a:lnTo>
                <a:lnTo>
                  <a:pt x="108282" y="313889"/>
                </a:lnTo>
                <a:lnTo>
                  <a:pt x="117487" y="332384"/>
                </a:lnTo>
                <a:lnTo>
                  <a:pt x="118110" y="333743"/>
                </a:lnTo>
                <a:lnTo>
                  <a:pt x="118783" y="334352"/>
                </a:lnTo>
                <a:lnTo>
                  <a:pt x="119486" y="335762"/>
                </a:lnTo>
                <a:lnTo>
                  <a:pt x="123767" y="342930"/>
                </a:lnTo>
                <a:lnTo>
                  <a:pt x="128651" y="349716"/>
                </a:lnTo>
                <a:lnTo>
                  <a:pt x="133915" y="356135"/>
                </a:lnTo>
                <a:lnTo>
                  <a:pt x="139369" y="362254"/>
                </a:lnTo>
                <a:lnTo>
                  <a:pt x="153875" y="385178"/>
                </a:lnTo>
                <a:lnTo>
                  <a:pt x="164415" y="405874"/>
                </a:lnTo>
                <a:lnTo>
                  <a:pt x="170729" y="423839"/>
                </a:lnTo>
                <a:lnTo>
                  <a:pt x="172554" y="438569"/>
                </a:lnTo>
                <a:lnTo>
                  <a:pt x="172554" y="501624"/>
                </a:lnTo>
                <a:lnTo>
                  <a:pt x="176058" y="519011"/>
                </a:lnTo>
                <a:lnTo>
                  <a:pt x="185654" y="533365"/>
                </a:lnTo>
                <a:lnTo>
                  <a:pt x="199976" y="543122"/>
                </a:lnTo>
                <a:lnTo>
                  <a:pt x="217652" y="546722"/>
                </a:lnTo>
                <a:lnTo>
                  <a:pt x="291274" y="546722"/>
                </a:lnTo>
                <a:lnTo>
                  <a:pt x="308661" y="543219"/>
                </a:lnTo>
                <a:lnTo>
                  <a:pt x="323014" y="533622"/>
                </a:lnTo>
                <a:lnTo>
                  <a:pt x="331256" y="521525"/>
                </a:lnTo>
                <a:lnTo>
                  <a:pt x="217652" y="521525"/>
                </a:lnTo>
                <a:lnTo>
                  <a:pt x="210142" y="520121"/>
                </a:lnTo>
                <a:lnTo>
                  <a:pt x="203882" y="516234"/>
                </a:lnTo>
                <a:lnTo>
                  <a:pt x="199361" y="510354"/>
                </a:lnTo>
                <a:lnTo>
                  <a:pt x="197065" y="502970"/>
                </a:lnTo>
                <a:lnTo>
                  <a:pt x="197065" y="498297"/>
                </a:lnTo>
                <a:lnTo>
                  <a:pt x="336372" y="498297"/>
                </a:lnTo>
                <a:lnTo>
                  <a:pt x="336372" y="473722"/>
                </a:lnTo>
                <a:lnTo>
                  <a:pt x="197065" y="473722"/>
                </a:lnTo>
                <a:lnTo>
                  <a:pt x="197065" y="451167"/>
                </a:lnTo>
                <a:lnTo>
                  <a:pt x="336372" y="451167"/>
                </a:lnTo>
                <a:lnTo>
                  <a:pt x="336372" y="442569"/>
                </a:lnTo>
                <a:lnTo>
                  <a:pt x="335699" y="440601"/>
                </a:lnTo>
                <a:lnTo>
                  <a:pt x="335699" y="438569"/>
                </a:lnTo>
                <a:lnTo>
                  <a:pt x="337159" y="426707"/>
                </a:lnTo>
                <a:lnTo>
                  <a:pt x="196392" y="426707"/>
                </a:lnTo>
                <a:lnTo>
                  <a:pt x="184421" y="390398"/>
                </a:lnTo>
                <a:lnTo>
                  <a:pt x="158534" y="347078"/>
                </a:lnTo>
                <a:lnTo>
                  <a:pt x="157187" y="345719"/>
                </a:lnTo>
                <a:lnTo>
                  <a:pt x="152324" y="340107"/>
                </a:lnTo>
                <a:lnTo>
                  <a:pt x="147705" y="334249"/>
                </a:lnTo>
                <a:lnTo>
                  <a:pt x="143341" y="328151"/>
                </a:lnTo>
                <a:lnTo>
                  <a:pt x="139242" y="321818"/>
                </a:lnTo>
                <a:lnTo>
                  <a:pt x="139242" y="321144"/>
                </a:lnTo>
                <a:lnTo>
                  <a:pt x="131312" y="305240"/>
                </a:lnTo>
                <a:lnTo>
                  <a:pt x="125476" y="288445"/>
                </a:lnTo>
                <a:lnTo>
                  <a:pt x="121909" y="271187"/>
                </a:lnTo>
                <a:lnTo>
                  <a:pt x="120688" y="253428"/>
                </a:lnTo>
                <a:lnTo>
                  <a:pt x="127489" y="211258"/>
                </a:lnTo>
                <a:lnTo>
                  <a:pt x="146427" y="174634"/>
                </a:lnTo>
                <a:lnTo>
                  <a:pt x="175305" y="145755"/>
                </a:lnTo>
                <a:lnTo>
                  <a:pt x="211924" y="126816"/>
                </a:lnTo>
                <a:lnTo>
                  <a:pt x="254088" y="120015"/>
                </a:lnTo>
                <a:lnTo>
                  <a:pt x="335263" y="120015"/>
                </a:lnTo>
                <a:lnTo>
                  <a:pt x="303943" y="103920"/>
                </a:lnTo>
                <a:lnTo>
                  <a:pt x="254152" y="96177"/>
                </a:lnTo>
                <a:close/>
              </a:path>
              <a:path w="511175" h="546735">
                <a:moveTo>
                  <a:pt x="336372" y="498297"/>
                </a:moveTo>
                <a:lnTo>
                  <a:pt x="311848" y="498297"/>
                </a:lnTo>
                <a:lnTo>
                  <a:pt x="311848" y="502970"/>
                </a:lnTo>
                <a:lnTo>
                  <a:pt x="309588" y="510354"/>
                </a:lnTo>
                <a:lnTo>
                  <a:pt x="305073" y="516234"/>
                </a:lnTo>
                <a:lnTo>
                  <a:pt x="298814" y="520121"/>
                </a:lnTo>
                <a:lnTo>
                  <a:pt x="291325" y="521525"/>
                </a:lnTo>
                <a:lnTo>
                  <a:pt x="331256" y="521525"/>
                </a:lnTo>
                <a:lnTo>
                  <a:pt x="332772" y="519301"/>
                </a:lnTo>
                <a:lnTo>
                  <a:pt x="336372" y="501624"/>
                </a:lnTo>
                <a:lnTo>
                  <a:pt x="336372" y="498297"/>
                </a:lnTo>
                <a:close/>
              </a:path>
              <a:path w="511175" h="546735">
                <a:moveTo>
                  <a:pt x="336372" y="451167"/>
                </a:moveTo>
                <a:lnTo>
                  <a:pt x="311848" y="451167"/>
                </a:lnTo>
                <a:lnTo>
                  <a:pt x="311848" y="473722"/>
                </a:lnTo>
                <a:lnTo>
                  <a:pt x="336372" y="473722"/>
                </a:lnTo>
                <a:lnTo>
                  <a:pt x="336372" y="451167"/>
                </a:lnTo>
                <a:close/>
              </a:path>
              <a:path w="511175" h="546735">
                <a:moveTo>
                  <a:pt x="335263" y="120015"/>
                </a:moveTo>
                <a:lnTo>
                  <a:pt x="254088" y="120015"/>
                </a:lnTo>
                <a:lnTo>
                  <a:pt x="296259" y="126816"/>
                </a:lnTo>
                <a:lnTo>
                  <a:pt x="332882" y="145755"/>
                </a:lnTo>
                <a:lnTo>
                  <a:pt x="361762" y="174634"/>
                </a:lnTo>
                <a:lnTo>
                  <a:pt x="380701" y="211258"/>
                </a:lnTo>
                <a:lnTo>
                  <a:pt x="387502" y="253428"/>
                </a:lnTo>
                <a:lnTo>
                  <a:pt x="386381" y="271197"/>
                </a:lnTo>
                <a:lnTo>
                  <a:pt x="383000" y="288529"/>
                </a:lnTo>
                <a:lnTo>
                  <a:pt x="377440" y="304956"/>
                </a:lnTo>
                <a:lnTo>
                  <a:pt x="369620" y="320471"/>
                </a:lnTo>
                <a:lnTo>
                  <a:pt x="369620" y="321144"/>
                </a:lnTo>
                <a:lnTo>
                  <a:pt x="368947" y="321144"/>
                </a:lnTo>
                <a:lnTo>
                  <a:pt x="368947" y="322491"/>
                </a:lnTo>
                <a:lnTo>
                  <a:pt x="368261" y="322491"/>
                </a:lnTo>
                <a:lnTo>
                  <a:pt x="368261" y="323164"/>
                </a:lnTo>
                <a:lnTo>
                  <a:pt x="365064" y="328629"/>
                </a:lnTo>
                <a:lnTo>
                  <a:pt x="361408" y="333967"/>
                </a:lnTo>
                <a:lnTo>
                  <a:pt x="357369" y="339050"/>
                </a:lnTo>
                <a:lnTo>
                  <a:pt x="353021" y="343750"/>
                </a:lnTo>
                <a:lnTo>
                  <a:pt x="352348" y="344436"/>
                </a:lnTo>
                <a:lnTo>
                  <a:pt x="351675" y="344436"/>
                </a:lnTo>
                <a:lnTo>
                  <a:pt x="351675" y="345109"/>
                </a:lnTo>
                <a:lnTo>
                  <a:pt x="339123" y="363831"/>
                </a:lnTo>
                <a:lnTo>
                  <a:pt x="327380" y="384413"/>
                </a:lnTo>
                <a:lnTo>
                  <a:pt x="318000" y="405742"/>
                </a:lnTo>
                <a:lnTo>
                  <a:pt x="312534" y="426707"/>
                </a:lnTo>
                <a:lnTo>
                  <a:pt x="337159" y="426707"/>
                </a:lnTo>
                <a:lnTo>
                  <a:pt x="337570" y="423365"/>
                </a:lnTo>
                <a:lnTo>
                  <a:pt x="344025" y="404914"/>
                </a:lnTo>
                <a:lnTo>
                  <a:pt x="354949" y="383719"/>
                </a:lnTo>
                <a:lnTo>
                  <a:pt x="370230" y="360286"/>
                </a:lnTo>
                <a:lnTo>
                  <a:pt x="374988" y="355083"/>
                </a:lnTo>
                <a:lnTo>
                  <a:pt x="379375" y="349513"/>
                </a:lnTo>
                <a:lnTo>
                  <a:pt x="383508" y="343691"/>
                </a:lnTo>
                <a:lnTo>
                  <a:pt x="387502" y="337731"/>
                </a:lnTo>
                <a:lnTo>
                  <a:pt x="388897" y="335711"/>
                </a:lnTo>
                <a:lnTo>
                  <a:pt x="390144" y="334416"/>
                </a:lnTo>
                <a:lnTo>
                  <a:pt x="390817" y="333057"/>
                </a:lnTo>
                <a:lnTo>
                  <a:pt x="391490" y="331101"/>
                </a:lnTo>
                <a:lnTo>
                  <a:pt x="400305" y="312703"/>
                </a:lnTo>
                <a:lnTo>
                  <a:pt x="406760" y="293503"/>
                </a:lnTo>
                <a:lnTo>
                  <a:pt x="410726" y="273683"/>
                </a:lnTo>
                <a:lnTo>
                  <a:pt x="412076" y="253428"/>
                </a:lnTo>
                <a:lnTo>
                  <a:pt x="403994" y="203617"/>
                </a:lnTo>
                <a:lnTo>
                  <a:pt x="381512" y="160313"/>
                </a:lnTo>
                <a:lnTo>
                  <a:pt x="347279" y="126189"/>
                </a:lnTo>
                <a:lnTo>
                  <a:pt x="335263" y="120015"/>
                </a:lnTo>
                <a:close/>
              </a:path>
              <a:path w="511175" h="546735">
                <a:moveTo>
                  <a:pt x="44424" y="119341"/>
                </a:moveTo>
                <a:lnTo>
                  <a:pt x="37109" y="121310"/>
                </a:lnTo>
                <a:lnTo>
                  <a:pt x="33794" y="127330"/>
                </a:lnTo>
                <a:lnTo>
                  <a:pt x="30480" y="133286"/>
                </a:lnTo>
                <a:lnTo>
                  <a:pt x="32448" y="140601"/>
                </a:lnTo>
                <a:lnTo>
                  <a:pt x="38468" y="143916"/>
                </a:lnTo>
                <a:lnTo>
                  <a:pt x="63042" y="158546"/>
                </a:lnTo>
                <a:lnTo>
                  <a:pt x="65011" y="159893"/>
                </a:lnTo>
                <a:lnTo>
                  <a:pt x="72999" y="159893"/>
                </a:lnTo>
                <a:lnTo>
                  <a:pt x="77609" y="157924"/>
                </a:lnTo>
                <a:lnTo>
                  <a:pt x="79629" y="153936"/>
                </a:lnTo>
                <a:lnTo>
                  <a:pt x="82892" y="147916"/>
                </a:lnTo>
                <a:lnTo>
                  <a:pt x="80924" y="140601"/>
                </a:lnTo>
                <a:lnTo>
                  <a:pt x="74968" y="137287"/>
                </a:lnTo>
                <a:lnTo>
                  <a:pt x="50380" y="122656"/>
                </a:lnTo>
                <a:lnTo>
                  <a:pt x="44424" y="119341"/>
                </a:lnTo>
                <a:close/>
              </a:path>
            </a:pathLst>
          </a:custGeom>
          <a:solidFill>
            <a:sysClr val="window" lastClr="FFFFFF"/>
          </a:solidFill>
        </p:spPr>
        <p:txBody>
          <a:bodyPr wrap="square" lIns="0" tIns="0" rIns="0" bIns="0" rtlCol="0"/>
          <a:lstStyle/>
          <a:p>
            <a:pPr marL="0" marR="0" lvl="0" indent="0" algn="ctr" defTabSz="838158" rtl="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68174520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313" y="71014"/>
            <a:ext cx="11780463" cy="618385"/>
          </a:xfrm>
        </p:spPr>
        <p:txBody>
          <a:bodyPr>
            <a:normAutofit/>
          </a:bodyPr>
          <a:lstStyle/>
          <a:p>
            <a:r>
              <a:rPr lang="en-US" dirty="0"/>
              <a:t>CSI </a:t>
            </a:r>
            <a:r>
              <a:rPr lang="en-US" dirty="0" smtClean="0"/>
              <a:t>Framework for Maintenance Activities</a:t>
            </a:r>
            <a:endParaRPr lang="en-US" dirty="0">
              <a:latin typeface="Calibri" panose="020F0502020204030204" pitchFamily="34" charset="0"/>
            </a:endParaRPr>
          </a:p>
        </p:txBody>
      </p:sp>
      <p:grpSp>
        <p:nvGrpSpPr>
          <p:cNvPr id="5" name="Group 4"/>
          <p:cNvGrpSpPr/>
          <p:nvPr/>
        </p:nvGrpSpPr>
        <p:grpSpPr>
          <a:xfrm>
            <a:off x="153950" y="964441"/>
            <a:ext cx="11753629" cy="5262049"/>
            <a:chOff x="115462" y="548020"/>
            <a:chExt cx="8815222" cy="4121848"/>
          </a:xfrm>
        </p:grpSpPr>
        <p:sp>
          <p:nvSpPr>
            <p:cNvPr id="6" name="Freeform 5"/>
            <p:cNvSpPr/>
            <p:nvPr/>
          </p:nvSpPr>
          <p:spPr>
            <a:xfrm>
              <a:off x="5206351" y="2390981"/>
              <a:ext cx="1670768" cy="56885"/>
            </a:xfrm>
            <a:custGeom>
              <a:avLst/>
              <a:gdLst>
                <a:gd name="connsiteX0" fmla="*/ 0 w 1636776"/>
                <a:gd name="connsiteY0" fmla="*/ 265176 h 265176"/>
                <a:gd name="connsiteX1" fmla="*/ 1371600 w 1636776"/>
                <a:gd name="connsiteY1" fmla="*/ 265176 h 265176"/>
                <a:gd name="connsiteX2" fmla="*/ 1636776 w 1636776"/>
                <a:gd name="connsiteY2" fmla="*/ 0 h 265176"/>
                <a:gd name="connsiteX3" fmla="*/ 265176 w 1636776"/>
                <a:gd name="connsiteY3" fmla="*/ 0 h 265176"/>
                <a:gd name="connsiteX4" fmla="*/ 0 w 1636776"/>
                <a:gd name="connsiteY4" fmla="*/ 265176 h 265176"/>
                <a:gd name="connsiteX0" fmla="*/ 0 w 1636776"/>
                <a:gd name="connsiteY0" fmla="*/ 265176 h 275508"/>
                <a:gd name="connsiteX1" fmla="*/ 1376766 w 1636776"/>
                <a:gd name="connsiteY1" fmla="*/ 275508 h 275508"/>
                <a:gd name="connsiteX2" fmla="*/ 1636776 w 1636776"/>
                <a:gd name="connsiteY2" fmla="*/ 0 h 275508"/>
                <a:gd name="connsiteX3" fmla="*/ 265176 w 1636776"/>
                <a:gd name="connsiteY3" fmla="*/ 0 h 275508"/>
                <a:gd name="connsiteX4" fmla="*/ 0 w 1636776"/>
                <a:gd name="connsiteY4" fmla="*/ 265176 h 275508"/>
                <a:gd name="connsiteX0" fmla="*/ 0 w 1629660"/>
                <a:gd name="connsiteY0" fmla="*/ 272292 h 275508"/>
                <a:gd name="connsiteX1" fmla="*/ 1369650 w 1629660"/>
                <a:gd name="connsiteY1" fmla="*/ 275508 h 275508"/>
                <a:gd name="connsiteX2" fmla="*/ 1629660 w 1629660"/>
                <a:gd name="connsiteY2" fmla="*/ 0 h 275508"/>
                <a:gd name="connsiteX3" fmla="*/ 258060 w 1629660"/>
                <a:gd name="connsiteY3" fmla="*/ 0 h 275508"/>
                <a:gd name="connsiteX4" fmla="*/ 0 w 1629660"/>
                <a:gd name="connsiteY4" fmla="*/ 272292 h 275508"/>
                <a:gd name="connsiteX0" fmla="*/ 0 w 1629660"/>
                <a:gd name="connsiteY0" fmla="*/ 272292 h 275508"/>
                <a:gd name="connsiteX1" fmla="*/ 1358976 w 1629660"/>
                <a:gd name="connsiteY1" fmla="*/ 275508 h 275508"/>
                <a:gd name="connsiteX2" fmla="*/ 1629660 w 1629660"/>
                <a:gd name="connsiteY2" fmla="*/ 0 h 275508"/>
                <a:gd name="connsiteX3" fmla="*/ 258060 w 1629660"/>
                <a:gd name="connsiteY3" fmla="*/ 0 h 275508"/>
                <a:gd name="connsiteX4" fmla="*/ 0 w 1629660"/>
                <a:gd name="connsiteY4" fmla="*/ 272292 h 275508"/>
                <a:gd name="connsiteX0" fmla="*/ 0 w 1544269"/>
                <a:gd name="connsiteY0" fmla="*/ 279408 h 282624"/>
                <a:gd name="connsiteX1" fmla="*/ 1358976 w 1544269"/>
                <a:gd name="connsiteY1" fmla="*/ 282624 h 282624"/>
                <a:gd name="connsiteX2" fmla="*/ 1544269 w 1544269"/>
                <a:gd name="connsiteY2" fmla="*/ 0 h 282624"/>
                <a:gd name="connsiteX3" fmla="*/ 258060 w 1544269"/>
                <a:gd name="connsiteY3" fmla="*/ 7116 h 282624"/>
                <a:gd name="connsiteX4" fmla="*/ 0 w 1544269"/>
                <a:gd name="connsiteY4" fmla="*/ 279408 h 282624"/>
                <a:gd name="connsiteX0" fmla="*/ 0 w 1622544"/>
                <a:gd name="connsiteY0" fmla="*/ 279408 h 282624"/>
                <a:gd name="connsiteX1" fmla="*/ 1358976 w 1622544"/>
                <a:gd name="connsiteY1" fmla="*/ 282624 h 282624"/>
                <a:gd name="connsiteX2" fmla="*/ 1622544 w 1622544"/>
                <a:gd name="connsiteY2" fmla="*/ 0 h 282624"/>
                <a:gd name="connsiteX3" fmla="*/ 258060 w 1622544"/>
                <a:gd name="connsiteY3" fmla="*/ 7116 h 282624"/>
                <a:gd name="connsiteX4" fmla="*/ 0 w 1622544"/>
                <a:gd name="connsiteY4" fmla="*/ 279408 h 282624"/>
                <a:gd name="connsiteX0" fmla="*/ 0 w 1622544"/>
                <a:gd name="connsiteY0" fmla="*/ 279408 h 282624"/>
                <a:gd name="connsiteX1" fmla="*/ 1358976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22544"/>
                <a:gd name="connsiteY0" fmla="*/ 279408 h 282624"/>
                <a:gd name="connsiteX1" fmla="*/ 1362534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22544"/>
                <a:gd name="connsiteY0" fmla="*/ 279408 h 282624"/>
                <a:gd name="connsiteX1" fmla="*/ 1372837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32847"/>
                <a:gd name="connsiteY0" fmla="*/ 279408 h 282624"/>
                <a:gd name="connsiteX1" fmla="*/ 1372837 w 1632847"/>
                <a:gd name="connsiteY1" fmla="*/ 282624 h 282624"/>
                <a:gd name="connsiteX2" fmla="*/ 1632847 w 1632847"/>
                <a:gd name="connsiteY2" fmla="*/ 0 h 282624"/>
                <a:gd name="connsiteX3" fmla="*/ 272292 w 1632847"/>
                <a:gd name="connsiteY3" fmla="*/ 3558 h 282624"/>
                <a:gd name="connsiteX4" fmla="*/ 0 w 1632847"/>
                <a:gd name="connsiteY4" fmla="*/ 279408 h 282624"/>
                <a:gd name="connsiteX0" fmla="*/ 0 w 1632847"/>
                <a:gd name="connsiteY0" fmla="*/ 279408 h 282624"/>
                <a:gd name="connsiteX1" fmla="*/ 1365109 w 1632847"/>
                <a:gd name="connsiteY1" fmla="*/ 282624 h 282624"/>
                <a:gd name="connsiteX2" fmla="*/ 1632847 w 1632847"/>
                <a:gd name="connsiteY2" fmla="*/ 0 h 282624"/>
                <a:gd name="connsiteX3" fmla="*/ 272292 w 1632847"/>
                <a:gd name="connsiteY3" fmla="*/ 3558 h 282624"/>
                <a:gd name="connsiteX4" fmla="*/ 0 w 1632847"/>
                <a:gd name="connsiteY4" fmla="*/ 279408 h 282624"/>
                <a:gd name="connsiteX0" fmla="*/ 0 w 1632847"/>
                <a:gd name="connsiteY0" fmla="*/ 279408 h 279408"/>
                <a:gd name="connsiteX1" fmla="*/ 1316169 w 1632847"/>
                <a:gd name="connsiteY1" fmla="*/ 244529 h 279408"/>
                <a:gd name="connsiteX2" fmla="*/ 1632847 w 1632847"/>
                <a:gd name="connsiteY2" fmla="*/ 0 h 279408"/>
                <a:gd name="connsiteX3" fmla="*/ 272292 w 1632847"/>
                <a:gd name="connsiteY3" fmla="*/ 3558 h 279408"/>
                <a:gd name="connsiteX4" fmla="*/ 0 w 1632847"/>
                <a:gd name="connsiteY4" fmla="*/ 279408 h 279408"/>
                <a:gd name="connsiteX0" fmla="*/ 0 w 1632847"/>
                <a:gd name="connsiteY0" fmla="*/ 279408 h 280084"/>
                <a:gd name="connsiteX1" fmla="*/ 1365109 w 1632847"/>
                <a:gd name="connsiteY1" fmla="*/ 280084 h 280084"/>
                <a:gd name="connsiteX2" fmla="*/ 1632847 w 1632847"/>
                <a:gd name="connsiteY2" fmla="*/ 0 h 280084"/>
                <a:gd name="connsiteX3" fmla="*/ 272292 w 1632847"/>
                <a:gd name="connsiteY3" fmla="*/ 3558 h 280084"/>
                <a:gd name="connsiteX4" fmla="*/ 0 w 1632847"/>
                <a:gd name="connsiteY4" fmla="*/ 279408 h 280084"/>
                <a:gd name="connsiteX0" fmla="*/ 0 w 1563301"/>
                <a:gd name="connsiteY0" fmla="*/ 275850 h 276526"/>
                <a:gd name="connsiteX1" fmla="*/ 1365109 w 1563301"/>
                <a:gd name="connsiteY1" fmla="*/ 276526 h 276526"/>
                <a:gd name="connsiteX2" fmla="*/ 1563301 w 1563301"/>
                <a:gd name="connsiteY2" fmla="*/ 6601 h 276526"/>
                <a:gd name="connsiteX3" fmla="*/ 272292 w 1563301"/>
                <a:gd name="connsiteY3" fmla="*/ 0 h 276526"/>
                <a:gd name="connsiteX4" fmla="*/ 0 w 1563301"/>
                <a:gd name="connsiteY4" fmla="*/ 275850 h 276526"/>
                <a:gd name="connsiteX0" fmla="*/ 0 w 1625120"/>
                <a:gd name="connsiteY0" fmla="*/ 276868 h 277544"/>
                <a:gd name="connsiteX1" fmla="*/ 1365109 w 1625120"/>
                <a:gd name="connsiteY1" fmla="*/ 277544 h 277544"/>
                <a:gd name="connsiteX2" fmla="*/ 1625120 w 1625120"/>
                <a:gd name="connsiteY2" fmla="*/ 0 h 277544"/>
                <a:gd name="connsiteX3" fmla="*/ 272292 w 1625120"/>
                <a:gd name="connsiteY3" fmla="*/ 1018 h 277544"/>
                <a:gd name="connsiteX4" fmla="*/ 0 w 1625120"/>
                <a:gd name="connsiteY4" fmla="*/ 276868 h 277544"/>
                <a:gd name="connsiteX0" fmla="*/ 0 w 1601938"/>
                <a:gd name="connsiteY0" fmla="*/ 276868 h 277544"/>
                <a:gd name="connsiteX1" fmla="*/ 1365109 w 1601938"/>
                <a:gd name="connsiteY1" fmla="*/ 277544 h 277544"/>
                <a:gd name="connsiteX2" fmla="*/ 1601938 w 1601938"/>
                <a:gd name="connsiteY2" fmla="*/ 0 h 277544"/>
                <a:gd name="connsiteX3" fmla="*/ 272292 w 1601938"/>
                <a:gd name="connsiteY3" fmla="*/ 1018 h 277544"/>
                <a:gd name="connsiteX4" fmla="*/ 0 w 1601938"/>
                <a:gd name="connsiteY4" fmla="*/ 276868 h 277544"/>
                <a:gd name="connsiteX0" fmla="*/ 0 w 1627695"/>
                <a:gd name="connsiteY0" fmla="*/ 276868 h 277544"/>
                <a:gd name="connsiteX1" fmla="*/ 1365109 w 1627695"/>
                <a:gd name="connsiteY1" fmla="*/ 277544 h 277544"/>
                <a:gd name="connsiteX2" fmla="*/ 1627695 w 1627695"/>
                <a:gd name="connsiteY2" fmla="*/ 0 h 277544"/>
                <a:gd name="connsiteX3" fmla="*/ 272292 w 1627695"/>
                <a:gd name="connsiteY3" fmla="*/ 1018 h 277544"/>
                <a:gd name="connsiteX4" fmla="*/ 0 w 1627695"/>
                <a:gd name="connsiteY4" fmla="*/ 276868 h 277544"/>
                <a:gd name="connsiteX0" fmla="*/ 0 w 1627695"/>
                <a:gd name="connsiteY0" fmla="*/ 276868 h 277544"/>
                <a:gd name="connsiteX1" fmla="*/ 1365109 w 1627695"/>
                <a:gd name="connsiteY1" fmla="*/ 277544 h 277544"/>
                <a:gd name="connsiteX2" fmla="*/ 1627695 w 1627695"/>
                <a:gd name="connsiteY2" fmla="*/ 0 h 277544"/>
                <a:gd name="connsiteX3" fmla="*/ 272292 w 1627695"/>
                <a:gd name="connsiteY3" fmla="*/ 1018 h 277544"/>
                <a:gd name="connsiteX4" fmla="*/ 0 w 1627695"/>
                <a:gd name="connsiteY4" fmla="*/ 276868 h 277544"/>
                <a:gd name="connsiteX0" fmla="*/ 0 w 1572541"/>
                <a:gd name="connsiteY0" fmla="*/ 276868 h 277544"/>
                <a:gd name="connsiteX1" fmla="*/ 1365109 w 1572541"/>
                <a:gd name="connsiteY1" fmla="*/ 277544 h 277544"/>
                <a:gd name="connsiteX2" fmla="*/ 1572541 w 1572541"/>
                <a:gd name="connsiteY2" fmla="*/ 0 h 277544"/>
                <a:gd name="connsiteX3" fmla="*/ 272292 w 1572541"/>
                <a:gd name="connsiteY3" fmla="*/ 1018 h 277544"/>
                <a:gd name="connsiteX4" fmla="*/ 0 w 1572541"/>
                <a:gd name="connsiteY4" fmla="*/ 276868 h 277544"/>
                <a:gd name="connsiteX0" fmla="*/ 0 w 1618986"/>
                <a:gd name="connsiteY0" fmla="*/ 276868 h 277544"/>
                <a:gd name="connsiteX1" fmla="*/ 1365109 w 1618986"/>
                <a:gd name="connsiteY1" fmla="*/ 277544 h 277544"/>
                <a:gd name="connsiteX2" fmla="*/ 1618986 w 1618986"/>
                <a:gd name="connsiteY2" fmla="*/ 0 h 277544"/>
                <a:gd name="connsiteX3" fmla="*/ 272292 w 1618986"/>
                <a:gd name="connsiteY3" fmla="*/ 1018 h 277544"/>
                <a:gd name="connsiteX4" fmla="*/ 0 w 1618986"/>
                <a:gd name="connsiteY4" fmla="*/ 276868 h 277544"/>
                <a:gd name="connsiteX0" fmla="*/ 0 w 1618986"/>
                <a:gd name="connsiteY0" fmla="*/ 276868 h 277544"/>
                <a:gd name="connsiteX1" fmla="*/ 1370349 w 1618986"/>
                <a:gd name="connsiteY1" fmla="*/ 277544 h 277544"/>
                <a:gd name="connsiteX2" fmla="*/ 1618986 w 1618986"/>
                <a:gd name="connsiteY2" fmla="*/ 0 h 277544"/>
                <a:gd name="connsiteX3" fmla="*/ 272292 w 1618986"/>
                <a:gd name="connsiteY3" fmla="*/ 1018 h 277544"/>
                <a:gd name="connsiteX4" fmla="*/ 0 w 1618986"/>
                <a:gd name="connsiteY4" fmla="*/ 276868 h 277544"/>
                <a:gd name="connsiteX0" fmla="*/ 0 w 5599449"/>
                <a:gd name="connsiteY0" fmla="*/ 276868 h 423503"/>
                <a:gd name="connsiteX1" fmla="*/ 5599449 w 5599449"/>
                <a:gd name="connsiteY1" fmla="*/ 423503 h 423503"/>
                <a:gd name="connsiteX2" fmla="*/ 1618986 w 5599449"/>
                <a:gd name="connsiteY2" fmla="*/ 0 h 423503"/>
                <a:gd name="connsiteX3" fmla="*/ 272292 w 5599449"/>
                <a:gd name="connsiteY3" fmla="*/ 1018 h 423503"/>
                <a:gd name="connsiteX4" fmla="*/ 0 w 5599449"/>
                <a:gd name="connsiteY4" fmla="*/ 276868 h 423503"/>
                <a:gd name="connsiteX0" fmla="*/ 0 w 5599449"/>
                <a:gd name="connsiteY0" fmla="*/ 284550 h 431185"/>
                <a:gd name="connsiteX1" fmla="*/ 5599449 w 5599449"/>
                <a:gd name="connsiteY1" fmla="*/ 431185 h 431185"/>
                <a:gd name="connsiteX2" fmla="*/ 5428986 w 5599449"/>
                <a:gd name="connsiteY2" fmla="*/ 0 h 431185"/>
                <a:gd name="connsiteX3" fmla="*/ 272292 w 5599449"/>
                <a:gd name="connsiteY3" fmla="*/ 8700 h 431185"/>
                <a:gd name="connsiteX4" fmla="*/ 0 w 5599449"/>
                <a:gd name="connsiteY4" fmla="*/ 284550 h 431185"/>
                <a:gd name="connsiteX0" fmla="*/ 0 w 5557031"/>
                <a:gd name="connsiteY0" fmla="*/ 284550 h 301550"/>
                <a:gd name="connsiteX1" fmla="*/ 5557031 w 5557031"/>
                <a:gd name="connsiteY1" fmla="*/ 301550 h 301550"/>
                <a:gd name="connsiteX2" fmla="*/ 5428986 w 5557031"/>
                <a:gd name="connsiteY2" fmla="*/ 0 h 301550"/>
                <a:gd name="connsiteX3" fmla="*/ 272292 w 5557031"/>
                <a:gd name="connsiteY3" fmla="*/ 8700 h 301550"/>
                <a:gd name="connsiteX4" fmla="*/ 0 w 5557031"/>
                <a:gd name="connsiteY4" fmla="*/ 284550 h 301550"/>
                <a:gd name="connsiteX0" fmla="*/ 0 w 5599449"/>
                <a:gd name="connsiteY0" fmla="*/ 284550 h 296749"/>
                <a:gd name="connsiteX1" fmla="*/ 5599449 w 5599449"/>
                <a:gd name="connsiteY1" fmla="*/ 296749 h 296749"/>
                <a:gd name="connsiteX2" fmla="*/ 5428986 w 5599449"/>
                <a:gd name="connsiteY2" fmla="*/ 0 h 296749"/>
                <a:gd name="connsiteX3" fmla="*/ 272292 w 5599449"/>
                <a:gd name="connsiteY3" fmla="*/ 8700 h 296749"/>
                <a:gd name="connsiteX4" fmla="*/ 0 w 5599449"/>
                <a:gd name="connsiteY4" fmla="*/ 284550 h 296749"/>
                <a:gd name="connsiteX0" fmla="*/ 0 w 5564744"/>
                <a:gd name="connsiteY0" fmla="*/ 284550 h 284550"/>
                <a:gd name="connsiteX1" fmla="*/ 5564744 w 5564744"/>
                <a:gd name="connsiteY1" fmla="*/ 282346 h 284550"/>
                <a:gd name="connsiteX2" fmla="*/ 5428986 w 5564744"/>
                <a:gd name="connsiteY2" fmla="*/ 0 h 284550"/>
                <a:gd name="connsiteX3" fmla="*/ 272292 w 5564744"/>
                <a:gd name="connsiteY3" fmla="*/ 8700 h 284550"/>
                <a:gd name="connsiteX4" fmla="*/ 0 w 5564744"/>
                <a:gd name="connsiteY4" fmla="*/ 284550 h 284550"/>
                <a:gd name="connsiteX0" fmla="*/ 0 w 5564744"/>
                <a:gd name="connsiteY0" fmla="*/ 290782 h 290782"/>
                <a:gd name="connsiteX1" fmla="*/ 5564744 w 5564744"/>
                <a:gd name="connsiteY1" fmla="*/ 288578 h 290782"/>
                <a:gd name="connsiteX2" fmla="*/ 5361003 w 5564744"/>
                <a:gd name="connsiteY2" fmla="*/ 0 h 290782"/>
                <a:gd name="connsiteX3" fmla="*/ 272292 w 5564744"/>
                <a:gd name="connsiteY3" fmla="*/ 14932 h 290782"/>
                <a:gd name="connsiteX4" fmla="*/ 0 w 5564744"/>
                <a:gd name="connsiteY4" fmla="*/ 290782 h 290782"/>
                <a:gd name="connsiteX0" fmla="*/ 0 w 5564744"/>
                <a:gd name="connsiteY0" fmla="*/ 290782 h 290782"/>
                <a:gd name="connsiteX1" fmla="*/ 5564744 w 5564744"/>
                <a:gd name="connsiteY1" fmla="*/ 288578 h 290782"/>
                <a:gd name="connsiteX2" fmla="*/ 5354823 w 5564744"/>
                <a:gd name="connsiteY2" fmla="*/ 0 h 290782"/>
                <a:gd name="connsiteX3" fmla="*/ 272292 w 5564744"/>
                <a:gd name="connsiteY3" fmla="*/ 14932 h 290782"/>
                <a:gd name="connsiteX4" fmla="*/ 0 w 5564744"/>
                <a:gd name="connsiteY4" fmla="*/ 290782 h 290782"/>
                <a:gd name="connsiteX0" fmla="*/ 0 w 5564744"/>
                <a:gd name="connsiteY0" fmla="*/ 290782 h 290782"/>
                <a:gd name="connsiteX1" fmla="*/ 5564744 w 5564744"/>
                <a:gd name="connsiteY1" fmla="*/ 288578 h 290782"/>
                <a:gd name="connsiteX2" fmla="*/ 5354823 w 5564744"/>
                <a:gd name="connsiteY2" fmla="*/ 0 h 290782"/>
                <a:gd name="connsiteX3" fmla="*/ 235210 w 5564744"/>
                <a:gd name="connsiteY3" fmla="*/ 14932 h 290782"/>
                <a:gd name="connsiteX4" fmla="*/ 0 w 5564744"/>
                <a:gd name="connsiteY4" fmla="*/ 290782 h 290782"/>
                <a:gd name="connsiteX0" fmla="*/ 0 w 5564744"/>
                <a:gd name="connsiteY0" fmla="*/ 275850 h 275850"/>
                <a:gd name="connsiteX1" fmla="*/ 5564744 w 5564744"/>
                <a:gd name="connsiteY1" fmla="*/ 273646 h 275850"/>
                <a:gd name="connsiteX2" fmla="*/ 5361003 w 5564744"/>
                <a:gd name="connsiteY2" fmla="*/ 3763 h 275850"/>
                <a:gd name="connsiteX3" fmla="*/ 235210 w 5564744"/>
                <a:gd name="connsiteY3" fmla="*/ 0 h 275850"/>
                <a:gd name="connsiteX4" fmla="*/ 0 w 5564744"/>
                <a:gd name="connsiteY4" fmla="*/ 275850 h 275850"/>
                <a:gd name="connsiteX0" fmla="*/ 0 w 5564744"/>
                <a:gd name="connsiteY0" fmla="*/ 275850 h 275850"/>
                <a:gd name="connsiteX1" fmla="*/ 5564744 w 5564744"/>
                <a:gd name="connsiteY1" fmla="*/ 273646 h 275850"/>
                <a:gd name="connsiteX2" fmla="*/ 5320922 w 5564744"/>
                <a:gd name="connsiteY2" fmla="*/ 1816 h 275850"/>
                <a:gd name="connsiteX3" fmla="*/ 235210 w 5564744"/>
                <a:gd name="connsiteY3" fmla="*/ 0 h 275850"/>
                <a:gd name="connsiteX4" fmla="*/ 0 w 5564744"/>
                <a:gd name="connsiteY4" fmla="*/ 275850 h 275850"/>
                <a:gd name="connsiteX0" fmla="*/ 0 w 5564744"/>
                <a:gd name="connsiteY0" fmla="*/ 274034 h 274034"/>
                <a:gd name="connsiteX1" fmla="*/ 5564744 w 5564744"/>
                <a:gd name="connsiteY1" fmla="*/ 271830 h 274034"/>
                <a:gd name="connsiteX2" fmla="*/ 5320922 w 5564744"/>
                <a:gd name="connsiteY2" fmla="*/ 0 h 274034"/>
                <a:gd name="connsiteX3" fmla="*/ 252167 w 5564744"/>
                <a:gd name="connsiteY3" fmla="*/ 27394 h 274034"/>
                <a:gd name="connsiteX4" fmla="*/ 0 w 5564744"/>
                <a:gd name="connsiteY4" fmla="*/ 274034 h 274034"/>
                <a:gd name="connsiteX0" fmla="*/ 0 w 5564744"/>
                <a:gd name="connsiteY0" fmla="*/ 274034 h 274034"/>
                <a:gd name="connsiteX1" fmla="*/ 5564744 w 5564744"/>
                <a:gd name="connsiteY1" fmla="*/ 271830 h 274034"/>
                <a:gd name="connsiteX2" fmla="*/ 5320922 w 5564744"/>
                <a:gd name="connsiteY2" fmla="*/ 0 h 274034"/>
                <a:gd name="connsiteX3" fmla="*/ 246001 w 5564744"/>
                <a:gd name="connsiteY3" fmla="*/ 130 h 274034"/>
                <a:gd name="connsiteX4" fmla="*/ 0 w 5564744"/>
                <a:gd name="connsiteY4" fmla="*/ 274034 h 274034"/>
                <a:gd name="connsiteX0" fmla="*/ 0 w 5564744"/>
                <a:gd name="connsiteY0" fmla="*/ 395303 h 395303"/>
                <a:gd name="connsiteX1" fmla="*/ 5564744 w 5564744"/>
                <a:gd name="connsiteY1" fmla="*/ 393099 h 395303"/>
                <a:gd name="connsiteX2" fmla="*/ 5320922 w 5564744"/>
                <a:gd name="connsiteY2" fmla="*/ 121269 h 395303"/>
                <a:gd name="connsiteX3" fmla="*/ 110342 w 5564744"/>
                <a:gd name="connsiteY3" fmla="*/ 0 h 395303"/>
                <a:gd name="connsiteX4" fmla="*/ 0 w 5564744"/>
                <a:gd name="connsiteY4" fmla="*/ 395303 h 395303"/>
                <a:gd name="connsiteX0" fmla="*/ 0 w 5792897"/>
                <a:gd name="connsiteY0" fmla="*/ 395303 h 395303"/>
                <a:gd name="connsiteX1" fmla="*/ 5792897 w 5792897"/>
                <a:gd name="connsiteY1" fmla="*/ 379611 h 395303"/>
                <a:gd name="connsiteX2" fmla="*/ 5320922 w 5792897"/>
                <a:gd name="connsiteY2" fmla="*/ 121269 h 395303"/>
                <a:gd name="connsiteX3" fmla="*/ 110342 w 5792897"/>
                <a:gd name="connsiteY3" fmla="*/ 0 h 395303"/>
                <a:gd name="connsiteX4" fmla="*/ 0 w 5792897"/>
                <a:gd name="connsiteY4" fmla="*/ 395303 h 395303"/>
                <a:gd name="connsiteX0" fmla="*/ 0 w 5735206"/>
                <a:gd name="connsiteY0" fmla="*/ 395303 h 395303"/>
                <a:gd name="connsiteX1" fmla="*/ 5735206 w 5735206"/>
                <a:gd name="connsiteY1" fmla="*/ 370618 h 395303"/>
                <a:gd name="connsiteX2" fmla="*/ 5320922 w 5735206"/>
                <a:gd name="connsiteY2" fmla="*/ 121269 h 395303"/>
                <a:gd name="connsiteX3" fmla="*/ 110342 w 5735206"/>
                <a:gd name="connsiteY3" fmla="*/ 0 h 395303"/>
                <a:gd name="connsiteX4" fmla="*/ 0 w 5735206"/>
                <a:gd name="connsiteY4" fmla="*/ 395303 h 395303"/>
                <a:gd name="connsiteX0" fmla="*/ 0 w 5797018"/>
                <a:gd name="connsiteY0" fmla="*/ 395303 h 395303"/>
                <a:gd name="connsiteX1" fmla="*/ 5797018 w 5797018"/>
                <a:gd name="connsiteY1" fmla="*/ 379611 h 395303"/>
                <a:gd name="connsiteX2" fmla="*/ 5320922 w 5797018"/>
                <a:gd name="connsiteY2" fmla="*/ 121269 h 395303"/>
                <a:gd name="connsiteX3" fmla="*/ 110342 w 5797018"/>
                <a:gd name="connsiteY3" fmla="*/ 0 h 395303"/>
                <a:gd name="connsiteX4" fmla="*/ 0 w 5797018"/>
                <a:gd name="connsiteY4" fmla="*/ 395303 h 395303"/>
                <a:gd name="connsiteX0" fmla="*/ 0 w 5793927"/>
                <a:gd name="connsiteY0" fmla="*/ 395303 h 395303"/>
                <a:gd name="connsiteX1" fmla="*/ 5793927 w 5793927"/>
                <a:gd name="connsiteY1" fmla="*/ 393099 h 395303"/>
                <a:gd name="connsiteX2" fmla="*/ 5320922 w 5793927"/>
                <a:gd name="connsiteY2" fmla="*/ 121269 h 395303"/>
                <a:gd name="connsiteX3" fmla="*/ 110342 w 5793927"/>
                <a:gd name="connsiteY3" fmla="*/ 0 h 395303"/>
                <a:gd name="connsiteX4" fmla="*/ 0 w 5793927"/>
                <a:gd name="connsiteY4" fmla="*/ 395303 h 395303"/>
                <a:gd name="connsiteX0" fmla="*/ 0 w 5793927"/>
                <a:gd name="connsiteY0" fmla="*/ 395303 h 395303"/>
                <a:gd name="connsiteX1" fmla="*/ 5793927 w 5793927"/>
                <a:gd name="connsiteY1" fmla="*/ 393099 h 395303"/>
                <a:gd name="connsiteX2" fmla="*/ 5339466 w 5793927"/>
                <a:gd name="connsiteY2" fmla="*/ 67314 h 395303"/>
                <a:gd name="connsiteX3" fmla="*/ 110342 w 5793927"/>
                <a:gd name="connsiteY3" fmla="*/ 0 h 395303"/>
                <a:gd name="connsiteX4" fmla="*/ 0 w 5793927"/>
                <a:gd name="connsiteY4" fmla="*/ 395303 h 395303"/>
                <a:gd name="connsiteX0" fmla="*/ 0 w 5793927"/>
                <a:gd name="connsiteY0" fmla="*/ 395303 h 395303"/>
                <a:gd name="connsiteX1" fmla="*/ 5793927 w 5793927"/>
                <a:gd name="connsiteY1" fmla="*/ 393099 h 395303"/>
                <a:gd name="connsiteX2" fmla="*/ 5339466 w 5793927"/>
                <a:gd name="connsiteY2" fmla="*/ 26847 h 395303"/>
                <a:gd name="connsiteX3" fmla="*/ 110342 w 5793927"/>
                <a:gd name="connsiteY3" fmla="*/ 0 h 395303"/>
                <a:gd name="connsiteX4" fmla="*/ 0 w 5793927"/>
                <a:gd name="connsiteY4" fmla="*/ 395303 h 395303"/>
                <a:gd name="connsiteX0" fmla="*/ 0 w 5793927"/>
                <a:gd name="connsiteY0" fmla="*/ 395433 h 395433"/>
                <a:gd name="connsiteX1" fmla="*/ 5793927 w 5793927"/>
                <a:gd name="connsiteY1" fmla="*/ 393229 h 395433"/>
                <a:gd name="connsiteX2" fmla="*/ 5333285 w 5793927"/>
                <a:gd name="connsiteY2" fmla="*/ 0 h 395433"/>
                <a:gd name="connsiteX3" fmla="*/ 110342 w 5793927"/>
                <a:gd name="connsiteY3" fmla="*/ 130 h 395433"/>
                <a:gd name="connsiteX4" fmla="*/ 0 w 5793927"/>
                <a:gd name="connsiteY4" fmla="*/ 395433 h 395433"/>
                <a:gd name="connsiteX0" fmla="*/ 0 w 5793927"/>
                <a:gd name="connsiteY0" fmla="*/ 395433 h 395433"/>
                <a:gd name="connsiteX1" fmla="*/ 5793927 w 5793927"/>
                <a:gd name="connsiteY1" fmla="*/ 393229 h 395433"/>
                <a:gd name="connsiteX2" fmla="*/ 5333285 w 5793927"/>
                <a:gd name="connsiteY2" fmla="*/ 0 h 395433"/>
                <a:gd name="connsiteX3" fmla="*/ 289596 w 5793927"/>
                <a:gd name="connsiteY3" fmla="*/ 130 h 395433"/>
                <a:gd name="connsiteX4" fmla="*/ 0 w 5793927"/>
                <a:gd name="connsiteY4" fmla="*/ 395433 h 39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927" h="395433">
                  <a:moveTo>
                    <a:pt x="0" y="395433"/>
                  </a:moveTo>
                  <a:lnTo>
                    <a:pt x="5793927" y="393229"/>
                  </a:lnTo>
                  <a:lnTo>
                    <a:pt x="5333285" y="0"/>
                  </a:lnTo>
                  <a:lnTo>
                    <a:pt x="289596" y="130"/>
                  </a:lnTo>
                  <a:lnTo>
                    <a:pt x="0" y="395433"/>
                  </a:lnTo>
                  <a:close/>
                </a:path>
              </a:pathLst>
            </a:custGeom>
            <a:solidFill>
              <a:srgbClr val="C4C4C4"/>
            </a:solidFill>
            <a:ln w="9525" cap="flat" cmpd="sng" algn="ctr">
              <a:noFill/>
              <a:prstDash val="solid"/>
              <a:round/>
              <a:headEnd type="none" w="med" len="med"/>
              <a:tailEnd type="none" w="med" len="med"/>
            </a:ln>
            <a:effectLst/>
          </p:spPr>
          <p:txBody>
            <a:bodyPr vert="horz" wrap="square" lIns="89107" tIns="44555" rIns="89107" bIns="44555" numCol="1" rtlCol="0" anchor="t" anchorCtr="0" compatLnSpc="1">
              <a:prstTxWarp prst="textNoShape">
                <a:avLst/>
              </a:prstTxWarp>
            </a:bodyPr>
            <a:lstStyle/>
            <a:p>
              <a:pPr eaLnBrk="0" fontAlgn="base" hangingPunct="0">
                <a:spcBef>
                  <a:spcPct val="0"/>
                </a:spcBef>
                <a:spcAft>
                  <a:spcPct val="0"/>
                </a:spcAft>
              </a:pPr>
              <a:endParaRPr lang="en-US" sz="1560" b="1" dirty="0">
                <a:solidFill>
                  <a:prstClr val="black"/>
                </a:solidFill>
                <a:latin typeface="Calibri" panose="020F0502020204030204" pitchFamily="34" charset="0"/>
                <a:ea typeface="ＭＳ Ｐゴシック" pitchFamily="-12" charset="-128"/>
                <a:cs typeface="Segoe UI" panose="020B0502040204020203" pitchFamily="34" charset="0"/>
              </a:endParaRPr>
            </a:p>
          </p:txBody>
        </p:sp>
        <p:sp>
          <p:nvSpPr>
            <p:cNvPr id="7" name="Rectangle 6"/>
            <p:cNvSpPr/>
            <p:nvPr/>
          </p:nvSpPr>
          <p:spPr>
            <a:xfrm>
              <a:off x="229216" y="548020"/>
              <a:ext cx="8701467" cy="234279"/>
            </a:xfrm>
            <a:prstGeom prst="rect">
              <a:avLst/>
            </a:prstGeom>
            <a:solidFill>
              <a:schemeClr val="bg1">
                <a:lumMod val="50000"/>
              </a:schemeClr>
            </a:solidFill>
            <a:ln w="9525" cap="flat" cmpd="sng" algn="ctr">
              <a:noFill/>
              <a:prstDash val="solid"/>
              <a:round/>
              <a:headEnd type="none" w="med" len="med"/>
              <a:tailEnd type="none" w="med" len="med"/>
            </a:ln>
            <a:effectLst/>
          </p:spPr>
          <p:txBody>
            <a:bodyPr tIns="89107" rIns="0" bIns="0" anchor="ctr" anchorCtr="0"/>
            <a:lstStyle/>
            <a:p>
              <a:pPr algn="ctr" defTabSz="890984" eaLnBrk="0" hangingPunct="0">
                <a:lnSpc>
                  <a:spcPct val="60000"/>
                </a:lnSpc>
                <a:defRPr/>
              </a:pPr>
              <a:r>
                <a:rPr lang="en-US" sz="1560" b="1" i="1" kern="0" dirty="0">
                  <a:solidFill>
                    <a:prstClr val="white"/>
                  </a:solidFill>
                  <a:latin typeface="Calibri" panose="020F0502020204030204" pitchFamily="34" charset="0"/>
                  <a:ea typeface="ＭＳ Ｐゴシック" charset="-128"/>
                  <a:cs typeface="Segoe UI" panose="020B0502040204020203" pitchFamily="34" charset="0"/>
                </a:rPr>
                <a:t>Innovation Lab with Innovation Champions </a:t>
              </a:r>
            </a:p>
          </p:txBody>
        </p:sp>
        <p:sp>
          <p:nvSpPr>
            <p:cNvPr id="8" name="Rectangle 46"/>
            <p:cNvSpPr/>
            <p:nvPr/>
          </p:nvSpPr>
          <p:spPr bwMode="auto">
            <a:xfrm>
              <a:off x="5396193" y="3016312"/>
              <a:ext cx="1364251" cy="467573"/>
            </a:xfrm>
            <a:prstGeom prst="rect">
              <a:avLst/>
            </a:prstGeom>
            <a:solidFill>
              <a:schemeClr val="bg1">
                <a:lumMod val="50000"/>
              </a:schemeClr>
            </a:solidFill>
            <a:ln w="28575" cap="flat" cmpd="sng" algn="ctr">
              <a:noFill/>
              <a:prstDash val="solid"/>
            </a:ln>
            <a:effectLst/>
          </p:spPr>
          <p:txBody>
            <a:bodyPr lIns="89105" tIns="44553" rIns="89105" bIns="44553" rtlCol="0" anchor="ctr"/>
            <a:lstStyle/>
            <a:p>
              <a:pPr algn="ctr" defTabSz="890960"/>
              <a:r>
                <a:rPr lang="en-US" sz="1171" b="1" kern="0" dirty="0">
                  <a:solidFill>
                    <a:prstClr val="white"/>
                  </a:solidFill>
                  <a:latin typeface="Calibri" panose="020F0502020204030204" pitchFamily="34" charset="0"/>
                  <a:ea typeface="ＭＳ Ｐゴシック" pitchFamily="-112" charset="-128"/>
                  <a:cs typeface="Segoe UI" panose="020B0502040204020203" pitchFamily="34" charset="0"/>
                </a:rPr>
                <a:t>Preventive Service Delivery Ideas</a:t>
              </a:r>
            </a:p>
          </p:txBody>
        </p:sp>
        <p:cxnSp>
          <p:nvCxnSpPr>
            <p:cNvPr id="9" name="Straight Connector 8"/>
            <p:cNvCxnSpPr/>
            <p:nvPr/>
          </p:nvCxnSpPr>
          <p:spPr bwMode="auto">
            <a:xfrm>
              <a:off x="210888" y="2217101"/>
              <a:ext cx="8480533" cy="0"/>
            </a:xfrm>
            <a:prstGeom prst="line">
              <a:avLst/>
            </a:prstGeom>
            <a:solidFill>
              <a:srgbClr val="63AFE5"/>
            </a:solidFill>
            <a:ln w="9525" cap="flat" cmpd="sng" algn="ctr">
              <a:solidFill>
                <a:schemeClr val="bg1">
                  <a:lumMod val="50000"/>
                </a:schemeClr>
              </a:solidFill>
              <a:prstDash val="dash"/>
              <a:round/>
              <a:headEnd type="none" w="med" len="med"/>
              <a:tailEnd type="none" w="med" len="med"/>
            </a:ln>
            <a:effectLst/>
          </p:spPr>
        </p:cxnSp>
        <p:sp>
          <p:nvSpPr>
            <p:cNvPr id="10" name="Rounded Rectangle 9"/>
            <p:cNvSpPr/>
            <p:nvPr/>
          </p:nvSpPr>
          <p:spPr>
            <a:xfrm>
              <a:off x="596196" y="772858"/>
              <a:ext cx="2205476" cy="224234"/>
            </a:xfrm>
            <a:prstGeom prst="roundRect">
              <a:avLst/>
            </a:prstGeom>
            <a:solidFill>
              <a:srgbClr val="50B3CF"/>
            </a:solidFill>
            <a:ln w="28575" cap="flat" cmpd="sng" algn="ctr">
              <a:noFill/>
              <a:prstDash val="solid"/>
            </a:ln>
            <a:effectLst/>
          </p:spPr>
          <p:txBody>
            <a:bodyPr lIns="89103" tIns="44552" rIns="89103" bIns="44552" rtlCol="0" anchor="ctr"/>
            <a:lstStyle/>
            <a:p>
              <a:pPr algn="ctr" defTabSz="890960"/>
              <a:r>
                <a:rPr lang="en-US" sz="1560" b="1" kern="0" dirty="0">
                  <a:solidFill>
                    <a:prstClr val="white"/>
                  </a:solidFill>
                  <a:latin typeface="Calibri" panose="020F0502020204030204" pitchFamily="34" charset="0"/>
                  <a:ea typeface="ＭＳ Ｐゴシック" pitchFamily="-112" charset="-128"/>
                  <a:cs typeface="Segoe UI" panose="020B0502040204020203" pitchFamily="34" charset="0"/>
                </a:rPr>
                <a:t>Ideation</a:t>
              </a:r>
            </a:p>
          </p:txBody>
        </p:sp>
        <p:sp>
          <p:nvSpPr>
            <p:cNvPr id="11" name="Rounded Rectangle 10"/>
            <p:cNvSpPr/>
            <p:nvPr/>
          </p:nvSpPr>
          <p:spPr>
            <a:xfrm>
              <a:off x="255636" y="985363"/>
              <a:ext cx="2746639" cy="689494"/>
            </a:xfrm>
            <a:prstGeom prst="roundRect">
              <a:avLst/>
            </a:prstGeom>
            <a:solidFill>
              <a:sysClr val="window" lastClr="FFFFFF"/>
            </a:solidFill>
            <a:ln w="9525" cap="flat" cmpd="sng" algn="ctr">
              <a:solidFill>
                <a:srgbClr val="50B3CF"/>
              </a:solidFill>
              <a:prstDash val="solid"/>
            </a:ln>
            <a:effectLst/>
          </p:spPr>
          <p:txBody>
            <a:bodyPr lIns="89105" tIns="44553" rIns="89105" bIns="44553" rtlCol="0" anchor="ctr"/>
            <a:lstStyle/>
            <a:p>
              <a:pPr marL="162517" indent="-162517" defTabSz="890960">
                <a:lnSpc>
                  <a:spcPts val="1753"/>
                </a:lnSpc>
                <a:buFont typeface="Wingdings" panose="05000000000000000000" pitchFamily="2" charset="2"/>
                <a:buChar char="§"/>
                <a:defRPr/>
              </a:pPr>
              <a:r>
                <a:rPr lang="en-US" sz="1365" kern="0" dirty="0">
                  <a:solidFill>
                    <a:srgbClr val="141414">
                      <a:lumMod val="75000"/>
                      <a:lumOff val="25000"/>
                    </a:srgbClr>
                  </a:solidFill>
                  <a:latin typeface="Calibri" panose="020F0502020204030204" pitchFamily="34" charset="0"/>
                  <a:ea typeface="ＭＳ Ｐゴシック" pitchFamily="-112" charset="-128"/>
                  <a:cs typeface="Segoe UI" panose="020B0502040204020203" pitchFamily="34" charset="0"/>
                </a:rPr>
                <a:t>Create opportunities and platform for ideation across 14 groups  “organically”</a:t>
              </a:r>
            </a:p>
            <a:p>
              <a:pPr marL="162517" indent="-162517" defTabSz="890960">
                <a:lnSpc>
                  <a:spcPts val="1753"/>
                </a:lnSpc>
                <a:buFont typeface="Wingdings" panose="05000000000000000000" pitchFamily="2" charset="2"/>
                <a:buChar char="§"/>
                <a:defRPr/>
              </a:pPr>
              <a:r>
                <a:rPr lang="en-US" sz="1365" kern="0" dirty="0">
                  <a:solidFill>
                    <a:srgbClr val="141414">
                      <a:lumMod val="75000"/>
                      <a:lumOff val="25000"/>
                    </a:srgbClr>
                  </a:solidFill>
                  <a:latin typeface="Calibri" panose="020F0502020204030204" pitchFamily="34" charset="0"/>
                  <a:ea typeface="ＭＳ Ｐゴシック" pitchFamily="-112" charset="-128"/>
                  <a:cs typeface="Segoe UI" panose="020B0502040204020203" pitchFamily="34" charset="0"/>
                </a:rPr>
                <a:t>Leveraging Cognizant’s industry experiences and best practices/experiences “outside in”</a:t>
              </a:r>
            </a:p>
          </p:txBody>
        </p:sp>
        <p:sp>
          <p:nvSpPr>
            <p:cNvPr id="12" name="Rounded Rectangle 11"/>
            <p:cNvSpPr/>
            <p:nvPr/>
          </p:nvSpPr>
          <p:spPr>
            <a:xfrm>
              <a:off x="3651465" y="936125"/>
              <a:ext cx="2296894" cy="232584"/>
            </a:xfrm>
            <a:prstGeom prst="roundRect">
              <a:avLst/>
            </a:prstGeom>
            <a:solidFill>
              <a:srgbClr val="6DB33F"/>
            </a:solidFill>
            <a:ln w="25400" cap="flat" cmpd="sng" algn="ctr">
              <a:noFill/>
              <a:prstDash val="solid"/>
            </a:ln>
            <a:effectLst/>
          </p:spPr>
          <p:txBody>
            <a:bodyPr lIns="89105" tIns="44553" rIns="89105" bIns="44553" rtlCol="0" anchor="ctr"/>
            <a:lstStyle/>
            <a:p>
              <a:pPr algn="ctr" fontAlgn="base">
                <a:spcBef>
                  <a:spcPct val="0"/>
                </a:spcBef>
                <a:spcAft>
                  <a:spcPct val="0"/>
                </a:spcAft>
              </a:pPr>
              <a:r>
                <a:rPr lang="en-US" sz="1560" b="1" kern="0" dirty="0">
                  <a:solidFill>
                    <a:prstClr val="white"/>
                  </a:solidFill>
                  <a:latin typeface="Calibri" panose="020F0502020204030204" pitchFamily="34" charset="0"/>
                  <a:ea typeface="ＭＳ Ｐゴシック" pitchFamily="-112" charset="-128"/>
                  <a:cs typeface="Segoe UI" panose="020B0502040204020203" pitchFamily="34" charset="0"/>
                </a:rPr>
                <a:t>Innovation</a:t>
              </a:r>
            </a:p>
          </p:txBody>
        </p:sp>
        <p:sp>
          <p:nvSpPr>
            <p:cNvPr id="13" name="Rounded Rectangle 12"/>
            <p:cNvSpPr/>
            <p:nvPr/>
          </p:nvSpPr>
          <p:spPr>
            <a:xfrm>
              <a:off x="3685930" y="1162563"/>
              <a:ext cx="2250698" cy="678341"/>
            </a:xfrm>
            <a:prstGeom prst="roundRect">
              <a:avLst/>
            </a:prstGeom>
            <a:solidFill>
              <a:sysClr val="window" lastClr="FFFFFF"/>
            </a:solidFill>
            <a:ln w="9525" cap="flat" cmpd="sng" algn="ctr">
              <a:solidFill>
                <a:srgbClr val="6DB33F"/>
              </a:solidFill>
              <a:prstDash val="solid"/>
            </a:ln>
            <a:effectLst/>
          </p:spPr>
          <p:txBody>
            <a:bodyPr lIns="89105" tIns="44553" rIns="89105" bIns="44553" rtlCol="0" anchor="ctr"/>
            <a:lstStyle/>
            <a:p>
              <a:pPr marL="167160" indent="-167160" defTabSz="890960">
                <a:lnSpc>
                  <a:spcPts val="1753"/>
                </a:lnSpc>
                <a:buFont typeface="Wingdings" panose="05000000000000000000" pitchFamily="2" charset="2"/>
                <a:buChar char="§"/>
                <a:defRPr/>
              </a:pPr>
              <a:r>
                <a:rPr lang="en-US" sz="1365" kern="0" dirty="0">
                  <a:solidFill>
                    <a:srgbClr val="141414">
                      <a:lumMod val="75000"/>
                      <a:lumOff val="25000"/>
                    </a:srgbClr>
                  </a:solidFill>
                  <a:latin typeface="Calibri" panose="020F0502020204030204" pitchFamily="34" charset="0"/>
                  <a:ea typeface="ＭＳ Ｐゴシック" pitchFamily="-112" charset="-128"/>
                  <a:cs typeface="Segoe UI" panose="020B0502040204020203" pitchFamily="34" charset="0"/>
                </a:rPr>
                <a:t>Validation and proofing of shortlisted innovation  ideas </a:t>
              </a:r>
            </a:p>
            <a:p>
              <a:pPr marL="167160" indent="-167160" defTabSz="890960">
                <a:lnSpc>
                  <a:spcPts val="1753"/>
                </a:lnSpc>
                <a:buFont typeface="Wingdings" panose="05000000000000000000" pitchFamily="2" charset="2"/>
                <a:buChar char="§"/>
                <a:defRPr/>
              </a:pPr>
              <a:r>
                <a:rPr lang="en-US" sz="1365" kern="0" dirty="0">
                  <a:solidFill>
                    <a:srgbClr val="141414">
                      <a:lumMod val="75000"/>
                      <a:lumOff val="25000"/>
                    </a:srgbClr>
                  </a:solidFill>
                  <a:latin typeface="Calibri" panose="020F0502020204030204" pitchFamily="34" charset="0"/>
                  <a:ea typeface="ＭＳ Ｐゴシック" pitchFamily="-112" charset="-128"/>
                  <a:cs typeface="Segoe UI" panose="020B0502040204020203" pitchFamily="34" charset="0"/>
                </a:rPr>
                <a:t>Implementation plan of innovation</a:t>
              </a:r>
            </a:p>
          </p:txBody>
        </p:sp>
        <p:sp>
          <p:nvSpPr>
            <p:cNvPr id="14" name="Rounded Rectangle 13"/>
            <p:cNvSpPr/>
            <p:nvPr/>
          </p:nvSpPr>
          <p:spPr>
            <a:xfrm>
              <a:off x="6664751" y="1068330"/>
              <a:ext cx="2095143" cy="250021"/>
            </a:xfrm>
            <a:prstGeom prst="roundRect">
              <a:avLst/>
            </a:prstGeom>
            <a:solidFill>
              <a:srgbClr val="E68C10"/>
            </a:solidFill>
            <a:ln w="12700" cap="flat" cmpd="sng" algn="ctr">
              <a:noFill/>
              <a:prstDash val="solid"/>
            </a:ln>
            <a:effectLst/>
          </p:spPr>
          <p:txBody>
            <a:bodyPr vert="horz" anchor="ctr"/>
            <a:lstStyle/>
            <a:p>
              <a:pPr algn="ctr" fontAlgn="base">
                <a:spcBef>
                  <a:spcPct val="0"/>
                </a:spcBef>
                <a:spcAft>
                  <a:spcPct val="0"/>
                </a:spcAft>
              </a:pPr>
              <a:r>
                <a:rPr lang="en-US" sz="1560" b="1" dirty="0">
                  <a:solidFill>
                    <a:prstClr val="white"/>
                  </a:solidFill>
                  <a:latin typeface="Calibri" panose="020F0502020204030204" pitchFamily="34" charset="0"/>
                  <a:cs typeface="Segoe UI" panose="020B0502040204020203" pitchFamily="34" charset="0"/>
                </a:rPr>
                <a:t>Implementation</a:t>
              </a:r>
            </a:p>
          </p:txBody>
        </p:sp>
        <p:sp>
          <p:nvSpPr>
            <p:cNvPr id="15" name="Rounded Rectangle 14"/>
            <p:cNvSpPr/>
            <p:nvPr/>
          </p:nvSpPr>
          <p:spPr>
            <a:xfrm>
              <a:off x="6669333" y="1324759"/>
              <a:ext cx="2090560" cy="595443"/>
            </a:xfrm>
            <a:prstGeom prst="roundRect">
              <a:avLst/>
            </a:prstGeom>
            <a:solidFill>
              <a:sysClr val="window" lastClr="FFFFFF"/>
            </a:solidFill>
            <a:ln w="9525" cap="flat" cmpd="sng" algn="ctr">
              <a:solidFill>
                <a:schemeClr val="accent2"/>
              </a:solidFill>
              <a:prstDash val="solid"/>
            </a:ln>
            <a:effectLst/>
          </p:spPr>
          <p:txBody>
            <a:bodyPr lIns="89105" tIns="44553" rIns="89105" bIns="44553" rtlCol="0" anchor="ctr"/>
            <a:lstStyle/>
            <a:p>
              <a:pPr marL="167160" indent="-167160" defTabSz="890960">
                <a:lnSpc>
                  <a:spcPts val="1753"/>
                </a:lnSpc>
                <a:buFont typeface="Wingdings" panose="05000000000000000000" pitchFamily="2" charset="2"/>
                <a:buChar char="§"/>
              </a:pPr>
              <a:r>
                <a:rPr lang="en-US" sz="1365" kern="0" dirty="0">
                  <a:solidFill>
                    <a:srgbClr val="141414">
                      <a:lumMod val="75000"/>
                      <a:lumOff val="25000"/>
                    </a:srgbClr>
                  </a:solidFill>
                  <a:latin typeface="Calibri" panose="020F0502020204030204" pitchFamily="34" charset="0"/>
                  <a:ea typeface="ＭＳ Ｐゴシック" pitchFamily="-112" charset="-128"/>
                  <a:cs typeface="Segoe UI" panose="020B0502040204020203" pitchFamily="34" charset="0"/>
                </a:rPr>
                <a:t>“Go-To-Market” ready Implementation of innovation ideas by Cognizant and Client</a:t>
              </a:r>
            </a:p>
          </p:txBody>
        </p:sp>
        <p:sp>
          <p:nvSpPr>
            <p:cNvPr id="16" name="Chevron 15"/>
            <p:cNvSpPr/>
            <p:nvPr/>
          </p:nvSpPr>
          <p:spPr>
            <a:xfrm>
              <a:off x="3158455" y="1202571"/>
              <a:ext cx="358640" cy="179933"/>
            </a:xfrm>
            <a:prstGeom prst="chevron">
              <a:avLst/>
            </a:prstGeom>
            <a:solidFill>
              <a:schemeClr val="bg1">
                <a:lumMod val="75000"/>
              </a:schemeClr>
            </a:solidFill>
            <a:ln w="9525" cap="flat" cmpd="sng" algn="ctr">
              <a:noFill/>
              <a:prstDash val="solid"/>
            </a:ln>
            <a:effectLst/>
          </p:spPr>
          <p:txBody>
            <a:bodyPr rtlCol="0" anchor="ctr"/>
            <a:lstStyle/>
            <a:p>
              <a:pPr algn="ctr" defTabSz="890960">
                <a:defRPr/>
              </a:pPr>
              <a:endParaRPr lang="en-US" sz="1948" kern="0" dirty="0">
                <a:solidFill>
                  <a:prstClr val="white"/>
                </a:solidFill>
                <a:latin typeface="Calibri" panose="020F0502020204030204" pitchFamily="34" charset="0"/>
                <a:ea typeface="ＭＳ Ｐゴシック" pitchFamily="-112" charset="-128"/>
                <a:cs typeface="Segoe UI" panose="020B0502040204020203" pitchFamily="34" charset="0"/>
              </a:endParaRPr>
            </a:p>
          </p:txBody>
        </p:sp>
        <p:pic>
          <p:nvPicPr>
            <p:cNvPr id="17"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761228" y="1716749"/>
              <a:ext cx="1326577" cy="494749"/>
            </a:xfrm>
            <a:prstGeom prst="rect">
              <a:avLst/>
            </a:prstGeom>
            <a:noFill/>
            <a:ln w="9525">
              <a:noFill/>
              <a:miter lim="800000"/>
              <a:headEnd/>
              <a:tailEnd/>
            </a:ln>
            <a:effectLst/>
          </p:spPr>
        </p:pic>
        <p:sp>
          <p:nvSpPr>
            <p:cNvPr id="18" name="Rectangle 46"/>
            <p:cNvSpPr/>
            <p:nvPr/>
          </p:nvSpPr>
          <p:spPr bwMode="auto">
            <a:xfrm>
              <a:off x="5389865" y="2519620"/>
              <a:ext cx="1364251" cy="440375"/>
            </a:xfrm>
            <a:prstGeom prst="rect">
              <a:avLst/>
            </a:prstGeom>
            <a:solidFill>
              <a:schemeClr val="bg1">
                <a:lumMod val="50000"/>
              </a:schemeClr>
            </a:solidFill>
            <a:ln w="28575" cap="flat" cmpd="sng" algn="ctr">
              <a:noFill/>
              <a:prstDash val="solid"/>
            </a:ln>
            <a:effectLst/>
          </p:spPr>
          <p:txBody>
            <a:bodyPr lIns="89105" tIns="44553" rIns="89105" bIns="44553" rtlCol="0" anchor="ctr"/>
            <a:lstStyle/>
            <a:p>
              <a:pPr algn="ctr" defTabSz="890960"/>
              <a:r>
                <a:rPr lang="en-US" sz="1171" b="1" kern="0" dirty="0">
                  <a:solidFill>
                    <a:prstClr val="white"/>
                  </a:solidFill>
                  <a:latin typeface="Calibri" panose="020F0502020204030204" pitchFamily="34" charset="0"/>
                  <a:ea typeface="ＭＳ Ｐゴシック" pitchFamily="-112" charset="-128"/>
                  <a:cs typeface="Segoe UI" panose="020B0502040204020203" pitchFamily="34" charset="0"/>
                </a:rPr>
                <a:t>Supply Chain Optimization</a:t>
              </a:r>
            </a:p>
          </p:txBody>
        </p:sp>
        <p:sp>
          <p:nvSpPr>
            <p:cNvPr id="19" name="Round Diagonal Corner Rectangle 18"/>
            <p:cNvSpPr/>
            <p:nvPr/>
          </p:nvSpPr>
          <p:spPr>
            <a:xfrm>
              <a:off x="5240684" y="2232534"/>
              <a:ext cx="1604100" cy="167056"/>
            </a:xfrm>
            <a:prstGeom prst="round2DiagRect">
              <a:avLst/>
            </a:prstGeom>
            <a:solidFill>
              <a:schemeClr val="bg1">
                <a:lumMod val="50000"/>
              </a:schemeClr>
            </a:solidFill>
            <a:ln w="25400" cap="flat" cmpd="sng" algn="ctr">
              <a:noFill/>
              <a:prstDash val="solid"/>
            </a:ln>
            <a:effectLst/>
          </p:spPr>
          <p:txBody>
            <a:bodyPr lIns="89105" tIns="44553" rIns="89105" bIns="44553" rtlCol="0" anchor="ctr"/>
            <a:lstStyle/>
            <a:p>
              <a:pPr algn="ctr" fontAlgn="base">
                <a:spcBef>
                  <a:spcPct val="0"/>
                </a:spcBef>
                <a:spcAft>
                  <a:spcPct val="0"/>
                </a:spcAft>
              </a:pPr>
              <a:r>
                <a:rPr lang="en-US" sz="1365" b="1" kern="0" dirty="0">
                  <a:solidFill>
                    <a:prstClr val="white"/>
                  </a:solidFill>
                  <a:latin typeface="Calibri" panose="020F0502020204030204" pitchFamily="34" charset="0"/>
                  <a:ea typeface="ＭＳ Ｐゴシック" pitchFamily="-112" charset="-128"/>
                  <a:cs typeface="Segoe UI" panose="020B0502040204020203" pitchFamily="34" charset="0"/>
                </a:rPr>
                <a:t>Opportunities </a:t>
              </a:r>
            </a:p>
          </p:txBody>
        </p:sp>
        <p:sp>
          <p:nvSpPr>
            <p:cNvPr id="20" name="Rectangle 46"/>
            <p:cNvSpPr/>
            <p:nvPr/>
          </p:nvSpPr>
          <p:spPr bwMode="auto">
            <a:xfrm>
              <a:off x="5399692" y="3538383"/>
              <a:ext cx="1364251" cy="487570"/>
            </a:xfrm>
            <a:prstGeom prst="rect">
              <a:avLst/>
            </a:prstGeom>
            <a:solidFill>
              <a:schemeClr val="bg1">
                <a:lumMod val="50000"/>
              </a:schemeClr>
            </a:solidFill>
            <a:ln w="28575" cap="flat" cmpd="sng" algn="ctr">
              <a:noFill/>
              <a:prstDash val="solid"/>
            </a:ln>
            <a:effectLst/>
          </p:spPr>
          <p:txBody>
            <a:bodyPr lIns="89105" tIns="44553" rIns="89105" bIns="44553" rtlCol="0" anchor="ctr"/>
            <a:lstStyle/>
            <a:p>
              <a:pPr algn="ctr" defTabSz="890960"/>
              <a:r>
                <a:rPr lang="en-US" sz="1171" b="1" kern="0" dirty="0">
                  <a:solidFill>
                    <a:prstClr val="white"/>
                  </a:solidFill>
                  <a:latin typeface="Calibri" panose="020F0502020204030204" pitchFamily="34" charset="0"/>
                  <a:ea typeface="ＭＳ Ｐゴシック" pitchFamily="-112" charset="-128"/>
                  <a:cs typeface="Segoe UI" panose="020B0502040204020203" pitchFamily="34" charset="0"/>
                </a:rPr>
                <a:t>Operational Efficiency</a:t>
              </a:r>
            </a:p>
            <a:p>
              <a:pPr algn="ctr" defTabSz="890960"/>
              <a:endParaRPr lang="en-US" sz="1171" b="1" kern="0" dirty="0">
                <a:solidFill>
                  <a:prstClr val="white"/>
                </a:solidFill>
                <a:latin typeface="Calibri" panose="020F0502020204030204" pitchFamily="34" charset="0"/>
                <a:ea typeface="ＭＳ Ｐゴシック" pitchFamily="-112" charset="-128"/>
                <a:cs typeface="Segoe UI" panose="020B0502040204020203" pitchFamily="34" charset="0"/>
              </a:endParaRPr>
            </a:p>
          </p:txBody>
        </p:sp>
        <p:sp>
          <p:nvSpPr>
            <p:cNvPr id="21" name="Freeform 20"/>
            <p:cNvSpPr/>
            <p:nvPr/>
          </p:nvSpPr>
          <p:spPr>
            <a:xfrm>
              <a:off x="7088783" y="2284666"/>
              <a:ext cx="1826441" cy="1839617"/>
            </a:xfrm>
            <a:custGeom>
              <a:avLst/>
              <a:gdLst>
                <a:gd name="connsiteX0" fmla="*/ 0 w 2808201"/>
                <a:gd name="connsiteY0" fmla="*/ 0 h 2808201"/>
                <a:gd name="connsiteX1" fmla="*/ 2808201 w 2808201"/>
                <a:gd name="connsiteY1" fmla="*/ 0 h 2808201"/>
                <a:gd name="connsiteX2" fmla="*/ 2808201 w 2808201"/>
                <a:gd name="connsiteY2" fmla="*/ 2808201 h 2808201"/>
                <a:gd name="connsiteX3" fmla="*/ 0 w 2808201"/>
                <a:gd name="connsiteY3" fmla="*/ 2808201 h 2808201"/>
                <a:gd name="connsiteX4" fmla="*/ 0 w 2808201"/>
                <a:gd name="connsiteY4" fmla="*/ 0 h 2808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01" h="2808201">
                  <a:moveTo>
                    <a:pt x="0" y="0"/>
                  </a:moveTo>
                  <a:lnTo>
                    <a:pt x="2808201" y="0"/>
                  </a:lnTo>
                  <a:lnTo>
                    <a:pt x="2808201" y="2808201"/>
                  </a:lnTo>
                  <a:lnTo>
                    <a:pt x="0" y="2808201"/>
                  </a:lnTo>
                  <a:lnTo>
                    <a:pt x="0" y="0"/>
                  </a:lnTo>
                  <a:close/>
                </a:path>
              </a:pathLst>
            </a:custGeom>
            <a:ln w="19050">
              <a:solidFill>
                <a:schemeClr val="bg2">
                  <a:lumMod val="50000"/>
                </a:schemeClr>
              </a:solidFill>
            </a:ln>
            <a:effectLst/>
          </p:spPr>
          <p:style>
            <a:lnRef idx="3">
              <a:schemeClr val="accent2">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43992" tIns="87983" rIns="65987" bIns="65987" numCol="1" spcCol="1270" anchor="t" anchorCtr="0">
              <a:noAutofit/>
            </a:bodyPr>
            <a:lstStyle/>
            <a:p>
              <a:pPr algn="ctr" defTabSz="769693">
                <a:lnSpc>
                  <a:spcPct val="90000"/>
                </a:lnSpc>
                <a:spcAft>
                  <a:spcPct val="35000"/>
                </a:spcAft>
              </a:pPr>
              <a:r>
                <a:rPr lang="en-US" sz="1171" b="1" dirty="0">
                  <a:solidFill>
                    <a:srgbClr val="E7E6E6">
                      <a:lumMod val="50000"/>
                    </a:srgbClr>
                  </a:solidFill>
                  <a:latin typeface="Calibri" panose="020F0502020204030204" pitchFamily="34" charset="0"/>
                  <a:ea typeface="Segoe UI" panose="020B0502040204020203" pitchFamily="34" charset="0"/>
                  <a:cs typeface="Segoe UI" panose="020B0502040204020203" pitchFamily="34" charset="0"/>
                </a:rPr>
                <a:t>Sample metrics to track innovation lab effectiveness</a:t>
              </a:r>
              <a:endParaRPr lang="en-US" sz="1171" dirty="0">
                <a:solidFill>
                  <a:srgbClr val="E7E6E6">
                    <a:lumMod val="50000"/>
                  </a:srgbClr>
                </a:solidFill>
                <a:latin typeface="Calibri" panose="020F0502020204030204" pitchFamily="34" charset="0"/>
                <a:ea typeface="Segoe UI" panose="020B0502040204020203" pitchFamily="34" charset="0"/>
                <a:cs typeface="Segoe UI" panose="020B0502040204020203" pitchFamily="34" charset="0"/>
              </a:endParaRPr>
            </a:p>
            <a:p>
              <a:pPr marL="167110" indent="-167110" defTabSz="769923">
                <a:spcBef>
                  <a:spcPts val="293"/>
                </a:spcBef>
                <a:spcAft>
                  <a:spcPts val="293"/>
                </a:spcAft>
                <a:buFont typeface="Arial" panose="020B0604020202020204" pitchFamily="34" charset="0"/>
                <a:buChar char="•"/>
              </a:pPr>
              <a:r>
                <a:rPr lang="en-US" sz="1171" dirty="0">
                  <a:solidFill>
                    <a:prstClr val="black">
                      <a:lumMod val="75000"/>
                      <a:lumOff val="25000"/>
                    </a:prstClr>
                  </a:solidFill>
                  <a:latin typeface="Calibri" panose="020F0502020204030204" pitchFamily="34" charset="0"/>
                  <a:ea typeface="Segoe UI" panose="020B0502040204020203" pitchFamily="34" charset="0"/>
                  <a:cs typeface="Segoe UI" panose="020B0502040204020203" pitchFamily="34" charset="0"/>
                </a:rPr>
                <a:t># innovations delivered/implemented </a:t>
              </a:r>
            </a:p>
            <a:p>
              <a:pPr marL="167110" indent="-167110" defTabSz="769923">
                <a:spcBef>
                  <a:spcPts val="293"/>
                </a:spcBef>
                <a:spcAft>
                  <a:spcPts val="293"/>
                </a:spcAft>
                <a:buFont typeface="Arial" panose="020B0604020202020204" pitchFamily="34" charset="0"/>
                <a:buChar char="•"/>
              </a:pPr>
              <a:r>
                <a:rPr lang="en-US" sz="1171" dirty="0">
                  <a:solidFill>
                    <a:prstClr val="black">
                      <a:lumMod val="75000"/>
                      <a:lumOff val="25000"/>
                    </a:prstClr>
                  </a:solidFill>
                  <a:latin typeface="Calibri" panose="020F0502020204030204" pitchFamily="34" charset="0"/>
                  <a:ea typeface="Segoe UI" panose="020B0502040204020203" pitchFamily="34" charset="0"/>
                  <a:cs typeface="Segoe UI" panose="020B0502040204020203" pitchFamily="34" charset="0"/>
                </a:rPr>
                <a:t># value adds delivered/implemented</a:t>
              </a:r>
            </a:p>
            <a:p>
              <a:pPr marL="167110" indent="-167110" defTabSz="769923">
                <a:spcBef>
                  <a:spcPts val="293"/>
                </a:spcBef>
                <a:spcAft>
                  <a:spcPts val="293"/>
                </a:spcAft>
                <a:buFont typeface="Arial" panose="020B0604020202020204" pitchFamily="34" charset="0"/>
                <a:buChar char="•"/>
              </a:pPr>
              <a:r>
                <a:rPr lang="en-US" sz="1171" dirty="0">
                  <a:solidFill>
                    <a:prstClr val="black">
                      <a:lumMod val="75000"/>
                      <a:lumOff val="25000"/>
                    </a:prstClr>
                  </a:solidFill>
                  <a:latin typeface="Calibri" panose="020F0502020204030204" pitchFamily="34" charset="0"/>
                  <a:ea typeface="Segoe UI" panose="020B0502040204020203" pitchFamily="34" charset="0"/>
                  <a:cs typeface="Segoe UI" panose="020B0502040204020203" pitchFamily="34" charset="0"/>
                </a:rPr>
                <a:t># Hackathons conducted</a:t>
              </a:r>
              <a:endParaRPr lang="en-US" sz="1171" dirty="0">
                <a:solidFill>
                  <a:prstClr val="black">
                    <a:hueOff val="0"/>
                    <a:satOff val="0"/>
                    <a:lumOff val="0"/>
                    <a:alphaOff val="0"/>
                  </a:prstClr>
                </a:solidFill>
                <a:latin typeface="Calibri" panose="020F0502020204030204" pitchFamily="34" charset="0"/>
                <a:ea typeface="Segoe UI" panose="020B0502040204020203" pitchFamily="34" charset="0"/>
                <a:cs typeface="Segoe UI" panose="020B0502040204020203" pitchFamily="34" charset="0"/>
              </a:endParaRPr>
            </a:p>
          </p:txBody>
        </p:sp>
        <p:grpSp>
          <p:nvGrpSpPr>
            <p:cNvPr id="22" name="Group 21"/>
            <p:cNvGrpSpPr/>
            <p:nvPr/>
          </p:nvGrpSpPr>
          <p:grpSpPr>
            <a:xfrm>
              <a:off x="226346" y="4328622"/>
              <a:ext cx="8704338" cy="341246"/>
              <a:chOff x="344781" y="1246767"/>
              <a:chExt cx="11466425" cy="505833"/>
            </a:xfrm>
            <a:effectLst/>
          </p:grpSpPr>
          <p:sp>
            <p:nvSpPr>
              <p:cNvPr id="43" name="Rounded Rectangle 42"/>
              <p:cNvSpPr/>
              <p:nvPr/>
            </p:nvSpPr>
            <p:spPr>
              <a:xfrm>
                <a:off x="344781" y="1320265"/>
                <a:ext cx="11466425" cy="432335"/>
              </a:xfrm>
              <a:prstGeom prst="roundRect">
                <a:avLst>
                  <a:gd name="adj" fmla="val 9031"/>
                </a:avLst>
              </a:prstGeom>
              <a:gradFill flip="none" rotWithShape="1">
                <a:gsLst>
                  <a:gs pos="48000">
                    <a:srgbClr val="E8E8E8"/>
                  </a:gs>
                  <a:gs pos="95000">
                    <a:sysClr val="window" lastClr="FFFFFF">
                      <a:alpha val="0"/>
                    </a:sysClr>
                  </a:gs>
                </a:gsLst>
                <a:lin ang="16200000" scaled="1"/>
                <a:tileRect/>
              </a:gradFill>
              <a:ln w="28575" cap="flat" cmpd="sng" algn="ctr">
                <a:gradFill flip="none" rotWithShape="1">
                  <a:gsLst>
                    <a:gs pos="0">
                      <a:sysClr val="window" lastClr="FFFFFF"/>
                    </a:gs>
                    <a:gs pos="50000">
                      <a:sysClr val="window" lastClr="FFFFFF"/>
                    </a:gs>
                    <a:gs pos="80000">
                      <a:sysClr val="window" lastClr="FFFFFF">
                        <a:alpha val="0"/>
                      </a:sysClr>
                    </a:gs>
                  </a:gsLst>
                  <a:lin ang="16200000" scaled="1"/>
                  <a:tileRect/>
                </a:gradFill>
                <a:prstDash val="solid"/>
              </a:ln>
              <a:effectLst>
                <a:outerShdw blurRad="50800" dist="38100" dir="5400000" algn="t" rotWithShape="0">
                  <a:prstClr val="black">
                    <a:alpha val="40000"/>
                  </a:prstClr>
                </a:outerShdw>
              </a:effectLst>
            </p:spPr>
            <p:txBody>
              <a:bodyPr rtlCol="0" anchor="ctr"/>
              <a:lstStyle/>
              <a:p>
                <a:pPr algn="ctr" fontAlgn="base">
                  <a:spcBef>
                    <a:spcPct val="0"/>
                  </a:spcBef>
                  <a:spcAft>
                    <a:spcPct val="0"/>
                  </a:spcAft>
                  <a:defRPr/>
                </a:pPr>
                <a:endParaRPr lang="en-US" sz="1753" b="1" kern="0" dirty="0">
                  <a:solidFill>
                    <a:prstClr val="white"/>
                  </a:solidFill>
                  <a:latin typeface="Calibri" panose="020F0502020204030204" pitchFamily="34" charset="0"/>
                  <a:cs typeface="Segoe UI" panose="020B0502040204020203" pitchFamily="34" charset="0"/>
                </a:endParaRPr>
              </a:p>
            </p:txBody>
          </p:sp>
          <p:sp>
            <p:nvSpPr>
              <p:cNvPr id="44" name="Rectangle 43"/>
              <p:cNvSpPr/>
              <p:nvPr/>
            </p:nvSpPr>
            <p:spPr>
              <a:xfrm>
                <a:off x="466323" y="1246767"/>
                <a:ext cx="11230642" cy="309380"/>
              </a:xfrm>
              <a:prstGeom prst="rect">
                <a:avLst/>
              </a:prstGeom>
              <a:solidFill>
                <a:schemeClr val="accent4">
                  <a:lumMod val="75000"/>
                </a:schemeClr>
              </a:solidFill>
              <a:ln w="9525" cap="flat" cmpd="sng" algn="ctr">
                <a:noFill/>
                <a:prstDash val="solid"/>
              </a:ln>
              <a:effectLst>
                <a:outerShdw blurRad="40000" dist="20000" dir="5400000" rotWithShape="0">
                  <a:srgbClr val="000000">
                    <a:alpha val="38000"/>
                  </a:srgbClr>
                </a:outerShdw>
              </a:effectLst>
            </p:spPr>
            <p:txBody>
              <a:bodyPr anchor="ctr"/>
              <a:lstStyle/>
              <a:p>
                <a:pPr algn="ctr">
                  <a:lnSpc>
                    <a:spcPts val="1365"/>
                  </a:lnSpc>
                  <a:defRPr/>
                </a:pPr>
                <a:r>
                  <a:rPr lang="en-US" sz="1365" b="1" kern="0" dirty="0">
                    <a:solidFill>
                      <a:prstClr val="white"/>
                    </a:solidFill>
                    <a:latin typeface="Calibri" panose="020F0502020204030204" pitchFamily="34" charset="0"/>
                    <a:ea typeface="ＭＳ Ｐゴシック" pitchFamily="-112" charset="-128"/>
                    <a:cs typeface="Segoe UI" panose="020B0502040204020203" pitchFamily="34" charset="0"/>
                  </a:rPr>
                  <a:t>Well defined KPIs for measurement and monitoring innovation </a:t>
                </a:r>
              </a:p>
            </p:txBody>
          </p:sp>
        </p:grpSp>
        <p:sp>
          <p:nvSpPr>
            <p:cNvPr id="23" name="Isosceles Triangle 22"/>
            <p:cNvSpPr/>
            <p:nvPr/>
          </p:nvSpPr>
          <p:spPr>
            <a:xfrm rot="5400000">
              <a:off x="6876671" y="3191832"/>
              <a:ext cx="212562" cy="133694"/>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53" dirty="0">
                <a:solidFill>
                  <a:prstClr val="white"/>
                </a:solidFill>
                <a:latin typeface="Calibri" panose="020F0502020204030204" pitchFamily="34" charset="0"/>
                <a:cs typeface="Segoe UI" panose="020B0502040204020203" pitchFamily="34" charset="0"/>
              </a:endParaRPr>
            </a:p>
          </p:txBody>
        </p:sp>
        <p:grpSp>
          <p:nvGrpSpPr>
            <p:cNvPr id="24" name="Group 23"/>
            <p:cNvGrpSpPr>
              <a:grpSpLocks noChangeAspect="1"/>
            </p:cNvGrpSpPr>
            <p:nvPr/>
          </p:nvGrpSpPr>
          <p:grpSpPr>
            <a:xfrm>
              <a:off x="7701109" y="3455661"/>
              <a:ext cx="601790" cy="619856"/>
              <a:chOff x="10235005" y="4464245"/>
              <a:chExt cx="962029" cy="990910"/>
            </a:xfrm>
          </p:grpSpPr>
          <p:sp>
            <p:nvSpPr>
              <p:cNvPr id="33" name="Oval 32"/>
              <p:cNvSpPr/>
              <p:nvPr/>
            </p:nvSpPr>
            <p:spPr>
              <a:xfrm>
                <a:off x="10235005" y="4464245"/>
                <a:ext cx="962029" cy="990910"/>
              </a:xfrm>
              <a:prstGeom prst="ellipse">
                <a:avLst/>
              </a:prstGeom>
              <a:solidFill>
                <a:schemeClr val="bg1">
                  <a:lumMod val="50000"/>
                </a:schemeClr>
              </a:solidFill>
              <a:ln w="12700" cap="flat" cmpd="sng" algn="ctr">
                <a:noFill/>
                <a:prstDash val="solid"/>
              </a:ln>
              <a:effectLst/>
            </p:spPr>
            <p:txBody>
              <a:bodyPr rtlCol="0" anchor="ctr"/>
              <a:lstStyle/>
              <a:p>
                <a:pPr algn="ctr" defTabSz="886708">
                  <a:defRPr/>
                </a:pPr>
                <a:endParaRPr lang="en-US" sz="1011" kern="0"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grpSp>
            <p:nvGrpSpPr>
              <p:cNvPr id="34" name="Group 33"/>
              <p:cNvGrpSpPr/>
              <p:nvPr/>
            </p:nvGrpSpPr>
            <p:grpSpPr>
              <a:xfrm>
                <a:off x="10425309" y="4735285"/>
                <a:ext cx="579976" cy="462257"/>
                <a:chOff x="5897563" y="1987550"/>
                <a:chExt cx="636588" cy="655637"/>
              </a:xfrm>
              <a:solidFill>
                <a:srgbClr val="FFF3C5"/>
              </a:solidFill>
            </p:grpSpPr>
            <p:sp>
              <p:nvSpPr>
                <p:cNvPr id="35" name="Freeform 144"/>
                <p:cNvSpPr>
                  <a:spLocks noEditPoints="1"/>
                </p:cNvSpPr>
                <p:nvPr/>
              </p:nvSpPr>
              <p:spPr bwMode="auto">
                <a:xfrm>
                  <a:off x="5897563" y="2114550"/>
                  <a:ext cx="425450" cy="444500"/>
                </a:xfrm>
                <a:custGeom>
                  <a:avLst/>
                  <a:gdLst>
                    <a:gd name="T0" fmla="*/ 5 w 268"/>
                    <a:gd name="T1" fmla="*/ 252 h 280"/>
                    <a:gd name="T2" fmla="*/ 31 w 268"/>
                    <a:gd name="T3" fmla="*/ 239 h 280"/>
                    <a:gd name="T4" fmla="*/ 38 w 268"/>
                    <a:gd name="T5" fmla="*/ 234 h 280"/>
                    <a:gd name="T6" fmla="*/ 51 w 268"/>
                    <a:gd name="T7" fmla="*/ 247 h 280"/>
                    <a:gd name="T8" fmla="*/ 65 w 268"/>
                    <a:gd name="T9" fmla="*/ 234 h 280"/>
                    <a:gd name="T10" fmla="*/ 77 w 268"/>
                    <a:gd name="T11" fmla="*/ 239 h 280"/>
                    <a:gd name="T12" fmla="*/ 94 w 268"/>
                    <a:gd name="T13" fmla="*/ 246 h 280"/>
                    <a:gd name="T14" fmla="*/ 103 w 268"/>
                    <a:gd name="T15" fmla="*/ 191 h 280"/>
                    <a:gd name="T16" fmla="*/ 161 w 268"/>
                    <a:gd name="T17" fmla="*/ 180 h 280"/>
                    <a:gd name="T18" fmla="*/ 172 w 268"/>
                    <a:gd name="T19" fmla="*/ 278 h 280"/>
                    <a:gd name="T20" fmla="*/ 192 w 268"/>
                    <a:gd name="T21" fmla="*/ 270 h 280"/>
                    <a:gd name="T22" fmla="*/ 201 w 268"/>
                    <a:gd name="T23" fmla="*/ 177 h 280"/>
                    <a:gd name="T24" fmla="*/ 204 w 268"/>
                    <a:gd name="T25" fmla="*/ 263 h 280"/>
                    <a:gd name="T26" fmla="*/ 222 w 268"/>
                    <a:gd name="T27" fmla="*/ 280 h 280"/>
                    <a:gd name="T28" fmla="*/ 237 w 268"/>
                    <a:gd name="T29" fmla="*/ 263 h 280"/>
                    <a:gd name="T30" fmla="*/ 237 w 268"/>
                    <a:gd name="T31" fmla="*/ 154 h 280"/>
                    <a:gd name="T32" fmla="*/ 237 w 268"/>
                    <a:gd name="T33" fmla="*/ 153 h 280"/>
                    <a:gd name="T34" fmla="*/ 235 w 268"/>
                    <a:gd name="T35" fmla="*/ 74 h 280"/>
                    <a:gd name="T36" fmla="*/ 242 w 268"/>
                    <a:gd name="T37" fmla="*/ 94 h 280"/>
                    <a:gd name="T38" fmla="*/ 251 w 268"/>
                    <a:gd name="T39" fmla="*/ 148 h 280"/>
                    <a:gd name="T40" fmla="*/ 268 w 268"/>
                    <a:gd name="T41" fmla="*/ 117 h 280"/>
                    <a:gd name="T42" fmla="*/ 258 w 268"/>
                    <a:gd name="T43" fmla="*/ 36 h 280"/>
                    <a:gd name="T44" fmla="*/ 230 w 268"/>
                    <a:gd name="T45" fmla="*/ 6 h 280"/>
                    <a:gd name="T46" fmla="*/ 206 w 268"/>
                    <a:gd name="T47" fmla="*/ 34 h 280"/>
                    <a:gd name="T48" fmla="*/ 203 w 268"/>
                    <a:gd name="T49" fmla="*/ 1 h 280"/>
                    <a:gd name="T50" fmla="*/ 196 w 268"/>
                    <a:gd name="T51" fmla="*/ 8 h 280"/>
                    <a:gd name="T52" fmla="*/ 186 w 268"/>
                    <a:gd name="T53" fmla="*/ 25 h 280"/>
                    <a:gd name="T54" fmla="*/ 153 w 268"/>
                    <a:gd name="T55" fmla="*/ 17 h 280"/>
                    <a:gd name="T56" fmla="*/ 136 w 268"/>
                    <a:gd name="T57" fmla="*/ 60 h 280"/>
                    <a:gd name="T58" fmla="*/ 137 w 268"/>
                    <a:gd name="T59" fmla="*/ 144 h 280"/>
                    <a:gd name="T60" fmla="*/ 156 w 268"/>
                    <a:gd name="T61" fmla="*/ 141 h 280"/>
                    <a:gd name="T62" fmla="*/ 165 w 268"/>
                    <a:gd name="T63" fmla="*/ 37 h 280"/>
                    <a:gd name="T64" fmla="*/ 161 w 268"/>
                    <a:gd name="T65" fmla="*/ 142 h 280"/>
                    <a:gd name="T66" fmla="*/ 130 w 268"/>
                    <a:gd name="T67" fmla="*/ 170 h 280"/>
                    <a:gd name="T68" fmla="*/ 103 w 268"/>
                    <a:gd name="T69" fmla="*/ 142 h 280"/>
                    <a:gd name="T70" fmla="*/ 103 w 268"/>
                    <a:gd name="T71" fmla="*/ 141 h 280"/>
                    <a:gd name="T72" fmla="*/ 98 w 268"/>
                    <a:gd name="T73" fmla="*/ 44 h 280"/>
                    <a:gd name="T74" fmla="*/ 108 w 268"/>
                    <a:gd name="T75" fmla="*/ 129 h 280"/>
                    <a:gd name="T76" fmla="*/ 127 w 268"/>
                    <a:gd name="T77" fmla="*/ 129 h 280"/>
                    <a:gd name="T78" fmla="*/ 122 w 268"/>
                    <a:gd name="T79" fmla="*/ 51 h 280"/>
                    <a:gd name="T80" fmla="*/ 105 w 268"/>
                    <a:gd name="T81" fmla="*/ 22 h 280"/>
                    <a:gd name="T82" fmla="*/ 79 w 268"/>
                    <a:gd name="T83" fmla="*/ 51 h 280"/>
                    <a:gd name="T84" fmla="*/ 75 w 268"/>
                    <a:gd name="T85" fmla="*/ 17 h 280"/>
                    <a:gd name="T86" fmla="*/ 67 w 268"/>
                    <a:gd name="T87" fmla="*/ 17 h 280"/>
                    <a:gd name="T88" fmla="*/ 62 w 268"/>
                    <a:gd name="T89" fmla="*/ 51 h 280"/>
                    <a:gd name="T90" fmla="*/ 38 w 268"/>
                    <a:gd name="T91" fmla="*/ 22 h 280"/>
                    <a:gd name="T92" fmla="*/ 20 w 268"/>
                    <a:gd name="T93" fmla="*/ 51 h 280"/>
                    <a:gd name="T94" fmla="*/ 15 w 268"/>
                    <a:gd name="T95" fmla="*/ 129 h 280"/>
                    <a:gd name="T96" fmla="*/ 34 w 268"/>
                    <a:gd name="T97" fmla="*/ 129 h 280"/>
                    <a:gd name="T98" fmla="*/ 43 w 268"/>
                    <a:gd name="T99" fmla="*/ 44 h 280"/>
                    <a:gd name="T100" fmla="*/ 38 w 268"/>
                    <a:gd name="T101" fmla="*/ 142 h 280"/>
                    <a:gd name="T102" fmla="*/ 15 w 268"/>
                    <a:gd name="T103" fmla="*/ 213 h 280"/>
                    <a:gd name="T104" fmla="*/ 0 w 268"/>
                    <a:gd name="T105" fmla="*/ 239 h 280"/>
                    <a:gd name="T106" fmla="*/ 204 w 268"/>
                    <a:gd name="T107" fmla="*/ 154 h 280"/>
                    <a:gd name="T108" fmla="*/ 198 w 268"/>
                    <a:gd name="T109" fmla="*/ 166 h 280"/>
                    <a:gd name="T110" fmla="*/ 70 w 268"/>
                    <a:gd name="T111" fmla="*/ 144 h 280"/>
                    <a:gd name="T112" fmla="*/ 75 w 268"/>
                    <a:gd name="T113" fmla="*/ 184 h 280"/>
                    <a:gd name="T114" fmla="*/ 65 w 268"/>
                    <a:gd name="T115" fmla="*/ 18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80">
                      <a:moveTo>
                        <a:pt x="0" y="244"/>
                      </a:moveTo>
                      <a:lnTo>
                        <a:pt x="0" y="251"/>
                      </a:lnTo>
                      <a:lnTo>
                        <a:pt x="1" y="256"/>
                      </a:lnTo>
                      <a:lnTo>
                        <a:pt x="5" y="252"/>
                      </a:lnTo>
                      <a:lnTo>
                        <a:pt x="36" y="259"/>
                      </a:lnTo>
                      <a:lnTo>
                        <a:pt x="32" y="251"/>
                      </a:lnTo>
                      <a:lnTo>
                        <a:pt x="31" y="244"/>
                      </a:lnTo>
                      <a:lnTo>
                        <a:pt x="31" y="239"/>
                      </a:lnTo>
                      <a:lnTo>
                        <a:pt x="32" y="234"/>
                      </a:lnTo>
                      <a:lnTo>
                        <a:pt x="34" y="228"/>
                      </a:lnTo>
                      <a:lnTo>
                        <a:pt x="38" y="225"/>
                      </a:lnTo>
                      <a:lnTo>
                        <a:pt x="38" y="234"/>
                      </a:lnTo>
                      <a:lnTo>
                        <a:pt x="39" y="239"/>
                      </a:lnTo>
                      <a:lnTo>
                        <a:pt x="43" y="244"/>
                      </a:lnTo>
                      <a:lnTo>
                        <a:pt x="46" y="246"/>
                      </a:lnTo>
                      <a:lnTo>
                        <a:pt x="51" y="247"/>
                      </a:lnTo>
                      <a:lnTo>
                        <a:pt x="56" y="246"/>
                      </a:lnTo>
                      <a:lnTo>
                        <a:pt x="62" y="244"/>
                      </a:lnTo>
                      <a:lnTo>
                        <a:pt x="63" y="239"/>
                      </a:lnTo>
                      <a:lnTo>
                        <a:pt x="65" y="234"/>
                      </a:lnTo>
                      <a:lnTo>
                        <a:pt x="65" y="213"/>
                      </a:lnTo>
                      <a:lnTo>
                        <a:pt x="75" y="215"/>
                      </a:lnTo>
                      <a:lnTo>
                        <a:pt x="75" y="234"/>
                      </a:lnTo>
                      <a:lnTo>
                        <a:pt x="77" y="239"/>
                      </a:lnTo>
                      <a:lnTo>
                        <a:pt x="81" y="244"/>
                      </a:lnTo>
                      <a:lnTo>
                        <a:pt x="84" y="246"/>
                      </a:lnTo>
                      <a:lnTo>
                        <a:pt x="89" y="247"/>
                      </a:lnTo>
                      <a:lnTo>
                        <a:pt x="94" y="246"/>
                      </a:lnTo>
                      <a:lnTo>
                        <a:pt x="100" y="244"/>
                      </a:lnTo>
                      <a:lnTo>
                        <a:pt x="101" y="239"/>
                      </a:lnTo>
                      <a:lnTo>
                        <a:pt x="103" y="234"/>
                      </a:lnTo>
                      <a:lnTo>
                        <a:pt x="103" y="191"/>
                      </a:lnTo>
                      <a:lnTo>
                        <a:pt x="117" y="187"/>
                      </a:lnTo>
                      <a:lnTo>
                        <a:pt x="130" y="184"/>
                      </a:lnTo>
                      <a:lnTo>
                        <a:pt x="146" y="182"/>
                      </a:lnTo>
                      <a:lnTo>
                        <a:pt x="161" y="180"/>
                      </a:lnTo>
                      <a:lnTo>
                        <a:pt x="161" y="263"/>
                      </a:lnTo>
                      <a:lnTo>
                        <a:pt x="163" y="270"/>
                      </a:lnTo>
                      <a:lnTo>
                        <a:pt x="167" y="275"/>
                      </a:lnTo>
                      <a:lnTo>
                        <a:pt x="172" y="278"/>
                      </a:lnTo>
                      <a:lnTo>
                        <a:pt x="179" y="280"/>
                      </a:lnTo>
                      <a:lnTo>
                        <a:pt x="184" y="278"/>
                      </a:lnTo>
                      <a:lnTo>
                        <a:pt x="189" y="275"/>
                      </a:lnTo>
                      <a:lnTo>
                        <a:pt x="192" y="270"/>
                      </a:lnTo>
                      <a:lnTo>
                        <a:pt x="194" y="263"/>
                      </a:lnTo>
                      <a:lnTo>
                        <a:pt x="194" y="178"/>
                      </a:lnTo>
                      <a:lnTo>
                        <a:pt x="198" y="178"/>
                      </a:lnTo>
                      <a:lnTo>
                        <a:pt x="201" y="177"/>
                      </a:lnTo>
                      <a:lnTo>
                        <a:pt x="203" y="178"/>
                      </a:lnTo>
                      <a:lnTo>
                        <a:pt x="204" y="178"/>
                      </a:lnTo>
                      <a:lnTo>
                        <a:pt x="204" y="187"/>
                      </a:lnTo>
                      <a:lnTo>
                        <a:pt x="204" y="263"/>
                      </a:lnTo>
                      <a:lnTo>
                        <a:pt x="206" y="270"/>
                      </a:lnTo>
                      <a:lnTo>
                        <a:pt x="210" y="275"/>
                      </a:lnTo>
                      <a:lnTo>
                        <a:pt x="215" y="278"/>
                      </a:lnTo>
                      <a:lnTo>
                        <a:pt x="222" y="280"/>
                      </a:lnTo>
                      <a:lnTo>
                        <a:pt x="227" y="278"/>
                      </a:lnTo>
                      <a:lnTo>
                        <a:pt x="232" y="275"/>
                      </a:lnTo>
                      <a:lnTo>
                        <a:pt x="235" y="270"/>
                      </a:lnTo>
                      <a:lnTo>
                        <a:pt x="237" y="263"/>
                      </a:lnTo>
                      <a:lnTo>
                        <a:pt x="237" y="178"/>
                      </a:lnTo>
                      <a:lnTo>
                        <a:pt x="263" y="170"/>
                      </a:lnTo>
                      <a:lnTo>
                        <a:pt x="237" y="163"/>
                      </a:lnTo>
                      <a:lnTo>
                        <a:pt x="237" y="154"/>
                      </a:lnTo>
                      <a:lnTo>
                        <a:pt x="237" y="154"/>
                      </a:lnTo>
                      <a:lnTo>
                        <a:pt x="237" y="154"/>
                      </a:lnTo>
                      <a:lnTo>
                        <a:pt x="237" y="153"/>
                      </a:lnTo>
                      <a:lnTo>
                        <a:pt x="237" y="153"/>
                      </a:lnTo>
                      <a:lnTo>
                        <a:pt x="237" y="153"/>
                      </a:lnTo>
                      <a:lnTo>
                        <a:pt x="237" y="135"/>
                      </a:lnTo>
                      <a:lnTo>
                        <a:pt x="237" y="108"/>
                      </a:lnTo>
                      <a:lnTo>
                        <a:pt x="235" y="74"/>
                      </a:lnTo>
                      <a:lnTo>
                        <a:pt x="232" y="37"/>
                      </a:lnTo>
                      <a:lnTo>
                        <a:pt x="234" y="39"/>
                      </a:lnTo>
                      <a:lnTo>
                        <a:pt x="237" y="60"/>
                      </a:lnTo>
                      <a:lnTo>
                        <a:pt x="242" y="94"/>
                      </a:lnTo>
                      <a:lnTo>
                        <a:pt x="244" y="137"/>
                      </a:lnTo>
                      <a:lnTo>
                        <a:pt x="244" y="141"/>
                      </a:lnTo>
                      <a:lnTo>
                        <a:pt x="247" y="144"/>
                      </a:lnTo>
                      <a:lnTo>
                        <a:pt x="251" y="148"/>
                      </a:lnTo>
                      <a:lnTo>
                        <a:pt x="254" y="149"/>
                      </a:lnTo>
                      <a:lnTo>
                        <a:pt x="263" y="144"/>
                      </a:lnTo>
                      <a:lnTo>
                        <a:pt x="266" y="137"/>
                      </a:lnTo>
                      <a:lnTo>
                        <a:pt x="268" y="117"/>
                      </a:lnTo>
                      <a:lnTo>
                        <a:pt x="265" y="72"/>
                      </a:lnTo>
                      <a:lnTo>
                        <a:pt x="263" y="60"/>
                      </a:lnTo>
                      <a:lnTo>
                        <a:pt x="261" y="48"/>
                      </a:lnTo>
                      <a:lnTo>
                        <a:pt x="258" y="36"/>
                      </a:lnTo>
                      <a:lnTo>
                        <a:pt x="253" y="25"/>
                      </a:lnTo>
                      <a:lnTo>
                        <a:pt x="246" y="17"/>
                      </a:lnTo>
                      <a:lnTo>
                        <a:pt x="239" y="10"/>
                      </a:lnTo>
                      <a:lnTo>
                        <a:pt x="230" y="6"/>
                      </a:lnTo>
                      <a:lnTo>
                        <a:pt x="220" y="5"/>
                      </a:lnTo>
                      <a:lnTo>
                        <a:pt x="215" y="25"/>
                      </a:lnTo>
                      <a:lnTo>
                        <a:pt x="210" y="48"/>
                      </a:lnTo>
                      <a:lnTo>
                        <a:pt x="206" y="34"/>
                      </a:lnTo>
                      <a:lnTo>
                        <a:pt x="203" y="12"/>
                      </a:lnTo>
                      <a:lnTo>
                        <a:pt x="204" y="10"/>
                      </a:lnTo>
                      <a:lnTo>
                        <a:pt x="204" y="6"/>
                      </a:lnTo>
                      <a:lnTo>
                        <a:pt x="203" y="1"/>
                      </a:lnTo>
                      <a:lnTo>
                        <a:pt x="199" y="0"/>
                      </a:lnTo>
                      <a:lnTo>
                        <a:pt x="198" y="1"/>
                      </a:lnTo>
                      <a:lnTo>
                        <a:pt x="194" y="6"/>
                      </a:lnTo>
                      <a:lnTo>
                        <a:pt x="196" y="8"/>
                      </a:lnTo>
                      <a:lnTo>
                        <a:pt x="198" y="10"/>
                      </a:lnTo>
                      <a:lnTo>
                        <a:pt x="192" y="32"/>
                      </a:lnTo>
                      <a:lnTo>
                        <a:pt x="189" y="46"/>
                      </a:lnTo>
                      <a:lnTo>
                        <a:pt x="186" y="25"/>
                      </a:lnTo>
                      <a:lnTo>
                        <a:pt x="179" y="5"/>
                      </a:lnTo>
                      <a:lnTo>
                        <a:pt x="168" y="6"/>
                      </a:lnTo>
                      <a:lnTo>
                        <a:pt x="160" y="10"/>
                      </a:lnTo>
                      <a:lnTo>
                        <a:pt x="153" y="17"/>
                      </a:lnTo>
                      <a:lnTo>
                        <a:pt x="148" y="25"/>
                      </a:lnTo>
                      <a:lnTo>
                        <a:pt x="143" y="36"/>
                      </a:lnTo>
                      <a:lnTo>
                        <a:pt x="139" y="48"/>
                      </a:lnTo>
                      <a:lnTo>
                        <a:pt x="136" y="60"/>
                      </a:lnTo>
                      <a:lnTo>
                        <a:pt x="134" y="72"/>
                      </a:lnTo>
                      <a:lnTo>
                        <a:pt x="134" y="117"/>
                      </a:lnTo>
                      <a:lnTo>
                        <a:pt x="134" y="137"/>
                      </a:lnTo>
                      <a:lnTo>
                        <a:pt x="137" y="144"/>
                      </a:lnTo>
                      <a:lnTo>
                        <a:pt x="146" y="149"/>
                      </a:lnTo>
                      <a:lnTo>
                        <a:pt x="149" y="148"/>
                      </a:lnTo>
                      <a:lnTo>
                        <a:pt x="153" y="144"/>
                      </a:lnTo>
                      <a:lnTo>
                        <a:pt x="156" y="141"/>
                      </a:lnTo>
                      <a:lnTo>
                        <a:pt x="156" y="137"/>
                      </a:lnTo>
                      <a:lnTo>
                        <a:pt x="158" y="92"/>
                      </a:lnTo>
                      <a:lnTo>
                        <a:pt x="161" y="58"/>
                      </a:lnTo>
                      <a:lnTo>
                        <a:pt x="165" y="37"/>
                      </a:lnTo>
                      <a:lnTo>
                        <a:pt x="167" y="37"/>
                      </a:lnTo>
                      <a:lnTo>
                        <a:pt x="163" y="75"/>
                      </a:lnTo>
                      <a:lnTo>
                        <a:pt x="161" y="113"/>
                      </a:lnTo>
                      <a:lnTo>
                        <a:pt x="161" y="142"/>
                      </a:lnTo>
                      <a:lnTo>
                        <a:pt x="161" y="154"/>
                      </a:lnTo>
                      <a:lnTo>
                        <a:pt x="161" y="166"/>
                      </a:lnTo>
                      <a:lnTo>
                        <a:pt x="146" y="168"/>
                      </a:lnTo>
                      <a:lnTo>
                        <a:pt x="130" y="170"/>
                      </a:lnTo>
                      <a:lnTo>
                        <a:pt x="117" y="173"/>
                      </a:lnTo>
                      <a:lnTo>
                        <a:pt x="103" y="175"/>
                      </a:lnTo>
                      <a:lnTo>
                        <a:pt x="103" y="142"/>
                      </a:lnTo>
                      <a:lnTo>
                        <a:pt x="103" y="142"/>
                      </a:lnTo>
                      <a:lnTo>
                        <a:pt x="103" y="142"/>
                      </a:lnTo>
                      <a:lnTo>
                        <a:pt x="103" y="141"/>
                      </a:lnTo>
                      <a:lnTo>
                        <a:pt x="103" y="141"/>
                      </a:lnTo>
                      <a:lnTo>
                        <a:pt x="103" y="141"/>
                      </a:lnTo>
                      <a:lnTo>
                        <a:pt x="103" y="127"/>
                      </a:lnTo>
                      <a:lnTo>
                        <a:pt x="101" y="103"/>
                      </a:lnTo>
                      <a:lnTo>
                        <a:pt x="101" y="74"/>
                      </a:lnTo>
                      <a:lnTo>
                        <a:pt x="98" y="44"/>
                      </a:lnTo>
                      <a:lnTo>
                        <a:pt x="100" y="46"/>
                      </a:lnTo>
                      <a:lnTo>
                        <a:pt x="103" y="61"/>
                      </a:lnTo>
                      <a:lnTo>
                        <a:pt x="106" y="91"/>
                      </a:lnTo>
                      <a:lnTo>
                        <a:pt x="108" y="129"/>
                      </a:lnTo>
                      <a:lnTo>
                        <a:pt x="112" y="134"/>
                      </a:lnTo>
                      <a:lnTo>
                        <a:pt x="117" y="137"/>
                      </a:lnTo>
                      <a:lnTo>
                        <a:pt x="124" y="132"/>
                      </a:lnTo>
                      <a:lnTo>
                        <a:pt x="127" y="129"/>
                      </a:lnTo>
                      <a:lnTo>
                        <a:pt x="127" y="111"/>
                      </a:lnTo>
                      <a:lnTo>
                        <a:pt x="125" y="72"/>
                      </a:lnTo>
                      <a:lnTo>
                        <a:pt x="124" y="61"/>
                      </a:lnTo>
                      <a:lnTo>
                        <a:pt x="122" y="51"/>
                      </a:lnTo>
                      <a:lnTo>
                        <a:pt x="118" y="43"/>
                      </a:lnTo>
                      <a:lnTo>
                        <a:pt x="115" y="34"/>
                      </a:lnTo>
                      <a:lnTo>
                        <a:pt x="110" y="27"/>
                      </a:lnTo>
                      <a:lnTo>
                        <a:pt x="105" y="22"/>
                      </a:lnTo>
                      <a:lnTo>
                        <a:pt x="96" y="17"/>
                      </a:lnTo>
                      <a:lnTo>
                        <a:pt x="87" y="17"/>
                      </a:lnTo>
                      <a:lnTo>
                        <a:pt x="84" y="34"/>
                      </a:lnTo>
                      <a:lnTo>
                        <a:pt x="79" y="51"/>
                      </a:lnTo>
                      <a:lnTo>
                        <a:pt x="75" y="41"/>
                      </a:lnTo>
                      <a:lnTo>
                        <a:pt x="74" y="22"/>
                      </a:lnTo>
                      <a:lnTo>
                        <a:pt x="74" y="20"/>
                      </a:lnTo>
                      <a:lnTo>
                        <a:pt x="75" y="17"/>
                      </a:lnTo>
                      <a:lnTo>
                        <a:pt x="74" y="13"/>
                      </a:lnTo>
                      <a:lnTo>
                        <a:pt x="70" y="12"/>
                      </a:lnTo>
                      <a:lnTo>
                        <a:pt x="69" y="13"/>
                      </a:lnTo>
                      <a:lnTo>
                        <a:pt x="67" y="17"/>
                      </a:lnTo>
                      <a:lnTo>
                        <a:pt x="67" y="18"/>
                      </a:lnTo>
                      <a:lnTo>
                        <a:pt x="69" y="20"/>
                      </a:lnTo>
                      <a:lnTo>
                        <a:pt x="65" y="39"/>
                      </a:lnTo>
                      <a:lnTo>
                        <a:pt x="62" y="51"/>
                      </a:lnTo>
                      <a:lnTo>
                        <a:pt x="58" y="34"/>
                      </a:lnTo>
                      <a:lnTo>
                        <a:pt x="53" y="17"/>
                      </a:lnTo>
                      <a:lnTo>
                        <a:pt x="44" y="17"/>
                      </a:lnTo>
                      <a:lnTo>
                        <a:pt x="38" y="22"/>
                      </a:lnTo>
                      <a:lnTo>
                        <a:pt x="31" y="27"/>
                      </a:lnTo>
                      <a:lnTo>
                        <a:pt x="27" y="34"/>
                      </a:lnTo>
                      <a:lnTo>
                        <a:pt x="22" y="43"/>
                      </a:lnTo>
                      <a:lnTo>
                        <a:pt x="20" y="51"/>
                      </a:lnTo>
                      <a:lnTo>
                        <a:pt x="17" y="61"/>
                      </a:lnTo>
                      <a:lnTo>
                        <a:pt x="15" y="72"/>
                      </a:lnTo>
                      <a:lnTo>
                        <a:pt x="15" y="111"/>
                      </a:lnTo>
                      <a:lnTo>
                        <a:pt x="15" y="129"/>
                      </a:lnTo>
                      <a:lnTo>
                        <a:pt x="19" y="132"/>
                      </a:lnTo>
                      <a:lnTo>
                        <a:pt x="26" y="137"/>
                      </a:lnTo>
                      <a:lnTo>
                        <a:pt x="31" y="134"/>
                      </a:lnTo>
                      <a:lnTo>
                        <a:pt x="34" y="129"/>
                      </a:lnTo>
                      <a:lnTo>
                        <a:pt x="36" y="91"/>
                      </a:lnTo>
                      <a:lnTo>
                        <a:pt x="39" y="61"/>
                      </a:lnTo>
                      <a:lnTo>
                        <a:pt x="41" y="44"/>
                      </a:lnTo>
                      <a:lnTo>
                        <a:pt x="43" y="44"/>
                      </a:lnTo>
                      <a:lnTo>
                        <a:pt x="39" y="75"/>
                      </a:lnTo>
                      <a:lnTo>
                        <a:pt x="38" y="108"/>
                      </a:lnTo>
                      <a:lnTo>
                        <a:pt x="38" y="132"/>
                      </a:lnTo>
                      <a:lnTo>
                        <a:pt x="38" y="142"/>
                      </a:lnTo>
                      <a:lnTo>
                        <a:pt x="38" y="192"/>
                      </a:lnTo>
                      <a:lnTo>
                        <a:pt x="1" y="197"/>
                      </a:lnTo>
                      <a:lnTo>
                        <a:pt x="27" y="204"/>
                      </a:lnTo>
                      <a:lnTo>
                        <a:pt x="15" y="213"/>
                      </a:lnTo>
                      <a:lnTo>
                        <a:pt x="7" y="223"/>
                      </a:lnTo>
                      <a:lnTo>
                        <a:pt x="3" y="228"/>
                      </a:lnTo>
                      <a:lnTo>
                        <a:pt x="1" y="234"/>
                      </a:lnTo>
                      <a:lnTo>
                        <a:pt x="0" y="239"/>
                      </a:lnTo>
                      <a:lnTo>
                        <a:pt x="0" y="244"/>
                      </a:lnTo>
                      <a:close/>
                      <a:moveTo>
                        <a:pt x="194" y="154"/>
                      </a:moveTo>
                      <a:lnTo>
                        <a:pt x="199" y="154"/>
                      </a:lnTo>
                      <a:lnTo>
                        <a:pt x="204" y="154"/>
                      </a:lnTo>
                      <a:lnTo>
                        <a:pt x="204" y="166"/>
                      </a:lnTo>
                      <a:lnTo>
                        <a:pt x="203" y="166"/>
                      </a:lnTo>
                      <a:lnTo>
                        <a:pt x="201" y="166"/>
                      </a:lnTo>
                      <a:lnTo>
                        <a:pt x="198" y="166"/>
                      </a:lnTo>
                      <a:lnTo>
                        <a:pt x="194" y="166"/>
                      </a:lnTo>
                      <a:lnTo>
                        <a:pt x="194" y="154"/>
                      </a:lnTo>
                      <a:close/>
                      <a:moveTo>
                        <a:pt x="65" y="144"/>
                      </a:moveTo>
                      <a:lnTo>
                        <a:pt x="70" y="144"/>
                      </a:lnTo>
                      <a:lnTo>
                        <a:pt x="75" y="144"/>
                      </a:lnTo>
                      <a:lnTo>
                        <a:pt x="75" y="182"/>
                      </a:lnTo>
                      <a:lnTo>
                        <a:pt x="75" y="184"/>
                      </a:lnTo>
                      <a:lnTo>
                        <a:pt x="75" y="184"/>
                      </a:lnTo>
                      <a:lnTo>
                        <a:pt x="75" y="184"/>
                      </a:lnTo>
                      <a:lnTo>
                        <a:pt x="75" y="215"/>
                      </a:lnTo>
                      <a:lnTo>
                        <a:pt x="69" y="187"/>
                      </a:lnTo>
                      <a:lnTo>
                        <a:pt x="65" y="187"/>
                      </a:lnTo>
                      <a:lnTo>
                        <a:pt x="65"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36" name="Freeform 145"/>
                <p:cNvSpPr>
                  <a:spLocks noEditPoints="1"/>
                </p:cNvSpPr>
                <p:nvPr/>
              </p:nvSpPr>
              <p:spPr bwMode="auto">
                <a:xfrm>
                  <a:off x="6292851" y="2133600"/>
                  <a:ext cx="234950" cy="373062"/>
                </a:xfrm>
                <a:custGeom>
                  <a:avLst/>
                  <a:gdLst>
                    <a:gd name="T0" fmla="*/ 31 w 148"/>
                    <a:gd name="T1" fmla="*/ 161 h 235"/>
                    <a:gd name="T2" fmla="*/ 24 w 148"/>
                    <a:gd name="T3" fmla="*/ 172 h 235"/>
                    <a:gd name="T4" fmla="*/ 47 w 148"/>
                    <a:gd name="T5" fmla="*/ 222 h 235"/>
                    <a:gd name="T6" fmla="*/ 52 w 148"/>
                    <a:gd name="T7" fmla="*/ 232 h 235"/>
                    <a:gd name="T8" fmla="*/ 60 w 148"/>
                    <a:gd name="T9" fmla="*/ 235 h 235"/>
                    <a:gd name="T10" fmla="*/ 71 w 148"/>
                    <a:gd name="T11" fmla="*/ 232 h 235"/>
                    <a:gd name="T12" fmla="*/ 74 w 148"/>
                    <a:gd name="T13" fmla="*/ 222 h 235"/>
                    <a:gd name="T14" fmla="*/ 79 w 148"/>
                    <a:gd name="T15" fmla="*/ 189 h 235"/>
                    <a:gd name="T16" fmla="*/ 85 w 148"/>
                    <a:gd name="T17" fmla="*/ 201 h 235"/>
                    <a:gd name="T18" fmla="*/ 85 w 148"/>
                    <a:gd name="T19" fmla="*/ 204 h 235"/>
                    <a:gd name="T20" fmla="*/ 86 w 148"/>
                    <a:gd name="T21" fmla="*/ 227 h 235"/>
                    <a:gd name="T22" fmla="*/ 93 w 148"/>
                    <a:gd name="T23" fmla="*/ 234 h 235"/>
                    <a:gd name="T24" fmla="*/ 103 w 148"/>
                    <a:gd name="T25" fmla="*/ 234 h 235"/>
                    <a:gd name="T26" fmla="*/ 110 w 148"/>
                    <a:gd name="T27" fmla="*/ 227 h 235"/>
                    <a:gd name="T28" fmla="*/ 112 w 148"/>
                    <a:gd name="T29" fmla="*/ 210 h 235"/>
                    <a:gd name="T30" fmla="*/ 148 w 148"/>
                    <a:gd name="T31" fmla="*/ 187 h 235"/>
                    <a:gd name="T32" fmla="*/ 117 w 148"/>
                    <a:gd name="T33" fmla="*/ 189 h 235"/>
                    <a:gd name="T34" fmla="*/ 112 w 148"/>
                    <a:gd name="T35" fmla="*/ 130 h 235"/>
                    <a:gd name="T36" fmla="*/ 112 w 148"/>
                    <a:gd name="T37" fmla="*/ 130 h 235"/>
                    <a:gd name="T38" fmla="*/ 112 w 148"/>
                    <a:gd name="T39" fmla="*/ 129 h 235"/>
                    <a:gd name="T40" fmla="*/ 112 w 148"/>
                    <a:gd name="T41" fmla="*/ 115 h 235"/>
                    <a:gd name="T42" fmla="*/ 110 w 148"/>
                    <a:gd name="T43" fmla="*/ 62 h 235"/>
                    <a:gd name="T44" fmla="*/ 109 w 148"/>
                    <a:gd name="T45" fmla="*/ 34 h 235"/>
                    <a:gd name="T46" fmla="*/ 116 w 148"/>
                    <a:gd name="T47" fmla="*/ 79 h 235"/>
                    <a:gd name="T48" fmla="*/ 121 w 148"/>
                    <a:gd name="T49" fmla="*/ 122 h 235"/>
                    <a:gd name="T50" fmla="*/ 133 w 148"/>
                    <a:gd name="T51" fmla="*/ 120 h 235"/>
                    <a:gd name="T52" fmla="*/ 136 w 148"/>
                    <a:gd name="T53" fmla="*/ 99 h 235"/>
                    <a:gd name="T54" fmla="*/ 133 w 148"/>
                    <a:gd name="T55" fmla="*/ 49 h 235"/>
                    <a:gd name="T56" fmla="*/ 128 w 148"/>
                    <a:gd name="T57" fmla="*/ 31 h 235"/>
                    <a:gd name="T58" fmla="*/ 119 w 148"/>
                    <a:gd name="T59" fmla="*/ 15 h 235"/>
                    <a:gd name="T60" fmla="*/ 105 w 148"/>
                    <a:gd name="T61" fmla="*/ 6 h 235"/>
                    <a:gd name="T62" fmla="*/ 93 w 148"/>
                    <a:gd name="T63" fmla="*/ 22 h 235"/>
                    <a:gd name="T64" fmla="*/ 86 w 148"/>
                    <a:gd name="T65" fmla="*/ 29 h 235"/>
                    <a:gd name="T66" fmla="*/ 85 w 148"/>
                    <a:gd name="T67" fmla="*/ 8 h 235"/>
                    <a:gd name="T68" fmla="*/ 83 w 148"/>
                    <a:gd name="T69" fmla="*/ 1 h 235"/>
                    <a:gd name="T70" fmla="*/ 78 w 148"/>
                    <a:gd name="T71" fmla="*/ 1 h 235"/>
                    <a:gd name="T72" fmla="*/ 76 w 148"/>
                    <a:gd name="T73" fmla="*/ 6 h 235"/>
                    <a:gd name="T74" fmla="*/ 74 w 148"/>
                    <a:gd name="T75" fmla="*/ 27 h 235"/>
                    <a:gd name="T76" fmla="*/ 67 w 148"/>
                    <a:gd name="T77" fmla="*/ 22 h 235"/>
                    <a:gd name="T78" fmla="*/ 54 w 148"/>
                    <a:gd name="T79" fmla="*/ 5 h 235"/>
                    <a:gd name="T80" fmla="*/ 42 w 148"/>
                    <a:gd name="T81" fmla="*/ 15 h 235"/>
                    <a:gd name="T82" fmla="*/ 31 w 148"/>
                    <a:gd name="T83" fmla="*/ 31 h 235"/>
                    <a:gd name="T84" fmla="*/ 26 w 148"/>
                    <a:gd name="T85" fmla="*/ 49 h 235"/>
                    <a:gd name="T86" fmla="*/ 24 w 148"/>
                    <a:gd name="T87" fmla="*/ 99 h 235"/>
                    <a:gd name="T88" fmla="*/ 28 w 148"/>
                    <a:gd name="T89" fmla="*/ 120 h 235"/>
                    <a:gd name="T90" fmla="*/ 40 w 148"/>
                    <a:gd name="T91" fmla="*/ 122 h 235"/>
                    <a:gd name="T92" fmla="*/ 45 w 148"/>
                    <a:gd name="T93" fmla="*/ 79 h 235"/>
                    <a:gd name="T94" fmla="*/ 52 w 148"/>
                    <a:gd name="T95" fmla="*/ 32 h 235"/>
                    <a:gd name="T96" fmla="*/ 48 w 148"/>
                    <a:gd name="T97" fmla="*/ 63 h 235"/>
                    <a:gd name="T98" fmla="*/ 47 w 148"/>
                    <a:gd name="T99" fmla="*/ 120 h 235"/>
                    <a:gd name="T100" fmla="*/ 47 w 148"/>
                    <a:gd name="T101" fmla="*/ 163 h 235"/>
                    <a:gd name="T102" fmla="*/ 23 w 148"/>
                    <a:gd name="T103" fmla="*/ 160 h 235"/>
                    <a:gd name="T104" fmla="*/ 81 w 148"/>
                    <a:gd name="T105" fmla="*/ 132 h 235"/>
                    <a:gd name="T106" fmla="*/ 85 w 148"/>
                    <a:gd name="T107" fmla="*/ 173 h 235"/>
                    <a:gd name="T108" fmla="*/ 74 w 148"/>
                    <a:gd name="T109"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5">
                      <a:moveTo>
                        <a:pt x="23" y="160"/>
                      </a:moveTo>
                      <a:lnTo>
                        <a:pt x="31" y="161"/>
                      </a:lnTo>
                      <a:lnTo>
                        <a:pt x="0" y="168"/>
                      </a:lnTo>
                      <a:lnTo>
                        <a:pt x="24" y="172"/>
                      </a:lnTo>
                      <a:lnTo>
                        <a:pt x="47" y="177"/>
                      </a:lnTo>
                      <a:lnTo>
                        <a:pt x="47" y="222"/>
                      </a:lnTo>
                      <a:lnTo>
                        <a:pt x="48" y="227"/>
                      </a:lnTo>
                      <a:lnTo>
                        <a:pt x="52" y="232"/>
                      </a:lnTo>
                      <a:lnTo>
                        <a:pt x="55" y="234"/>
                      </a:lnTo>
                      <a:lnTo>
                        <a:pt x="60" y="235"/>
                      </a:lnTo>
                      <a:lnTo>
                        <a:pt x="66" y="234"/>
                      </a:lnTo>
                      <a:lnTo>
                        <a:pt x="71" y="232"/>
                      </a:lnTo>
                      <a:lnTo>
                        <a:pt x="74" y="227"/>
                      </a:lnTo>
                      <a:lnTo>
                        <a:pt x="74" y="222"/>
                      </a:lnTo>
                      <a:lnTo>
                        <a:pt x="74" y="187"/>
                      </a:lnTo>
                      <a:lnTo>
                        <a:pt x="79" y="189"/>
                      </a:lnTo>
                      <a:lnTo>
                        <a:pt x="85" y="191"/>
                      </a:lnTo>
                      <a:lnTo>
                        <a:pt x="85" y="201"/>
                      </a:lnTo>
                      <a:lnTo>
                        <a:pt x="74" y="203"/>
                      </a:lnTo>
                      <a:lnTo>
                        <a:pt x="85" y="204"/>
                      </a:lnTo>
                      <a:lnTo>
                        <a:pt x="85" y="222"/>
                      </a:lnTo>
                      <a:lnTo>
                        <a:pt x="86" y="227"/>
                      </a:lnTo>
                      <a:lnTo>
                        <a:pt x="90" y="232"/>
                      </a:lnTo>
                      <a:lnTo>
                        <a:pt x="93" y="234"/>
                      </a:lnTo>
                      <a:lnTo>
                        <a:pt x="98" y="235"/>
                      </a:lnTo>
                      <a:lnTo>
                        <a:pt x="103" y="234"/>
                      </a:lnTo>
                      <a:lnTo>
                        <a:pt x="109" y="232"/>
                      </a:lnTo>
                      <a:lnTo>
                        <a:pt x="110" y="227"/>
                      </a:lnTo>
                      <a:lnTo>
                        <a:pt x="112" y="222"/>
                      </a:lnTo>
                      <a:lnTo>
                        <a:pt x="112" y="210"/>
                      </a:lnTo>
                      <a:lnTo>
                        <a:pt x="141" y="215"/>
                      </a:lnTo>
                      <a:lnTo>
                        <a:pt x="148" y="187"/>
                      </a:lnTo>
                      <a:lnTo>
                        <a:pt x="124" y="192"/>
                      </a:lnTo>
                      <a:lnTo>
                        <a:pt x="117" y="189"/>
                      </a:lnTo>
                      <a:lnTo>
                        <a:pt x="112" y="185"/>
                      </a:lnTo>
                      <a:lnTo>
                        <a:pt x="112" y="130"/>
                      </a:lnTo>
                      <a:lnTo>
                        <a:pt x="112" y="130"/>
                      </a:lnTo>
                      <a:lnTo>
                        <a:pt x="112" y="130"/>
                      </a:lnTo>
                      <a:lnTo>
                        <a:pt x="112" y="129"/>
                      </a:lnTo>
                      <a:lnTo>
                        <a:pt x="112" y="129"/>
                      </a:lnTo>
                      <a:lnTo>
                        <a:pt x="112" y="129"/>
                      </a:lnTo>
                      <a:lnTo>
                        <a:pt x="112" y="115"/>
                      </a:lnTo>
                      <a:lnTo>
                        <a:pt x="112" y="91"/>
                      </a:lnTo>
                      <a:lnTo>
                        <a:pt x="110" y="62"/>
                      </a:lnTo>
                      <a:lnTo>
                        <a:pt x="107" y="32"/>
                      </a:lnTo>
                      <a:lnTo>
                        <a:pt x="109" y="34"/>
                      </a:lnTo>
                      <a:lnTo>
                        <a:pt x="112" y="49"/>
                      </a:lnTo>
                      <a:lnTo>
                        <a:pt x="116" y="79"/>
                      </a:lnTo>
                      <a:lnTo>
                        <a:pt x="117" y="117"/>
                      </a:lnTo>
                      <a:lnTo>
                        <a:pt x="121" y="122"/>
                      </a:lnTo>
                      <a:lnTo>
                        <a:pt x="126" y="125"/>
                      </a:lnTo>
                      <a:lnTo>
                        <a:pt x="133" y="120"/>
                      </a:lnTo>
                      <a:lnTo>
                        <a:pt x="136" y="117"/>
                      </a:lnTo>
                      <a:lnTo>
                        <a:pt x="136" y="99"/>
                      </a:lnTo>
                      <a:lnTo>
                        <a:pt x="134" y="60"/>
                      </a:lnTo>
                      <a:lnTo>
                        <a:pt x="133" y="49"/>
                      </a:lnTo>
                      <a:lnTo>
                        <a:pt x="131" y="39"/>
                      </a:lnTo>
                      <a:lnTo>
                        <a:pt x="128" y="31"/>
                      </a:lnTo>
                      <a:lnTo>
                        <a:pt x="124" y="22"/>
                      </a:lnTo>
                      <a:lnTo>
                        <a:pt x="119" y="15"/>
                      </a:lnTo>
                      <a:lnTo>
                        <a:pt x="114" y="10"/>
                      </a:lnTo>
                      <a:lnTo>
                        <a:pt x="105" y="6"/>
                      </a:lnTo>
                      <a:lnTo>
                        <a:pt x="98" y="5"/>
                      </a:lnTo>
                      <a:lnTo>
                        <a:pt x="93" y="22"/>
                      </a:lnTo>
                      <a:lnTo>
                        <a:pt x="88" y="39"/>
                      </a:lnTo>
                      <a:lnTo>
                        <a:pt x="86" y="29"/>
                      </a:lnTo>
                      <a:lnTo>
                        <a:pt x="83" y="10"/>
                      </a:lnTo>
                      <a:lnTo>
                        <a:pt x="85" y="8"/>
                      </a:lnTo>
                      <a:lnTo>
                        <a:pt x="85" y="5"/>
                      </a:lnTo>
                      <a:lnTo>
                        <a:pt x="83" y="1"/>
                      </a:lnTo>
                      <a:lnTo>
                        <a:pt x="79" y="0"/>
                      </a:lnTo>
                      <a:lnTo>
                        <a:pt x="78" y="1"/>
                      </a:lnTo>
                      <a:lnTo>
                        <a:pt x="76" y="5"/>
                      </a:lnTo>
                      <a:lnTo>
                        <a:pt x="76" y="6"/>
                      </a:lnTo>
                      <a:lnTo>
                        <a:pt x="78" y="8"/>
                      </a:lnTo>
                      <a:lnTo>
                        <a:pt x="74" y="27"/>
                      </a:lnTo>
                      <a:lnTo>
                        <a:pt x="71" y="39"/>
                      </a:lnTo>
                      <a:lnTo>
                        <a:pt x="67" y="22"/>
                      </a:lnTo>
                      <a:lnTo>
                        <a:pt x="62" y="5"/>
                      </a:lnTo>
                      <a:lnTo>
                        <a:pt x="54" y="5"/>
                      </a:lnTo>
                      <a:lnTo>
                        <a:pt x="47" y="10"/>
                      </a:lnTo>
                      <a:lnTo>
                        <a:pt x="42" y="15"/>
                      </a:lnTo>
                      <a:lnTo>
                        <a:pt x="36" y="22"/>
                      </a:lnTo>
                      <a:lnTo>
                        <a:pt x="31" y="31"/>
                      </a:lnTo>
                      <a:lnTo>
                        <a:pt x="29" y="39"/>
                      </a:lnTo>
                      <a:lnTo>
                        <a:pt x="26" y="49"/>
                      </a:lnTo>
                      <a:lnTo>
                        <a:pt x="26" y="60"/>
                      </a:lnTo>
                      <a:lnTo>
                        <a:pt x="24" y="99"/>
                      </a:lnTo>
                      <a:lnTo>
                        <a:pt x="24" y="117"/>
                      </a:lnTo>
                      <a:lnTo>
                        <a:pt x="28" y="120"/>
                      </a:lnTo>
                      <a:lnTo>
                        <a:pt x="35" y="125"/>
                      </a:lnTo>
                      <a:lnTo>
                        <a:pt x="40" y="122"/>
                      </a:lnTo>
                      <a:lnTo>
                        <a:pt x="45" y="117"/>
                      </a:lnTo>
                      <a:lnTo>
                        <a:pt x="45" y="79"/>
                      </a:lnTo>
                      <a:lnTo>
                        <a:pt x="48" y="49"/>
                      </a:lnTo>
                      <a:lnTo>
                        <a:pt x="52" y="32"/>
                      </a:lnTo>
                      <a:lnTo>
                        <a:pt x="52" y="32"/>
                      </a:lnTo>
                      <a:lnTo>
                        <a:pt x="48" y="63"/>
                      </a:lnTo>
                      <a:lnTo>
                        <a:pt x="48" y="96"/>
                      </a:lnTo>
                      <a:lnTo>
                        <a:pt x="47" y="120"/>
                      </a:lnTo>
                      <a:lnTo>
                        <a:pt x="47" y="130"/>
                      </a:lnTo>
                      <a:lnTo>
                        <a:pt x="47" y="163"/>
                      </a:lnTo>
                      <a:lnTo>
                        <a:pt x="36" y="161"/>
                      </a:lnTo>
                      <a:lnTo>
                        <a:pt x="23" y="160"/>
                      </a:lnTo>
                      <a:close/>
                      <a:moveTo>
                        <a:pt x="74" y="132"/>
                      </a:moveTo>
                      <a:lnTo>
                        <a:pt x="81" y="132"/>
                      </a:lnTo>
                      <a:lnTo>
                        <a:pt x="85" y="132"/>
                      </a:lnTo>
                      <a:lnTo>
                        <a:pt x="85" y="173"/>
                      </a:lnTo>
                      <a:lnTo>
                        <a:pt x="79" y="172"/>
                      </a:lnTo>
                      <a:lnTo>
                        <a:pt x="74" y="170"/>
                      </a:lnTo>
                      <a:lnTo>
                        <a:pt x="74" y="1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37" name="Freeform 146"/>
                <p:cNvSpPr>
                  <a:spLocks/>
                </p:cNvSpPr>
                <p:nvPr/>
              </p:nvSpPr>
              <p:spPr bwMode="auto">
                <a:xfrm>
                  <a:off x="6132513" y="2578100"/>
                  <a:ext cx="296863" cy="65087"/>
                </a:xfrm>
                <a:custGeom>
                  <a:avLst/>
                  <a:gdLst>
                    <a:gd name="T0" fmla="*/ 172 w 187"/>
                    <a:gd name="T1" fmla="*/ 0 h 41"/>
                    <a:gd name="T2" fmla="*/ 148 w 187"/>
                    <a:gd name="T3" fmla="*/ 7 h 41"/>
                    <a:gd name="T4" fmla="*/ 118 w 187"/>
                    <a:gd name="T5" fmla="*/ 12 h 41"/>
                    <a:gd name="T6" fmla="*/ 89 w 187"/>
                    <a:gd name="T7" fmla="*/ 17 h 41"/>
                    <a:gd name="T8" fmla="*/ 56 w 187"/>
                    <a:gd name="T9" fmla="*/ 17 h 41"/>
                    <a:gd name="T10" fmla="*/ 56 w 187"/>
                    <a:gd name="T11" fmla="*/ 9 h 41"/>
                    <a:gd name="T12" fmla="*/ 0 w 187"/>
                    <a:gd name="T13" fmla="*/ 24 h 41"/>
                    <a:gd name="T14" fmla="*/ 56 w 187"/>
                    <a:gd name="T15" fmla="*/ 41 h 41"/>
                    <a:gd name="T16" fmla="*/ 56 w 187"/>
                    <a:gd name="T17" fmla="*/ 29 h 41"/>
                    <a:gd name="T18" fmla="*/ 93 w 187"/>
                    <a:gd name="T19" fmla="*/ 29 h 41"/>
                    <a:gd name="T20" fmla="*/ 127 w 187"/>
                    <a:gd name="T21" fmla="*/ 24 h 41"/>
                    <a:gd name="T22" fmla="*/ 158 w 187"/>
                    <a:gd name="T23" fmla="*/ 19 h 41"/>
                    <a:gd name="T24" fmla="*/ 187 w 187"/>
                    <a:gd name="T25" fmla="*/ 10 h 41"/>
                    <a:gd name="T26" fmla="*/ 170 w 187"/>
                    <a:gd name="T27" fmla="*/ 12 h 41"/>
                    <a:gd name="T28" fmla="*/ 172 w 187"/>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41">
                      <a:moveTo>
                        <a:pt x="172" y="0"/>
                      </a:moveTo>
                      <a:lnTo>
                        <a:pt x="148" y="7"/>
                      </a:lnTo>
                      <a:lnTo>
                        <a:pt x="118" y="12"/>
                      </a:lnTo>
                      <a:lnTo>
                        <a:pt x="89" y="17"/>
                      </a:lnTo>
                      <a:lnTo>
                        <a:pt x="56" y="17"/>
                      </a:lnTo>
                      <a:lnTo>
                        <a:pt x="56" y="9"/>
                      </a:lnTo>
                      <a:lnTo>
                        <a:pt x="0" y="24"/>
                      </a:lnTo>
                      <a:lnTo>
                        <a:pt x="56" y="41"/>
                      </a:lnTo>
                      <a:lnTo>
                        <a:pt x="56" y="29"/>
                      </a:lnTo>
                      <a:lnTo>
                        <a:pt x="93" y="29"/>
                      </a:lnTo>
                      <a:lnTo>
                        <a:pt x="127" y="24"/>
                      </a:lnTo>
                      <a:lnTo>
                        <a:pt x="158" y="19"/>
                      </a:lnTo>
                      <a:lnTo>
                        <a:pt x="187" y="10"/>
                      </a:lnTo>
                      <a:lnTo>
                        <a:pt x="170" y="12"/>
                      </a:lnTo>
                      <a:lnTo>
                        <a:pt x="1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38" name="Freeform 147"/>
                <p:cNvSpPr>
                  <a:spLocks/>
                </p:cNvSpPr>
                <p:nvPr/>
              </p:nvSpPr>
              <p:spPr bwMode="auto">
                <a:xfrm>
                  <a:off x="6416676" y="2476500"/>
                  <a:ext cx="117475" cy="112712"/>
                </a:xfrm>
                <a:custGeom>
                  <a:avLst/>
                  <a:gdLst>
                    <a:gd name="T0" fmla="*/ 74 w 74"/>
                    <a:gd name="T1" fmla="*/ 16 h 71"/>
                    <a:gd name="T2" fmla="*/ 72 w 74"/>
                    <a:gd name="T3" fmla="*/ 7 h 71"/>
                    <a:gd name="T4" fmla="*/ 70 w 74"/>
                    <a:gd name="T5" fmla="*/ 0 h 71"/>
                    <a:gd name="T6" fmla="*/ 67 w 74"/>
                    <a:gd name="T7" fmla="*/ 6 h 71"/>
                    <a:gd name="T8" fmla="*/ 38 w 74"/>
                    <a:gd name="T9" fmla="*/ 0 h 71"/>
                    <a:gd name="T10" fmla="*/ 41 w 74"/>
                    <a:gd name="T11" fmla="*/ 7 h 71"/>
                    <a:gd name="T12" fmla="*/ 43 w 74"/>
                    <a:gd name="T13" fmla="*/ 16 h 71"/>
                    <a:gd name="T14" fmla="*/ 41 w 74"/>
                    <a:gd name="T15" fmla="*/ 24 h 71"/>
                    <a:gd name="T16" fmla="*/ 38 w 74"/>
                    <a:gd name="T17" fmla="*/ 33 h 71"/>
                    <a:gd name="T18" fmla="*/ 31 w 74"/>
                    <a:gd name="T19" fmla="*/ 40 h 71"/>
                    <a:gd name="T20" fmla="*/ 22 w 74"/>
                    <a:gd name="T21" fmla="*/ 49 h 71"/>
                    <a:gd name="T22" fmla="*/ 0 w 74"/>
                    <a:gd name="T23" fmla="*/ 43 h 71"/>
                    <a:gd name="T24" fmla="*/ 7 w 74"/>
                    <a:gd name="T25" fmla="*/ 71 h 71"/>
                    <a:gd name="T26" fmla="*/ 74 w 74"/>
                    <a:gd name="T27" fmla="*/ 59 h 71"/>
                    <a:gd name="T28" fmla="*/ 48 w 74"/>
                    <a:gd name="T29" fmla="*/ 54 h 71"/>
                    <a:gd name="T30" fmla="*/ 58 w 74"/>
                    <a:gd name="T31" fmla="*/ 45 h 71"/>
                    <a:gd name="T32" fmla="*/ 67 w 74"/>
                    <a:gd name="T33" fmla="*/ 37 h 71"/>
                    <a:gd name="T34" fmla="*/ 72 w 74"/>
                    <a:gd name="T35" fmla="*/ 26 h 71"/>
                    <a:gd name="T36" fmla="*/ 74 w 74"/>
                    <a:gd name="T37"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1">
                      <a:moveTo>
                        <a:pt x="74" y="16"/>
                      </a:moveTo>
                      <a:lnTo>
                        <a:pt x="72" y="7"/>
                      </a:lnTo>
                      <a:lnTo>
                        <a:pt x="70" y="0"/>
                      </a:lnTo>
                      <a:lnTo>
                        <a:pt x="67" y="6"/>
                      </a:lnTo>
                      <a:lnTo>
                        <a:pt x="38" y="0"/>
                      </a:lnTo>
                      <a:lnTo>
                        <a:pt x="41" y="7"/>
                      </a:lnTo>
                      <a:lnTo>
                        <a:pt x="43" y="16"/>
                      </a:lnTo>
                      <a:lnTo>
                        <a:pt x="41" y="24"/>
                      </a:lnTo>
                      <a:lnTo>
                        <a:pt x="38" y="33"/>
                      </a:lnTo>
                      <a:lnTo>
                        <a:pt x="31" y="40"/>
                      </a:lnTo>
                      <a:lnTo>
                        <a:pt x="22" y="49"/>
                      </a:lnTo>
                      <a:lnTo>
                        <a:pt x="0" y="43"/>
                      </a:lnTo>
                      <a:lnTo>
                        <a:pt x="7" y="71"/>
                      </a:lnTo>
                      <a:lnTo>
                        <a:pt x="74" y="59"/>
                      </a:lnTo>
                      <a:lnTo>
                        <a:pt x="48" y="54"/>
                      </a:lnTo>
                      <a:lnTo>
                        <a:pt x="58" y="45"/>
                      </a:lnTo>
                      <a:lnTo>
                        <a:pt x="67" y="37"/>
                      </a:lnTo>
                      <a:lnTo>
                        <a:pt x="72" y="26"/>
                      </a:lnTo>
                      <a:lnTo>
                        <a:pt x="7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39" name="Freeform 148"/>
                <p:cNvSpPr>
                  <a:spLocks/>
                </p:cNvSpPr>
                <p:nvPr/>
              </p:nvSpPr>
              <p:spPr bwMode="auto">
                <a:xfrm>
                  <a:off x="5897563" y="2525712"/>
                  <a:ext cx="246063" cy="93662"/>
                </a:xfrm>
                <a:custGeom>
                  <a:avLst/>
                  <a:gdLst>
                    <a:gd name="T0" fmla="*/ 155 w 155"/>
                    <a:gd name="T1" fmla="*/ 49 h 59"/>
                    <a:gd name="T2" fmla="*/ 124 w 155"/>
                    <a:gd name="T3" fmla="*/ 43 h 59"/>
                    <a:gd name="T4" fmla="*/ 94 w 155"/>
                    <a:gd name="T5" fmla="*/ 36 h 59"/>
                    <a:gd name="T6" fmla="*/ 82 w 155"/>
                    <a:gd name="T7" fmla="*/ 33 h 59"/>
                    <a:gd name="T8" fmla="*/ 70 w 155"/>
                    <a:gd name="T9" fmla="*/ 28 h 59"/>
                    <a:gd name="T10" fmla="*/ 62 w 155"/>
                    <a:gd name="T11" fmla="*/ 23 h 59"/>
                    <a:gd name="T12" fmla="*/ 51 w 155"/>
                    <a:gd name="T13" fmla="*/ 18 h 59"/>
                    <a:gd name="T14" fmla="*/ 74 w 155"/>
                    <a:gd name="T15" fmla="*/ 12 h 59"/>
                    <a:gd name="T16" fmla="*/ 8 w 155"/>
                    <a:gd name="T17" fmla="*/ 0 h 59"/>
                    <a:gd name="T18" fmla="*/ 0 w 155"/>
                    <a:gd name="T19" fmla="*/ 30 h 59"/>
                    <a:gd name="T20" fmla="*/ 26 w 155"/>
                    <a:gd name="T21" fmla="*/ 23 h 59"/>
                    <a:gd name="T22" fmla="*/ 36 w 155"/>
                    <a:gd name="T23" fmla="*/ 30 h 59"/>
                    <a:gd name="T24" fmla="*/ 46 w 155"/>
                    <a:gd name="T25" fmla="*/ 35 h 59"/>
                    <a:gd name="T26" fmla="*/ 58 w 155"/>
                    <a:gd name="T27" fmla="*/ 40 h 59"/>
                    <a:gd name="T28" fmla="*/ 72 w 155"/>
                    <a:gd name="T29" fmla="*/ 45 h 59"/>
                    <a:gd name="T30" fmla="*/ 103 w 155"/>
                    <a:gd name="T31" fmla="*/ 54 h 59"/>
                    <a:gd name="T32" fmla="*/ 137 w 155"/>
                    <a:gd name="T33" fmla="*/ 59 h 59"/>
                    <a:gd name="T34" fmla="*/ 125 w 155"/>
                    <a:gd name="T35" fmla="*/ 55 h 59"/>
                    <a:gd name="T36" fmla="*/ 155 w 155"/>
                    <a:gd name="T37"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59">
                      <a:moveTo>
                        <a:pt x="155" y="49"/>
                      </a:moveTo>
                      <a:lnTo>
                        <a:pt x="124" y="43"/>
                      </a:lnTo>
                      <a:lnTo>
                        <a:pt x="94" y="36"/>
                      </a:lnTo>
                      <a:lnTo>
                        <a:pt x="82" y="33"/>
                      </a:lnTo>
                      <a:lnTo>
                        <a:pt x="70" y="28"/>
                      </a:lnTo>
                      <a:lnTo>
                        <a:pt x="62" y="23"/>
                      </a:lnTo>
                      <a:lnTo>
                        <a:pt x="51" y="18"/>
                      </a:lnTo>
                      <a:lnTo>
                        <a:pt x="74" y="12"/>
                      </a:lnTo>
                      <a:lnTo>
                        <a:pt x="8" y="0"/>
                      </a:lnTo>
                      <a:lnTo>
                        <a:pt x="0" y="30"/>
                      </a:lnTo>
                      <a:lnTo>
                        <a:pt x="26" y="23"/>
                      </a:lnTo>
                      <a:lnTo>
                        <a:pt x="36" y="30"/>
                      </a:lnTo>
                      <a:lnTo>
                        <a:pt x="46" y="35"/>
                      </a:lnTo>
                      <a:lnTo>
                        <a:pt x="58" y="40"/>
                      </a:lnTo>
                      <a:lnTo>
                        <a:pt x="72" y="45"/>
                      </a:lnTo>
                      <a:lnTo>
                        <a:pt x="103" y="54"/>
                      </a:lnTo>
                      <a:lnTo>
                        <a:pt x="137" y="59"/>
                      </a:lnTo>
                      <a:lnTo>
                        <a:pt x="125" y="55"/>
                      </a:lnTo>
                      <a:lnTo>
                        <a:pt x="15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40" name="Freeform 149"/>
                <p:cNvSpPr>
                  <a:spLocks/>
                </p:cNvSpPr>
                <p:nvPr/>
              </p:nvSpPr>
              <p:spPr bwMode="auto">
                <a:xfrm>
                  <a:off x="6164263" y="1987550"/>
                  <a:ext cx="104775" cy="120650"/>
                </a:xfrm>
                <a:custGeom>
                  <a:avLst/>
                  <a:gdLst>
                    <a:gd name="T0" fmla="*/ 5 w 66"/>
                    <a:gd name="T1" fmla="*/ 49 h 76"/>
                    <a:gd name="T2" fmla="*/ 9 w 66"/>
                    <a:gd name="T3" fmla="*/ 61 h 76"/>
                    <a:gd name="T4" fmla="*/ 16 w 66"/>
                    <a:gd name="T5" fmla="*/ 69 h 76"/>
                    <a:gd name="T6" fmla="*/ 19 w 66"/>
                    <a:gd name="T7" fmla="*/ 73 h 76"/>
                    <a:gd name="T8" fmla="*/ 24 w 66"/>
                    <a:gd name="T9" fmla="*/ 74 h 76"/>
                    <a:gd name="T10" fmla="*/ 28 w 66"/>
                    <a:gd name="T11" fmla="*/ 76 h 76"/>
                    <a:gd name="T12" fmla="*/ 33 w 66"/>
                    <a:gd name="T13" fmla="*/ 76 h 76"/>
                    <a:gd name="T14" fmla="*/ 38 w 66"/>
                    <a:gd name="T15" fmla="*/ 76 h 76"/>
                    <a:gd name="T16" fmla="*/ 43 w 66"/>
                    <a:gd name="T17" fmla="*/ 74 h 76"/>
                    <a:gd name="T18" fmla="*/ 47 w 66"/>
                    <a:gd name="T19" fmla="*/ 73 h 76"/>
                    <a:gd name="T20" fmla="*/ 50 w 66"/>
                    <a:gd name="T21" fmla="*/ 69 h 76"/>
                    <a:gd name="T22" fmla="*/ 57 w 66"/>
                    <a:gd name="T23" fmla="*/ 61 h 76"/>
                    <a:gd name="T24" fmla="*/ 61 w 66"/>
                    <a:gd name="T25" fmla="*/ 49 h 76"/>
                    <a:gd name="T26" fmla="*/ 64 w 66"/>
                    <a:gd name="T27" fmla="*/ 45 h 76"/>
                    <a:gd name="T28" fmla="*/ 66 w 66"/>
                    <a:gd name="T29" fmla="*/ 40 h 76"/>
                    <a:gd name="T30" fmla="*/ 64 w 66"/>
                    <a:gd name="T31" fmla="*/ 37 h 76"/>
                    <a:gd name="T32" fmla="*/ 62 w 66"/>
                    <a:gd name="T33" fmla="*/ 33 h 76"/>
                    <a:gd name="T34" fmla="*/ 61 w 66"/>
                    <a:gd name="T35" fmla="*/ 26 h 76"/>
                    <a:gd name="T36" fmla="*/ 59 w 66"/>
                    <a:gd name="T37" fmla="*/ 19 h 76"/>
                    <a:gd name="T38" fmla="*/ 55 w 66"/>
                    <a:gd name="T39" fmla="*/ 14 h 76"/>
                    <a:gd name="T40" fmla="*/ 52 w 66"/>
                    <a:gd name="T41" fmla="*/ 9 h 76"/>
                    <a:gd name="T42" fmla="*/ 49 w 66"/>
                    <a:gd name="T43" fmla="*/ 6 h 76"/>
                    <a:gd name="T44" fmla="*/ 43 w 66"/>
                    <a:gd name="T45" fmla="*/ 2 h 76"/>
                    <a:gd name="T46" fmla="*/ 38 w 66"/>
                    <a:gd name="T47" fmla="*/ 0 h 76"/>
                    <a:gd name="T48" fmla="*/ 33 w 66"/>
                    <a:gd name="T49" fmla="*/ 0 h 76"/>
                    <a:gd name="T50" fmla="*/ 28 w 66"/>
                    <a:gd name="T51" fmla="*/ 0 h 76"/>
                    <a:gd name="T52" fmla="*/ 23 w 66"/>
                    <a:gd name="T53" fmla="*/ 2 h 76"/>
                    <a:gd name="T54" fmla="*/ 18 w 66"/>
                    <a:gd name="T55" fmla="*/ 6 h 76"/>
                    <a:gd name="T56" fmla="*/ 14 w 66"/>
                    <a:gd name="T57" fmla="*/ 9 h 76"/>
                    <a:gd name="T58" fmla="*/ 11 w 66"/>
                    <a:gd name="T59" fmla="*/ 14 h 76"/>
                    <a:gd name="T60" fmla="*/ 7 w 66"/>
                    <a:gd name="T61" fmla="*/ 19 h 76"/>
                    <a:gd name="T62" fmla="*/ 5 w 66"/>
                    <a:gd name="T63" fmla="*/ 26 h 76"/>
                    <a:gd name="T64" fmla="*/ 4 w 66"/>
                    <a:gd name="T65" fmla="*/ 33 h 76"/>
                    <a:gd name="T66" fmla="*/ 2 w 66"/>
                    <a:gd name="T67" fmla="*/ 37 h 76"/>
                    <a:gd name="T68" fmla="*/ 0 w 66"/>
                    <a:gd name="T69" fmla="*/ 40 h 76"/>
                    <a:gd name="T70" fmla="*/ 2 w 66"/>
                    <a:gd name="T71" fmla="*/ 45 h 76"/>
                    <a:gd name="T72" fmla="*/ 5 w 66"/>
                    <a:gd name="T7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76">
                      <a:moveTo>
                        <a:pt x="5" y="49"/>
                      </a:moveTo>
                      <a:lnTo>
                        <a:pt x="9" y="61"/>
                      </a:lnTo>
                      <a:lnTo>
                        <a:pt x="16" y="69"/>
                      </a:lnTo>
                      <a:lnTo>
                        <a:pt x="19" y="73"/>
                      </a:lnTo>
                      <a:lnTo>
                        <a:pt x="24" y="74"/>
                      </a:lnTo>
                      <a:lnTo>
                        <a:pt x="28" y="76"/>
                      </a:lnTo>
                      <a:lnTo>
                        <a:pt x="33" y="76"/>
                      </a:lnTo>
                      <a:lnTo>
                        <a:pt x="38" y="76"/>
                      </a:lnTo>
                      <a:lnTo>
                        <a:pt x="43" y="74"/>
                      </a:lnTo>
                      <a:lnTo>
                        <a:pt x="47" y="73"/>
                      </a:lnTo>
                      <a:lnTo>
                        <a:pt x="50" y="69"/>
                      </a:lnTo>
                      <a:lnTo>
                        <a:pt x="57" y="61"/>
                      </a:lnTo>
                      <a:lnTo>
                        <a:pt x="61" y="49"/>
                      </a:lnTo>
                      <a:lnTo>
                        <a:pt x="64" y="45"/>
                      </a:lnTo>
                      <a:lnTo>
                        <a:pt x="66" y="40"/>
                      </a:lnTo>
                      <a:lnTo>
                        <a:pt x="64" y="37"/>
                      </a:lnTo>
                      <a:lnTo>
                        <a:pt x="62" y="33"/>
                      </a:lnTo>
                      <a:lnTo>
                        <a:pt x="61" y="26"/>
                      </a:lnTo>
                      <a:lnTo>
                        <a:pt x="59" y="19"/>
                      </a:lnTo>
                      <a:lnTo>
                        <a:pt x="55" y="14"/>
                      </a:lnTo>
                      <a:lnTo>
                        <a:pt x="52" y="9"/>
                      </a:lnTo>
                      <a:lnTo>
                        <a:pt x="49" y="6"/>
                      </a:lnTo>
                      <a:lnTo>
                        <a:pt x="43" y="2"/>
                      </a:lnTo>
                      <a:lnTo>
                        <a:pt x="38" y="0"/>
                      </a:lnTo>
                      <a:lnTo>
                        <a:pt x="33" y="0"/>
                      </a:lnTo>
                      <a:lnTo>
                        <a:pt x="28" y="0"/>
                      </a:lnTo>
                      <a:lnTo>
                        <a:pt x="23" y="2"/>
                      </a:lnTo>
                      <a:lnTo>
                        <a:pt x="18" y="6"/>
                      </a:lnTo>
                      <a:lnTo>
                        <a:pt x="14" y="9"/>
                      </a:lnTo>
                      <a:lnTo>
                        <a:pt x="11" y="14"/>
                      </a:lnTo>
                      <a:lnTo>
                        <a:pt x="7" y="19"/>
                      </a:lnTo>
                      <a:lnTo>
                        <a:pt x="5" y="26"/>
                      </a:lnTo>
                      <a:lnTo>
                        <a:pt x="4" y="33"/>
                      </a:lnTo>
                      <a:lnTo>
                        <a:pt x="2" y="37"/>
                      </a:lnTo>
                      <a:lnTo>
                        <a:pt x="0" y="40"/>
                      </a:lnTo>
                      <a:lnTo>
                        <a:pt x="2" y="45"/>
                      </a:lnTo>
                      <a:lnTo>
                        <a:pt x="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41" name="Freeform 150"/>
                <p:cNvSpPr>
                  <a:spLocks/>
                </p:cNvSpPr>
                <p:nvPr/>
              </p:nvSpPr>
              <p:spPr bwMode="auto">
                <a:xfrm>
                  <a:off x="5967413" y="2025650"/>
                  <a:ext cx="88900" cy="104775"/>
                </a:xfrm>
                <a:custGeom>
                  <a:avLst/>
                  <a:gdLst>
                    <a:gd name="T0" fmla="*/ 4 w 56"/>
                    <a:gd name="T1" fmla="*/ 42 h 66"/>
                    <a:gd name="T2" fmla="*/ 7 w 56"/>
                    <a:gd name="T3" fmla="*/ 52 h 66"/>
                    <a:gd name="T4" fmla="*/ 12 w 56"/>
                    <a:gd name="T5" fmla="*/ 59 h 66"/>
                    <a:gd name="T6" fmla="*/ 19 w 56"/>
                    <a:gd name="T7" fmla="*/ 64 h 66"/>
                    <a:gd name="T8" fmla="*/ 28 w 56"/>
                    <a:gd name="T9" fmla="*/ 66 h 66"/>
                    <a:gd name="T10" fmla="*/ 37 w 56"/>
                    <a:gd name="T11" fmla="*/ 64 h 66"/>
                    <a:gd name="T12" fmla="*/ 43 w 56"/>
                    <a:gd name="T13" fmla="*/ 59 h 66"/>
                    <a:gd name="T14" fmla="*/ 49 w 56"/>
                    <a:gd name="T15" fmla="*/ 52 h 66"/>
                    <a:gd name="T16" fmla="*/ 52 w 56"/>
                    <a:gd name="T17" fmla="*/ 42 h 66"/>
                    <a:gd name="T18" fmla="*/ 54 w 56"/>
                    <a:gd name="T19" fmla="*/ 40 h 66"/>
                    <a:gd name="T20" fmla="*/ 56 w 56"/>
                    <a:gd name="T21" fmla="*/ 35 h 66"/>
                    <a:gd name="T22" fmla="*/ 54 w 56"/>
                    <a:gd name="T23" fmla="*/ 31 h 66"/>
                    <a:gd name="T24" fmla="*/ 52 w 56"/>
                    <a:gd name="T25" fmla="*/ 30 h 66"/>
                    <a:gd name="T26" fmla="*/ 49 w 56"/>
                    <a:gd name="T27" fmla="*/ 18 h 66"/>
                    <a:gd name="T28" fmla="*/ 43 w 56"/>
                    <a:gd name="T29" fmla="*/ 9 h 66"/>
                    <a:gd name="T30" fmla="*/ 40 w 56"/>
                    <a:gd name="T31" fmla="*/ 6 h 66"/>
                    <a:gd name="T32" fmla="*/ 37 w 56"/>
                    <a:gd name="T33" fmla="*/ 2 h 66"/>
                    <a:gd name="T34" fmla="*/ 33 w 56"/>
                    <a:gd name="T35" fmla="*/ 2 h 66"/>
                    <a:gd name="T36" fmla="*/ 28 w 56"/>
                    <a:gd name="T37" fmla="*/ 0 h 66"/>
                    <a:gd name="T38" fmla="*/ 23 w 56"/>
                    <a:gd name="T39" fmla="*/ 2 h 66"/>
                    <a:gd name="T40" fmla="*/ 19 w 56"/>
                    <a:gd name="T41" fmla="*/ 2 h 66"/>
                    <a:gd name="T42" fmla="*/ 16 w 56"/>
                    <a:gd name="T43" fmla="*/ 6 h 66"/>
                    <a:gd name="T44" fmla="*/ 12 w 56"/>
                    <a:gd name="T45" fmla="*/ 9 h 66"/>
                    <a:gd name="T46" fmla="*/ 6 w 56"/>
                    <a:gd name="T47" fmla="*/ 18 h 66"/>
                    <a:gd name="T48" fmla="*/ 4 w 56"/>
                    <a:gd name="T49" fmla="*/ 30 h 66"/>
                    <a:gd name="T50" fmla="*/ 0 w 56"/>
                    <a:gd name="T51" fmla="*/ 31 h 66"/>
                    <a:gd name="T52" fmla="*/ 0 w 56"/>
                    <a:gd name="T53" fmla="*/ 35 h 66"/>
                    <a:gd name="T54" fmla="*/ 2 w 56"/>
                    <a:gd name="T55" fmla="*/ 40 h 66"/>
                    <a:gd name="T56" fmla="*/ 4 w 56"/>
                    <a:gd name="T57"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66">
                      <a:moveTo>
                        <a:pt x="4" y="42"/>
                      </a:moveTo>
                      <a:lnTo>
                        <a:pt x="7" y="52"/>
                      </a:lnTo>
                      <a:lnTo>
                        <a:pt x="12" y="59"/>
                      </a:lnTo>
                      <a:lnTo>
                        <a:pt x="19" y="64"/>
                      </a:lnTo>
                      <a:lnTo>
                        <a:pt x="28" y="66"/>
                      </a:lnTo>
                      <a:lnTo>
                        <a:pt x="37" y="64"/>
                      </a:lnTo>
                      <a:lnTo>
                        <a:pt x="43" y="59"/>
                      </a:lnTo>
                      <a:lnTo>
                        <a:pt x="49" y="52"/>
                      </a:lnTo>
                      <a:lnTo>
                        <a:pt x="52" y="42"/>
                      </a:lnTo>
                      <a:lnTo>
                        <a:pt x="54" y="40"/>
                      </a:lnTo>
                      <a:lnTo>
                        <a:pt x="56" y="35"/>
                      </a:lnTo>
                      <a:lnTo>
                        <a:pt x="54" y="31"/>
                      </a:lnTo>
                      <a:lnTo>
                        <a:pt x="52" y="30"/>
                      </a:lnTo>
                      <a:lnTo>
                        <a:pt x="49" y="18"/>
                      </a:lnTo>
                      <a:lnTo>
                        <a:pt x="43" y="9"/>
                      </a:lnTo>
                      <a:lnTo>
                        <a:pt x="40" y="6"/>
                      </a:lnTo>
                      <a:lnTo>
                        <a:pt x="37" y="2"/>
                      </a:lnTo>
                      <a:lnTo>
                        <a:pt x="33" y="2"/>
                      </a:lnTo>
                      <a:lnTo>
                        <a:pt x="28" y="0"/>
                      </a:lnTo>
                      <a:lnTo>
                        <a:pt x="23" y="2"/>
                      </a:lnTo>
                      <a:lnTo>
                        <a:pt x="19" y="2"/>
                      </a:lnTo>
                      <a:lnTo>
                        <a:pt x="16" y="6"/>
                      </a:lnTo>
                      <a:lnTo>
                        <a:pt x="12" y="9"/>
                      </a:lnTo>
                      <a:lnTo>
                        <a:pt x="6" y="18"/>
                      </a:lnTo>
                      <a:lnTo>
                        <a:pt x="4" y="30"/>
                      </a:lnTo>
                      <a:lnTo>
                        <a:pt x="0" y="31"/>
                      </a:lnTo>
                      <a:lnTo>
                        <a:pt x="0" y="35"/>
                      </a:lnTo>
                      <a:lnTo>
                        <a:pt x="2" y="40"/>
                      </a:ln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sp>
              <p:nvSpPr>
                <p:cNvPr id="42" name="Freeform 151"/>
                <p:cNvSpPr>
                  <a:spLocks/>
                </p:cNvSpPr>
                <p:nvPr/>
              </p:nvSpPr>
              <p:spPr bwMode="auto">
                <a:xfrm>
                  <a:off x="6378576" y="2025650"/>
                  <a:ext cx="87313" cy="104775"/>
                </a:xfrm>
                <a:custGeom>
                  <a:avLst/>
                  <a:gdLst>
                    <a:gd name="T0" fmla="*/ 3 w 55"/>
                    <a:gd name="T1" fmla="*/ 42 h 66"/>
                    <a:gd name="T2" fmla="*/ 6 w 55"/>
                    <a:gd name="T3" fmla="*/ 52 h 66"/>
                    <a:gd name="T4" fmla="*/ 12 w 55"/>
                    <a:gd name="T5" fmla="*/ 59 h 66"/>
                    <a:gd name="T6" fmla="*/ 18 w 55"/>
                    <a:gd name="T7" fmla="*/ 64 h 66"/>
                    <a:gd name="T8" fmla="*/ 27 w 55"/>
                    <a:gd name="T9" fmla="*/ 66 h 66"/>
                    <a:gd name="T10" fmla="*/ 36 w 55"/>
                    <a:gd name="T11" fmla="*/ 64 h 66"/>
                    <a:gd name="T12" fmla="*/ 43 w 55"/>
                    <a:gd name="T13" fmla="*/ 59 h 66"/>
                    <a:gd name="T14" fmla="*/ 48 w 55"/>
                    <a:gd name="T15" fmla="*/ 52 h 66"/>
                    <a:gd name="T16" fmla="*/ 51 w 55"/>
                    <a:gd name="T17" fmla="*/ 42 h 66"/>
                    <a:gd name="T18" fmla="*/ 53 w 55"/>
                    <a:gd name="T19" fmla="*/ 40 h 66"/>
                    <a:gd name="T20" fmla="*/ 55 w 55"/>
                    <a:gd name="T21" fmla="*/ 35 h 66"/>
                    <a:gd name="T22" fmla="*/ 53 w 55"/>
                    <a:gd name="T23" fmla="*/ 31 h 66"/>
                    <a:gd name="T24" fmla="*/ 51 w 55"/>
                    <a:gd name="T25" fmla="*/ 30 h 66"/>
                    <a:gd name="T26" fmla="*/ 48 w 55"/>
                    <a:gd name="T27" fmla="*/ 18 h 66"/>
                    <a:gd name="T28" fmla="*/ 43 w 55"/>
                    <a:gd name="T29" fmla="*/ 9 h 66"/>
                    <a:gd name="T30" fmla="*/ 39 w 55"/>
                    <a:gd name="T31" fmla="*/ 6 h 66"/>
                    <a:gd name="T32" fmla="*/ 36 w 55"/>
                    <a:gd name="T33" fmla="*/ 2 h 66"/>
                    <a:gd name="T34" fmla="*/ 32 w 55"/>
                    <a:gd name="T35" fmla="*/ 2 h 66"/>
                    <a:gd name="T36" fmla="*/ 27 w 55"/>
                    <a:gd name="T37" fmla="*/ 0 h 66"/>
                    <a:gd name="T38" fmla="*/ 22 w 55"/>
                    <a:gd name="T39" fmla="*/ 2 h 66"/>
                    <a:gd name="T40" fmla="*/ 18 w 55"/>
                    <a:gd name="T41" fmla="*/ 2 h 66"/>
                    <a:gd name="T42" fmla="*/ 15 w 55"/>
                    <a:gd name="T43" fmla="*/ 6 h 66"/>
                    <a:gd name="T44" fmla="*/ 12 w 55"/>
                    <a:gd name="T45" fmla="*/ 9 h 66"/>
                    <a:gd name="T46" fmla="*/ 6 w 55"/>
                    <a:gd name="T47" fmla="*/ 18 h 66"/>
                    <a:gd name="T48" fmla="*/ 3 w 55"/>
                    <a:gd name="T49" fmla="*/ 30 h 66"/>
                    <a:gd name="T50" fmla="*/ 1 w 55"/>
                    <a:gd name="T51" fmla="*/ 31 h 66"/>
                    <a:gd name="T52" fmla="*/ 0 w 55"/>
                    <a:gd name="T53" fmla="*/ 35 h 66"/>
                    <a:gd name="T54" fmla="*/ 1 w 55"/>
                    <a:gd name="T55" fmla="*/ 40 h 66"/>
                    <a:gd name="T56" fmla="*/ 3 w 55"/>
                    <a:gd name="T57"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66">
                      <a:moveTo>
                        <a:pt x="3" y="42"/>
                      </a:moveTo>
                      <a:lnTo>
                        <a:pt x="6" y="52"/>
                      </a:lnTo>
                      <a:lnTo>
                        <a:pt x="12" y="59"/>
                      </a:lnTo>
                      <a:lnTo>
                        <a:pt x="18" y="64"/>
                      </a:lnTo>
                      <a:lnTo>
                        <a:pt x="27" y="66"/>
                      </a:lnTo>
                      <a:lnTo>
                        <a:pt x="36" y="64"/>
                      </a:lnTo>
                      <a:lnTo>
                        <a:pt x="43" y="59"/>
                      </a:lnTo>
                      <a:lnTo>
                        <a:pt x="48" y="52"/>
                      </a:lnTo>
                      <a:lnTo>
                        <a:pt x="51" y="42"/>
                      </a:lnTo>
                      <a:lnTo>
                        <a:pt x="53" y="40"/>
                      </a:lnTo>
                      <a:lnTo>
                        <a:pt x="55" y="35"/>
                      </a:lnTo>
                      <a:lnTo>
                        <a:pt x="53" y="31"/>
                      </a:lnTo>
                      <a:lnTo>
                        <a:pt x="51" y="30"/>
                      </a:lnTo>
                      <a:lnTo>
                        <a:pt x="48" y="18"/>
                      </a:lnTo>
                      <a:lnTo>
                        <a:pt x="43" y="9"/>
                      </a:lnTo>
                      <a:lnTo>
                        <a:pt x="39" y="6"/>
                      </a:lnTo>
                      <a:lnTo>
                        <a:pt x="36" y="2"/>
                      </a:lnTo>
                      <a:lnTo>
                        <a:pt x="32" y="2"/>
                      </a:lnTo>
                      <a:lnTo>
                        <a:pt x="27" y="0"/>
                      </a:lnTo>
                      <a:lnTo>
                        <a:pt x="22" y="2"/>
                      </a:lnTo>
                      <a:lnTo>
                        <a:pt x="18" y="2"/>
                      </a:lnTo>
                      <a:lnTo>
                        <a:pt x="15" y="6"/>
                      </a:lnTo>
                      <a:lnTo>
                        <a:pt x="12" y="9"/>
                      </a:lnTo>
                      <a:lnTo>
                        <a:pt x="6" y="18"/>
                      </a:lnTo>
                      <a:lnTo>
                        <a:pt x="3" y="30"/>
                      </a:lnTo>
                      <a:lnTo>
                        <a:pt x="1" y="31"/>
                      </a:lnTo>
                      <a:lnTo>
                        <a:pt x="0" y="35"/>
                      </a:lnTo>
                      <a:lnTo>
                        <a:pt x="1" y="40"/>
                      </a:lnTo>
                      <a:lnTo>
                        <a:pt x="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87" tIns="32995" rIns="65987" bIns="32995" numCol="1" anchor="t" anchorCtr="0" compatLnSpc="1">
                  <a:prstTxWarp prst="textNoShape">
                    <a:avLst/>
                  </a:prstTxWarp>
                </a:bodyPr>
                <a:lstStyle/>
                <a:p>
                  <a:pPr defTabSz="1182216"/>
                  <a:endParaRPr lang="en-US" sz="2317" dirty="0">
                    <a:solidFill>
                      <a:srgbClr val="000000"/>
                    </a:solidFill>
                    <a:latin typeface="Calibri" panose="020F0502020204030204" pitchFamily="34" charset="0"/>
                    <a:ea typeface="Segoe UI" panose="020B0502040204020203" pitchFamily="34" charset="0"/>
                    <a:cs typeface="Segoe UI" panose="020B0502040204020203" pitchFamily="34" charset="0"/>
                  </a:endParaRPr>
                </a:p>
              </p:txBody>
            </p:sp>
          </p:grpSp>
        </p:grpSp>
        <p:sp>
          <p:nvSpPr>
            <p:cNvPr id="25" name="Chevron 24"/>
            <p:cNvSpPr/>
            <p:nvPr/>
          </p:nvSpPr>
          <p:spPr>
            <a:xfrm>
              <a:off x="6127234" y="1345261"/>
              <a:ext cx="358640" cy="179933"/>
            </a:xfrm>
            <a:prstGeom prst="chevron">
              <a:avLst/>
            </a:prstGeom>
            <a:solidFill>
              <a:schemeClr val="bg1">
                <a:lumMod val="75000"/>
              </a:schemeClr>
            </a:solidFill>
            <a:ln w="9525" cap="flat" cmpd="sng" algn="ctr">
              <a:noFill/>
              <a:prstDash val="solid"/>
            </a:ln>
            <a:effectLst/>
          </p:spPr>
          <p:txBody>
            <a:bodyPr rtlCol="0" anchor="ctr"/>
            <a:lstStyle/>
            <a:p>
              <a:pPr algn="ctr" defTabSz="890960">
                <a:defRPr/>
              </a:pPr>
              <a:endParaRPr lang="en-US" sz="1948" kern="0" dirty="0">
                <a:solidFill>
                  <a:prstClr val="white"/>
                </a:solidFill>
                <a:latin typeface="Calibri" panose="020F0502020204030204" pitchFamily="34" charset="0"/>
                <a:ea typeface="ＭＳ Ｐゴシック" pitchFamily="-112" charset="-128"/>
                <a:cs typeface="Segoe UI" panose="020B0502040204020203" pitchFamily="34" charset="0"/>
              </a:endParaRPr>
            </a:p>
          </p:txBody>
        </p:sp>
        <p:sp>
          <p:nvSpPr>
            <p:cNvPr id="26" name="Isosceles Triangle 25"/>
            <p:cNvSpPr/>
            <p:nvPr/>
          </p:nvSpPr>
          <p:spPr>
            <a:xfrm rot="5400000">
              <a:off x="5170991" y="3191832"/>
              <a:ext cx="212562" cy="133694"/>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53" dirty="0">
                <a:solidFill>
                  <a:prstClr val="white"/>
                </a:solidFill>
                <a:latin typeface="Calibri" panose="020F0502020204030204" pitchFamily="34" charset="0"/>
                <a:cs typeface="Segoe UI" panose="020B0502040204020203" pitchFamily="34" charset="0"/>
              </a:endParaRPr>
            </a:p>
          </p:txBody>
        </p:sp>
        <p:sp>
          <p:nvSpPr>
            <p:cNvPr id="27" name="Freeform 26"/>
            <p:cNvSpPr/>
            <p:nvPr/>
          </p:nvSpPr>
          <p:spPr>
            <a:xfrm>
              <a:off x="115462" y="2364711"/>
              <a:ext cx="5080454" cy="84358"/>
            </a:xfrm>
            <a:custGeom>
              <a:avLst/>
              <a:gdLst>
                <a:gd name="connsiteX0" fmla="*/ 0 w 1636776"/>
                <a:gd name="connsiteY0" fmla="*/ 265176 h 265176"/>
                <a:gd name="connsiteX1" fmla="*/ 1371600 w 1636776"/>
                <a:gd name="connsiteY1" fmla="*/ 265176 h 265176"/>
                <a:gd name="connsiteX2" fmla="*/ 1636776 w 1636776"/>
                <a:gd name="connsiteY2" fmla="*/ 0 h 265176"/>
                <a:gd name="connsiteX3" fmla="*/ 265176 w 1636776"/>
                <a:gd name="connsiteY3" fmla="*/ 0 h 265176"/>
                <a:gd name="connsiteX4" fmla="*/ 0 w 1636776"/>
                <a:gd name="connsiteY4" fmla="*/ 265176 h 265176"/>
                <a:gd name="connsiteX0" fmla="*/ 0 w 1636776"/>
                <a:gd name="connsiteY0" fmla="*/ 265176 h 275508"/>
                <a:gd name="connsiteX1" fmla="*/ 1376766 w 1636776"/>
                <a:gd name="connsiteY1" fmla="*/ 275508 h 275508"/>
                <a:gd name="connsiteX2" fmla="*/ 1636776 w 1636776"/>
                <a:gd name="connsiteY2" fmla="*/ 0 h 275508"/>
                <a:gd name="connsiteX3" fmla="*/ 265176 w 1636776"/>
                <a:gd name="connsiteY3" fmla="*/ 0 h 275508"/>
                <a:gd name="connsiteX4" fmla="*/ 0 w 1636776"/>
                <a:gd name="connsiteY4" fmla="*/ 265176 h 275508"/>
                <a:gd name="connsiteX0" fmla="*/ 0 w 1629660"/>
                <a:gd name="connsiteY0" fmla="*/ 272292 h 275508"/>
                <a:gd name="connsiteX1" fmla="*/ 1369650 w 1629660"/>
                <a:gd name="connsiteY1" fmla="*/ 275508 h 275508"/>
                <a:gd name="connsiteX2" fmla="*/ 1629660 w 1629660"/>
                <a:gd name="connsiteY2" fmla="*/ 0 h 275508"/>
                <a:gd name="connsiteX3" fmla="*/ 258060 w 1629660"/>
                <a:gd name="connsiteY3" fmla="*/ 0 h 275508"/>
                <a:gd name="connsiteX4" fmla="*/ 0 w 1629660"/>
                <a:gd name="connsiteY4" fmla="*/ 272292 h 275508"/>
                <a:gd name="connsiteX0" fmla="*/ 0 w 1629660"/>
                <a:gd name="connsiteY0" fmla="*/ 272292 h 275508"/>
                <a:gd name="connsiteX1" fmla="*/ 1358976 w 1629660"/>
                <a:gd name="connsiteY1" fmla="*/ 275508 h 275508"/>
                <a:gd name="connsiteX2" fmla="*/ 1629660 w 1629660"/>
                <a:gd name="connsiteY2" fmla="*/ 0 h 275508"/>
                <a:gd name="connsiteX3" fmla="*/ 258060 w 1629660"/>
                <a:gd name="connsiteY3" fmla="*/ 0 h 275508"/>
                <a:gd name="connsiteX4" fmla="*/ 0 w 1629660"/>
                <a:gd name="connsiteY4" fmla="*/ 272292 h 275508"/>
                <a:gd name="connsiteX0" fmla="*/ 0 w 1544269"/>
                <a:gd name="connsiteY0" fmla="*/ 279408 h 282624"/>
                <a:gd name="connsiteX1" fmla="*/ 1358976 w 1544269"/>
                <a:gd name="connsiteY1" fmla="*/ 282624 h 282624"/>
                <a:gd name="connsiteX2" fmla="*/ 1544269 w 1544269"/>
                <a:gd name="connsiteY2" fmla="*/ 0 h 282624"/>
                <a:gd name="connsiteX3" fmla="*/ 258060 w 1544269"/>
                <a:gd name="connsiteY3" fmla="*/ 7116 h 282624"/>
                <a:gd name="connsiteX4" fmla="*/ 0 w 1544269"/>
                <a:gd name="connsiteY4" fmla="*/ 279408 h 282624"/>
                <a:gd name="connsiteX0" fmla="*/ 0 w 1622544"/>
                <a:gd name="connsiteY0" fmla="*/ 279408 h 282624"/>
                <a:gd name="connsiteX1" fmla="*/ 1358976 w 1622544"/>
                <a:gd name="connsiteY1" fmla="*/ 282624 h 282624"/>
                <a:gd name="connsiteX2" fmla="*/ 1622544 w 1622544"/>
                <a:gd name="connsiteY2" fmla="*/ 0 h 282624"/>
                <a:gd name="connsiteX3" fmla="*/ 258060 w 1622544"/>
                <a:gd name="connsiteY3" fmla="*/ 7116 h 282624"/>
                <a:gd name="connsiteX4" fmla="*/ 0 w 1622544"/>
                <a:gd name="connsiteY4" fmla="*/ 279408 h 282624"/>
                <a:gd name="connsiteX0" fmla="*/ 0 w 1622544"/>
                <a:gd name="connsiteY0" fmla="*/ 279408 h 282624"/>
                <a:gd name="connsiteX1" fmla="*/ 1358976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22544"/>
                <a:gd name="connsiteY0" fmla="*/ 279408 h 282624"/>
                <a:gd name="connsiteX1" fmla="*/ 1362534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22544"/>
                <a:gd name="connsiteY0" fmla="*/ 279408 h 282624"/>
                <a:gd name="connsiteX1" fmla="*/ 1372837 w 1622544"/>
                <a:gd name="connsiteY1" fmla="*/ 282624 h 282624"/>
                <a:gd name="connsiteX2" fmla="*/ 1622544 w 1622544"/>
                <a:gd name="connsiteY2" fmla="*/ 0 h 282624"/>
                <a:gd name="connsiteX3" fmla="*/ 272292 w 1622544"/>
                <a:gd name="connsiteY3" fmla="*/ 3558 h 282624"/>
                <a:gd name="connsiteX4" fmla="*/ 0 w 1622544"/>
                <a:gd name="connsiteY4" fmla="*/ 279408 h 282624"/>
                <a:gd name="connsiteX0" fmla="*/ 0 w 1632847"/>
                <a:gd name="connsiteY0" fmla="*/ 279408 h 282624"/>
                <a:gd name="connsiteX1" fmla="*/ 1372837 w 1632847"/>
                <a:gd name="connsiteY1" fmla="*/ 282624 h 282624"/>
                <a:gd name="connsiteX2" fmla="*/ 1632847 w 1632847"/>
                <a:gd name="connsiteY2" fmla="*/ 0 h 282624"/>
                <a:gd name="connsiteX3" fmla="*/ 272292 w 1632847"/>
                <a:gd name="connsiteY3" fmla="*/ 3558 h 282624"/>
                <a:gd name="connsiteX4" fmla="*/ 0 w 1632847"/>
                <a:gd name="connsiteY4" fmla="*/ 279408 h 282624"/>
                <a:gd name="connsiteX0" fmla="*/ 0 w 1632847"/>
                <a:gd name="connsiteY0" fmla="*/ 279408 h 282624"/>
                <a:gd name="connsiteX1" fmla="*/ 1365109 w 1632847"/>
                <a:gd name="connsiteY1" fmla="*/ 282624 h 282624"/>
                <a:gd name="connsiteX2" fmla="*/ 1632847 w 1632847"/>
                <a:gd name="connsiteY2" fmla="*/ 0 h 282624"/>
                <a:gd name="connsiteX3" fmla="*/ 272292 w 1632847"/>
                <a:gd name="connsiteY3" fmla="*/ 3558 h 282624"/>
                <a:gd name="connsiteX4" fmla="*/ 0 w 1632847"/>
                <a:gd name="connsiteY4" fmla="*/ 279408 h 282624"/>
                <a:gd name="connsiteX0" fmla="*/ 0 w 1632847"/>
                <a:gd name="connsiteY0" fmla="*/ 279408 h 279408"/>
                <a:gd name="connsiteX1" fmla="*/ 1316169 w 1632847"/>
                <a:gd name="connsiteY1" fmla="*/ 244529 h 279408"/>
                <a:gd name="connsiteX2" fmla="*/ 1632847 w 1632847"/>
                <a:gd name="connsiteY2" fmla="*/ 0 h 279408"/>
                <a:gd name="connsiteX3" fmla="*/ 272292 w 1632847"/>
                <a:gd name="connsiteY3" fmla="*/ 3558 h 279408"/>
                <a:gd name="connsiteX4" fmla="*/ 0 w 1632847"/>
                <a:gd name="connsiteY4" fmla="*/ 279408 h 279408"/>
                <a:gd name="connsiteX0" fmla="*/ 0 w 1632847"/>
                <a:gd name="connsiteY0" fmla="*/ 279408 h 280084"/>
                <a:gd name="connsiteX1" fmla="*/ 1365109 w 1632847"/>
                <a:gd name="connsiteY1" fmla="*/ 280084 h 280084"/>
                <a:gd name="connsiteX2" fmla="*/ 1632847 w 1632847"/>
                <a:gd name="connsiteY2" fmla="*/ 0 h 280084"/>
                <a:gd name="connsiteX3" fmla="*/ 272292 w 1632847"/>
                <a:gd name="connsiteY3" fmla="*/ 3558 h 280084"/>
                <a:gd name="connsiteX4" fmla="*/ 0 w 1632847"/>
                <a:gd name="connsiteY4" fmla="*/ 279408 h 280084"/>
                <a:gd name="connsiteX0" fmla="*/ 0 w 1563301"/>
                <a:gd name="connsiteY0" fmla="*/ 275850 h 276526"/>
                <a:gd name="connsiteX1" fmla="*/ 1365109 w 1563301"/>
                <a:gd name="connsiteY1" fmla="*/ 276526 h 276526"/>
                <a:gd name="connsiteX2" fmla="*/ 1563301 w 1563301"/>
                <a:gd name="connsiteY2" fmla="*/ 6601 h 276526"/>
                <a:gd name="connsiteX3" fmla="*/ 272292 w 1563301"/>
                <a:gd name="connsiteY3" fmla="*/ 0 h 276526"/>
                <a:gd name="connsiteX4" fmla="*/ 0 w 1563301"/>
                <a:gd name="connsiteY4" fmla="*/ 275850 h 276526"/>
                <a:gd name="connsiteX0" fmla="*/ 0 w 1625120"/>
                <a:gd name="connsiteY0" fmla="*/ 276868 h 277544"/>
                <a:gd name="connsiteX1" fmla="*/ 1365109 w 1625120"/>
                <a:gd name="connsiteY1" fmla="*/ 277544 h 277544"/>
                <a:gd name="connsiteX2" fmla="*/ 1625120 w 1625120"/>
                <a:gd name="connsiteY2" fmla="*/ 0 h 277544"/>
                <a:gd name="connsiteX3" fmla="*/ 272292 w 1625120"/>
                <a:gd name="connsiteY3" fmla="*/ 1018 h 277544"/>
                <a:gd name="connsiteX4" fmla="*/ 0 w 1625120"/>
                <a:gd name="connsiteY4" fmla="*/ 276868 h 277544"/>
                <a:gd name="connsiteX0" fmla="*/ 0 w 1601938"/>
                <a:gd name="connsiteY0" fmla="*/ 276868 h 277544"/>
                <a:gd name="connsiteX1" fmla="*/ 1365109 w 1601938"/>
                <a:gd name="connsiteY1" fmla="*/ 277544 h 277544"/>
                <a:gd name="connsiteX2" fmla="*/ 1601938 w 1601938"/>
                <a:gd name="connsiteY2" fmla="*/ 0 h 277544"/>
                <a:gd name="connsiteX3" fmla="*/ 272292 w 1601938"/>
                <a:gd name="connsiteY3" fmla="*/ 1018 h 277544"/>
                <a:gd name="connsiteX4" fmla="*/ 0 w 1601938"/>
                <a:gd name="connsiteY4" fmla="*/ 276868 h 277544"/>
                <a:gd name="connsiteX0" fmla="*/ 0 w 1627695"/>
                <a:gd name="connsiteY0" fmla="*/ 276868 h 277544"/>
                <a:gd name="connsiteX1" fmla="*/ 1365109 w 1627695"/>
                <a:gd name="connsiteY1" fmla="*/ 277544 h 277544"/>
                <a:gd name="connsiteX2" fmla="*/ 1627695 w 1627695"/>
                <a:gd name="connsiteY2" fmla="*/ 0 h 277544"/>
                <a:gd name="connsiteX3" fmla="*/ 272292 w 1627695"/>
                <a:gd name="connsiteY3" fmla="*/ 1018 h 277544"/>
                <a:gd name="connsiteX4" fmla="*/ 0 w 1627695"/>
                <a:gd name="connsiteY4" fmla="*/ 276868 h 277544"/>
                <a:gd name="connsiteX0" fmla="*/ 0 w 1627695"/>
                <a:gd name="connsiteY0" fmla="*/ 276868 h 277544"/>
                <a:gd name="connsiteX1" fmla="*/ 1365109 w 1627695"/>
                <a:gd name="connsiteY1" fmla="*/ 277544 h 277544"/>
                <a:gd name="connsiteX2" fmla="*/ 1627695 w 1627695"/>
                <a:gd name="connsiteY2" fmla="*/ 0 h 277544"/>
                <a:gd name="connsiteX3" fmla="*/ 272292 w 1627695"/>
                <a:gd name="connsiteY3" fmla="*/ 1018 h 277544"/>
                <a:gd name="connsiteX4" fmla="*/ 0 w 1627695"/>
                <a:gd name="connsiteY4" fmla="*/ 276868 h 277544"/>
                <a:gd name="connsiteX0" fmla="*/ 0 w 1572541"/>
                <a:gd name="connsiteY0" fmla="*/ 276868 h 277544"/>
                <a:gd name="connsiteX1" fmla="*/ 1365109 w 1572541"/>
                <a:gd name="connsiteY1" fmla="*/ 277544 h 277544"/>
                <a:gd name="connsiteX2" fmla="*/ 1572541 w 1572541"/>
                <a:gd name="connsiteY2" fmla="*/ 0 h 277544"/>
                <a:gd name="connsiteX3" fmla="*/ 272292 w 1572541"/>
                <a:gd name="connsiteY3" fmla="*/ 1018 h 277544"/>
                <a:gd name="connsiteX4" fmla="*/ 0 w 1572541"/>
                <a:gd name="connsiteY4" fmla="*/ 276868 h 277544"/>
                <a:gd name="connsiteX0" fmla="*/ 0 w 1618986"/>
                <a:gd name="connsiteY0" fmla="*/ 276868 h 277544"/>
                <a:gd name="connsiteX1" fmla="*/ 1365109 w 1618986"/>
                <a:gd name="connsiteY1" fmla="*/ 277544 h 277544"/>
                <a:gd name="connsiteX2" fmla="*/ 1618986 w 1618986"/>
                <a:gd name="connsiteY2" fmla="*/ 0 h 277544"/>
                <a:gd name="connsiteX3" fmla="*/ 272292 w 1618986"/>
                <a:gd name="connsiteY3" fmla="*/ 1018 h 277544"/>
                <a:gd name="connsiteX4" fmla="*/ 0 w 1618986"/>
                <a:gd name="connsiteY4" fmla="*/ 276868 h 277544"/>
                <a:gd name="connsiteX0" fmla="*/ 0 w 1618986"/>
                <a:gd name="connsiteY0" fmla="*/ 276868 h 277544"/>
                <a:gd name="connsiteX1" fmla="*/ 1370349 w 1618986"/>
                <a:gd name="connsiteY1" fmla="*/ 277544 h 277544"/>
                <a:gd name="connsiteX2" fmla="*/ 1618986 w 1618986"/>
                <a:gd name="connsiteY2" fmla="*/ 0 h 277544"/>
                <a:gd name="connsiteX3" fmla="*/ 272292 w 1618986"/>
                <a:gd name="connsiteY3" fmla="*/ 1018 h 277544"/>
                <a:gd name="connsiteX4" fmla="*/ 0 w 1618986"/>
                <a:gd name="connsiteY4" fmla="*/ 276868 h 277544"/>
                <a:gd name="connsiteX0" fmla="*/ 0 w 5599449"/>
                <a:gd name="connsiteY0" fmla="*/ 276868 h 423503"/>
                <a:gd name="connsiteX1" fmla="*/ 5599449 w 5599449"/>
                <a:gd name="connsiteY1" fmla="*/ 423503 h 423503"/>
                <a:gd name="connsiteX2" fmla="*/ 1618986 w 5599449"/>
                <a:gd name="connsiteY2" fmla="*/ 0 h 423503"/>
                <a:gd name="connsiteX3" fmla="*/ 272292 w 5599449"/>
                <a:gd name="connsiteY3" fmla="*/ 1018 h 423503"/>
                <a:gd name="connsiteX4" fmla="*/ 0 w 5599449"/>
                <a:gd name="connsiteY4" fmla="*/ 276868 h 423503"/>
                <a:gd name="connsiteX0" fmla="*/ 0 w 5599449"/>
                <a:gd name="connsiteY0" fmla="*/ 284550 h 431185"/>
                <a:gd name="connsiteX1" fmla="*/ 5599449 w 5599449"/>
                <a:gd name="connsiteY1" fmla="*/ 431185 h 431185"/>
                <a:gd name="connsiteX2" fmla="*/ 5428986 w 5599449"/>
                <a:gd name="connsiteY2" fmla="*/ 0 h 431185"/>
                <a:gd name="connsiteX3" fmla="*/ 272292 w 5599449"/>
                <a:gd name="connsiteY3" fmla="*/ 8700 h 431185"/>
                <a:gd name="connsiteX4" fmla="*/ 0 w 5599449"/>
                <a:gd name="connsiteY4" fmla="*/ 284550 h 431185"/>
                <a:gd name="connsiteX0" fmla="*/ 0 w 5557031"/>
                <a:gd name="connsiteY0" fmla="*/ 284550 h 301550"/>
                <a:gd name="connsiteX1" fmla="*/ 5557031 w 5557031"/>
                <a:gd name="connsiteY1" fmla="*/ 301550 h 301550"/>
                <a:gd name="connsiteX2" fmla="*/ 5428986 w 5557031"/>
                <a:gd name="connsiteY2" fmla="*/ 0 h 301550"/>
                <a:gd name="connsiteX3" fmla="*/ 272292 w 5557031"/>
                <a:gd name="connsiteY3" fmla="*/ 8700 h 301550"/>
                <a:gd name="connsiteX4" fmla="*/ 0 w 5557031"/>
                <a:gd name="connsiteY4" fmla="*/ 284550 h 301550"/>
                <a:gd name="connsiteX0" fmla="*/ 0 w 5599449"/>
                <a:gd name="connsiteY0" fmla="*/ 284550 h 296749"/>
                <a:gd name="connsiteX1" fmla="*/ 5599449 w 5599449"/>
                <a:gd name="connsiteY1" fmla="*/ 296749 h 296749"/>
                <a:gd name="connsiteX2" fmla="*/ 5428986 w 5599449"/>
                <a:gd name="connsiteY2" fmla="*/ 0 h 296749"/>
                <a:gd name="connsiteX3" fmla="*/ 272292 w 5599449"/>
                <a:gd name="connsiteY3" fmla="*/ 8700 h 296749"/>
                <a:gd name="connsiteX4" fmla="*/ 0 w 5599449"/>
                <a:gd name="connsiteY4" fmla="*/ 284550 h 296749"/>
                <a:gd name="connsiteX0" fmla="*/ 0 w 5564744"/>
                <a:gd name="connsiteY0" fmla="*/ 284550 h 284550"/>
                <a:gd name="connsiteX1" fmla="*/ 5564744 w 5564744"/>
                <a:gd name="connsiteY1" fmla="*/ 282346 h 284550"/>
                <a:gd name="connsiteX2" fmla="*/ 5428986 w 5564744"/>
                <a:gd name="connsiteY2" fmla="*/ 0 h 284550"/>
                <a:gd name="connsiteX3" fmla="*/ 272292 w 5564744"/>
                <a:gd name="connsiteY3" fmla="*/ 8700 h 284550"/>
                <a:gd name="connsiteX4" fmla="*/ 0 w 5564744"/>
                <a:gd name="connsiteY4" fmla="*/ 284550 h 284550"/>
                <a:gd name="connsiteX0" fmla="*/ 0 w 5564744"/>
                <a:gd name="connsiteY0" fmla="*/ 290782 h 290782"/>
                <a:gd name="connsiteX1" fmla="*/ 5564744 w 5564744"/>
                <a:gd name="connsiteY1" fmla="*/ 288578 h 290782"/>
                <a:gd name="connsiteX2" fmla="*/ 5361003 w 5564744"/>
                <a:gd name="connsiteY2" fmla="*/ 0 h 290782"/>
                <a:gd name="connsiteX3" fmla="*/ 272292 w 5564744"/>
                <a:gd name="connsiteY3" fmla="*/ 14932 h 290782"/>
                <a:gd name="connsiteX4" fmla="*/ 0 w 5564744"/>
                <a:gd name="connsiteY4" fmla="*/ 290782 h 290782"/>
                <a:gd name="connsiteX0" fmla="*/ 0 w 5564744"/>
                <a:gd name="connsiteY0" fmla="*/ 290782 h 290782"/>
                <a:gd name="connsiteX1" fmla="*/ 5564744 w 5564744"/>
                <a:gd name="connsiteY1" fmla="*/ 288578 h 290782"/>
                <a:gd name="connsiteX2" fmla="*/ 5354823 w 5564744"/>
                <a:gd name="connsiteY2" fmla="*/ 0 h 290782"/>
                <a:gd name="connsiteX3" fmla="*/ 272292 w 5564744"/>
                <a:gd name="connsiteY3" fmla="*/ 14932 h 290782"/>
                <a:gd name="connsiteX4" fmla="*/ 0 w 5564744"/>
                <a:gd name="connsiteY4" fmla="*/ 290782 h 290782"/>
                <a:gd name="connsiteX0" fmla="*/ 0 w 5564744"/>
                <a:gd name="connsiteY0" fmla="*/ 290782 h 290782"/>
                <a:gd name="connsiteX1" fmla="*/ 5564744 w 5564744"/>
                <a:gd name="connsiteY1" fmla="*/ 288578 h 290782"/>
                <a:gd name="connsiteX2" fmla="*/ 5354823 w 5564744"/>
                <a:gd name="connsiteY2" fmla="*/ 0 h 290782"/>
                <a:gd name="connsiteX3" fmla="*/ 235210 w 5564744"/>
                <a:gd name="connsiteY3" fmla="*/ 14932 h 290782"/>
                <a:gd name="connsiteX4" fmla="*/ 0 w 5564744"/>
                <a:gd name="connsiteY4" fmla="*/ 290782 h 290782"/>
                <a:gd name="connsiteX0" fmla="*/ 0 w 5564744"/>
                <a:gd name="connsiteY0" fmla="*/ 275850 h 275850"/>
                <a:gd name="connsiteX1" fmla="*/ 5564744 w 5564744"/>
                <a:gd name="connsiteY1" fmla="*/ 273646 h 275850"/>
                <a:gd name="connsiteX2" fmla="*/ 5361003 w 5564744"/>
                <a:gd name="connsiteY2" fmla="*/ 3763 h 275850"/>
                <a:gd name="connsiteX3" fmla="*/ 235210 w 5564744"/>
                <a:gd name="connsiteY3" fmla="*/ 0 h 275850"/>
                <a:gd name="connsiteX4" fmla="*/ 0 w 5564744"/>
                <a:gd name="connsiteY4" fmla="*/ 275850 h 275850"/>
                <a:gd name="connsiteX0" fmla="*/ 0 w 5564744"/>
                <a:gd name="connsiteY0" fmla="*/ 275850 h 275850"/>
                <a:gd name="connsiteX1" fmla="*/ 5564744 w 5564744"/>
                <a:gd name="connsiteY1" fmla="*/ 273646 h 275850"/>
                <a:gd name="connsiteX2" fmla="*/ 5320922 w 5564744"/>
                <a:gd name="connsiteY2" fmla="*/ 1816 h 275850"/>
                <a:gd name="connsiteX3" fmla="*/ 235210 w 5564744"/>
                <a:gd name="connsiteY3" fmla="*/ 0 h 275850"/>
                <a:gd name="connsiteX4" fmla="*/ 0 w 5564744"/>
                <a:gd name="connsiteY4" fmla="*/ 275850 h 275850"/>
                <a:gd name="connsiteX0" fmla="*/ 0 w 5564744"/>
                <a:gd name="connsiteY0" fmla="*/ 274034 h 274034"/>
                <a:gd name="connsiteX1" fmla="*/ 5564744 w 5564744"/>
                <a:gd name="connsiteY1" fmla="*/ 271830 h 274034"/>
                <a:gd name="connsiteX2" fmla="*/ 5320922 w 5564744"/>
                <a:gd name="connsiteY2" fmla="*/ 0 h 274034"/>
                <a:gd name="connsiteX3" fmla="*/ 252167 w 5564744"/>
                <a:gd name="connsiteY3" fmla="*/ 27394 h 274034"/>
                <a:gd name="connsiteX4" fmla="*/ 0 w 5564744"/>
                <a:gd name="connsiteY4" fmla="*/ 274034 h 274034"/>
                <a:gd name="connsiteX0" fmla="*/ 0 w 5564744"/>
                <a:gd name="connsiteY0" fmla="*/ 274034 h 274034"/>
                <a:gd name="connsiteX1" fmla="*/ 5564744 w 5564744"/>
                <a:gd name="connsiteY1" fmla="*/ 271830 h 274034"/>
                <a:gd name="connsiteX2" fmla="*/ 5320922 w 5564744"/>
                <a:gd name="connsiteY2" fmla="*/ 0 h 274034"/>
                <a:gd name="connsiteX3" fmla="*/ 246001 w 5564744"/>
                <a:gd name="connsiteY3" fmla="*/ 130 h 274034"/>
                <a:gd name="connsiteX4" fmla="*/ 0 w 5564744"/>
                <a:gd name="connsiteY4" fmla="*/ 274034 h 274034"/>
                <a:gd name="connsiteX0" fmla="*/ 0 w 5564744"/>
                <a:gd name="connsiteY0" fmla="*/ 395303 h 395303"/>
                <a:gd name="connsiteX1" fmla="*/ 5564744 w 5564744"/>
                <a:gd name="connsiteY1" fmla="*/ 393099 h 395303"/>
                <a:gd name="connsiteX2" fmla="*/ 5320922 w 5564744"/>
                <a:gd name="connsiteY2" fmla="*/ 121269 h 395303"/>
                <a:gd name="connsiteX3" fmla="*/ 110342 w 5564744"/>
                <a:gd name="connsiteY3" fmla="*/ 0 h 395303"/>
                <a:gd name="connsiteX4" fmla="*/ 0 w 5564744"/>
                <a:gd name="connsiteY4" fmla="*/ 395303 h 395303"/>
                <a:gd name="connsiteX0" fmla="*/ 0 w 5792897"/>
                <a:gd name="connsiteY0" fmla="*/ 395303 h 395303"/>
                <a:gd name="connsiteX1" fmla="*/ 5792897 w 5792897"/>
                <a:gd name="connsiteY1" fmla="*/ 379611 h 395303"/>
                <a:gd name="connsiteX2" fmla="*/ 5320922 w 5792897"/>
                <a:gd name="connsiteY2" fmla="*/ 121269 h 395303"/>
                <a:gd name="connsiteX3" fmla="*/ 110342 w 5792897"/>
                <a:gd name="connsiteY3" fmla="*/ 0 h 395303"/>
                <a:gd name="connsiteX4" fmla="*/ 0 w 5792897"/>
                <a:gd name="connsiteY4" fmla="*/ 395303 h 395303"/>
                <a:gd name="connsiteX0" fmla="*/ 0 w 5735206"/>
                <a:gd name="connsiteY0" fmla="*/ 395303 h 395303"/>
                <a:gd name="connsiteX1" fmla="*/ 5735206 w 5735206"/>
                <a:gd name="connsiteY1" fmla="*/ 370618 h 395303"/>
                <a:gd name="connsiteX2" fmla="*/ 5320922 w 5735206"/>
                <a:gd name="connsiteY2" fmla="*/ 121269 h 395303"/>
                <a:gd name="connsiteX3" fmla="*/ 110342 w 5735206"/>
                <a:gd name="connsiteY3" fmla="*/ 0 h 395303"/>
                <a:gd name="connsiteX4" fmla="*/ 0 w 5735206"/>
                <a:gd name="connsiteY4" fmla="*/ 395303 h 395303"/>
                <a:gd name="connsiteX0" fmla="*/ 0 w 5797018"/>
                <a:gd name="connsiteY0" fmla="*/ 395303 h 395303"/>
                <a:gd name="connsiteX1" fmla="*/ 5797018 w 5797018"/>
                <a:gd name="connsiteY1" fmla="*/ 379611 h 395303"/>
                <a:gd name="connsiteX2" fmla="*/ 5320922 w 5797018"/>
                <a:gd name="connsiteY2" fmla="*/ 121269 h 395303"/>
                <a:gd name="connsiteX3" fmla="*/ 110342 w 5797018"/>
                <a:gd name="connsiteY3" fmla="*/ 0 h 395303"/>
                <a:gd name="connsiteX4" fmla="*/ 0 w 5797018"/>
                <a:gd name="connsiteY4" fmla="*/ 395303 h 395303"/>
                <a:gd name="connsiteX0" fmla="*/ 0 w 5793927"/>
                <a:gd name="connsiteY0" fmla="*/ 395303 h 395303"/>
                <a:gd name="connsiteX1" fmla="*/ 5793927 w 5793927"/>
                <a:gd name="connsiteY1" fmla="*/ 393099 h 395303"/>
                <a:gd name="connsiteX2" fmla="*/ 5320922 w 5793927"/>
                <a:gd name="connsiteY2" fmla="*/ 121269 h 395303"/>
                <a:gd name="connsiteX3" fmla="*/ 110342 w 5793927"/>
                <a:gd name="connsiteY3" fmla="*/ 0 h 395303"/>
                <a:gd name="connsiteX4" fmla="*/ 0 w 5793927"/>
                <a:gd name="connsiteY4" fmla="*/ 395303 h 395303"/>
                <a:gd name="connsiteX0" fmla="*/ 0 w 5793927"/>
                <a:gd name="connsiteY0" fmla="*/ 395303 h 395303"/>
                <a:gd name="connsiteX1" fmla="*/ 5793927 w 5793927"/>
                <a:gd name="connsiteY1" fmla="*/ 393099 h 395303"/>
                <a:gd name="connsiteX2" fmla="*/ 5339466 w 5793927"/>
                <a:gd name="connsiteY2" fmla="*/ 67314 h 395303"/>
                <a:gd name="connsiteX3" fmla="*/ 110342 w 5793927"/>
                <a:gd name="connsiteY3" fmla="*/ 0 h 395303"/>
                <a:gd name="connsiteX4" fmla="*/ 0 w 5793927"/>
                <a:gd name="connsiteY4" fmla="*/ 395303 h 395303"/>
                <a:gd name="connsiteX0" fmla="*/ 0 w 5793927"/>
                <a:gd name="connsiteY0" fmla="*/ 395303 h 395303"/>
                <a:gd name="connsiteX1" fmla="*/ 5793927 w 5793927"/>
                <a:gd name="connsiteY1" fmla="*/ 393099 h 395303"/>
                <a:gd name="connsiteX2" fmla="*/ 5339466 w 5793927"/>
                <a:gd name="connsiteY2" fmla="*/ 26847 h 395303"/>
                <a:gd name="connsiteX3" fmla="*/ 110342 w 5793927"/>
                <a:gd name="connsiteY3" fmla="*/ 0 h 395303"/>
                <a:gd name="connsiteX4" fmla="*/ 0 w 5793927"/>
                <a:gd name="connsiteY4" fmla="*/ 395303 h 395303"/>
                <a:gd name="connsiteX0" fmla="*/ 0 w 5793927"/>
                <a:gd name="connsiteY0" fmla="*/ 395433 h 395433"/>
                <a:gd name="connsiteX1" fmla="*/ 5793927 w 5793927"/>
                <a:gd name="connsiteY1" fmla="*/ 393229 h 395433"/>
                <a:gd name="connsiteX2" fmla="*/ 5333285 w 5793927"/>
                <a:gd name="connsiteY2" fmla="*/ 0 h 395433"/>
                <a:gd name="connsiteX3" fmla="*/ 110342 w 5793927"/>
                <a:gd name="connsiteY3" fmla="*/ 130 h 395433"/>
                <a:gd name="connsiteX4" fmla="*/ 0 w 5793927"/>
                <a:gd name="connsiteY4" fmla="*/ 395433 h 395433"/>
                <a:gd name="connsiteX0" fmla="*/ 0 w 5793927"/>
                <a:gd name="connsiteY0" fmla="*/ 395433 h 395433"/>
                <a:gd name="connsiteX1" fmla="*/ 5793927 w 5793927"/>
                <a:gd name="connsiteY1" fmla="*/ 393229 h 395433"/>
                <a:gd name="connsiteX2" fmla="*/ 5333285 w 5793927"/>
                <a:gd name="connsiteY2" fmla="*/ 0 h 395433"/>
                <a:gd name="connsiteX3" fmla="*/ 289596 w 5793927"/>
                <a:gd name="connsiteY3" fmla="*/ 130 h 395433"/>
                <a:gd name="connsiteX4" fmla="*/ 0 w 5793927"/>
                <a:gd name="connsiteY4" fmla="*/ 395433 h 39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927" h="395433">
                  <a:moveTo>
                    <a:pt x="0" y="395433"/>
                  </a:moveTo>
                  <a:lnTo>
                    <a:pt x="5793927" y="393229"/>
                  </a:lnTo>
                  <a:lnTo>
                    <a:pt x="5333285" y="0"/>
                  </a:lnTo>
                  <a:lnTo>
                    <a:pt x="289596" y="130"/>
                  </a:lnTo>
                  <a:lnTo>
                    <a:pt x="0" y="395433"/>
                  </a:lnTo>
                  <a:close/>
                </a:path>
              </a:pathLst>
            </a:custGeom>
            <a:gradFill flip="none" rotWithShape="1">
              <a:gsLst>
                <a:gs pos="0">
                  <a:srgbClr val="6F6F6F"/>
                </a:gs>
                <a:gs pos="15000">
                  <a:srgbClr val="6F6F6F"/>
                </a:gs>
                <a:gs pos="100000">
                  <a:srgbClr val="303030"/>
                </a:gs>
              </a:gsLst>
              <a:lin ang="16200000" scaled="1"/>
              <a:tileRect/>
            </a:gradFill>
            <a:ln w="9525" cap="flat" cmpd="sng" algn="ctr">
              <a:noFill/>
              <a:prstDash val="solid"/>
              <a:round/>
              <a:headEnd type="none" w="med" len="med"/>
              <a:tailEnd type="none" w="med" len="med"/>
            </a:ln>
            <a:effectLst/>
          </p:spPr>
          <p:txBody>
            <a:bodyPr vert="horz" wrap="square" lIns="89131" tIns="44565" rIns="89131" bIns="44565" numCol="1" rtlCol="0" anchor="t" anchorCtr="0" compatLnSpc="1">
              <a:prstTxWarp prst="textNoShape">
                <a:avLst/>
              </a:prstTxWarp>
            </a:bodyPr>
            <a:lstStyle/>
            <a:p>
              <a:pPr eaLnBrk="0" fontAlgn="base" hangingPunct="0">
                <a:spcBef>
                  <a:spcPct val="0"/>
                </a:spcBef>
                <a:spcAft>
                  <a:spcPct val="0"/>
                </a:spcAft>
              </a:pPr>
              <a:endParaRPr lang="en-US" sz="1560" b="1" dirty="0">
                <a:solidFill>
                  <a:prstClr val="black"/>
                </a:solidFill>
                <a:latin typeface="Calibri" panose="020F0502020204030204" pitchFamily="34" charset="0"/>
                <a:ea typeface="ＭＳ Ｐゴシック" pitchFamily="-12" charset="-128"/>
                <a:cs typeface="ＭＳ Ｐゴシック" pitchFamily="-12" charset="-128"/>
              </a:endParaRPr>
            </a:p>
          </p:txBody>
        </p:sp>
        <p:sp>
          <p:nvSpPr>
            <p:cNvPr id="28" name="Rounded Rectangle 27"/>
            <p:cNvSpPr/>
            <p:nvPr/>
          </p:nvSpPr>
          <p:spPr>
            <a:xfrm>
              <a:off x="1200866" y="3112418"/>
              <a:ext cx="2627652" cy="461888"/>
            </a:xfrm>
            <a:prstGeom prst="roundRect">
              <a:avLst>
                <a:gd name="adj" fmla="val 5452"/>
              </a:avLst>
            </a:prstGeom>
            <a:solidFill>
              <a:sysClr val="window" lastClr="FFFFFF"/>
            </a:solidFill>
            <a:ln w="9525" cap="flat" cmpd="sng" algn="ctr">
              <a:solidFill>
                <a:schemeClr val="bg1">
                  <a:lumMod val="50000"/>
                </a:schemeClr>
              </a:solidFill>
              <a:prstDash val="solid"/>
            </a:ln>
            <a:effectLst>
              <a:outerShdw blurRad="63500" sx="102000" sy="102000" algn="ctr" rotWithShape="0">
                <a:prstClr val="black">
                  <a:alpha val="40000"/>
                </a:prstClr>
              </a:outerShdw>
            </a:effectLst>
          </p:spPr>
          <p:txBody>
            <a:bodyPr rtlCol="0" anchor="ctr"/>
            <a:lstStyle/>
            <a:p>
              <a:pPr algn="ctr"/>
              <a:r>
                <a:rPr lang="en-US" sz="1171" b="1" dirty="0">
                  <a:solidFill>
                    <a:srgbClr val="659A2A"/>
                  </a:solidFill>
                  <a:latin typeface="Calibri" panose="020F0502020204030204" pitchFamily="34" charset="0"/>
                  <a:cs typeface="Helvetica" panose="020B0604020202020204" pitchFamily="34" charset="0"/>
                </a:rPr>
                <a:t>Analyze ticket distribution and predict </a:t>
              </a:r>
              <a:r>
                <a:rPr lang="en-US" sz="1171" dirty="0">
                  <a:latin typeface="Calibri" panose="020F0502020204030204" pitchFamily="34" charset="0"/>
                  <a:cs typeface="Helvetica" panose="020B0604020202020204" pitchFamily="34" charset="0"/>
                </a:rPr>
                <a:t>ticket count through exploratory analysis</a:t>
              </a:r>
            </a:p>
          </p:txBody>
        </p:sp>
        <p:sp>
          <p:nvSpPr>
            <p:cNvPr id="29" name="Rounded Rectangle 28"/>
            <p:cNvSpPr/>
            <p:nvPr/>
          </p:nvSpPr>
          <p:spPr>
            <a:xfrm>
              <a:off x="215095" y="2499590"/>
              <a:ext cx="2368739" cy="521409"/>
            </a:xfrm>
            <a:prstGeom prst="roundRect">
              <a:avLst>
                <a:gd name="adj" fmla="val 5452"/>
              </a:avLst>
            </a:prstGeom>
            <a:solidFill>
              <a:sysClr val="window" lastClr="FFFFFF"/>
            </a:solidFill>
            <a:ln w="9525" cap="flat" cmpd="sng" algn="ctr">
              <a:solidFill>
                <a:schemeClr val="bg1">
                  <a:lumMod val="50000"/>
                </a:schemeClr>
              </a:solidFill>
              <a:prstDash val="solid"/>
            </a:ln>
            <a:effectLst>
              <a:outerShdw blurRad="63500" sx="102000" sy="102000" algn="ctr" rotWithShape="0">
                <a:prstClr val="black">
                  <a:alpha val="40000"/>
                </a:prstClr>
              </a:outerShdw>
            </a:effectLst>
          </p:spPr>
          <p:txBody>
            <a:bodyPr rtlCol="0" anchor="ctr"/>
            <a:lstStyle/>
            <a:p>
              <a:pPr algn="ctr"/>
              <a:r>
                <a:rPr lang="en-US" sz="1171" b="1" dirty="0">
                  <a:solidFill>
                    <a:srgbClr val="DB6D1B"/>
                  </a:solidFill>
                  <a:latin typeface="Calibri" panose="020F0502020204030204" pitchFamily="34" charset="0"/>
                </a:rPr>
                <a:t>Application/platform analysis – </a:t>
              </a:r>
              <a:r>
                <a:rPr lang="en-US" sz="1171" dirty="0">
                  <a:latin typeface="Calibri" panose="020F0502020204030204" pitchFamily="34" charset="0"/>
                </a:rPr>
                <a:t>predict failure points through anomaly detection</a:t>
              </a:r>
            </a:p>
          </p:txBody>
        </p:sp>
        <p:sp>
          <p:nvSpPr>
            <p:cNvPr id="30" name="Rounded Rectangle 29"/>
            <p:cNvSpPr/>
            <p:nvPr/>
          </p:nvSpPr>
          <p:spPr>
            <a:xfrm>
              <a:off x="2738985" y="2500717"/>
              <a:ext cx="2368739" cy="520139"/>
            </a:xfrm>
            <a:prstGeom prst="roundRect">
              <a:avLst>
                <a:gd name="adj" fmla="val 5452"/>
              </a:avLst>
            </a:prstGeom>
            <a:solidFill>
              <a:sysClr val="window" lastClr="FFFFFF"/>
            </a:solidFill>
            <a:ln w="9525" cap="flat" cmpd="sng" algn="ctr">
              <a:solidFill>
                <a:schemeClr val="bg1">
                  <a:lumMod val="50000"/>
                </a:schemeClr>
              </a:solidFill>
              <a:prstDash val="solid"/>
            </a:ln>
            <a:effectLst>
              <a:outerShdw blurRad="63500" sx="102000" sy="102000" algn="ctr" rotWithShape="0">
                <a:prstClr val="black">
                  <a:alpha val="40000"/>
                </a:prstClr>
              </a:outerShdw>
            </a:effectLst>
          </p:spPr>
          <p:txBody>
            <a:bodyPr rtlCol="0" anchor="ctr"/>
            <a:lstStyle/>
            <a:p>
              <a:pPr algn="ctr">
                <a:lnSpc>
                  <a:spcPts val="1268"/>
                </a:lnSpc>
                <a:defRPr/>
              </a:pPr>
              <a:r>
                <a:rPr lang="en-US" sz="1171" b="1" kern="0" dirty="0">
                  <a:solidFill>
                    <a:srgbClr val="3096B2"/>
                  </a:solidFill>
                  <a:latin typeface="Calibri" panose="020F0502020204030204" pitchFamily="34" charset="0"/>
                  <a:ea typeface="ＭＳ Ｐゴシック" pitchFamily="-112" charset="-128"/>
                </a:rPr>
                <a:t>Real-time intervention </a:t>
              </a:r>
              <a:r>
                <a:rPr lang="en-US" sz="1171" kern="0" dirty="0">
                  <a:solidFill>
                    <a:prstClr val="black"/>
                  </a:solidFill>
                  <a:latin typeface="Calibri" panose="020F0502020204030204" pitchFamily="34" charset="0"/>
                  <a:ea typeface="ＭＳ Ｐゴシック" pitchFamily="-112" charset="-128"/>
                </a:rPr>
                <a:t>based on continuous monitoring and asynchronous trend analysis. This helps to </a:t>
              </a:r>
              <a:r>
                <a:rPr lang="en-US" sz="1171" b="1" kern="0" dirty="0">
                  <a:solidFill>
                    <a:srgbClr val="3096B2"/>
                  </a:solidFill>
                  <a:latin typeface="Calibri" panose="020F0502020204030204" pitchFamily="34" charset="0"/>
                  <a:ea typeface="ＭＳ Ｐゴシック" pitchFamily="-112" charset="-128"/>
                </a:rPr>
                <a:t>prevent service-impacting </a:t>
              </a:r>
            </a:p>
            <a:p>
              <a:pPr algn="ctr">
                <a:lnSpc>
                  <a:spcPts val="1268"/>
                </a:lnSpc>
                <a:defRPr/>
              </a:pPr>
              <a:r>
                <a:rPr lang="en-US" sz="1171" b="1" kern="0" dirty="0">
                  <a:solidFill>
                    <a:srgbClr val="3096B2"/>
                  </a:solidFill>
                  <a:latin typeface="Calibri" panose="020F0502020204030204" pitchFamily="34" charset="0"/>
                  <a:ea typeface="ＭＳ Ｐゴシック" pitchFamily="-112" charset="-128"/>
                </a:rPr>
                <a:t>Events or incidents</a:t>
              </a:r>
            </a:p>
          </p:txBody>
        </p:sp>
        <p:sp>
          <p:nvSpPr>
            <p:cNvPr id="31" name="Rounded Rectangle 30"/>
            <p:cNvSpPr/>
            <p:nvPr/>
          </p:nvSpPr>
          <p:spPr>
            <a:xfrm>
              <a:off x="2738986" y="3707207"/>
              <a:ext cx="2386618" cy="432772"/>
            </a:xfrm>
            <a:prstGeom prst="roundRect">
              <a:avLst>
                <a:gd name="adj" fmla="val 5452"/>
              </a:avLst>
            </a:prstGeom>
            <a:solidFill>
              <a:sysClr val="window" lastClr="FFFFFF"/>
            </a:solidFill>
            <a:ln w="9525" cap="flat" cmpd="sng" algn="ctr">
              <a:solidFill>
                <a:schemeClr val="bg1">
                  <a:lumMod val="50000"/>
                </a:schemeClr>
              </a:solidFill>
              <a:prstDash val="solid"/>
            </a:ln>
            <a:effectLst>
              <a:outerShdw blurRad="63500" sx="102000" sy="102000" algn="ctr" rotWithShape="0">
                <a:prstClr val="black">
                  <a:alpha val="40000"/>
                </a:prstClr>
              </a:outerShdw>
            </a:effectLst>
          </p:spPr>
          <p:txBody>
            <a:bodyPr rtlCol="0" anchor="ctr"/>
            <a:lstStyle/>
            <a:p>
              <a:pPr algn="ctr"/>
              <a:r>
                <a:rPr lang="en-US" sz="1171" dirty="0">
                  <a:solidFill>
                    <a:prstClr val="black"/>
                  </a:solidFill>
                  <a:latin typeface="Calibri" panose="020F0502020204030204" pitchFamily="34" charset="0"/>
                </a:rPr>
                <a:t> Improve visibility to inventory existence and health, inventory and supply chain metrics, and period-end </a:t>
              </a:r>
              <a:r>
                <a:rPr lang="en-US" sz="1171" b="1" dirty="0">
                  <a:solidFill>
                    <a:srgbClr val="FFC000">
                      <a:lumMod val="75000"/>
                    </a:srgbClr>
                  </a:solidFill>
                  <a:latin typeface="Calibri" panose="020F0502020204030204" pitchFamily="34" charset="0"/>
                </a:rPr>
                <a:t>inventory valuation insights</a:t>
              </a:r>
              <a:endParaRPr lang="en-US" sz="1171" dirty="0">
                <a:solidFill>
                  <a:prstClr val="black"/>
                </a:solidFill>
                <a:latin typeface="Calibri" panose="020F0502020204030204" pitchFamily="34" charset="0"/>
              </a:endParaRPr>
            </a:p>
          </p:txBody>
        </p:sp>
        <p:sp>
          <p:nvSpPr>
            <p:cNvPr id="32" name="Round Diagonal Corner Rectangle 31"/>
            <p:cNvSpPr/>
            <p:nvPr/>
          </p:nvSpPr>
          <p:spPr>
            <a:xfrm>
              <a:off x="121142" y="2244766"/>
              <a:ext cx="5073141" cy="167099"/>
            </a:xfrm>
            <a:prstGeom prst="round2DiagRect">
              <a:avLst/>
            </a:prstGeom>
            <a:solidFill>
              <a:schemeClr val="bg1">
                <a:lumMod val="50000"/>
              </a:schemeClr>
            </a:solidFill>
            <a:ln w="25400" cap="flat" cmpd="sng" algn="ctr">
              <a:noFill/>
              <a:prstDash val="solid"/>
            </a:ln>
            <a:effectLst/>
          </p:spPr>
          <p:txBody>
            <a:bodyPr lIns="89129" tIns="44564" rIns="89129" bIns="44564" rtlCol="0" anchor="ctr"/>
            <a:lstStyle/>
            <a:p>
              <a:pPr algn="ctr" fontAlgn="base">
                <a:spcBef>
                  <a:spcPct val="0"/>
                </a:spcBef>
                <a:spcAft>
                  <a:spcPct val="0"/>
                </a:spcAft>
              </a:pPr>
              <a:r>
                <a:rPr lang="en-US" sz="1560" b="1" kern="0" dirty="0">
                  <a:solidFill>
                    <a:prstClr val="white"/>
                  </a:solidFill>
                  <a:latin typeface="Calibri" panose="020F0502020204030204" pitchFamily="34" charset="0"/>
                  <a:ea typeface="ＭＳ Ｐゴシック" pitchFamily="-112" charset="-128"/>
                  <a:cs typeface="Calibri" panose="020F0502020204030204" pitchFamily="34" charset="0"/>
                </a:rPr>
                <a:t>Examples of Potential Ideas</a:t>
              </a:r>
            </a:p>
          </p:txBody>
        </p:sp>
      </p:grpSp>
    </p:spTree>
    <p:extLst>
      <p:ext uri="{BB962C8B-B14F-4D97-AF65-F5344CB8AC3E}">
        <p14:creationId xmlns:p14="http://schemas.microsoft.com/office/powerpoint/2010/main" val="350686983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We have understood the scope for Services in </a:t>
            </a:r>
            <a:r>
              <a:rPr lang="en-US" dirty="0" smtClean="0"/>
              <a:t>– RFP1 bundle </a:t>
            </a:r>
            <a:r>
              <a:rPr lang="en-US" dirty="0"/>
              <a:t>A &amp; B </a:t>
            </a:r>
          </a:p>
        </p:txBody>
      </p:sp>
      <p:sp>
        <p:nvSpPr>
          <p:cNvPr id="66"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xfrm>
            <a:off x="0" y="6486525"/>
            <a:ext cx="1735138" cy="244475"/>
          </a:xfrm>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67"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xfrm>
            <a:off x="0" y="6430963"/>
            <a:ext cx="1212850" cy="322262"/>
          </a:xfrm>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61</a:t>
            </a:fld>
            <a:r>
              <a:rPr lang="en-US" dirty="0" smtClean="0"/>
              <a:t> of XX</a:t>
            </a:r>
            <a:endParaRPr lang="en-US" dirty="0"/>
          </a:p>
        </p:txBody>
      </p:sp>
      <p:grpSp>
        <p:nvGrpSpPr>
          <p:cNvPr id="245" name="Group 244"/>
          <p:cNvGrpSpPr/>
          <p:nvPr/>
        </p:nvGrpSpPr>
        <p:grpSpPr>
          <a:xfrm>
            <a:off x="292312" y="884414"/>
            <a:ext cx="11532544" cy="5001639"/>
            <a:chOff x="267570" y="724755"/>
            <a:chExt cx="11532543" cy="5001638"/>
          </a:xfrm>
        </p:grpSpPr>
        <p:sp>
          <p:nvSpPr>
            <p:cNvPr id="246" name="Oval 245"/>
            <p:cNvSpPr/>
            <p:nvPr/>
          </p:nvSpPr>
          <p:spPr>
            <a:xfrm>
              <a:off x="3642648" y="1283360"/>
              <a:ext cx="4357229" cy="4340493"/>
            </a:xfrm>
            <a:prstGeom prst="ellipse">
              <a:avLst/>
            </a:prstGeom>
            <a:solidFill>
              <a:sysClr val="window" lastClr="FFFFFF">
                <a:lumMod val="95000"/>
              </a:sysClr>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47" name="Oval 246"/>
            <p:cNvSpPr/>
            <p:nvPr/>
          </p:nvSpPr>
          <p:spPr>
            <a:xfrm>
              <a:off x="4431011" y="2068696"/>
              <a:ext cx="2780500" cy="2769821"/>
            </a:xfrm>
            <a:prstGeom prst="ellipse">
              <a:avLst/>
            </a:prstGeom>
            <a:solidFill>
              <a:srgbClr val="FFC000"/>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48" name="Oval 247"/>
            <p:cNvSpPr/>
            <p:nvPr/>
          </p:nvSpPr>
          <p:spPr>
            <a:xfrm>
              <a:off x="3351068" y="2754417"/>
              <a:ext cx="835061" cy="831856"/>
            </a:xfrm>
            <a:prstGeom prst="ellipse">
              <a:avLst/>
            </a:prstGeom>
            <a:solidFill>
              <a:srgbClr val="82582D"/>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49" name="Oval 248"/>
            <p:cNvSpPr/>
            <p:nvPr/>
          </p:nvSpPr>
          <p:spPr>
            <a:xfrm>
              <a:off x="4517776" y="955784"/>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50" name="Oval 249"/>
            <p:cNvSpPr/>
            <p:nvPr/>
          </p:nvSpPr>
          <p:spPr>
            <a:xfrm>
              <a:off x="7516247" y="3049215"/>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51" name="Oval 250"/>
            <p:cNvSpPr/>
            <p:nvPr/>
          </p:nvSpPr>
          <p:spPr>
            <a:xfrm>
              <a:off x="6777454" y="1383968"/>
              <a:ext cx="835061" cy="831856"/>
            </a:xfrm>
            <a:prstGeom prst="ellipse">
              <a:avLst/>
            </a:prstGeom>
            <a:solidFill>
              <a:srgbClr val="82582D"/>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52" name="Oval 251"/>
            <p:cNvSpPr/>
            <p:nvPr/>
          </p:nvSpPr>
          <p:spPr>
            <a:xfrm flipV="1">
              <a:off x="3944036" y="4650746"/>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53" name="Oval 252"/>
            <p:cNvSpPr/>
            <p:nvPr/>
          </p:nvSpPr>
          <p:spPr>
            <a:xfrm flipV="1">
              <a:off x="6455016" y="4894537"/>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grpSp>
          <p:nvGrpSpPr>
            <p:cNvPr id="254" name="Group 5"/>
            <p:cNvGrpSpPr>
              <a:grpSpLocks noChangeAspect="1"/>
            </p:cNvGrpSpPr>
            <p:nvPr/>
          </p:nvGrpSpPr>
          <p:grpSpPr bwMode="auto">
            <a:xfrm>
              <a:off x="6912633" y="1622690"/>
              <a:ext cx="656068" cy="403936"/>
              <a:chOff x="-1637" y="1629"/>
              <a:chExt cx="1838" cy="1136"/>
            </a:xfrm>
            <a:solidFill>
              <a:sysClr val="window" lastClr="FFFFFF"/>
            </a:solidFill>
            <a:effectLst>
              <a:outerShdw blurRad="63500" sx="102000" sy="102000" algn="ctr" rotWithShape="0">
                <a:prstClr val="black">
                  <a:alpha val="40000"/>
                </a:prstClr>
              </a:outerShdw>
            </a:effectLst>
          </p:grpSpPr>
          <p:sp>
            <p:nvSpPr>
              <p:cNvPr id="301" name="Freeform 6"/>
              <p:cNvSpPr>
                <a:spLocks noEditPoints="1"/>
              </p:cNvSpPr>
              <p:nvPr/>
            </p:nvSpPr>
            <p:spPr bwMode="auto">
              <a:xfrm>
                <a:off x="-529" y="1688"/>
                <a:ext cx="730" cy="730"/>
              </a:xfrm>
              <a:custGeom>
                <a:avLst/>
                <a:gdLst>
                  <a:gd name="T0" fmla="*/ 272 w 309"/>
                  <a:gd name="T1" fmla="*/ 236 h 309"/>
                  <a:gd name="T2" fmla="*/ 270 w 309"/>
                  <a:gd name="T3" fmla="*/ 210 h 309"/>
                  <a:gd name="T4" fmla="*/ 288 w 309"/>
                  <a:gd name="T5" fmla="*/ 206 h 309"/>
                  <a:gd name="T6" fmla="*/ 307 w 309"/>
                  <a:gd name="T7" fmla="*/ 189 h 309"/>
                  <a:gd name="T8" fmla="*/ 297 w 309"/>
                  <a:gd name="T9" fmla="*/ 166 h 309"/>
                  <a:gd name="T10" fmla="*/ 282 w 309"/>
                  <a:gd name="T11" fmla="*/ 146 h 309"/>
                  <a:gd name="T12" fmla="*/ 296 w 309"/>
                  <a:gd name="T13" fmla="*/ 133 h 309"/>
                  <a:gd name="T14" fmla="*/ 304 w 309"/>
                  <a:gd name="T15" fmla="*/ 109 h 309"/>
                  <a:gd name="T16" fmla="*/ 284 w 309"/>
                  <a:gd name="T17" fmla="*/ 93 h 309"/>
                  <a:gd name="T18" fmla="*/ 261 w 309"/>
                  <a:gd name="T19" fmla="*/ 83 h 309"/>
                  <a:gd name="T20" fmla="*/ 266 w 309"/>
                  <a:gd name="T21" fmla="*/ 65 h 309"/>
                  <a:gd name="T22" fmla="*/ 261 w 309"/>
                  <a:gd name="T23" fmla="*/ 40 h 309"/>
                  <a:gd name="T24" fmla="*/ 236 w 309"/>
                  <a:gd name="T25" fmla="*/ 37 h 309"/>
                  <a:gd name="T26" fmla="*/ 218 w 309"/>
                  <a:gd name="T27" fmla="*/ 44 h 309"/>
                  <a:gd name="T28" fmla="*/ 206 w 309"/>
                  <a:gd name="T29" fmla="*/ 21 h 309"/>
                  <a:gd name="T30" fmla="*/ 190 w 309"/>
                  <a:gd name="T31" fmla="*/ 2 h 309"/>
                  <a:gd name="T32" fmla="*/ 166 w 309"/>
                  <a:gd name="T33" fmla="*/ 12 h 309"/>
                  <a:gd name="T34" fmla="*/ 146 w 309"/>
                  <a:gd name="T35" fmla="*/ 27 h 309"/>
                  <a:gd name="T36" fmla="*/ 133 w 309"/>
                  <a:gd name="T37" fmla="*/ 14 h 309"/>
                  <a:gd name="T38" fmla="*/ 109 w 309"/>
                  <a:gd name="T39" fmla="*/ 5 h 309"/>
                  <a:gd name="T40" fmla="*/ 94 w 309"/>
                  <a:gd name="T41" fmla="*/ 26 h 309"/>
                  <a:gd name="T42" fmla="*/ 83 w 309"/>
                  <a:gd name="T43" fmla="*/ 49 h 309"/>
                  <a:gd name="T44" fmla="*/ 65 w 309"/>
                  <a:gd name="T45" fmla="*/ 43 h 309"/>
                  <a:gd name="T46" fmla="*/ 41 w 309"/>
                  <a:gd name="T47" fmla="*/ 48 h 309"/>
                  <a:gd name="T48" fmla="*/ 37 w 309"/>
                  <a:gd name="T49" fmla="*/ 73 h 309"/>
                  <a:gd name="T50" fmla="*/ 40 w 309"/>
                  <a:gd name="T51" fmla="*/ 99 h 309"/>
                  <a:gd name="T52" fmla="*/ 22 w 309"/>
                  <a:gd name="T53" fmla="*/ 103 h 309"/>
                  <a:gd name="T54" fmla="*/ 3 w 309"/>
                  <a:gd name="T55" fmla="*/ 120 h 309"/>
                  <a:gd name="T56" fmla="*/ 13 w 309"/>
                  <a:gd name="T57" fmla="*/ 143 h 309"/>
                  <a:gd name="T58" fmla="*/ 27 w 309"/>
                  <a:gd name="T59" fmla="*/ 163 h 309"/>
                  <a:gd name="T60" fmla="*/ 14 w 309"/>
                  <a:gd name="T61" fmla="*/ 176 h 309"/>
                  <a:gd name="T62" fmla="*/ 6 w 309"/>
                  <a:gd name="T63" fmla="*/ 200 h 309"/>
                  <a:gd name="T64" fmla="*/ 26 w 309"/>
                  <a:gd name="T65" fmla="*/ 216 h 309"/>
                  <a:gd name="T66" fmla="*/ 49 w 309"/>
                  <a:gd name="T67" fmla="*/ 226 h 309"/>
                  <a:gd name="T68" fmla="*/ 44 w 309"/>
                  <a:gd name="T69" fmla="*/ 244 h 309"/>
                  <a:gd name="T70" fmla="*/ 49 w 309"/>
                  <a:gd name="T71" fmla="*/ 269 h 309"/>
                  <a:gd name="T72" fmla="*/ 74 w 309"/>
                  <a:gd name="T73" fmla="*/ 272 h 309"/>
                  <a:gd name="T74" fmla="*/ 99 w 309"/>
                  <a:gd name="T75" fmla="*/ 269 h 309"/>
                  <a:gd name="T76" fmla="*/ 103 w 309"/>
                  <a:gd name="T77" fmla="*/ 287 h 309"/>
                  <a:gd name="T78" fmla="*/ 120 w 309"/>
                  <a:gd name="T79" fmla="*/ 307 h 309"/>
                  <a:gd name="T80" fmla="*/ 143 w 309"/>
                  <a:gd name="T81" fmla="*/ 297 h 309"/>
                  <a:gd name="T82" fmla="*/ 164 w 309"/>
                  <a:gd name="T83" fmla="*/ 282 h 309"/>
                  <a:gd name="T84" fmla="*/ 177 w 309"/>
                  <a:gd name="T85" fmla="*/ 295 h 309"/>
                  <a:gd name="T86" fmla="*/ 201 w 309"/>
                  <a:gd name="T87" fmla="*/ 304 h 309"/>
                  <a:gd name="T88" fmla="*/ 216 w 309"/>
                  <a:gd name="T89" fmla="*/ 283 h 309"/>
                  <a:gd name="T90" fmla="*/ 226 w 309"/>
                  <a:gd name="T91" fmla="*/ 260 h 309"/>
                  <a:gd name="T92" fmla="*/ 244 w 309"/>
                  <a:gd name="T93" fmla="*/ 266 h 309"/>
                  <a:gd name="T94" fmla="*/ 269 w 309"/>
                  <a:gd name="T95" fmla="*/ 261 h 309"/>
                  <a:gd name="T96" fmla="*/ 272 w 309"/>
                  <a:gd name="T97" fmla="*/ 236 h 309"/>
                  <a:gd name="T98" fmla="*/ 94 w 309"/>
                  <a:gd name="T99" fmla="*/ 220 h 309"/>
                  <a:gd name="T100" fmla="*/ 89 w 309"/>
                  <a:gd name="T101" fmla="*/ 93 h 309"/>
                  <a:gd name="T102" fmla="*/ 216 w 309"/>
                  <a:gd name="T103" fmla="*/ 89 h 309"/>
                  <a:gd name="T104" fmla="*/ 220 w 309"/>
                  <a:gd name="T105" fmla="*/ 215 h 309"/>
                  <a:gd name="T106" fmla="*/ 94 w 309"/>
                  <a:gd name="T107" fmla="*/ 22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309">
                    <a:moveTo>
                      <a:pt x="272" y="236"/>
                    </a:moveTo>
                    <a:cubicBezTo>
                      <a:pt x="266" y="230"/>
                      <a:pt x="268" y="215"/>
                      <a:pt x="270" y="210"/>
                    </a:cubicBezTo>
                    <a:cubicBezTo>
                      <a:pt x="272" y="206"/>
                      <a:pt x="280" y="204"/>
                      <a:pt x="288" y="206"/>
                    </a:cubicBezTo>
                    <a:cubicBezTo>
                      <a:pt x="296" y="208"/>
                      <a:pt x="304" y="200"/>
                      <a:pt x="307" y="189"/>
                    </a:cubicBezTo>
                    <a:cubicBezTo>
                      <a:pt x="309" y="178"/>
                      <a:pt x="305" y="168"/>
                      <a:pt x="297" y="166"/>
                    </a:cubicBezTo>
                    <a:cubicBezTo>
                      <a:pt x="289" y="164"/>
                      <a:pt x="283" y="150"/>
                      <a:pt x="282" y="146"/>
                    </a:cubicBezTo>
                    <a:cubicBezTo>
                      <a:pt x="282" y="141"/>
                      <a:pt x="288" y="135"/>
                      <a:pt x="296" y="133"/>
                    </a:cubicBezTo>
                    <a:cubicBezTo>
                      <a:pt x="304" y="130"/>
                      <a:pt x="307" y="119"/>
                      <a:pt x="304" y="109"/>
                    </a:cubicBezTo>
                    <a:cubicBezTo>
                      <a:pt x="301" y="98"/>
                      <a:pt x="292" y="91"/>
                      <a:pt x="284" y="93"/>
                    </a:cubicBezTo>
                    <a:cubicBezTo>
                      <a:pt x="276" y="96"/>
                      <a:pt x="263" y="87"/>
                      <a:pt x="261" y="83"/>
                    </a:cubicBezTo>
                    <a:cubicBezTo>
                      <a:pt x="258" y="79"/>
                      <a:pt x="260" y="71"/>
                      <a:pt x="266" y="65"/>
                    </a:cubicBezTo>
                    <a:cubicBezTo>
                      <a:pt x="271" y="59"/>
                      <a:pt x="269" y="48"/>
                      <a:pt x="261" y="40"/>
                    </a:cubicBezTo>
                    <a:cubicBezTo>
                      <a:pt x="253" y="32"/>
                      <a:pt x="241" y="31"/>
                      <a:pt x="236" y="37"/>
                    </a:cubicBezTo>
                    <a:cubicBezTo>
                      <a:pt x="230" y="43"/>
                      <a:pt x="222" y="46"/>
                      <a:pt x="218" y="44"/>
                    </a:cubicBezTo>
                    <a:cubicBezTo>
                      <a:pt x="214" y="41"/>
                      <a:pt x="205" y="29"/>
                      <a:pt x="206" y="21"/>
                    </a:cubicBezTo>
                    <a:cubicBezTo>
                      <a:pt x="208" y="13"/>
                      <a:pt x="201" y="5"/>
                      <a:pt x="190" y="2"/>
                    </a:cubicBezTo>
                    <a:cubicBezTo>
                      <a:pt x="179" y="0"/>
                      <a:pt x="168" y="4"/>
                      <a:pt x="166" y="12"/>
                    </a:cubicBezTo>
                    <a:cubicBezTo>
                      <a:pt x="164" y="20"/>
                      <a:pt x="151" y="27"/>
                      <a:pt x="146" y="27"/>
                    </a:cubicBezTo>
                    <a:cubicBezTo>
                      <a:pt x="141" y="28"/>
                      <a:pt x="135" y="21"/>
                      <a:pt x="133" y="14"/>
                    </a:cubicBezTo>
                    <a:cubicBezTo>
                      <a:pt x="131" y="6"/>
                      <a:pt x="120" y="2"/>
                      <a:pt x="109" y="5"/>
                    </a:cubicBezTo>
                    <a:cubicBezTo>
                      <a:pt x="98" y="9"/>
                      <a:pt x="91" y="18"/>
                      <a:pt x="94" y="26"/>
                    </a:cubicBezTo>
                    <a:cubicBezTo>
                      <a:pt x="96" y="33"/>
                      <a:pt x="87" y="46"/>
                      <a:pt x="83" y="49"/>
                    </a:cubicBezTo>
                    <a:cubicBezTo>
                      <a:pt x="80" y="51"/>
                      <a:pt x="71" y="49"/>
                      <a:pt x="65" y="43"/>
                    </a:cubicBezTo>
                    <a:cubicBezTo>
                      <a:pt x="59" y="38"/>
                      <a:pt x="48" y="40"/>
                      <a:pt x="41" y="48"/>
                    </a:cubicBezTo>
                    <a:cubicBezTo>
                      <a:pt x="33" y="56"/>
                      <a:pt x="31" y="68"/>
                      <a:pt x="37" y="73"/>
                    </a:cubicBezTo>
                    <a:cubicBezTo>
                      <a:pt x="43" y="79"/>
                      <a:pt x="42" y="94"/>
                      <a:pt x="40" y="99"/>
                    </a:cubicBezTo>
                    <a:cubicBezTo>
                      <a:pt x="38" y="103"/>
                      <a:pt x="30" y="105"/>
                      <a:pt x="22" y="103"/>
                    </a:cubicBezTo>
                    <a:cubicBezTo>
                      <a:pt x="14" y="101"/>
                      <a:pt x="5" y="109"/>
                      <a:pt x="3" y="120"/>
                    </a:cubicBezTo>
                    <a:cubicBezTo>
                      <a:pt x="0" y="131"/>
                      <a:pt x="5" y="141"/>
                      <a:pt x="13" y="143"/>
                    </a:cubicBezTo>
                    <a:cubicBezTo>
                      <a:pt x="21" y="145"/>
                      <a:pt x="27" y="159"/>
                      <a:pt x="27" y="163"/>
                    </a:cubicBezTo>
                    <a:cubicBezTo>
                      <a:pt x="28" y="168"/>
                      <a:pt x="22" y="174"/>
                      <a:pt x="14" y="176"/>
                    </a:cubicBezTo>
                    <a:cubicBezTo>
                      <a:pt x="6" y="179"/>
                      <a:pt x="2" y="190"/>
                      <a:pt x="6" y="200"/>
                    </a:cubicBezTo>
                    <a:cubicBezTo>
                      <a:pt x="9" y="211"/>
                      <a:pt x="18" y="218"/>
                      <a:pt x="26" y="216"/>
                    </a:cubicBezTo>
                    <a:cubicBezTo>
                      <a:pt x="34" y="213"/>
                      <a:pt x="46" y="222"/>
                      <a:pt x="49" y="226"/>
                    </a:cubicBezTo>
                    <a:cubicBezTo>
                      <a:pt x="52" y="230"/>
                      <a:pt x="49" y="238"/>
                      <a:pt x="44" y="244"/>
                    </a:cubicBezTo>
                    <a:cubicBezTo>
                      <a:pt x="38" y="250"/>
                      <a:pt x="40" y="261"/>
                      <a:pt x="49" y="269"/>
                    </a:cubicBezTo>
                    <a:cubicBezTo>
                      <a:pt x="57" y="276"/>
                      <a:pt x="68" y="278"/>
                      <a:pt x="74" y="272"/>
                    </a:cubicBezTo>
                    <a:cubicBezTo>
                      <a:pt x="79" y="266"/>
                      <a:pt x="95" y="267"/>
                      <a:pt x="99" y="269"/>
                    </a:cubicBezTo>
                    <a:cubicBezTo>
                      <a:pt x="103" y="271"/>
                      <a:pt x="105" y="279"/>
                      <a:pt x="103" y="287"/>
                    </a:cubicBezTo>
                    <a:cubicBezTo>
                      <a:pt x="101" y="295"/>
                      <a:pt x="109" y="304"/>
                      <a:pt x="120" y="307"/>
                    </a:cubicBezTo>
                    <a:cubicBezTo>
                      <a:pt x="131" y="309"/>
                      <a:pt x="141" y="305"/>
                      <a:pt x="143" y="297"/>
                    </a:cubicBezTo>
                    <a:cubicBezTo>
                      <a:pt x="145" y="289"/>
                      <a:pt x="159" y="282"/>
                      <a:pt x="164" y="282"/>
                    </a:cubicBezTo>
                    <a:cubicBezTo>
                      <a:pt x="168" y="281"/>
                      <a:pt x="174" y="288"/>
                      <a:pt x="177" y="295"/>
                    </a:cubicBezTo>
                    <a:cubicBezTo>
                      <a:pt x="179" y="303"/>
                      <a:pt x="190" y="307"/>
                      <a:pt x="201" y="304"/>
                    </a:cubicBezTo>
                    <a:cubicBezTo>
                      <a:pt x="212" y="300"/>
                      <a:pt x="218" y="291"/>
                      <a:pt x="216" y="283"/>
                    </a:cubicBezTo>
                    <a:cubicBezTo>
                      <a:pt x="213" y="275"/>
                      <a:pt x="222" y="263"/>
                      <a:pt x="226" y="260"/>
                    </a:cubicBezTo>
                    <a:cubicBezTo>
                      <a:pt x="230" y="258"/>
                      <a:pt x="238" y="260"/>
                      <a:pt x="244" y="266"/>
                    </a:cubicBezTo>
                    <a:cubicBezTo>
                      <a:pt x="250" y="271"/>
                      <a:pt x="261" y="269"/>
                      <a:pt x="269" y="261"/>
                    </a:cubicBezTo>
                    <a:cubicBezTo>
                      <a:pt x="277" y="252"/>
                      <a:pt x="278" y="241"/>
                      <a:pt x="272" y="236"/>
                    </a:cubicBezTo>
                    <a:close/>
                    <a:moveTo>
                      <a:pt x="94" y="220"/>
                    </a:moveTo>
                    <a:cubicBezTo>
                      <a:pt x="58" y="186"/>
                      <a:pt x="55" y="130"/>
                      <a:pt x="89" y="93"/>
                    </a:cubicBezTo>
                    <a:cubicBezTo>
                      <a:pt x="123" y="57"/>
                      <a:pt x="179" y="55"/>
                      <a:pt x="216" y="89"/>
                    </a:cubicBezTo>
                    <a:cubicBezTo>
                      <a:pt x="252" y="123"/>
                      <a:pt x="254" y="179"/>
                      <a:pt x="220" y="215"/>
                    </a:cubicBezTo>
                    <a:cubicBezTo>
                      <a:pt x="187" y="252"/>
                      <a:pt x="130" y="254"/>
                      <a:pt x="94"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302" name="Freeform 7"/>
              <p:cNvSpPr>
                <a:spLocks noEditPoints="1"/>
              </p:cNvSpPr>
              <p:nvPr/>
            </p:nvSpPr>
            <p:spPr bwMode="auto">
              <a:xfrm>
                <a:off x="-1637" y="1629"/>
                <a:ext cx="1136" cy="1136"/>
              </a:xfrm>
              <a:custGeom>
                <a:avLst/>
                <a:gdLst>
                  <a:gd name="T0" fmla="*/ 423 w 481"/>
                  <a:gd name="T1" fmla="*/ 367 h 481"/>
                  <a:gd name="T2" fmla="*/ 419 w 481"/>
                  <a:gd name="T3" fmla="*/ 328 h 481"/>
                  <a:gd name="T4" fmla="*/ 447 w 481"/>
                  <a:gd name="T5" fmla="*/ 321 h 481"/>
                  <a:gd name="T6" fmla="*/ 477 w 481"/>
                  <a:gd name="T7" fmla="*/ 295 h 481"/>
                  <a:gd name="T8" fmla="*/ 461 w 481"/>
                  <a:gd name="T9" fmla="*/ 259 h 481"/>
                  <a:gd name="T10" fmla="*/ 438 w 481"/>
                  <a:gd name="T11" fmla="*/ 227 h 481"/>
                  <a:gd name="T12" fmla="*/ 459 w 481"/>
                  <a:gd name="T13" fmla="*/ 207 h 481"/>
                  <a:gd name="T14" fmla="*/ 472 w 481"/>
                  <a:gd name="T15" fmla="*/ 169 h 481"/>
                  <a:gd name="T16" fmla="*/ 440 w 481"/>
                  <a:gd name="T17" fmla="*/ 146 h 481"/>
                  <a:gd name="T18" fmla="*/ 405 w 481"/>
                  <a:gd name="T19" fmla="*/ 130 h 481"/>
                  <a:gd name="T20" fmla="*/ 413 w 481"/>
                  <a:gd name="T21" fmla="*/ 102 h 481"/>
                  <a:gd name="T22" fmla="*/ 405 w 481"/>
                  <a:gd name="T23" fmla="*/ 63 h 481"/>
                  <a:gd name="T24" fmla="*/ 366 w 481"/>
                  <a:gd name="T25" fmla="*/ 58 h 481"/>
                  <a:gd name="T26" fmla="*/ 339 w 481"/>
                  <a:gd name="T27" fmla="*/ 69 h 481"/>
                  <a:gd name="T28" fmla="*/ 320 w 481"/>
                  <a:gd name="T29" fmla="*/ 34 h 481"/>
                  <a:gd name="T30" fmla="*/ 294 w 481"/>
                  <a:gd name="T31" fmla="*/ 4 h 481"/>
                  <a:gd name="T32" fmla="*/ 258 w 481"/>
                  <a:gd name="T33" fmla="*/ 20 h 481"/>
                  <a:gd name="T34" fmla="*/ 226 w 481"/>
                  <a:gd name="T35" fmla="*/ 43 h 481"/>
                  <a:gd name="T36" fmla="*/ 206 w 481"/>
                  <a:gd name="T37" fmla="*/ 22 h 481"/>
                  <a:gd name="T38" fmla="*/ 169 w 481"/>
                  <a:gd name="T39" fmla="*/ 9 h 481"/>
                  <a:gd name="T40" fmla="*/ 145 w 481"/>
                  <a:gd name="T41" fmla="*/ 40 h 481"/>
                  <a:gd name="T42" fmla="*/ 129 w 481"/>
                  <a:gd name="T43" fmla="*/ 76 h 481"/>
                  <a:gd name="T44" fmla="*/ 101 w 481"/>
                  <a:gd name="T45" fmla="*/ 68 h 481"/>
                  <a:gd name="T46" fmla="*/ 62 w 481"/>
                  <a:gd name="T47" fmla="*/ 76 h 481"/>
                  <a:gd name="T48" fmla="*/ 58 w 481"/>
                  <a:gd name="T49" fmla="*/ 115 h 481"/>
                  <a:gd name="T50" fmla="*/ 62 w 481"/>
                  <a:gd name="T51" fmla="*/ 154 h 481"/>
                  <a:gd name="T52" fmla="*/ 33 w 481"/>
                  <a:gd name="T53" fmla="*/ 161 h 481"/>
                  <a:gd name="T54" fmla="*/ 4 w 481"/>
                  <a:gd name="T55" fmla="*/ 187 h 481"/>
                  <a:gd name="T56" fmla="*/ 19 w 481"/>
                  <a:gd name="T57" fmla="*/ 223 h 481"/>
                  <a:gd name="T58" fmla="*/ 42 w 481"/>
                  <a:gd name="T59" fmla="*/ 255 h 481"/>
                  <a:gd name="T60" fmla="*/ 21 w 481"/>
                  <a:gd name="T61" fmla="*/ 275 h 481"/>
                  <a:gd name="T62" fmla="*/ 8 w 481"/>
                  <a:gd name="T63" fmla="*/ 312 h 481"/>
                  <a:gd name="T64" fmla="*/ 40 w 481"/>
                  <a:gd name="T65" fmla="*/ 336 h 481"/>
                  <a:gd name="T66" fmla="*/ 76 w 481"/>
                  <a:gd name="T67" fmla="*/ 352 h 481"/>
                  <a:gd name="T68" fmla="*/ 67 w 481"/>
                  <a:gd name="T69" fmla="*/ 380 h 481"/>
                  <a:gd name="T70" fmla="*/ 75 w 481"/>
                  <a:gd name="T71" fmla="*/ 419 h 481"/>
                  <a:gd name="T72" fmla="*/ 114 w 481"/>
                  <a:gd name="T73" fmla="*/ 423 h 481"/>
                  <a:gd name="T74" fmla="*/ 153 w 481"/>
                  <a:gd name="T75" fmla="*/ 419 h 481"/>
                  <a:gd name="T76" fmla="*/ 160 w 481"/>
                  <a:gd name="T77" fmla="*/ 448 h 481"/>
                  <a:gd name="T78" fmla="*/ 186 w 481"/>
                  <a:gd name="T79" fmla="*/ 477 h 481"/>
                  <a:gd name="T80" fmla="*/ 222 w 481"/>
                  <a:gd name="T81" fmla="*/ 462 h 481"/>
                  <a:gd name="T82" fmla="*/ 254 w 481"/>
                  <a:gd name="T83" fmla="*/ 439 h 481"/>
                  <a:gd name="T84" fmla="*/ 274 w 481"/>
                  <a:gd name="T85" fmla="*/ 460 h 481"/>
                  <a:gd name="T86" fmla="*/ 311 w 481"/>
                  <a:gd name="T87" fmla="*/ 473 h 481"/>
                  <a:gd name="T88" fmla="*/ 335 w 481"/>
                  <a:gd name="T89" fmla="*/ 441 h 481"/>
                  <a:gd name="T90" fmla="*/ 351 w 481"/>
                  <a:gd name="T91" fmla="*/ 405 h 481"/>
                  <a:gd name="T92" fmla="*/ 379 w 481"/>
                  <a:gd name="T93" fmla="*/ 414 h 481"/>
                  <a:gd name="T94" fmla="*/ 418 w 481"/>
                  <a:gd name="T95" fmla="*/ 406 h 481"/>
                  <a:gd name="T96" fmla="*/ 423 w 481"/>
                  <a:gd name="T97" fmla="*/ 367 h 481"/>
                  <a:gd name="T98" fmla="*/ 145 w 481"/>
                  <a:gd name="T99" fmla="*/ 343 h 481"/>
                  <a:gd name="T100" fmla="*/ 138 w 481"/>
                  <a:gd name="T101" fmla="*/ 146 h 481"/>
                  <a:gd name="T102" fmla="*/ 335 w 481"/>
                  <a:gd name="T103" fmla="*/ 139 h 481"/>
                  <a:gd name="T104" fmla="*/ 342 w 481"/>
                  <a:gd name="T105" fmla="*/ 336 h 481"/>
                  <a:gd name="T106" fmla="*/ 145 w 481"/>
                  <a:gd name="T107" fmla="*/ 34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1" h="481">
                    <a:moveTo>
                      <a:pt x="423" y="367"/>
                    </a:moveTo>
                    <a:cubicBezTo>
                      <a:pt x="413" y="358"/>
                      <a:pt x="416" y="334"/>
                      <a:pt x="419" y="328"/>
                    </a:cubicBezTo>
                    <a:cubicBezTo>
                      <a:pt x="422" y="321"/>
                      <a:pt x="434" y="318"/>
                      <a:pt x="447" y="321"/>
                    </a:cubicBezTo>
                    <a:cubicBezTo>
                      <a:pt x="459" y="324"/>
                      <a:pt x="473" y="312"/>
                      <a:pt x="477" y="295"/>
                    </a:cubicBezTo>
                    <a:cubicBezTo>
                      <a:pt x="481" y="278"/>
                      <a:pt x="474" y="262"/>
                      <a:pt x="461" y="259"/>
                    </a:cubicBezTo>
                    <a:cubicBezTo>
                      <a:pt x="449" y="256"/>
                      <a:pt x="439" y="234"/>
                      <a:pt x="438" y="227"/>
                    </a:cubicBezTo>
                    <a:cubicBezTo>
                      <a:pt x="437" y="220"/>
                      <a:pt x="447" y="211"/>
                      <a:pt x="459" y="207"/>
                    </a:cubicBezTo>
                    <a:cubicBezTo>
                      <a:pt x="471" y="203"/>
                      <a:pt x="477" y="186"/>
                      <a:pt x="472" y="169"/>
                    </a:cubicBezTo>
                    <a:cubicBezTo>
                      <a:pt x="467" y="153"/>
                      <a:pt x="453" y="142"/>
                      <a:pt x="440" y="146"/>
                    </a:cubicBezTo>
                    <a:cubicBezTo>
                      <a:pt x="428" y="150"/>
                      <a:pt x="409" y="136"/>
                      <a:pt x="405" y="130"/>
                    </a:cubicBezTo>
                    <a:cubicBezTo>
                      <a:pt x="400" y="124"/>
                      <a:pt x="404" y="111"/>
                      <a:pt x="413" y="102"/>
                    </a:cubicBezTo>
                    <a:cubicBezTo>
                      <a:pt x="422" y="92"/>
                      <a:pt x="418" y="75"/>
                      <a:pt x="405" y="63"/>
                    </a:cubicBezTo>
                    <a:cubicBezTo>
                      <a:pt x="392" y="51"/>
                      <a:pt x="375" y="49"/>
                      <a:pt x="366" y="58"/>
                    </a:cubicBezTo>
                    <a:cubicBezTo>
                      <a:pt x="357" y="68"/>
                      <a:pt x="345" y="72"/>
                      <a:pt x="339" y="69"/>
                    </a:cubicBezTo>
                    <a:cubicBezTo>
                      <a:pt x="332" y="65"/>
                      <a:pt x="317" y="47"/>
                      <a:pt x="320" y="34"/>
                    </a:cubicBezTo>
                    <a:cubicBezTo>
                      <a:pt x="323" y="22"/>
                      <a:pt x="311" y="8"/>
                      <a:pt x="294" y="4"/>
                    </a:cubicBezTo>
                    <a:cubicBezTo>
                      <a:pt x="277" y="0"/>
                      <a:pt x="261" y="7"/>
                      <a:pt x="258" y="20"/>
                    </a:cubicBezTo>
                    <a:cubicBezTo>
                      <a:pt x="255" y="32"/>
                      <a:pt x="234" y="42"/>
                      <a:pt x="226" y="43"/>
                    </a:cubicBezTo>
                    <a:cubicBezTo>
                      <a:pt x="219" y="43"/>
                      <a:pt x="210" y="34"/>
                      <a:pt x="206" y="22"/>
                    </a:cubicBezTo>
                    <a:cubicBezTo>
                      <a:pt x="202" y="10"/>
                      <a:pt x="186" y="4"/>
                      <a:pt x="169" y="9"/>
                    </a:cubicBezTo>
                    <a:cubicBezTo>
                      <a:pt x="152" y="14"/>
                      <a:pt x="141" y="28"/>
                      <a:pt x="145" y="40"/>
                    </a:cubicBezTo>
                    <a:cubicBezTo>
                      <a:pt x="149" y="53"/>
                      <a:pt x="135" y="72"/>
                      <a:pt x="129" y="76"/>
                    </a:cubicBezTo>
                    <a:cubicBezTo>
                      <a:pt x="123" y="80"/>
                      <a:pt x="111" y="77"/>
                      <a:pt x="101" y="68"/>
                    </a:cubicBezTo>
                    <a:cubicBezTo>
                      <a:pt x="92" y="59"/>
                      <a:pt x="74" y="63"/>
                      <a:pt x="62" y="76"/>
                    </a:cubicBezTo>
                    <a:cubicBezTo>
                      <a:pt x="50" y="89"/>
                      <a:pt x="48" y="106"/>
                      <a:pt x="58" y="115"/>
                    </a:cubicBezTo>
                    <a:cubicBezTo>
                      <a:pt x="67" y="124"/>
                      <a:pt x="65" y="147"/>
                      <a:pt x="62" y="154"/>
                    </a:cubicBezTo>
                    <a:cubicBezTo>
                      <a:pt x="59" y="160"/>
                      <a:pt x="46" y="164"/>
                      <a:pt x="33" y="161"/>
                    </a:cubicBezTo>
                    <a:cubicBezTo>
                      <a:pt x="21" y="158"/>
                      <a:pt x="8" y="169"/>
                      <a:pt x="4" y="187"/>
                    </a:cubicBezTo>
                    <a:cubicBezTo>
                      <a:pt x="0" y="204"/>
                      <a:pt x="7" y="220"/>
                      <a:pt x="19" y="223"/>
                    </a:cubicBezTo>
                    <a:cubicBezTo>
                      <a:pt x="32" y="226"/>
                      <a:pt x="42" y="247"/>
                      <a:pt x="42" y="255"/>
                    </a:cubicBezTo>
                    <a:cubicBezTo>
                      <a:pt x="43" y="262"/>
                      <a:pt x="33" y="271"/>
                      <a:pt x="21" y="275"/>
                    </a:cubicBezTo>
                    <a:cubicBezTo>
                      <a:pt x="9" y="279"/>
                      <a:pt x="3" y="295"/>
                      <a:pt x="8" y="312"/>
                    </a:cubicBezTo>
                    <a:cubicBezTo>
                      <a:pt x="13" y="329"/>
                      <a:pt x="28" y="340"/>
                      <a:pt x="40" y="336"/>
                    </a:cubicBezTo>
                    <a:cubicBezTo>
                      <a:pt x="52" y="332"/>
                      <a:pt x="71" y="346"/>
                      <a:pt x="76" y="352"/>
                    </a:cubicBezTo>
                    <a:cubicBezTo>
                      <a:pt x="80" y="358"/>
                      <a:pt x="76" y="370"/>
                      <a:pt x="67" y="380"/>
                    </a:cubicBezTo>
                    <a:cubicBezTo>
                      <a:pt x="59" y="389"/>
                      <a:pt x="62" y="407"/>
                      <a:pt x="75" y="419"/>
                    </a:cubicBezTo>
                    <a:cubicBezTo>
                      <a:pt x="88" y="430"/>
                      <a:pt x="105" y="433"/>
                      <a:pt x="114" y="423"/>
                    </a:cubicBezTo>
                    <a:cubicBezTo>
                      <a:pt x="123" y="414"/>
                      <a:pt x="147" y="416"/>
                      <a:pt x="153" y="419"/>
                    </a:cubicBezTo>
                    <a:cubicBezTo>
                      <a:pt x="160" y="422"/>
                      <a:pt x="163" y="435"/>
                      <a:pt x="160" y="448"/>
                    </a:cubicBezTo>
                    <a:cubicBezTo>
                      <a:pt x="157" y="460"/>
                      <a:pt x="169" y="473"/>
                      <a:pt x="186" y="477"/>
                    </a:cubicBezTo>
                    <a:cubicBezTo>
                      <a:pt x="203" y="481"/>
                      <a:pt x="219" y="474"/>
                      <a:pt x="222" y="462"/>
                    </a:cubicBezTo>
                    <a:cubicBezTo>
                      <a:pt x="225" y="449"/>
                      <a:pt x="247" y="439"/>
                      <a:pt x="254" y="439"/>
                    </a:cubicBezTo>
                    <a:cubicBezTo>
                      <a:pt x="261" y="438"/>
                      <a:pt x="270" y="448"/>
                      <a:pt x="274" y="460"/>
                    </a:cubicBezTo>
                    <a:cubicBezTo>
                      <a:pt x="278" y="472"/>
                      <a:pt x="295" y="478"/>
                      <a:pt x="311" y="473"/>
                    </a:cubicBezTo>
                    <a:cubicBezTo>
                      <a:pt x="328" y="468"/>
                      <a:pt x="339" y="453"/>
                      <a:pt x="335" y="441"/>
                    </a:cubicBezTo>
                    <a:cubicBezTo>
                      <a:pt x="331" y="429"/>
                      <a:pt x="345" y="410"/>
                      <a:pt x="351" y="405"/>
                    </a:cubicBezTo>
                    <a:cubicBezTo>
                      <a:pt x="357" y="401"/>
                      <a:pt x="370" y="405"/>
                      <a:pt x="379" y="414"/>
                    </a:cubicBezTo>
                    <a:cubicBezTo>
                      <a:pt x="388" y="422"/>
                      <a:pt x="406" y="419"/>
                      <a:pt x="418" y="406"/>
                    </a:cubicBezTo>
                    <a:cubicBezTo>
                      <a:pt x="430" y="393"/>
                      <a:pt x="432" y="376"/>
                      <a:pt x="423" y="367"/>
                    </a:cubicBezTo>
                    <a:close/>
                    <a:moveTo>
                      <a:pt x="145" y="343"/>
                    </a:moveTo>
                    <a:cubicBezTo>
                      <a:pt x="89" y="290"/>
                      <a:pt x="86" y="202"/>
                      <a:pt x="138" y="146"/>
                    </a:cubicBezTo>
                    <a:cubicBezTo>
                      <a:pt x="190" y="90"/>
                      <a:pt x="279" y="86"/>
                      <a:pt x="335" y="139"/>
                    </a:cubicBezTo>
                    <a:cubicBezTo>
                      <a:pt x="391" y="191"/>
                      <a:pt x="394" y="279"/>
                      <a:pt x="342" y="336"/>
                    </a:cubicBezTo>
                    <a:cubicBezTo>
                      <a:pt x="290" y="392"/>
                      <a:pt x="202" y="395"/>
                      <a:pt x="145" y="3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303" name="Freeform 8"/>
              <p:cNvSpPr>
                <a:spLocks/>
              </p:cNvSpPr>
              <p:nvPr/>
            </p:nvSpPr>
            <p:spPr bwMode="auto">
              <a:xfrm>
                <a:off x="-1325" y="1943"/>
                <a:ext cx="510" cy="510"/>
              </a:xfrm>
              <a:custGeom>
                <a:avLst/>
                <a:gdLst>
                  <a:gd name="T0" fmla="*/ 178 w 216"/>
                  <a:gd name="T1" fmla="*/ 177 h 216"/>
                  <a:gd name="T2" fmla="*/ 39 w 216"/>
                  <a:gd name="T3" fmla="*/ 177 h 216"/>
                  <a:gd name="T4" fmla="*/ 39 w 216"/>
                  <a:gd name="T5" fmla="*/ 38 h 216"/>
                  <a:gd name="T6" fmla="*/ 178 w 216"/>
                  <a:gd name="T7" fmla="*/ 38 h 216"/>
                  <a:gd name="T8" fmla="*/ 178 w 216"/>
                  <a:gd name="T9" fmla="*/ 177 h 216"/>
                </a:gdLst>
                <a:ahLst/>
                <a:cxnLst>
                  <a:cxn ang="0">
                    <a:pos x="T0" y="T1"/>
                  </a:cxn>
                  <a:cxn ang="0">
                    <a:pos x="T2" y="T3"/>
                  </a:cxn>
                  <a:cxn ang="0">
                    <a:pos x="T4" y="T5"/>
                  </a:cxn>
                  <a:cxn ang="0">
                    <a:pos x="T6" y="T7"/>
                  </a:cxn>
                  <a:cxn ang="0">
                    <a:pos x="T8" y="T9"/>
                  </a:cxn>
                </a:cxnLst>
                <a:rect l="0" t="0" r="r" b="b"/>
                <a:pathLst>
                  <a:path w="216" h="216">
                    <a:moveTo>
                      <a:pt x="178" y="177"/>
                    </a:moveTo>
                    <a:cubicBezTo>
                      <a:pt x="139" y="216"/>
                      <a:pt x="77" y="216"/>
                      <a:pt x="39" y="177"/>
                    </a:cubicBezTo>
                    <a:cubicBezTo>
                      <a:pt x="0" y="139"/>
                      <a:pt x="0" y="77"/>
                      <a:pt x="39" y="38"/>
                    </a:cubicBezTo>
                    <a:cubicBezTo>
                      <a:pt x="77" y="0"/>
                      <a:pt x="139" y="0"/>
                      <a:pt x="178" y="38"/>
                    </a:cubicBezTo>
                    <a:cubicBezTo>
                      <a:pt x="216" y="77"/>
                      <a:pt x="216" y="139"/>
                      <a:pt x="178"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grpSp>
        <p:sp>
          <p:nvSpPr>
            <p:cNvPr id="255" name="Oval 254"/>
            <p:cNvSpPr/>
            <p:nvPr/>
          </p:nvSpPr>
          <p:spPr>
            <a:xfrm>
              <a:off x="4648471" y="2296853"/>
              <a:ext cx="2345582" cy="2336578"/>
            </a:xfrm>
            <a:prstGeom prst="ellipse">
              <a:avLst/>
            </a:prstGeom>
            <a:solidFill>
              <a:sysClr val="window" lastClr="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609463">
                <a:defRPr/>
              </a:pPr>
              <a:endParaRPr lang="en-US" sz="1400" kern="0" dirty="0">
                <a:solidFill>
                  <a:prstClr val="white"/>
                </a:solidFill>
                <a:latin typeface="Calibri" panose="020F0502020204030204" pitchFamily="34" charset="0"/>
              </a:endParaRPr>
            </a:p>
          </p:txBody>
        </p:sp>
        <p:sp>
          <p:nvSpPr>
            <p:cNvPr id="256" name="Rectangle 255"/>
            <p:cNvSpPr/>
            <p:nvPr/>
          </p:nvSpPr>
          <p:spPr>
            <a:xfrm>
              <a:off x="8351307" y="925587"/>
              <a:ext cx="3448806" cy="954107"/>
            </a:xfrm>
            <a:prstGeom prst="rect">
              <a:avLst/>
            </a:prstGeom>
            <a:noFill/>
          </p:spPr>
          <p:txBody>
            <a:bodyPr wrap="square">
              <a:spAutoFit/>
            </a:bodyPr>
            <a:lstStyle/>
            <a:p>
              <a:pPr marL="228594" indent="-22859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3</a:t>
              </a:r>
              <a:r>
                <a:rPr lang="en-US" sz="1400" kern="0" dirty="0" smtClean="0">
                  <a:solidFill>
                    <a:prstClr val="black"/>
                  </a:solidFill>
                  <a:latin typeface="Calibri" panose="020F0502020204030204" pitchFamily="34" charset="0"/>
                  <a:cs typeface="Arial" panose="020B0604020202020204" pitchFamily="34" charset="0"/>
                </a:rPr>
                <a:t> </a:t>
              </a:r>
              <a:r>
                <a:rPr lang="en-US" sz="1400" kern="0" dirty="0">
                  <a:solidFill>
                    <a:prstClr val="black"/>
                  </a:solidFill>
                  <a:latin typeface="Calibri" panose="020F0502020204030204" pitchFamily="34" charset="0"/>
                  <a:cs typeface="Arial" panose="020B0604020202020204" pitchFamily="34" charset="0"/>
                </a:rPr>
                <a:t>COTS </a:t>
              </a:r>
              <a:r>
                <a:rPr lang="en-US" sz="1400" kern="0" dirty="0" smtClean="0">
                  <a:solidFill>
                    <a:prstClr val="black"/>
                  </a:solidFill>
                  <a:latin typeface="Calibri" panose="020F0502020204030204" pitchFamily="34" charset="0"/>
                  <a:cs typeface="Arial" panose="020B0604020202020204" pitchFamily="34" charset="0"/>
                </a:rPr>
                <a:t>Based, </a:t>
              </a:r>
              <a:r>
                <a:rPr lang="en-US" sz="1400" kern="0" dirty="0">
                  <a:solidFill>
                    <a:prstClr val="black"/>
                  </a:solidFill>
                  <a:latin typeface="Calibri" panose="020F0502020204030204" pitchFamily="34" charset="0"/>
                  <a:cs typeface="Arial" panose="020B0604020202020204" pitchFamily="34" charset="0"/>
                </a:rPr>
                <a:t>44 </a:t>
              </a:r>
              <a:r>
                <a:rPr lang="en-US" sz="1400" kern="0" dirty="0" smtClean="0">
                  <a:solidFill>
                    <a:prstClr val="black"/>
                  </a:solidFill>
                  <a:latin typeface="Calibri" panose="020F0502020204030204" pitchFamily="34" charset="0"/>
                  <a:cs typeface="Arial" panose="020B0604020202020204" pitchFamily="34" charset="0"/>
                </a:rPr>
                <a:t>Custom </a:t>
              </a:r>
            </a:p>
            <a:p>
              <a:pPr marL="228594" indent="-228594" defTabSz="1581500">
                <a:buFont typeface="Arial" panose="020B0604020202020204" pitchFamily="34" charset="0"/>
                <a:buChar char="•"/>
                <a:defRPr/>
              </a:pPr>
              <a:r>
                <a:rPr lang="en-US" sz="1400" kern="0" dirty="0" smtClean="0">
                  <a:solidFill>
                    <a:prstClr val="black"/>
                  </a:solidFill>
                  <a:latin typeface="Calibri" panose="020F0502020204030204" pitchFamily="34" charset="0"/>
                  <a:cs typeface="Arial" panose="020B0604020202020204" pitchFamily="34" charset="0"/>
                </a:rPr>
                <a:t>19 Business Critical</a:t>
              </a:r>
              <a:r>
                <a:rPr lang="en-US" sz="1400" kern="0" dirty="0">
                  <a:solidFill>
                    <a:prstClr val="black"/>
                  </a:solidFill>
                  <a:latin typeface="Calibri" panose="020F0502020204030204" pitchFamily="34" charset="0"/>
                  <a:cs typeface="Arial" panose="020B0604020202020204" pitchFamily="34" charset="0"/>
                </a:rPr>
                <a:t>, 9 </a:t>
              </a:r>
              <a:r>
                <a:rPr lang="en-US" sz="1400" kern="0" dirty="0" smtClean="0">
                  <a:solidFill>
                    <a:prstClr val="black"/>
                  </a:solidFill>
                  <a:latin typeface="Calibri" panose="020F0502020204030204" pitchFamily="34" charset="0"/>
                  <a:cs typeface="Arial" panose="020B0604020202020204" pitchFamily="34" charset="0"/>
                </a:rPr>
                <a:t>Mission Critical, 6 Super Mission Critical, </a:t>
              </a:r>
              <a:r>
                <a:rPr lang="en-US" sz="1400" kern="0" smtClean="0">
                  <a:solidFill>
                    <a:prstClr val="black"/>
                  </a:solidFill>
                  <a:latin typeface="Calibri" panose="020F0502020204030204" pitchFamily="34" charset="0"/>
                  <a:cs typeface="Arial" panose="020B0604020202020204" pitchFamily="34" charset="0"/>
                </a:rPr>
                <a:t>2 Vital</a:t>
              </a:r>
            </a:p>
            <a:p>
              <a:pPr marL="228594" indent="-228594" defTabSz="1581500">
                <a:buFont typeface="Arial" panose="020B0604020202020204" pitchFamily="34" charset="0"/>
                <a:buChar char="•"/>
                <a:defRPr/>
              </a:pPr>
              <a:r>
                <a:rPr lang="en-US" sz="1400" kern="0" smtClean="0">
                  <a:solidFill>
                    <a:prstClr val="black"/>
                  </a:solidFill>
                  <a:latin typeface="Calibri" panose="020F0502020204030204" pitchFamily="34" charset="0"/>
                  <a:cs typeface="Arial" panose="020B0604020202020204" pitchFamily="34" charset="0"/>
                </a:rPr>
                <a:t>Cloud </a:t>
              </a:r>
              <a:r>
                <a:rPr lang="en-US" sz="1400" kern="0" dirty="0">
                  <a:solidFill>
                    <a:prstClr val="black"/>
                  </a:solidFill>
                  <a:latin typeface="Calibri" panose="020F0502020204030204" pitchFamily="34" charset="0"/>
                  <a:cs typeface="Arial" panose="020B0604020202020204" pitchFamily="34" charset="0"/>
                </a:rPr>
                <a:t>– 8, In house – </a:t>
              </a:r>
              <a:r>
                <a:rPr lang="en-US" sz="1400" kern="0" dirty="0" smtClean="0">
                  <a:solidFill>
                    <a:prstClr val="black"/>
                  </a:solidFill>
                  <a:latin typeface="Calibri" panose="020F0502020204030204" pitchFamily="34" charset="0"/>
                  <a:cs typeface="Arial" panose="020B0604020202020204" pitchFamily="34" charset="0"/>
                </a:rPr>
                <a:t>30</a:t>
              </a:r>
              <a:endParaRPr lang="en-US" sz="1400" kern="0" dirty="0">
                <a:solidFill>
                  <a:prstClr val="black"/>
                </a:solidFill>
                <a:latin typeface="Calibri" panose="020F0502020204030204" pitchFamily="34" charset="0"/>
                <a:cs typeface="Arial" panose="020B0604020202020204" pitchFamily="34" charset="0"/>
              </a:endParaRPr>
            </a:p>
          </p:txBody>
        </p:sp>
        <p:sp>
          <p:nvSpPr>
            <p:cNvPr id="257" name="Rectangle 256"/>
            <p:cNvSpPr/>
            <p:nvPr/>
          </p:nvSpPr>
          <p:spPr>
            <a:xfrm>
              <a:off x="440063" y="1074571"/>
              <a:ext cx="3707808" cy="738664"/>
            </a:xfrm>
            <a:prstGeom prst="rect">
              <a:avLst/>
            </a:prstGeom>
          </p:spPr>
          <p:txBody>
            <a:bodyPr wrap="square">
              <a:spAutoFit/>
            </a:bodyPr>
            <a:lstStyle/>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Incident Management, Problem Management, Capacity </a:t>
              </a:r>
              <a:r>
                <a:rPr lang="en-US" sz="1400" kern="0" dirty="0" err="1">
                  <a:solidFill>
                    <a:prstClr val="black"/>
                  </a:solidFill>
                  <a:latin typeface="Calibri" panose="020F0502020204030204" pitchFamily="34" charset="0"/>
                  <a:cs typeface="Arial" panose="020B0604020202020204" pitchFamily="34" charset="0"/>
                </a:rPr>
                <a:t>Mgmt</a:t>
              </a:r>
              <a:r>
                <a:rPr lang="en-US" sz="1400" kern="0" dirty="0">
                  <a:solidFill>
                    <a:prstClr val="black"/>
                  </a:solidFill>
                  <a:latin typeface="Calibri" panose="020F0502020204030204" pitchFamily="34" charset="0"/>
                  <a:cs typeface="Arial" panose="020B0604020202020204" pitchFamily="34" charset="0"/>
                </a:rPr>
                <a:t>, Monitoring, Release, Change, Config Mgmt. </a:t>
              </a:r>
            </a:p>
          </p:txBody>
        </p:sp>
        <p:sp>
          <p:nvSpPr>
            <p:cNvPr id="258" name="Rectangle 257"/>
            <p:cNvSpPr/>
            <p:nvPr/>
          </p:nvSpPr>
          <p:spPr>
            <a:xfrm>
              <a:off x="428813" y="2280460"/>
              <a:ext cx="2828704" cy="954107"/>
            </a:xfrm>
            <a:prstGeom prst="rect">
              <a:avLst/>
            </a:prstGeom>
          </p:spPr>
          <p:txBody>
            <a:bodyPr wrap="square" numCol="1">
              <a:spAutoFit/>
            </a:bodyPr>
            <a:lstStyle/>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Assembler, C, C++, Java/HTML, PHP/Drupal, Siebel, Mainframe, Linux, Mobile Apps, </a:t>
              </a:r>
              <a:r>
                <a:rPr lang="en-US" sz="1400" kern="0" dirty="0" err="1">
                  <a:solidFill>
                    <a:prstClr val="black"/>
                  </a:solidFill>
                  <a:latin typeface="Calibri" panose="020F0502020204030204" pitchFamily="34" charset="0"/>
                  <a:cs typeface="Arial" panose="020B0604020202020204" pitchFamily="34" charset="0"/>
                </a:rPr>
                <a:t>Informatica</a:t>
              </a:r>
              <a:r>
                <a:rPr lang="en-US" sz="1400" kern="0" dirty="0">
                  <a:solidFill>
                    <a:prstClr val="black"/>
                  </a:solidFill>
                  <a:latin typeface="Calibri" panose="020F0502020204030204" pitchFamily="34" charset="0"/>
                  <a:cs typeface="Arial" panose="020B0604020202020204" pitchFamily="34" charset="0"/>
                </a:rPr>
                <a:t>, Data Warehouse, Salesforce</a:t>
              </a:r>
            </a:p>
          </p:txBody>
        </p:sp>
        <p:sp>
          <p:nvSpPr>
            <p:cNvPr id="259" name="TextBox 258"/>
            <p:cNvSpPr txBox="1"/>
            <p:nvPr/>
          </p:nvSpPr>
          <p:spPr>
            <a:xfrm>
              <a:off x="8352401" y="724755"/>
              <a:ext cx="1425903" cy="307777"/>
            </a:xfrm>
            <a:prstGeom prst="rect">
              <a:avLst/>
            </a:prstGeom>
            <a:noFill/>
          </p:spPr>
          <p:txBody>
            <a:bodyPr wrap="none" rtlCol="0">
              <a:spAutoFit/>
            </a:bodyPr>
            <a:lstStyle/>
            <a:p>
              <a:pPr defTabSz="609463"/>
              <a:r>
                <a:rPr lang="en-US" sz="1400" b="1" dirty="0">
                  <a:solidFill>
                    <a:prstClr val="black"/>
                  </a:solidFill>
                  <a:latin typeface="Calibri" panose="020F0502020204030204" pitchFamily="34" charset="0"/>
                </a:rPr>
                <a:t>Applications - 58</a:t>
              </a:r>
            </a:p>
          </p:txBody>
        </p:sp>
        <p:sp>
          <p:nvSpPr>
            <p:cNvPr id="260" name="Rectangle 259"/>
            <p:cNvSpPr/>
            <p:nvPr/>
          </p:nvSpPr>
          <p:spPr>
            <a:xfrm>
              <a:off x="267570" y="4765932"/>
              <a:ext cx="2716104" cy="307777"/>
            </a:xfrm>
            <a:prstGeom prst="rect">
              <a:avLst/>
            </a:prstGeom>
          </p:spPr>
          <p:txBody>
            <a:bodyPr wrap="square">
              <a:spAutoFit/>
            </a:bodyPr>
            <a:lstStyle/>
            <a:p>
              <a:pPr defTabSz="609463"/>
              <a:r>
                <a:rPr lang="en-US" sz="1400" b="1" dirty="0">
                  <a:solidFill>
                    <a:prstClr val="black"/>
                  </a:solidFill>
                  <a:latin typeface="Calibri" panose="020F0502020204030204" pitchFamily="34" charset="0"/>
                </a:rPr>
                <a:t>Support Coverages – 24x7</a:t>
              </a:r>
            </a:p>
          </p:txBody>
        </p:sp>
        <p:sp>
          <p:nvSpPr>
            <p:cNvPr id="261" name="Rectangle 260"/>
            <p:cNvSpPr/>
            <p:nvPr/>
          </p:nvSpPr>
          <p:spPr>
            <a:xfrm>
              <a:off x="328474" y="769324"/>
              <a:ext cx="1824676" cy="307777"/>
            </a:xfrm>
            <a:prstGeom prst="rect">
              <a:avLst/>
            </a:prstGeom>
          </p:spPr>
          <p:txBody>
            <a:bodyPr wrap="square">
              <a:spAutoFit/>
            </a:bodyPr>
            <a:lstStyle/>
            <a:p>
              <a:pPr defTabSz="609463"/>
              <a:r>
                <a:rPr lang="en-US" sz="1400" b="1" dirty="0">
                  <a:solidFill>
                    <a:prstClr val="black"/>
                  </a:solidFill>
                  <a:latin typeface="Calibri" panose="020F0502020204030204" pitchFamily="34" charset="0"/>
                </a:rPr>
                <a:t>Scope of Services </a:t>
              </a:r>
            </a:p>
          </p:txBody>
        </p:sp>
        <p:sp>
          <p:nvSpPr>
            <p:cNvPr id="262" name="Rectangle 261"/>
            <p:cNvSpPr/>
            <p:nvPr/>
          </p:nvSpPr>
          <p:spPr>
            <a:xfrm>
              <a:off x="317223" y="2006549"/>
              <a:ext cx="1451423" cy="307777"/>
            </a:xfrm>
            <a:prstGeom prst="rect">
              <a:avLst/>
            </a:prstGeom>
          </p:spPr>
          <p:txBody>
            <a:bodyPr wrap="none">
              <a:spAutoFit/>
            </a:bodyPr>
            <a:lstStyle/>
            <a:p>
              <a:pPr defTabSz="609463"/>
              <a:r>
                <a:rPr lang="en-US" sz="1400" b="1" dirty="0">
                  <a:solidFill>
                    <a:prstClr val="black"/>
                  </a:solidFill>
                  <a:latin typeface="Calibri" panose="020F0502020204030204" pitchFamily="34" charset="0"/>
                </a:rPr>
                <a:t>Key Technologies</a:t>
              </a:r>
            </a:p>
          </p:txBody>
        </p:sp>
        <p:sp>
          <p:nvSpPr>
            <p:cNvPr id="263" name="Rectangle 262"/>
            <p:cNvSpPr/>
            <p:nvPr/>
          </p:nvSpPr>
          <p:spPr>
            <a:xfrm>
              <a:off x="8436587" y="2651359"/>
              <a:ext cx="861903" cy="307777"/>
            </a:xfrm>
            <a:prstGeom prst="rect">
              <a:avLst/>
            </a:prstGeom>
          </p:spPr>
          <p:txBody>
            <a:bodyPr wrap="none">
              <a:spAutoFit/>
            </a:bodyPr>
            <a:lstStyle/>
            <a:p>
              <a:pPr defTabSz="609463"/>
              <a:r>
                <a:rPr lang="en-US" sz="1400" b="1" dirty="0">
                  <a:solidFill>
                    <a:prstClr val="black"/>
                  </a:solidFill>
                  <a:latin typeface="Calibri" panose="020F0502020204030204" pitchFamily="34" charset="0"/>
                </a:rPr>
                <a:t>Key SLA’s</a:t>
              </a:r>
            </a:p>
          </p:txBody>
        </p:sp>
        <p:grpSp>
          <p:nvGrpSpPr>
            <p:cNvPr id="264" name="Group 4"/>
            <p:cNvGrpSpPr>
              <a:grpSpLocks noChangeAspect="1"/>
            </p:cNvGrpSpPr>
            <p:nvPr/>
          </p:nvGrpSpPr>
          <p:grpSpPr bwMode="auto">
            <a:xfrm>
              <a:off x="7662497" y="3262944"/>
              <a:ext cx="513096" cy="443365"/>
              <a:chOff x="-201" y="713"/>
              <a:chExt cx="1652" cy="1433"/>
            </a:xfrm>
            <a:solidFill>
              <a:sysClr val="window" lastClr="FFFFFF"/>
            </a:solidFill>
            <a:effectLst>
              <a:outerShdw blurRad="63500" sx="102000" sy="102000" algn="ctr" rotWithShape="0">
                <a:prstClr val="black">
                  <a:alpha val="40000"/>
                </a:prstClr>
              </a:outerShdw>
            </a:effectLst>
          </p:grpSpPr>
          <p:sp>
            <p:nvSpPr>
              <p:cNvPr id="295" name="Oval 5"/>
              <p:cNvSpPr>
                <a:spLocks noChangeArrowheads="1"/>
              </p:cNvSpPr>
              <p:nvPr/>
            </p:nvSpPr>
            <p:spPr bwMode="auto">
              <a:xfrm>
                <a:off x="-64"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296" name="Freeform 6"/>
              <p:cNvSpPr>
                <a:spLocks noEditPoints="1"/>
              </p:cNvSpPr>
              <p:nvPr/>
            </p:nvSpPr>
            <p:spPr bwMode="auto">
              <a:xfrm>
                <a:off x="-201" y="713"/>
                <a:ext cx="488" cy="1433"/>
              </a:xfrm>
              <a:custGeom>
                <a:avLst/>
                <a:gdLst>
                  <a:gd name="T0" fmla="*/ 171 w 206"/>
                  <a:gd name="T1" fmla="*/ 0 h 604"/>
                  <a:gd name="T2" fmla="*/ 34 w 206"/>
                  <a:gd name="T3" fmla="*/ 0 h 604"/>
                  <a:gd name="T4" fmla="*/ 0 w 206"/>
                  <a:gd name="T5" fmla="*/ 35 h 604"/>
                  <a:gd name="T6" fmla="*/ 0 w 206"/>
                  <a:gd name="T7" fmla="*/ 569 h 604"/>
                  <a:gd name="T8" fmla="*/ 34 w 206"/>
                  <a:gd name="T9" fmla="*/ 604 h 604"/>
                  <a:gd name="T10" fmla="*/ 171 w 206"/>
                  <a:gd name="T11" fmla="*/ 604 h 604"/>
                  <a:gd name="T12" fmla="*/ 206 w 206"/>
                  <a:gd name="T13" fmla="*/ 569 h 604"/>
                  <a:gd name="T14" fmla="*/ 206 w 206"/>
                  <a:gd name="T15" fmla="*/ 35 h 604"/>
                  <a:gd name="T16" fmla="*/ 171 w 206"/>
                  <a:gd name="T17" fmla="*/ 0 h 604"/>
                  <a:gd name="T18" fmla="*/ 42 w 206"/>
                  <a:gd name="T19" fmla="*/ 116 h 604"/>
                  <a:gd name="T20" fmla="*/ 77 w 206"/>
                  <a:gd name="T21" fmla="*/ 81 h 604"/>
                  <a:gd name="T22" fmla="*/ 128 w 206"/>
                  <a:gd name="T23" fmla="*/ 81 h 604"/>
                  <a:gd name="T24" fmla="*/ 163 w 206"/>
                  <a:gd name="T25" fmla="*/ 116 h 604"/>
                  <a:gd name="T26" fmla="*/ 163 w 206"/>
                  <a:gd name="T27" fmla="*/ 336 h 604"/>
                  <a:gd name="T28" fmla="*/ 128 w 206"/>
                  <a:gd name="T29" fmla="*/ 370 h 604"/>
                  <a:gd name="T30" fmla="*/ 77 w 206"/>
                  <a:gd name="T31" fmla="*/ 370 h 604"/>
                  <a:gd name="T32" fmla="*/ 42 w 206"/>
                  <a:gd name="T33" fmla="*/ 336 h 604"/>
                  <a:gd name="T34" fmla="*/ 42 w 206"/>
                  <a:gd name="T35" fmla="*/ 116 h 604"/>
                  <a:gd name="T36" fmla="*/ 103 w 206"/>
                  <a:gd name="T37" fmla="*/ 555 h 604"/>
                  <a:gd name="T38" fmla="*/ 39 w 206"/>
                  <a:gd name="T39" fmla="*/ 492 h 604"/>
                  <a:gd name="T40" fmla="*/ 103 w 206"/>
                  <a:gd name="T41" fmla="*/ 428 h 604"/>
                  <a:gd name="T42" fmla="*/ 166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1" y="0"/>
                    </a:moveTo>
                    <a:cubicBezTo>
                      <a:pt x="34" y="0"/>
                      <a:pt x="34" y="0"/>
                      <a:pt x="34" y="0"/>
                    </a:cubicBezTo>
                    <a:cubicBezTo>
                      <a:pt x="15" y="0"/>
                      <a:pt x="0" y="16"/>
                      <a:pt x="0" y="35"/>
                    </a:cubicBezTo>
                    <a:cubicBezTo>
                      <a:pt x="0" y="569"/>
                      <a:pt x="0" y="569"/>
                      <a:pt x="0" y="569"/>
                    </a:cubicBezTo>
                    <a:cubicBezTo>
                      <a:pt x="0" y="588"/>
                      <a:pt x="15" y="604"/>
                      <a:pt x="34" y="604"/>
                    </a:cubicBezTo>
                    <a:cubicBezTo>
                      <a:pt x="171" y="604"/>
                      <a:pt x="171" y="604"/>
                      <a:pt x="171" y="604"/>
                    </a:cubicBezTo>
                    <a:cubicBezTo>
                      <a:pt x="190" y="604"/>
                      <a:pt x="206" y="588"/>
                      <a:pt x="206" y="569"/>
                    </a:cubicBezTo>
                    <a:cubicBezTo>
                      <a:pt x="206" y="35"/>
                      <a:pt x="206" y="35"/>
                      <a:pt x="206" y="35"/>
                    </a:cubicBezTo>
                    <a:cubicBezTo>
                      <a:pt x="206" y="16"/>
                      <a:pt x="190" y="0"/>
                      <a:pt x="171" y="0"/>
                    </a:cubicBezTo>
                    <a:close/>
                    <a:moveTo>
                      <a:pt x="42" y="116"/>
                    </a:moveTo>
                    <a:cubicBezTo>
                      <a:pt x="42" y="97"/>
                      <a:pt x="58" y="81"/>
                      <a:pt x="77" y="81"/>
                    </a:cubicBezTo>
                    <a:cubicBezTo>
                      <a:pt x="128" y="81"/>
                      <a:pt x="128" y="81"/>
                      <a:pt x="128" y="81"/>
                    </a:cubicBezTo>
                    <a:cubicBezTo>
                      <a:pt x="147" y="81"/>
                      <a:pt x="163" y="97"/>
                      <a:pt x="163" y="116"/>
                    </a:cubicBezTo>
                    <a:cubicBezTo>
                      <a:pt x="163" y="336"/>
                      <a:pt x="163" y="336"/>
                      <a:pt x="163" y="336"/>
                    </a:cubicBezTo>
                    <a:cubicBezTo>
                      <a:pt x="163" y="355"/>
                      <a:pt x="147" y="370"/>
                      <a:pt x="128" y="370"/>
                    </a:cubicBezTo>
                    <a:cubicBezTo>
                      <a:pt x="77" y="370"/>
                      <a:pt x="77" y="370"/>
                      <a:pt x="77" y="370"/>
                    </a:cubicBezTo>
                    <a:cubicBezTo>
                      <a:pt x="58" y="370"/>
                      <a:pt x="42" y="355"/>
                      <a:pt x="42" y="336"/>
                    </a:cubicBezTo>
                    <a:lnTo>
                      <a:pt x="42" y="116"/>
                    </a:lnTo>
                    <a:close/>
                    <a:moveTo>
                      <a:pt x="103" y="555"/>
                    </a:moveTo>
                    <a:cubicBezTo>
                      <a:pt x="68" y="555"/>
                      <a:pt x="39" y="527"/>
                      <a:pt x="39" y="492"/>
                    </a:cubicBezTo>
                    <a:cubicBezTo>
                      <a:pt x="39" y="457"/>
                      <a:pt x="68" y="428"/>
                      <a:pt x="103" y="428"/>
                    </a:cubicBezTo>
                    <a:cubicBezTo>
                      <a:pt x="138" y="428"/>
                      <a:pt x="166" y="457"/>
                      <a:pt x="166" y="492"/>
                    </a:cubicBezTo>
                    <a:cubicBezTo>
                      <a:pt x="166"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297" name="Freeform 7"/>
              <p:cNvSpPr>
                <a:spLocks noEditPoints="1"/>
              </p:cNvSpPr>
              <p:nvPr/>
            </p:nvSpPr>
            <p:spPr bwMode="auto">
              <a:xfrm>
                <a:off x="380" y="713"/>
                <a:ext cx="488" cy="1433"/>
              </a:xfrm>
              <a:custGeom>
                <a:avLst/>
                <a:gdLst>
                  <a:gd name="T0" fmla="*/ 172 w 206"/>
                  <a:gd name="T1" fmla="*/ 0 h 604"/>
                  <a:gd name="T2" fmla="*/ 35 w 206"/>
                  <a:gd name="T3" fmla="*/ 0 h 604"/>
                  <a:gd name="T4" fmla="*/ 0 w 206"/>
                  <a:gd name="T5" fmla="*/ 35 h 604"/>
                  <a:gd name="T6" fmla="*/ 0 w 206"/>
                  <a:gd name="T7" fmla="*/ 569 h 604"/>
                  <a:gd name="T8" fmla="*/ 35 w 206"/>
                  <a:gd name="T9" fmla="*/ 604 h 604"/>
                  <a:gd name="T10" fmla="*/ 172 w 206"/>
                  <a:gd name="T11" fmla="*/ 604 h 604"/>
                  <a:gd name="T12" fmla="*/ 206 w 206"/>
                  <a:gd name="T13" fmla="*/ 569 h 604"/>
                  <a:gd name="T14" fmla="*/ 206 w 206"/>
                  <a:gd name="T15" fmla="*/ 35 h 604"/>
                  <a:gd name="T16" fmla="*/ 172 w 206"/>
                  <a:gd name="T17" fmla="*/ 0 h 604"/>
                  <a:gd name="T18" fmla="*/ 43 w 206"/>
                  <a:gd name="T19" fmla="*/ 116 h 604"/>
                  <a:gd name="T20" fmla="*/ 78 w 206"/>
                  <a:gd name="T21" fmla="*/ 81 h 604"/>
                  <a:gd name="T22" fmla="*/ 129 w 206"/>
                  <a:gd name="T23" fmla="*/ 81 h 604"/>
                  <a:gd name="T24" fmla="*/ 164 w 206"/>
                  <a:gd name="T25" fmla="*/ 116 h 604"/>
                  <a:gd name="T26" fmla="*/ 164 w 206"/>
                  <a:gd name="T27" fmla="*/ 336 h 604"/>
                  <a:gd name="T28" fmla="*/ 129 w 206"/>
                  <a:gd name="T29" fmla="*/ 370 h 604"/>
                  <a:gd name="T30" fmla="*/ 78 w 206"/>
                  <a:gd name="T31" fmla="*/ 370 h 604"/>
                  <a:gd name="T32" fmla="*/ 43 w 206"/>
                  <a:gd name="T33" fmla="*/ 336 h 604"/>
                  <a:gd name="T34" fmla="*/ 43 w 206"/>
                  <a:gd name="T35" fmla="*/ 116 h 604"/>
                  <a:gd name="T36" fmla="*/ 103 w 206"/>
                  <a:gd name="T37" fmla="*/ 555 h 604"/>
                  <a:gd name="T38" fmla="*/ 40 w 206"/>
                  <a:gd name="T39" fmla="*/ 492 h 604"/>
                  <a:gd name="T40" fmla="*/ 103 w 206"/>
                  <a:gd name="T41" fmla="*/ 428 h 604"/>
                  <a:gd name="T42" fmla="*/ 167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2" y="0"/>
                    </a:moveTo>
                    <a:cubicBezTo>
                      <a:pt x="35" y="0"/>
                      <a:pt x="35" y="0"/>
                      <a:pt x="35" y="0"/>
                    </a:cubicBezTo>
                    <a:cubicBezTo>
                      <a:pt x="16" y="0"/>
                      <a:pt x="0" y="16"/>
                      <a:pt x="0" y="35"/>
                    </a:cubicBezTo>
                    <a:cubicBezTo>
                      <a:pt x="0" y="569"/>
                      <a:pt x="0" y="569"/>
                      <a:pt x="0" y="569"/>
                    </a:cubicBezTo>
                    <a:cubicBezTo>
                      <a:pt x="0" y="588"/>
                      <a:pt x="16" y="604"/>
                      <a:pt x="35" y="604"/>
                    </a:cubicBezTo>
                    <a:cubicBezTo>
                      <a:pt x="172" y="604"/>
                      <a:pt x="172" y="604"/>
                      <a:pt x="172" y="604"/>
                    </a:cubicBezTo>
                    <a:cubicBezTo>
                      <a:pt x="191" y="604"/>
                      <a:pt x="206" y="588"/>
                      <a:pt x="206" y="569"/>
                    </a:cubicBezTo>
                    <a:cubicBezTo>
                      <a:pt x="206" y="35"/>
                      <a:pt x="206" y="35"/>
                      <a:pt x="206" y="35"/>
                    </a:cubicBezTo>
                    <a:cubicBezTo>
                      <a:pt x="206" y="16"/>
                      <a:pt x="191" y="0"/>
                      <a:pt x="172" y="0"/>
                    </a:cubicBezTo>
                    <a:close/>
                    <a:moveTo>
                      <a:pt x="43" y="116"/>
                    </a:moveTo>
                    <a:cubicBezTo>
                      <a:pt x="43" y="97"/>
                      <a:pt x="59" y="81"/>
                      <a:pt x="78" y="81"/>
                    </a:cubicBezTo>
                    <a:cubicBezTo>
                      <a:pt x="129" y="81"/>
                      <a:pt x="129" y="81"/>
                      <a:pt x="129" y="81"/>
                    </a:cubicBezTo>
                    <a:cubicBezTo>
                      <a:pt x="148" y="81"/>
                      <a:pt x="164" y="97"/>
                      <a:pt x="164" y="116"/>
                    </a:cubicBezTo>
                    <a:cubicBezTo>
                      <a:pt x="164" y="336"/>
                      <a:pt x="164" y="336"/>
                      <a:pt x="164" y="336"/>
                    </a:cubicBezTo>
                    <a:cubicBezTo>
                      <a:pt x="164" y="355"/>
                      <a:pt x="148" y="370"/>
                      <a:pt x="129" y="370"/>
                    </a:cubicBezTo>
                    <a:cubicBezTo>
                      <a:pt x="78" y="370"/>
                      <a:pt x="78" y="370"/>
                      <a:pt x="78" y="370"/>
                    </a:cubicBezTo>
                    <a:cubicBezTo>
                      <a:pt x="59" y="370"/>
                      <a:pt x="43" y="355"/>
                      <a:pt x="43" y="336"/>
                    </a:cubicBezTo>
                    <a:lnTo>
                      <a:pt x="43" y="116"/>
                    </a:lnTo>
                    <a:close/>
                    <a:moveTo>
                      <a:pt x="103" y="555"/>
                    </a:moveTo>
                    <a:cubicBezTo>
                      <a:pt x="68" y="555"/>
                      <a:pt x="40" y="527"/>
                      <a:pt x="40" y="492"/>
                    </a:cubicBezTo>
                    <a:cubicBezTo>
                      <a:pt x="40" y="457"/>
                      <a:pt x="68" y="428"/>
                      <a:pt x="103" y="428"/>
                    </a:cubicBezTo>
                    <a:cubicBezTo>
                      <a:pt x="138" y="428"/>
                      <a:pt x="167" y="457"/>
                      <a:pt x="167" y="492"/>
                    </a:cubicBezTo>
                    <a:cubicBezTo>
                      <a:pt x="167"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298" name="Oval 8"/>
              <p:cNvSpPr>
                <a:spLocks noChangeArrowheads="1"/>
              </p:cNvSpPr>
              <p:nvPr/>
            </p:nvSpPr>
            <p:spPr bwMode="auto">
              <a:xfrm>
                <a:off x="517"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299" name="Freeform 7"/>
              <p:cNvSpPr>
                <a:spLocks noEditPoints="1"/>
              </p:cNvSpPr>
              <p:nvPr/>
            </p:nvSpPr>
            <p:spPr bwMode="auto">
              <a:xfrm>
                <a:off x="963" y="713"/>
                <a:ext cx="488" cy="1433"/>
              </a:xfrm>
              <a:custGeom>
                <a:avLst/>
                <a:gdLst>
                  <a:gd name="T0" fmla="*/ 172 w 206"/>
                  <a:gd name="T1" fmla="*/ 0 h 604"/>
                  <a:gd name="T2" fmla="*/ 35 w 206"/>
                  <a:gd name="T3" fmla="*/ 0 h 604"/>
                  <a:gd name="T4" fmla="*/ 0 w 206"/>
                  <a:gd name="T5" fmla="*/ 35 h 604"/>
                  <a:gd name="T6" fmla="*/ 0 w 206"/>
                  <a:gd name="T7" fmla="*/ 569 h 604"/>
                  <a:gd name="T8" fmla="*/ 35 w 206"/>
                  <a:gd name="T9" fmla="*/ 604 h 604"/>
                  <a:gd name="T10" fmla="*/ 172 w 206"/>
                  <a:gd name="T11" fmla="*/ 604 h 604"/>
                  <a:gd name="T12" fmla="*/ 206 w 206"/>
                  <a:gd name="T13" fmla="*/ 569 h 604"/>
                  <a:gd name="T14" fmla="*/ 206 w 206"/>
                  <a:gd name="T15" fmla="*/ 35 h 604"/>
                  <a:gd name="T16" fmla="*/ 172 w 206"/>
                  <a:gd name="T17" fmla="*/ 0 h 604"/>
                  <a:gd name="T18" fmla="*/ 43 w 206"/>
                  <a:gd name="T19" fmla="*/ 116 h 604"/>
                  <a:gd name="T20" fmla="*/ 78 w 206"/>
                  <a:gd name="T21" fmla="*/ 81 h 604"/>
                  <a:gd name="T22" fmla="*/ 129 w 206"/>
                  <a:gd name="T23" fmla="*/ 81 h 604"/>
                  <a:gd name="T24" fmla="*/ 164 w 206"/>
                  <a:gd name="T25" fmla="*/ 116 h 604"/>
                  <a:gd name="T26" fmla="*/ 164 w 206"/>
                  <a:gd name="T27" fmla="*/ 336 h 604"/>
                  <a:gd name="T28" fmla="*/ 129 w 206"/>
                  <a:gd name="T29" fmla="*/ 370 h 604"/>
                  <a:gd name="T30" fmla="*/ 78 w 206"/>
                  <a:gd name="T31" fmla="*/ 370 h 604"/>
                  <a:gd name="T32" fmla="*/ 43 w 206"/>
                  <a:gd name="T33" fmla="*/ 336 h 604"/>
                  <a:gd name="T34" fmla="*/ 43 w 206"/>
                  <a:gd name="T35" fmla="*/ 116 h 604"/>
                  <a:gd name="T36" fmla="*/ 103 w 206"/>
                  <a:gd name="T37" fmla="*/ 555 h 604"/>
                  <a:gd name="T38" fmla="*/ 40 w 206"/>
                  <a:gd name="T39" fmla="*/ 492 h 604"/>
                  <a:gd name="T40" fmla="*/ 103 w 206"/>
                  <a:gd name="T41" fmla="*/ 428 h 604"/>
                  <a:gd name="T42" fmla="*/ 167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2" y="0"/>
                    </a:moveTo>
                    <a:cubicBezTo>
                      <a:pt x="35" y="0"/>
                      <a:pt x="35" y="0"/>
                      <a:pt x="35" y="0"/>
                    </a:cubicBezTo>
                    <a:cubicBezTo>
                      <a:pt x="16" y="0"/>
                      <a:pt x="0" y="16"/>
                      <a:pt x="0" y="35"/>
                    </a:cubicBezTo>
                    <a:cubicBezTo>
                      <a:pt x="0" y="569"/>
                      <a:pt x="0" y="569"/>
                      <a:pt x="0" y="569"/>
                    </a:cubicBezTo>
                    <a:cubicBezTo>
                      <a:pt x="0" y="588"/>
                      <a:pt x="16" y="604"/>
                      <a:pt x="35" y="604"/>
                    </a:cubicBezTo>
                    <a:cubicBezTo>
                      <a:pt x="172" y="604"/>
                      <a:pt x="172" y="604"/>
                      <a:pt x="172" y="604"/>
                    </a:cubicBezTo>
                    <a:cubicBezTo>
                      <a:pt x="191" y="604"/>
                      <a:pt x="206" y="588"/>
                      <a:pt x="206" y="569"/>
                    </a:cubicBezTo>
                    <a:cubicBezTo>
                      <a:pt x="206" y="35"/>
                      <a:pt x="206" y="35"/>
                      <a:pt x="206" y="35"/>
                    </a:cubicBezTo>
                    <a:cubicBezTo>
                      <a:pt x="206" y="16"/>
                      <a:pt x="191" y="0"/>
                      <a:pt x="172" y="0"/>
                    </a:cubicBezTo>
                    <a:close/>
                    <a:moveTo>
                      <a:pt x="43" y="116"/>
                    </a:moveTo>
                    <a:cubicBezTo>
                      <a:pt x="43" y="97"/>
                      <a:pt x="59" y="81"/>
                      <a:pt x="78" y="81"/>
                    </a:cubicBezTo>
                    <a:cubicBezTo>
                      <a:pt x="129" y="81"/>
                      <a:pt x="129" y="81"/>
                      <a:pt x="129" y="81"/>
                    </a:cubicBezTo>
                    <a:cubicBezTo>
                      <a:pt x="148" y="81"/>
                      <a:pt x="164" y="97"/>
                      <a:pt x="164" y="116"/>
                    </a:cubicBezTo>
                    <a:cubicBezTo>
                      <a:pt x="164" y="336"/>
                      <a:pt x="164" y="336"/>
                      <a:pt x="164" y="336"/>
                    </a:cubicBezTo>
                    <a:cubicBezTo>
                      <a:pt x="164" y="355"/>
                      <a:pt x="148" y="370"/>
                      <a:pt x="129" y="370"/>
                    </a:cubicBezTo>
                    <a:cubicBezTo>
                      <a:pt x="78" y="370"/>
                      <a:pt x="78" y="370"/>
                      <a:pt x="78" y="370"/>
                    </a:cubicBezTo>
                    <a:cubicBezTo>
                      <a:pt x="59" y="370"/>
                      <a:pt x="43" y="355"/>
                      <a:pt x="43" y="336"/>
                    </a:cubicBezTo>
                    <a:lnTo>
                      <a:pt x="43" y="116"/>
                    </a:lnTo>
                    <a:close/>
                    <a:moveTo>
                      <a:pt x="103" y="555"/>
                    </a:moveTo>
                    <a:cubicBezTo>
                      <a:pt x="68" y="555"/>
                      <a:pt x="40" y="527"/>
                      <a:pt x="40" y="492"/>
                    </a:cubicBezTo>
                    <a:cubicBezTo>
                      <a:pt x="40" y="457"/>
                      <a:pt x="68" y="428"/>
                      <a:pt x="103" y="428"/>
                    </a:cubicBezTo>
                    <a:cubicBezTo>
                      <a:pt x="138" y="428"/>
                      <a:pt x="167" y="457"/>
                      <a:pt x="167" y="492"/>
                    </a:cubicBezTo>
                    <a:cubicBezTo>
                      <a:pt x="167"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sp>
            <p:nvSpPr>
              <p:cNvPr id="300" name="Oval 8"/>
              <p:cNvSpPr>
                <a:spLocks noChangeArrowheads="1"/>
              </p:cNvSpPr>
              <p:nvPr/>
            </p:nvSpPr>
            <p:spPr bwMode="auto">
              <a:xfrm>
                <a:off x="1100"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US" sz="1400" kern="0" dirty="0">
                  <a:solidFill>
                    <a:prstClr val="black"/>
                  </a:solidFill>
                  <a:latin typeface="Calibri" panose="020F0502020204030204" pitchFamily="34" charset="0"/>
                </a:endParaRPr>
              </a:p>
            </p:txBody>
          </p:sp>
        </p:grpSp>
        <p:grpSp>
          <p:nvGrpSpPr>
            <p:cNvPr id="265" name="Group 264"/>
            <p:cNvGrpSpPr>
              <a:grpSpLocks noChangeAspect="1"/>
            </p:cNvGrpSpPr>
            <p:nvPr/>
          </p:nvGrpSpPr>
          <p:grpSpPr>
            <a:xfrm>
              <a:off x="4147871" y="4726319"/>
              <a:ext cx="482684" cy="584144"/>
              <a:chOff x="8326165" y="1883987"/>
              <a:chExt cx="485962" cy="590377"/>
            </a:xfrm>
          </p:grpSpPr>
          <p:sp>
            <p:nvSpPr>
              <p:cNvPr id="293" name="Freeform 234"/>
              <p:cNvSpPr>
                <a:spLocks noEditPoints="1"/>
              </p:cNvSpPr>
              <p:nvPr/>
            </p:nvSpPr>
            <p:spPr bwMode="auto">
              <a:xfrm>
                <a:off x="8326165" y="2234020"/>
                <a:ext cx="485962" cy="240344"/>
              </a:xfrm>
              <a:custGeom>
                <a:avLst/>
                <a:gdLst>
                  <a:gd name="T0" fmla="*/ 533 w 1923"/>
                  <a:gd name="T1" fmla="*/ 894 h 894"/>
                  <a:gd name="T2" fmla="*/ 566 w 1923"/>
                  <a:gd name="T3" fmla="*/ 884 h 894"/>
                  <a:gd name="T4" fmla="*/ 592 w 1923"/>
                  <a:gd name="T5" fmla="*/ 857 h 894"/>
                  <a:gd name="T6" fmla="*/ 634 w 1923"/>
                  <a:gd name="T7" fmla="*/ 773 h 894"/>
                  <a:gd name="T8" fmla="*/ 673 w 1923"/>
                  <a:gd name="T9" fmla="*/ 714 h 894"/>
                  <a:gd name="T10" fmla="*/ 703 w 1923"/>
                  <a:gd name="T11" fmla="*/ 689 h 894"/>
                  <a:gd name="T12" fmla="*/ 742 w 1923"/>
                  <a:gd name="T13" fmla="*/ 670 h 894"/>
                  <a:gd name="T14" fmla="*/ 793 w 1923"/>
                  <a:gd name="T15" fmla="*/ 660 h 894"/>
                  <a:gd name="T16" fmla="*/ 859 w 1923"/>
                  <a:gd name="T17" fmla="*/ 657 h 894"/>
                  <a:gd name="T18" fmla="*/ 1230 w 1923"/>
                  <a:gd name="T19" fmla="*/ 662 h 894"/>
                  <a:gd name="T20" fmla="*/ 1458 w 1923"/>
                  <a:gd name="T21" fmla="*/ 657 h 894"/>
                  <a:gd name="T22" fmla="*/ 1511 w 1923"/>
                  <a:gd name="T23" fmla="*/ 650 h 894"/>
                  <a:gd name="T24" fmla="*/ 1560 w 1923"/>
                  <a:gd name="T25" fmla="*/ 628 h 894"/>
                  <a:gd name="T26" fmla="*/ 1608 w 1923"/>
                  <a:gd name="T27" fmla="*/ 584 h 894"/>
                  <a:gd name="T28" fmla="*/ 1787 w 1923"/>
                  <a:gd name="T29" fmla="*/ 374 h 894"/>
                  <a:gd name="T30" fmla="*/ 1921 w 1923"/>
                  <a:gd name="T31" fmla="*/ 223 h 894"/>
                  <a:gd name="T32" fmla="*/ 1923 w 1923"/>
                  <a:gd name="T33" fmla="*/ 176 h 894"/>
                  <a:gd name="T34" fmla="*/ 1913 w 1923"/>
                  <a:gd name="T35" fmla="*/ 126 h 894"/>
                  <a:gd name="T36" fmla="*/ 1900 w 1923"/>
                  <a:gd name="T37" fmla="*/ 105 h 894"/>
                  <a:gd name="T38" fmla="*/ 1879 w 1923"/>
                  <a:gd name="T39" fmla="*/ 93 h 894"/>
                  <a:gd name="T40" fmla="*/ 1849 w 1923"/>
                  <a:gd name="T41" fmla="*/ 93 h 894"/>
                  <a:gd name="T42" fmla="*/ 1603 w 1923"/>
                  <a:gd name="T43" fmla="*/ 340 h 894"/>
                  <a:gd name="T44" fmla="*/ 1555 w 1923"/>
                  <a:gd name="T45" fmla="*/ 381 h 894"/>
                  <a:gd name="T46" fmla="*/ 1480 w 1923"/>
                  <a:gd name="T47" fmla="*/ 391 h 894"/>
                  <a:gd name="T48" fmla="*/ 769 w 1923"/>
                  <a:gd name="T49" fmla="*/ 390 h 894"/>
                  <a:gd name="T50" fmla="*/ 758 w 1923"/>
                  <a:gd name="T51" fmla="*/ 379 h 894"/>
                  <a:gd name="T52" fmla="*/ 758 w 1923"/>
                  <a:gd name="T53" fmla="*/ 362 h 894"/>
                  <a:gd name="T54" fmla="*/ 769 w 1923"/>
                  <a:gd name="T55" fmla="*/ 350 h 894"/>
                  <a:gd name="T56" fmla="*/ 872 w 1923"/>
                  <a:gd name="T57" fmla="*/ 349 h 894"/>
                  <a:gd name="T58" fmla="*/ 1004 w 1923"/>
                  <a:gd name="T59" fmla="*/ 347 h 894"/>
                  <a:gd name="T60" fmla="*/ 1118 w 1923"/>
                  <a:gd name="T61" fmla="*/ 321 h 894"/>
                  <a:gd name="T62" fmla="*/ 1142 w 1923"/>
                  <a:gd name="T63" fmla="*/ 290 h 894"/>
                  <a:gd name="T64" fmla="*/ 1160 w 1923"/>
                  <a:gd name="T65" fmla="*/ 248 h 894"/>
                  <a:gd name="T66" fmla="*/ 1160 w 1923"/>
                  <a:gd name="T67" fmla="*/ 224 h 894"/>
                  <a:gd name="T68" fmla="*/ 1136 w 1923"/>
                  <a:gd name="T69" fmla="*/ 187 h 894"/>
                  <a:gd name="T70" fmla="*/ 1082 w 1923"/>
                  <a:gd name="T71" fmla="*/ 155 h 894"/>
                  <a:gd name="T72" fmla="*/ 531 w 1923"/>
                  <a:gd name="T73" fmla="*/ 136 h 894"/>
                  <a:gd name="T74" fmla="*/ 459 w 1923"/>
                  <a:gd name="T75" fmla="*/ 157 h 894"/>
                  <a:gd name="T76" fmla="*/ 379 w 1923"/>
                  <a:gd name="T77" fmla="*/ 207 h 894"/>
                  <a:gd name="T78" fmla="*/ 328 w 1923"/>
                  <a:gd name="T79" fmla="*/ 253 h 894"/>
                  <a:gd name="T80" fmla="*/ 276 w 1923"/>
                  <a:gd name="T81" fmla="*/ 316 h 894"/>
                  <a:gd name="T82" fmla="*/ 189 w 1923"/>
                  <a:gd name="T83" fmla="*/ 464 h 894"/>
                  <a:gd name="T84" fmla="*/ 44 w 1923"/>
                  <a:gd name="T85" fmla="*/ 753 h 894"/>
                  <a:gd name="T86" fmla="*/ 5 w 1923"/>
                  <a:gd name="T87" fmla="*/ 839 h 894"/>
                  <a:gd name="T88" fmla="*/ 0 w 1923"/>
                  <a:gd name="T89" fmla="*/ 870 h 894"/>
                  <a:gd name="T90" fmla="*/ 12 w 1923"/>
                  <a:gd name="T91" fmla="*/ 888 h 894"/>
                  <a:gd name="T92" fmla="*/ 1830 w 1923"/>
                  <a:gd name="T93" fmla="*/ 53 h 894"/>
                  <a:gd name="T94" fmla="*/ 1799 w 1923"/>
                  <a:gd name="T95" fmla="*/ 18 h 894"/>
                  <a:gd name="T96" fmla="*/ 1765 w 1923"/>
                  <a:gd name="T97" fmla="*/ 1 h 894"/>
                  <a:gd name="T98" fmla="*/ 1723 w 1923"/>
                  <a:gd name="T99" fmla="*/ 8 h 894"/>
                  <a:gd name="T100" fmla="*/ 1669 w 1923"/>
                  <a:gd name="T101" fmla="*/ 56 h 894"/>
                  <a:gd name="T102" fmla="*/ 1499 w 1923"/>
                  <a:gd name="T103" fmla="*/ 348 h 894"/>
                  <a:gd name="T104" fmla="*/ 1545 w 1923"/>
                  <a:gd name="T105" fmla="*/ 337 h 894"/>
                  <a:gd name="T106" fmla="*/ 1585 w 1923"/>
                  <a:gd name="T107" fmla="*/ 298 h 894"/>
                  <a:gd name="T108" fmla="*/ 1314 w 1923"/>
                  <a:gd name="T109" fmla="*/ 349 h 894"/>
                  <a:gd name="T110" fmla="*/ 1562 w 1923"/>
                  <a:gd name="T111" fmla="*/ 48 h 894"/>
                  <a:gd name="T112" fmla="*/ 1522 w 1923"/>
                  <a:gd name="T113" fmla="*/ 46 h 894"/>
                  <a:gd name="T114" fmla="*/ 1483 w 1923"/>
                  <a:gd name="T115" fmla="*/ 65 h 894"/>
                  <a:gd name="T116" fmla="*/ 1410 w 1923"/>
                  <a:gd name="T117" fmla="*/ 133 h 894"/>
                  <a:gd name="T118" fmla="*/ 1289 w 1923"/>
                  <a:gd name="T119" fmla="*/ 250 h 894"/>
                  <a:gd name="T120" fmla="*/ 1196 w 1923"/>
                  <a:gd name="T121" fmla="*/ 33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3" h="894">
                    <a:moveTo>
                      <a:pt x="34" y="892"/>
                    </a:moveTo>
                    <a:lnTo>
                      <a:pt x="521" y="892"/>
                    </a:lnTo>
                    <a:lnTo>
                      <a:pt x="527" y="894"/>
                    </a:lnTo>
                    <a:lnTo>
                      <a:pt x="533" y="894"/>
                    </a:lnTo>
                    <a:lnTo>
                      <a:pt x="543" y="894"/>
                    </a:lnTo>
                    <a:lnTo>
                      <a:pt x="554" y="890"/>
                    </a:lnTo>
                    <a:lnTo>
                      <a:pt x="559" y="888"/>
                    </a:lnTo>
                    <a:lnTo>
                      <a:pt x="566" y="884"/>
                    </a:lnTo>
                    <a:lnTo>
                      <a:pt x="572" y="880"/>
                    </a:lnTo>
                    <a:lnTo>
                      <a:pt x="578" y="873"/>
                    </a:lnTo>
                    <a:lnTo>
                      <a:pt x="585" y="866"/>
                    </a:lnTo>
                    <a:lnTo>
                      <a:pt x="592" y="857"/>
                    </a:lnTo>
                    <a:lnTo>
                      <a:pt x="599" y="846"/>
                    </a:lnTo>
                    <a:lnTo>
                      <a:pt x="606" y="834"/>
                    </a:lnTo>
                    <a:lnTo>
                      <a:pt x="619" y="804"/>
                    </a:lnTo>
                    <a:lnTo>
                      <a:pt x="634" y="773"/>
                    </a:lnTo>
                    <a:lnTo>
                      <a:pt x="642" y="758"/>
                    </a:lnTo>
                    <a:lnTo>
                      <a:pt x="651" y="742"/>
                    </a:lnTo>
                    <a:lnTo>
                      <a:pt x="661" y="728"/>
                    </a:lnTo>
                    <a:lnTo>
                      <a:pt x="673" y="714"/>
                    </a:lnTo>
                    <a:lnTo>
                      <a:pt x="680" y="707"/>
                    </a:lnTo>
                    <a:lnTo>
                      <a:pt x="687" y="700"/>
                    </a:lnTo>
                    <a:lnTo>
                      <a:pt x="695" y="695"/>
                    </a:lnTo>
                    <a:lnTo>
                      <a:pt x="703" y="689"/>
                    </a:lnTo>
                    <a:lnTo>
                      <a:pt x="712" y="683"/>
                    </a:lnTo>
                    <a:lnTo>
                      <a:pt x="722" y="679"/>
                    </a:lnTo>
                    <a:lnTo>
                      <a:pt x="732" y="674"/>
                    </a:lnTo>
                    <a:lnTo>
                      <a:pt x="742" y="670"/>
                    </a:lnTo>
                    <a:lnTo>
                      <a:pt x="753" y="667"/>
                    </a:lnTo>
                    <a:lnTo>
                      <a:pt x="766" y="664"/>
                    </a:lnTo>
                    <a:lnTo>
                      <a:pt x="779" y="661"/>
                    </a:lnTo>
                    <a:lnTo>
                      <a:pt x="793" y="660"/>
                    </a:lnTo>
                    <a:lnTo>
                      <a:pt x="808" y="657"/>
                    </a:lnTo>
                    <a:lnTo>
                      <a:pt x="823" y="657"/>
                    </a:lnTo>
                    <a:lnTo>
                      <a:pt x="840" y="657"/>
                    </a:lnTo>
                    <a:lnTo>
                      <a:pt x="859" y="657"/>
                    </a:lnTo>
                    <a:lnTo>
                      <a:pt x="940" y="661"/>
                    </a:lnTo>
                    <a:lnTo>
                      <a:pt x="1034" y="662"/>
                    </a:lnTo>
                    <a:lnTo>
                      <a:pt x="1133" y="662"/>
                    </a:lnTo>
                    <a:lnTo>
                      <a:pt x="1230" y="662"/>
                    </a:lnTo>
                    <a:lnTo>
                      <a:pt x="1319" y="661"/>
                    </a:lnTo>
                    <a:lnTo>
                      <a:pt x="1391" y="660"/>
                    </a:lnTo>
                    <a:lnTo>
                      <a:pt x="1440" y="659"/>
                    </a:lnTo>
                    <a:lnTo>
                      <a:pt x="1458" y="657"/>
                    </a:lnTo>
                    <a:lnTo>
                      <a:pt x="1461" y="657"/>
                    </a:lnTo>
                    <a:lnTo>
                      <a:pt x="1473" y="657"/>
                    </a:lnTo>
                    <a:lnTo>
                      <a:pt x="1490" y="655"/>
                    </a:lnTo>
                    <a:lnTo>
                      <a:pt x="1511" y="650"/>
                    </a:lnTo>
                    <a:lnTo>
                      <a:pt x="1522" y="646"/>
                    </a:lnTo>
                    <a:lnTo>
                      <a:pt x="1535" y="642"/>
                    </a:lnTo>
                    <a:lnTo>
                      <a:pt x="1547" y="635"/>
                    </a:lnTo>
                    <a:lnTo>
                      <a:pt x="1560" y="628"/>
                    </a:lnTo>
                    <a:lnTo>
                      <a:pt x="1572" y="619"/>
                    </a:lnTo>
                    <a:lnTo>
                      <a:pt x="1585" y="609"/>
                    </a:lnTo>
                    <a:lnTo>
                      <a:pt x="1597" y="598"/>
                    </a:lnTo>
                    <a:lnTo>
                      <a:pt x="1608" y="584"/>
                    </a:lnTo>
                    <a:lnTo>
                      <a:pt x="1639" y="547"/>
                    </a:lnTo>
                    <a:lnTo>
                      <a:pt x="1683" y="495"/>
                    </a:lnTo>
                    <a:lnTo>
                      <a:pt x="1734" y="436"/>
                    </a:lnTo>
                    <a:lnTo>
                      <a:pt x="1787" y="374"/>
                    </a:lnTo>
                    <a:lnTo>
                      <a:pt x="1838" y="316"/>
                    </a:lnTo>
                    <a:lnTo>
                      <a:pt x="1880" y="268"/>
                    </a:lnTo>
                    <a:lnTo>
                      <a:pt x="1910" y="235"/>
                    </a:lnTo>
                    <a:lnTo>
                      <a:pt x="1921" y="223"/>
                    </a:lnTo>
                    <a:lnTo>
                      <a:pt x="1921" y="216"/>
                    </a:lnTo>
                    <a:lnTo>
                      <a:pt x="1923" y="200"/>
                    </a:lnTo>
                    <a:lnTo>
                      <a:pt x="1923" y="189"/>
                    </a:lnTo>
                    <a:lnTo>
                      <a:pt x="1923" y="176"/>
                    </a:lnTo>
                    <a:lnTo>
                      <a:pt x="1922" y="164"/>
                    </a:lnTo>
                    <a:lnTo>
                      <a:pt x="1920" y="150"/>
                    </a:lnTo>
                    <a:lnTo>
                      <a:pt x="1918" y="138"/>
                    </a:lnTo>
                    <a:lnTo>
                      <a:pt x="1913" y="126"/>
                    </a:lnTo>
                    <a:lnTo>
                      <a:pt x="1911" y="120"/>
                    </a:lnTo>
                    <a:lnTo>
                      <a:pt x="1908" y="114"/>
                    </a:lnTo>
                    <a:lnTo>
                      <a:pt x="1904" y="110"/>
                    </a:lnTo>
                    <a:lnTo>
                      <a:pt x="1900" y="105"/>
                    </a:lnTo>
                    <a:lnTo>
                      <a:pt x="1895" y="102"/>
                    </a:lnTo>
                    <a:lnTo>
                      <a:pt x="1891" y="98"/>
                    </a:lnTo>
                    <a:lnTo>
                      <a:pt x="1885" y="95"/>
                    </a:lnTo>
                    <a:lnTo>
                      <a:pt x="1879" y="93"/>
                    </a:lnTo>
                    <a:lnTo>
                      <a:pt x="1873" y="92"/>
                    </a:lnTo>
                    <a:lnTo>
                      <a:pt x="1865" y="92"/>
                    </a:lnTo>
                    <a:lnTo>
                      <a:pt x="1858" y="92"/>
                    </a:lnTo>
                    <a:lnTo>
                      <a:pt x="1849" y="93"/>
                    </a:lnTo>
                    <a:lnTo>
                      <a:pt x="1631" y="312"/>
                    </a:lnTo>
                    <a:lnTo>
                      <a:pt x="1631" y="311"/>
                    </a:lnTo>
                    <a:lnTo>
                      <a:pt x="1616" y="327"/>
                    </a:lnTo>
                    <a:lnTo>
                      <a:pt x="1603" y="340"/>
                    </a:lnTo>
                    <a:lnTo>
                      <a:pt x="1589" y="355"/>
                    </a:lnTo>
                    <a:lnTo>
                      <a:pt x="1578" y="366"/>
                    </a:lnTo>
                    <a:lnTo>
                      <a:pt x="1567" y="375"/>
                    </a:lnTo>
                    <a:lnTo>
                      <a:pt x="1555" y="381"/>
                    </a:lnTo>
                    <a:lnTo>
                      <a:pt x="1543" y="385"/>
                    </a:lnTo>
                    <a:lnTo>
                      <a:pt x="1526" y="389"/>
                    </a:lnTo>
                    <a:lnTo>
                      <a:pt x="1506" y="390"/>
                    </a:lnTo>
                    <a:lnTo>
                      <a:pt x="1480" y="391"/>
                    </a:lnTo>
                    <a:lnTo>
                      <a:pt x="1480" y="391"/>
                    </a:lnTo>
                    <a:lnTo>
                      <a:pt x="777" y="391"/>
                    </a:lnTo>
                    <a:lnTo>
                      <a:pt x="774" y="391"/>
                    </a:lnTo>
                    <a:lnTo>
                      <a:pt x="769" y="390"/>
                    </a:lnTo>
                    <a:lnTo>
                      <a:pt x="766" y="388"/>
                    </a:lnTo>
                    <a:lnTo>
                      <a:pt x="763" y="385"/>
                    </a:lnTo>
                    <a:lnTo>
                      <a:pt x="760" y="382"/>
                    </a:lnTo>
                    <a:lnTo>
                      <a:pt x="758" y="379"/>
                    </a:lnTo>
                    <a:lnTo>
                      <a:pt x="757" y="374"/>
                    </a:lnTo>
                    <a:lnTo>
                      <a:pt x="757" y="371"/>
                    </a:lnTo>
                    <a:lnTo>
                      <a:pt x="757" y="366"/>
                    </a:lnTo>
                    <a:lnTo>
                      <a:pt x="758" y="362"/>
                    </a:lnTo>
                    <a:lnTo>
                      <a:pt x="760" y="358"/>
                    </a:lnTo>
                    <a:lnTo>
                      <a:pt x="763" y="355"/>
                    </a:lnTo>
                    <a:lnTo>
                      <a:pt x="766" y="353"/>
                    </a:lnTo>
                    <a:lnTo>
                      <a:pt x="769" y="350"/>
                    </a:lnTo>
                    <a:lnTo>
                      <a:pt x="774" y="349"/>
                    </a:lnTo>
                    <a:lnTo>
                      <a:pt x="777" y="349"/>
                    </a:lnTo>
                    <a:lnTo>
                      <a:pt x="830" y="349"/>
                    </a:lnTo>
                    <a:lnTo>
                      <a:pt x="872" y="349"/>
                    </a:lnTo>
                    <a:lnTo>
                      <a:pt x="908" y="349"/>
                    </a:lnTo>
                    <a:lnTo>
                      <a:pt x="940" y="348"/>
                    </a:lnTo>
                    <a:lnTo>
                      <a:pt x="971" y="348"/>
                    </a:lnTo>
                    <a:lnTo>
                      <a:pt x="1004" y="347"/>
                    </a:lnTo>
                    <a:lnTo>
                      <a:pt x="1041" y="346"/>
                    </a:lnTo>
                    <a:lnTo>
                      <a:pt x="1087" y="345"/>
                    </a:lnTo>
                    <a:lnTo>
                      <a:pt x="1097" y="339"/>
                    </a:lnTo>
                    <a:lnTo>
                      <a:pt x="1118" y="321"/>
                    </a:lnTo>
                    <a:lnTo>
                      <a:pt x="1124" y="314"/>
                    </a:lnTo>
                    <a:lnTo>
                      <a:pt x="1131" y="307"/>
                    </a:lnTo>
                    <a:lnTo>
                      <a:pt x="1136" y="299"/>
                    </a:lnTo>
                    <a:lnTo>
                      <a:pt x="1142" y="290"/>
                    </a:lnTo>
                    <a:lnTo>
                      <a:pt x="1148" y="281"/>
                    </a:lnTo>
                    <a:lnTo>
                      <a:pt x="1152" y="271"/>
                    </a:lnTo>
                    <a:lnTo>
                      <a:pt x="1157" y="260"/>
                    </a:lnTo>
                    <a:lnTo>
                      <a:pt x="1160" y="248"/>
                    </a:lnTo>
                    <a:lnTo>
                      <a:pt x="1161" y="241"/>
                    </a:lnTo>
                    <a:lnTo>
                      <a:pt x="1161" y="235"/>
                    </a:lnTo>
                    <a:lnTo>
                      <a:pt x="1161" y="229"/>
                    </a:lnTo>
                    <a:lnTo>
                      <a:pt x="1160" y="224"/>
                    </a:lnTo>
                    <a:lnTo>
                      <a:pt x="1157" y="214"/>
                    </a:lnTo>
                    <a:lnTo>
                      <a:pt x="1151" y="203"/>
                    </a:lnTo>
                    <a:lnTo>
                      <a:pt x="1144" y="196"/>
                    </a:lnTo>
                    <a:lnTo>
                      <a:pt x="1136" y="187"/>
                    </a:lnTo>
                    <a:lnTo>
                      <a:pt x="1127" y="180"/>
                    </a:lnTo>
                    <a:lnTo>
                      <a:pt x="1117" y="173"/>
                    </a:lnTo>
                    <a:lnTo>
                      <a:pt x="1099" y="163"/>
                    </a:lnTo>
                    <a:lnTo>
                      <a:pt x="1082" y="155"/>
                    </a:lnTo>
                    <a:lnTo>
                      <a:pt x="1070" y="150"/>
                    </a:lnTo>
                    <a:lnTo>
                      <a:pt x="1065" y="149"/>
                    </a:lnTo>
                    <a:lnTo>
                      <a:pt x="539" y="135"/>
                    </a:lnTo>
                    <a:lnTo>
                      <a:pt x="531" y="136"/>
                    </a:lnTo>
                    <a:lnTo>
                      <a:pt x="511" y="140"/>
                    </a:lnTo>
                    <a:lnTo>
                      <a:pt x="496" y="144"/>
                    </a:lnTo>
                    <a:lnTo>
                      <a:pt x="479" y="149"/>
                    </a:lnTo>
                    <a:lnTo>
                      <a:pt x="459" y="157"/>
                    </a:lnTo>
                    <a:lnTo>
                      <a:pt x="438" y="168"/>
                    </a:lnTo>
                    <a:lnTo>
                      <a:pt x="416" y="181"/>
                    </a:lnTo>
                    <a:lnTo>
                      <a:pt x="391" y="198"/>
                    </a:lnTo>
                    <a:lnTo>
                      <a:pt x="379" y="207"/>
                    </a:lnTo>
                    <a:lnTo>
                      <a:pt x="366" y="217"/>
                    </a:lnTo>
                    <a:lnTo>
                      <a:pt x="354" y="228"/>
                    </a:lnTo>
                    <a:lnTo>
                      <a:pt x="340" y="241"/>
                    </a:lnTo>
                    <a:lnTo>
                      <a:pt x="328" y="253"/>
                    </a:lnTo>
                    <a:lnTo>
                      <a:pt x="314" y="268"/>
                    </a:lnTo>
                    <a:lnTo>
                      <a:pt x="302" y="283"/>
                    </a:lnTo>
                    <a:lnTo>
                      <a:pt x="288" y="299"/>
                    </a:lnTo>
                    <a:lnTo>
                      <a:pt x="276" y="316"/>
                    </a:lnTo>
                    <a:lnTo>
                      <a:pt x="262" y="336"/>
                    </a:lnTo>
                    <a:lnTo>
                      <a:pt x="250" y="356"/>
                    </a:lnTo>
                    <a:lnTo>
                      <a:pt x="237" y="377"/>
                    </a:lnTo>
                    <a:lnTo>
                      <a:pt x="189" y="464"/>
                    </a:lnTo>
                    <a:lnTo>
                      <a:pt x="145" y="548"/>
                    </a:lnTo>
                    <a:lnTo>
                      <a:pt x="105" y="626"/>
                    </a:lnTo>
                    <a:lnTo>
                      <a:pt x="71" y="695"/>
                    </a:lnTo>
                    <a:lnTo>
                      <a:pt x="44" y="753"/>
                    </a:lnTo>
                    <a:lnTo>
                      <a:pt x="23" y="798"/>
                    </a:lnTo>
                    <a:lnTo>
                      <a:pt x="10" y="827"/>
                    </a:lnTo>
                    <a:lnTo>
                      <a:pt x="6" y="837"/>
                    </a:lnTo>
                    <a:lnTo>
                      <a:pt x="5" y="839"/>
                    </a:lnTo>
                    <a:lnTo>
                      <a:pt x="3" y="845"/>
                    </a:lnTo>
                    <a:lnTo>
                      <a:pt x="1" y="854"/>
                    </a:lnTo>
                    <a:lnTo>
                      <a:pt x="0" y="864"/>
                    </a:lnTo>
                    <a:lnTo>
                      <a:pt x="0" y="870"/>
                    </a:lnTo>
                    <a:lnTo>
                      <a:pt x="1" y="875"/>
                    </a:lnTo>
                    <a:lnTo>
                      <a:pt x="4" y="880"/>
                    </a:lnTo>
                    <a:lnTo>
                      <a:pt x="7" y="884"/>
                    </a:lnTo>
                    <a:lnTo>
                      <a:pt x="12" y="888"/>
                    </a:lnTo>
                    <a:lnTo>
                      <a:pt x="17" y="890"/>
                    </a:lnTo>
                    <a:lnTo>
                      <a:pt x="25" y="892"/>
                    </a:lnTo>
                    <a:lnTo>
                      <a:pt x="34" y="892"/>
                    </a:lnTo>
                    <a:close/>
                    <a:moveTo>
                      <a:pt x="1830" y="53"/>
                    </a:moveTo>
                    <a:lnTo>
                      <a:pt x="1823" y="43"/>
                    </a:lnTo>
                    <a:lnTo>
                      <a:pt x="1813" y="31"/>
                    </a:lnTo>
                    <a:lnTo>
                      <a:pt x="1807" y="25"/>
                    </a:lnTo>
                    <a:lnTo>
                      <a:pt x="1799" y="18"/>
                    </a:lnTo>
                    <a:lnTo>
                      <a:pt x="1792" y="13"/>
                    </a:lnTo>
                    <a:lnTo>
                      <a:pt x="1783" y="8"/>
                    </a:lnTo>
                    <a:lnTo>
                      <a:pt x="1774" y="5"/>
                    </a:lnTo>
                    <a:lnTo>
                      <a:pt x="1765" y="1"/>
                    </a:lnTo>
                    <a:lnTo>
                      <a:pt x="1755" y="0"/>
                    </a:lnTo>
                    <a:lnTo>
                      <a:pt x="1745" y="1"/>
                    </a:lnTo>
                    <a:lnTo>
                      <a:pt x="1735" y="4"/>
                    </a:lnTo>
                    <a:lnTo>
                      <a:pt x="1723" y="8"/>
                    </a:lnTo>
                    <a:lnTo>
                      <a:pt x="1711" y="16"/>
                    </a:lnTo>
                    <a:lnTo>
                      <a:pt x="1700" y="26"/>
                    </a:lnTo>
                    <a:lnTo>
                      <a:pt x="1684" y="42"/>
                    </a:lnTo>
                    <a:lnTo>
                      <a:pt x="1669" y="56"/>
                    </a:lnTo>
                    <a:lnTo>
                      <a:pt x="1373" y="349"/>
                    </a:lnTo>
                    <a:lnTo>
                      <a:pt x="1480" y="349"/>
                    </a:lnTo>
                    <a:lnTo>
                      <a:pt x="1480" y="349"/>
                    </a:lnTo>
                    <a:lnTo>
                      <a:pt x="1499" y="348"/>
                    </a:lnTo>
                    <a:lnTo>
                      <a:pt x="1515" y="347"/>
                    </a:lnTo>
                    <a:lnTo>
                      <a:pt x="1527" y="345"/>
                    </a:lnTo>
                    <a:lnTo>
                      <a:pt x="1537" y="341"/>
                    </a:lnTo>
                    <a:lnTo>
                      <a:pt x="1545" y="337"/>
                    </a:lnTo>
                    <a:lnTo>
                      <a:pt x="1554" y="331"/>
                    </a:lnTo>
                    <a:lnTo>
                      <a:pt x="1562" y="322"/>
                    </a:lnTo>
                    <a:lnTo>
                      <a:pt x="1572" y="312"/>
                    </a:lnTo>
                    <a:lnTo>
                      <a:pt x="1585" y="298"/>
                    </a:lnTo>
                    <a:lnTo>
                      <a:pt x="1602" y="281"/>
                    </a:lnTo>
                    <a:lnTo>
                      <a:pt x="1602" y="281"/>
                    </a:lnTo>
                    <a:lnTo>
                      <a:pt x="1830" y="53"/>
                    </a:lnTo>
                    <a:close/>
                    <a:moveTo>
                      <a:pt x="1314" y="349"/>
                    </a:moveTo>
                    <a:lnTo>
                      <a:pt x="1591" y="74"/>
                    </a:lnTo>
                    <a:lnTo>
                      <a:pt x="1570" y="51"/>
                    </a:lnTo>
                    <a:lnTo>
                      <a:pt x="1568" y="50"/>
                    </a:lnTo>
                    <a:lnTo>
                      <a:pt x="1562" y="48"/>
                    </a:lnTo>
                    <a:lnTo>
                      <a:pt x="1552" y="45"/>
                    </a:lnTo>
                    <a:lnTo>
                      <a:pt x="1538" y="44"/>
                    </a:lnTo>
                    <a:lnTo>
                      <a:pt x="1530" y="45"/>
                    </a:lnTo>
                    <a:lnTo>
                      <a:pt x="1522" y="46"/>
                    </a:lnTo>
                    <a:lnTo>
                      <a:pt x="1513" y="49"/>
                    </a:lnTo>
                    <a:lnTo>
                      <a:pt x="1503" y="52"/>
                    </a:lnTo>
                    <a:lnTo>
                      <a:pt x="1493" y="58"/>
                    </a:lnTo>
                    <a:lnTo>
                      <a:pt x="1483" y="65"/>
                    </a:lnTo>
                    <a:lnTo>
                      <a:pt x="1473" y="72"/>
                    </a:lnTo>
                    <a:lnTo>
                      <a:pt x="1461" y="83"/>
                    </a:lnTo>
                    <a:lnTo>
                      <a:pt x="1437" y="106"/>
                    </a:lnTo>
                    <a:lnTo>
                      <a:pt x="1410" y="133"/>
                    </a:lnTo>
                    <a:lnTo>
                      <a:pt x="1380" y="162"/>
                    </a:lnTo>
                    <a:lnTo>
                      <a:pt x="1350" y="191"/>
                    </a:lnTo>
                    <a:lnTo>
                      <a:pt x="1319" y="220"/>
                    </a:lnTo>
                    <a:lnTo>
                      <a:pt x="1289" y="250"/>
                    </a:lnTo>
                    <a:lnTo>
                      <a:pt x="1259" y="276"/>
                    </a:lnTo>
                    <a:lnTo>
                      <a:pt x="1233" y="299"/>
                    </a:lnTo>
                    <a:lnTo>
                      <a:pt x="1214" y="316"/>
                    </a:lnTo>
                    <a:lnTo>
                      <a:pt x="1196" y="330"/>
                    </a:lnTo>
                    <a:lnTo>
                      <a:pt x="1181" y="341"/>
                    </a:lnTo>
                    <a:lnTo>
                      <a:pt x="1168" y="349"/>
                    </a:lnTo>
                    <a:lnTo>
                      <a:pt x="1314" y="349"/>
                    </a:lnTo>
                    <a:close/>
                  </a:path>
                </a:pathLst>
              </a:custGeom>
              <a:solidFill>
                <a:sysClr val="window" lastClr="FFFFFF"/>
              </a:solidFill>
              <a:ln>
                <a:noFill/>
              </a:ln>
              <a:effectLst>
                <a:outerShdw blurRad="63500" sx="102000" sy="102000" algn="ctr" rotWithShape="0">
                  <a:prstClr val="black">
                    <a:alpha val="40000"/>
                  </a:prstClr>
                </a:outerShdw>
              </a:effectLst>
              <a:extLst/>
            </p:spPr>
            <p:txBody>
              <a:bodyPr vert="horz" wrap="square" lIns="158144" tIns="79076" rIns="158144" bIns="79076" numCol="1" anchor="t" anchorCtr="0" compatLnSpc="1">
                <a:prstTxWarp prst="textNoShape">
                  <a:avLst/>
                </a:prstTxWarp>
              </a:bodyPr>
              <a:lstStyle/>
              <a:p>
                <a:pPr defTabSz="1581500"/>
                <a:endParaRPr lang="en-US" sz="1400" b="1" kern="0" dirty="0">
                  <a:solidFill>
                    <a:prstClr val="black"/>
                  </a:solidFill>
                  <a:latin typeface="Calibri" panose="020F0502020204030204" pitchFamily="34" charset="0"/>
                  <a:cs typeface="Arial" panose="020B0604020202020204" pitchFamily="34" charset="0"/>
                </a:endParaRPr>
              </a:p>
            </p:txBody>
          </p:sp>
          <p:pic>
            <p:nvPicPr>
              <p:cNvPr id="294" name="Picture 2" descr="D:\Dropbox\Desktop\PPT-old\ppt page 3\policies-and-automation-2.png"/>
              <p:cNvPicPr>
                <a:picLocks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446367" y="1883987"/>
                <a:ext cx="365760" cy="36576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66" name="Group 265"/>
            <p:cNvGrpSpPr>
              <a:grpSpLocks noChangeAspect="1"/>
            </p:cNvGrpSpPr>
            <p:nvPr/>
          </p:nvGrpSpPr>
          <p:grpSpPr>
            <a:xfrm>
              <a:off x="4694316" y="1065919"/>
              <a:ext cx="598184" cy="650428"/>
              <a:chOff x="9093330" y="3296511"/>
              <a:chExt cx="1622295" cy="1770789"/>
            </a:xfrm>
            <a:solidFill>
              <a:sysClr val="window" lastClr="FFFFFF"/>
            </a:solidFill>
            <a:effectLst>
              <a:outerShdw blurRad="63500" sx="102000" sy="102000" algn="ctr" rotWithShape="0">
                <a:prstClr val="black">
                  <a:alpha val="40000"/>
                </a:prstClr>
              </a:outerShdw>
            </a:effectLst>
          </p:grpSpPr>
          <p:sp>
            <p:nvSpPr>
              <p:cNvPr id="289" name="Freeform 28"/>
              <p:cNvSpPr>
                <a:spLocks/>
              </p:cNvSpPr>
              <p:nvPr/>
            </p:nvSpPr>
            <p:spPr bwMode="auto">
              <a:xfrm>
                <a:off x="9093330" y="3296511"/>
                <a:ext cx="819148" cy="781049"/>
              </a:xfrm>
              <a:custGeom>
                <a:avLst/>
                <a:gdLst>
                  <a:gd name="T0" fmla="*/ 22 w 86"/>
                  <a:gd name="T1" fmla="*/ 7 h 82"/>
                  <a:gd name="T2" fmla="*/ 22 w 86"/>
                  <a:gd name="T3" fmla="*/ 8 h 82"/>
                  <a:gd name="T4" fmla="*/ 29 w 86"/>
                  <a:gd name="T5" fmla="*/ 16 h 82"/>
                  <a:gd name="T6" fmla="*/ 29 w 86"/>
                  <a:gd name="T7" fmla="*/ 17 h 82"/>
                  <a:gd name="T8" fmla="*/ 2 w 86"/>
                  <a:gd name="T9" fmla="*/ 36 h 82"/>
                  <a:gd name="T10" fmla="*/ 14 w 86"/>
                  <a:gd name="T11" fmla="*/ 53 h 82"/>
                  <a:gd name="T12" fmla="*/ 12 w 86"/>
                  <a:gd name="T13" fmla="*/ 57 h 82"/>
                  <a:gd name="T14" fmla="*/ 2 w 86"/>
                  <a:gd name="T15" fmla="*/ 56 h 82"/>
                  <a:gd name="T16" fmla="*/ 0 w 86"/>
                  <a:gd name="T17" fmla="*/ 62 h 82"/>
                  <a:gd name="T18" fmla="*/ 0 w 86"/>
                  <a:gd name="T19" fmla="*/ 63 h 82"/>
                  <a:gd name="T20" fmla="*/ 8 w 86"/>
                  <a:gd name="T21" fmla="*/ 72 h 82"/>
                  <a:gd name="T22" fmla="*/ 18 w 86"/>
                  <a:gd name="T23" fmla="*/ 64 h 82"/>
                  <a:gd name="T24" fmla="*/ 29 w 86"/>
                  <a:gd name="T25" fmla="*/ 82 h 82"/>
                  <a:gd name="T26" fmla="*/ 49 w 86"/>
                  <a:gd name="T27" fmla="*/ 72 h 82"/>
                  <a:gd name="T28" fmla="*/ 49 w 86"/>
                  <a:gd name="T29" fmla="*/ 71 h 82"/>
                  <a:gd name="T30" fmla="*/ 39 w 86"/>
                  <a:gd name="T31" fmla="*/ 64 h 82"/>
                  <a:gd name="T32" fmla="*/ 39 w 86"/>
                  <a:gd name="T33" fmla="*/ 59 h 82"/>
                  <a:gd name="T34" fmla="*/ 54 w 86"/>
                  <a:gd name="T35" fmla="*/ 48 h 82"/>
                  <a:gd name="T36" fmla="*/ 60 w 86"/>
                  <a:gd name="T37" fmla="*/ 63 h 82"/>
                  <a:gd name="T38" fmla="*/ 63 w 86"/>
                  <a:gd name="T39" fmla="*/ 65 h 82"/>
                  <a:gd name="T40" fmla="*/ 82 w 86"/>
                  <a:gd name="T41" fmla="*/ 54 h 82"/>
                  <a:gd name="T42" fmla="*/ 74 w 86"/>
                  <a:gd name="T43" fmla="*/ 38 h 82"/>
                  <a:gd name="T44" fmla="*/ 82 w 86"/>
                  <a:gd name="T45" fmla="*/ 37 h 82"/>
                  <a:gd name="T46" fmla="*/ 86 w 86"/>
                  <a:gd name="T47" fmla="*/ 31 h 82"/>
                  <a:gd name="T48" fmla="*/ 86 w 86"/>
                  <a:gd name="T49" fmla="*/ 30 h 82"/>
                  <a:gd name="T50" fmla="*/ 79 w 86"/>
                  <a:gd name="T51" fmla="*/ 21 h 82"/>
                  <a:gd name="T52" fmla="*/ 77 w 86"/>
                  <a:gd name="T53" fmla="*/ 21 h 82"/>
                  <a:gd name="T54" fmla="*/ 70 w 86"/>
                  <a:gd name="T55" fmla="*/ 27 h 82"/>
                  <a:gd name="T56" fmla="*/ 66 w 86"/>
                  <a:gd name="T57" fmla="*/ 27 h 82"/>
                  <a:gd name="T58" fmla="*/ 56 w 86"/>
                  <a:gd name="T59" fmla="*/ 4 h 82"/>
                  <a:gd name="T60" fmla="*/ 42 w 86"/>
                  <a:gd name="T61" fmla="*/ 12 h 82"/>
                  <a:gd name="T62" fmla="*/ 38 w 86"/>
                  <a:gd name="T63" fmla="*/ 10 h 82"/>
                  <a:gd name="T64" fmla="*/ 38 w 86"/>
                  <a:gd name="T65" fmla="*/ 4 h 82"/>
                  <a:gd name="T66" fmla="*/ 33 w 86"/>
                  <a:gd name="T67" fmla="*/ 0 h 82"/>
                  <a:gd name="T68" fmla="*/ 31 w 86"/>
                  <a:gd name="T69" fmla="*/ 0 h 82"/>
                  <a:gd name="T70" fmla="*/ 22 w 86"/>
                  <a:gd name="T7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82">
                    <a:moveTo>
                      <a:pt x="22" y="7"/>
                    </a:moveTo>
                    <a:lnTo>
                      <a:pt x="22" y="8"/>
                    </a:lnTo>
                    <a:cubicBezTo>
                      <a:pt x="22" y="14"/>
                      <a:pt x="29" y="11"/>
                      <a:pt x="29" y="16"/>
                    </a:cubicBezTo>
                    <a:lnTo>
                      <a:pt x="29" y="17"/>
                    </a:lnTo>
                    <a:cubicBezTo>
                      <a:pt x="29" y="23"/>
                      <a:pt x="6" y="31"/>
                      <a:pt x="2" y="36"/>
                    </a:cubicBezTo>
                    <a:cubicBezTo>
                      <a:pt x="3" y="38"/>
                      <a:pt x="14" y="52"/>
                      <a:pt x="14" y="53"/>
                    </a:cubicBezTo>
                    <a:cubicBezTo>
                      <a:pt x="14" y="55"/>
                      <a:pt x="13" y="55"/>
                      <a:pt x="12" y="57"/>
                    </a:cubicBezTo>
                    <a:lnTo>
                      <a:pt x="2" y="56"/>
                    </a:lnTo>
                    <a:cubicBezTo>
                      <a:pt x="1" y="58"/>
                      <a:pt x="0" y="59"/>
                      <a:pt x="0" y="62"/>
                    </a:cubicBezTo>
                    <a:lnTo>
                      <a:pt x="0" y="63"/>
                    </a:lnTo>
                    <a:cubicBezTo>
                      <a:pt x="0" y="68"/>
                      <a:pt x="4" y="72"/>
                      <a:pt x="8" y="72"/>
                    </a:cubicBezTo>
                    <a:cubicBezTo>
                      <a:pt x="17" y="72"/>
                      <a:pt x="13" y="64"/>
                      <a:pt x="18" y="64"/>
                    </a:cubicBezTo>
                    <a:cubicBezTo>
                      <a:pt x="21" y="64"/>
                      <a:pt x="29" y="78"/>
                      <a:pt x="29" y="82"/>
                    </a:cubicBezTo>
                    <a:cubicBezTo>
                      <a:pt x="34" y="82"/>
                      <a:pt x="49" y="76"/>
                      <a:pt x="49" y="72"/>
                    </a:cubicBezTo>
                    <a:lnTo>
                      <a:pt x="49" y="71"/>
                    </a:lnTo>
                    <a:cubicBezTo>
                      <a:pt x="49" y="68"/>
                      <a:pt x="42" y="65"/>
                      <a:pt x="39" y="64"/>
                    </a:cubicBezTo>
                    <a:lnTo>
                      <a:pt x="39" y="59"/>
                    </a:lnTo>
                    <a:cubicBezTo>
                      <a:pt x="39" y="52"/>
                      <a:pt x="47" y="48"/>
                      <a:pt x="54" y="48"/>
                    </a:cubicBezTo>
                    <a:cubicBezTo>
                      <a:pt x="62" y="48"/>
                      <a:pt x="60" y="58"/>
                      <a:pt x="60" y="63"/>
                    </a:cubicBezTo>
                    <a:cubicBezTo>
                      <a:pt x="60" y="64"/>
                      <a:pt x="61" y="65"/>
                      <a:pt x="63" y="65"/>
                    </a:cubicBezTo>
                    <a:cubicBezTo>
                      <a:pt x="67" y="65"/>
                      <a:pt x="79" y="56"/>
                      <a:pt x="82" y="54"/>
                    </a:cubicBezTo>
                    <a:cubicBezTo>
                      <a:pt x="79" y="49"/>
                      <a:pt x="74" y="46"/>
                      <a:pt x="74" y="38"/>
                    </a:cubicBezTo>
                    <a:lnTo>
                      <a:pt x="82" y="37"/>
                    </a:lnTo>
                    <a:cubicBezTo>
                      <a:pt x="83" y="35"/>
                      <a:pt x="86" y="34"/>
                      <a:pt x="86" y="31"/>
                    </a:cubicBezTo>
                    <a:lnTo>
                      <a:pt x="86" y="30"/>
                    </a:lnTo>
                    <a:cubicBezTo>
                      <a:pt x="86" y="26"/>
                      <a:pt x="82" y="21"/>
                      <a:pt x="79" y="21"/>
                    </a:cubicBezTo>
                    <a:lnTo>
                      <a:pt x="77" y="21"/>
                    </a:lnTo>
                    <a:cubicBezTo>
                      <a:pt x="71" y="21"/>
                      <a:pt x="75" y="27"/>
                      <a:pt x="70" y="27"/>
                    </a:cubicBezTo>
                    <a:lnTo>
                      <a:pt x="66" y="27"/>
                    </a:lnTo>
                    <a:lnTo>
                      <a:pt x="56" y="4"/>
                    </a:lnTo>
                    <a:cubicBezTo>
                      <a:pt x="51" y="5"/>
                      <a:pt x="47" y="12"/>
                      <a:pt x="42" y="12"/>
                    </a:cubicBezTo>
                    <a:cubicBezTo>
                      <a:pt x="40" y="12"/>
                      <a:pt x="40" y="11"/>
                      <a:pt x="38" y="10"/>
                    </a:cubicBezTo>
                    <a:lnTo>
                      <a:pt x="38" y="4"/>
                    </a:lnTo>
                    <a:cubicBezTo>
                      <a:pt x="37" y="2"/>
                      <a:pt x="36" y="0"/>
                      <a:pt x="33" y="0"/>
                    </a:cubicBezTo>
                    <a:lnTo>
                      <a:pt x="31" y="0"/>
                    </a:lnTo>
                    <a:cubicBezTo>
                      <a:pt x="27" y="0"/>
                      <a:pt x="22" y="4"/>
                      <a:pt x="2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90" name="Freeform 29"/>
              <p:cNvSpPr>
                <a:spLocks/>
              </p:cNvSpPr>
              <p:nvPr/>
            </p:nvSpPr>
            <p:spPr bwMode="auto">
              <a:xfrm>
                <a:off x="9972675" y="3600450"/>
                <a:ext cx="638175" cy="914400"/>
              </a:xfrm>
              <a:custGeom>
                <a:avLst/>
                <a:gdLst>
                  <a:gd name="T0" fmla="*/ 64 w 67"/>
                  <a:gd name="T1" fmla="*/ 22 h 96"/>
                  <a:gd name="T2" fmla="*/ 42 w 67"/>
                  <a:gd name="T3" fmla="*/ 22 h 96"/>
                  <a:gd name="T4" fmla="*/ 39 w 67"/>
                  <a:gd name="T5" fmla="*/ 19 h 96"/>
                  <a:gd name="T6" fmla="*/ 44 w 67"/>
                  <a:gd name="T7" fmla="*/ 10 h 96"/>
                  <a:gd name="T8" fmla="*/ 44 w 67"/>
                  <a:gd name="T9" fmla="*/ 8 h 96"/>
                  <a:gd name="T10" fmla="*/ 35 w 67"/>
                  <a:gd name="T11" fmla="*/ 0 h 96"/>
                  <a:gd name="T12" fmla="*/ 32 w 67"/>
                  <a:gd name="T13" fmla="*/ 0 h 96"/>
                  <a:gd name="T14" fmla="*/ 22 w 67"/>
                  <a:gd name="T15" fmla="*/ 8 h 96"/>
                  <a:gd name="T16" fmla="*/ 22 w 67"/>
                  <a:gd name="T17" fmla="*/ 10 h 96"/>
                  <a:gd name="T18" fmla="*/ 26 w 67"/>
                  <a:gd name="T19" fmla="*/ 15 h 96"/>
                  <a:gd name="T20" fmla="*/ 26 w 67"/>
                  <a:gd name="T21" fmla="*/ 21 h 96"/>
                  <a:gd name="T22" fmla="*/ 21 w 67"/>
                  <a:gd name="T23" fmla="*/ 22 h 96"/>
                  <a:gd name="T24" fmla="*/ 4 w 67"/>
                  <a:gd name="T25" fmla="*/ 21 h 96"/>
                  <a:gd name="T26" fmla="*/ 1 w 67"/>
                  <a:gd name="T27" fmla="*/ 42 h 96"/>
                  <a:gd name="T28" fmla="*/ 5 w 67"/>
                  <a:gd name="T29" fmla="*/ 48 h 96"/>
                  <a:gd name="T30" fmla="*/ 6 w 67"/>
                  <a:gd name="T31" fmla="*/ 48 h 96"/>
                  <a:gd name="T32" fmla="*/ 11 w 67"/>
                  <a:gd name="T33" fmla="*/ 46 h 96"/>
                  <a:gd name="T34" fmla="*/ 12 w 67"/>
                  <a:gd name="T35" fmla="*/ 46 h 96"/>
                  <a:gd name="T36" fmla="*/ 17 w 67"/>
                  <a:gd name="T37" fmla="*/ 47 h 96"/>
                  <a:gd name="T38" fmla="*/ 18 w 67"/>
                  <a:gd name="T39" fmla="*/ 56 h 96"/>
                  <a:gd name="T40" fmla="*/ 9 w 67"/>
                  <a:gd name="T41" fmla="*/ 62 h 96"/>
                  <a:gd name="T42" fmla="*/ 6 w 67"/>
                  <a:gd name="T43" fmla="*/ 60 h 96"/>
                  <a:gd name="T44" fmla="*/ 0 w 67"/>
                  <a:gd name="T45" fmla="*/ 61 h 96"/>
                  <a:gd name="T46" fmla="*/ 0 w 67"/>
                  <a:gd name="T47" fmla="*/ 64 h 96"/>
                  <a:gd name="T48" fmla="*/ 1 w 67"/>
                  <a:gd name="T49" fmla="*/ 77 h 96"/>
                  <a:gd name="T50" fmla="*/ 20 w 67"/>
                  <a:gd name="T51" fmla="*/ 77 h 96"/>
                  <a:gd name="T52" fmla="*/ 23 w 67"/>
                  <a:gd name="T53" fmla="*/ 80 h 96"/>
                  <a:gd name="T54" fmla="*/ 19 w 67"/>
                  <a:gd name="T55" fmla="*/ 87 h 96"/>
                  <a:gd name="T56" fmla="*/ 28 w 67"/>
                  <a:gd name="T57" fmla="*/ 96 h 96"/>
                  <a:gd name="T58" fmla="*/ 34 w 67"/>
                  <a:gd name="T59" fmla="*/ 96 h 96"/>
                  <a:gd name="T60" fmla="*/ 40 w 67"/>
                  <a:gd name="T61" fmla="*/ 88 h 96"/>
                  <a:gd name="T62" fmla="*/ 36 w 67"/>
                  <a:gd name="T63" fmla="*/ 79 h 96"/>
                  <a:gd name="T64" fmla="*/ 36 w 67"/>
                  <a:gd name="T65" fmla="*/ 76 h 96"/>
                  <a:gd name="T66" fmla="*/ 41 w 67"/>
                  <a:gd name="T67" fmla="*/ 76 h 96"/>
                  <a:gd name="T68" fmla="*/ 62 w 67"/>
                  <a:gd name="T69" fmla="*/ 77 h 96"/>
                  <a:gd name="T70" fmla="*/ 61 w 67"/>
                  <a:gd name="T71" fmla="*/ 54 h 96"/>
                  <a:gd name="T72" fmla="*/ 60 w 67"/>
                  <a:gd name="T73" fmla="*/ 54 h 96"/>
                  <a:gd name="T74" fmla="*/ 53 w 67"/>
                  <a:gd name="T75" fmla="*/ 58 h 96"/>
                  <a:gd name="T76" fmla="*/ 49 w 67"/>
                  <a:gd name="T77" fmla="*/ 58 h 96"/>
                  <a:gd name="T78" fmla="*/ 46 w 67"/>
                  <a:gd name="T79" fmla="*/ 55 h 96"/>
                  <a:gd name="T80" fmla="*/ 46 w 67"/>
                  <a:gd name="T81" fmla="*/ 47 h 96"/>
                  <a:gd name="T82" fmla="*/ 54 w 67"/>
                  <a:gd name="T83" fmla="*/ 41 h 96"/>
                  <a:gd name="T84" fmla="*/ 55 w 67"/>
                  <a:gd name="T85" fmla="*/ 41 h 96"/>
                  <a:gd name="T86" fmla="*/ 63 w 67"/>
                  <a:gd name="T87" fmla="*/ 44 h 96"/>
                  <a:gd name="T88" fmla="*/ 64 w 67"/>
                  <a:gd name="T89" fmla="*/ 37 h 96"/>
                  <a:gd name="T90" fmla="*/ 64 w 67"/>
                  <a:gd name="T91"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6">
                    <a:moveTo>
                      <a:pt x="64" y="22"/>
                    </a:moveTo>
                    <a:lnTo>
                      <a:pt x="42" y="22"/>
                    </a:lnTo>
                    <a:cubicBezTo>
                      <a:pt x="40" y="22"/>
                      <a:pt x="39" y="21"/>
                      <a:pt x="39" y="19"/>
                    </a:cubicBezTo>
                    <a:cubicBezTo>
                      <a:pt x="39" y="15"/>
                      <a:pt x="44" y="18"/>
                      <a:pt x="44" y="10"/>
                    </a:cubicBezTo>
                    <a:lnTo>
                      <a:pt x="44" y="8"/>
                    </a:lnTo>
                    <a:cubicBezTo>
                      <a:pt x="44" y="3"/>
                      <a:pt x="40" y="0"/>
                      <a:pt x="35" y="0"/>
                    </a:cubicBezTo>
                    <a:lnTo>
                      <a:pt x="32" y="0"/>
                    </a:lnTo>
                    <a:cubicBezTo>
                      <a:pt x="26" y="0"/>
                      <a:pt x="22" y="2"/>
                      <a:pt x="22" y="8"/>
                    </a:cubicBezTo>
                    <a:lnTo>
                      <a:pt x="22" y="10"/>
                    </a:lnTo>
                    <a:cubicBezTo>
                      <a:pt x="22" y="13"/>
                      <a:pt x="24" y="14"/>
                      <a:pt x="26" y="15"/>
                    </a:cubicBezTo>
                    <a:lnTo>
                      <a:pt x="26" y="21"/>
                    </a:lnTo>
                    <a:cubicBezTo>
                      <a:pt x="23" y="22"/>
                      <a:pt x="24" y="22"/>
                      <a:pt x="21" y="22"/>
                    </a:cubicBezTo>
                    <a:lnTo>
                      <a:pt x="4" y="21"/>
                    </a:lnTo>
                    <a:lnTo>
                      <a:pt x="1" y="42"/>
                    </a:lnTo>
                    <a:cubicBezTo>
                      <a:pt x="1" y="44"/>
                      <a:pt x="2" y="48"/>
                      <a:pt x="5" y="48"/>
                    </a:cubicBezTo>
                    <a:lnTo>
                      <a:pt x="6" y="48"/>
                    </a:lnTo>
                    <a:cubicBezTo>
                      <a:pt x="9" y="48"/>
                      <a:pt x="8" y="46"/>
                      <a:pt x="11" y="46"/>
                    </a:cubicBezTo>
                    <a:lnTo>
                      <a:pt x="12" y="46"/>
                    </a:lnTo>
                    <a:cubicBezTo>
                      <a:pt x="15" y="46"/>
                      <a:pt x="15" y="46"/>
                      <a:pt x="17" y="47"/>
                    </a:cubicBezTo>
                    <a:lnTo>
                      <a:pt x="18" y="56"/>
                    </a:lnTo>
                    <a:cubicBezTo>
                      <a:pt x="19" y="60"/>
                      <a:pt x="13" y="62"/>
                      <a:pt x="9" y="62"/>
                    </a:cubicBezTo>
                    <a:cubicBezTo>
                      <a:pt x="7" y="62"/>
                      <a:pt x="8" y="60"/>
                      <a:pt x="6" y="60"/>
                    </a:cubicBezTo>
                    <a:cubicBezTo>
                      <a:pt x="2" y="60"/>
                      <a:pt x="4" y="61"/>
                      <a:pt x="0" y="61"/>
                    </a:cubicBezTo>
                    <a:lnTo>
                      <a:pt x="0" y="64"/>
                    </a:lnTo>
                    <a:lnTo>
                      <a:pt x="1" y="77"/>
                    </a:lnTo>
                    <a:lnTo>
                      <a:pt x="20" y="77"/>
                    </a:lnTo>
                    <a:cubicBezTo>
                      <a:pt x="22" y="77"/>
                      <a:pt x="23" y="78"/>
                      <a:pt x="23" y="80"/>
                    </a:cubicBezTo>
                    <a:cubicBezTo>
                      <a:pt x="23" y="83"/>
                      <a:pt x="19" y="80"/>
                      <a:pt x="19" y="87"/>
                    </a:cubicBezTo>
                    <a:cubicBezTo>
                      <a:pt x="19" y="92"/>
                      <a:pt x="23" y="96"/>
                      <a:pt x="28" y="96"/>
                    </a:cubicBezTo>
                    <a:lnTo>
                      <a:pt x="34" y="96"/>
                    </a:lnTo>
                    <a:cubicBezTo>
                      <a:pt x="37" y="96"/>
                      <a:pt x="40" y="92"/>
                      <a:pt x="40" y="88"/>
                    </a:cubicBezTo>
                    <a:cubicBezTo>
                      <a:pt x="40" y="82"/>
                      <a:pt x="36" y="83"/>
                      <a:pt x="36" y="79"/>
                    </a:cubicBezTo>
                    <a:lnTo>
                      <a:pt x="36" y="76"/>
                    </a:lnTo>
                    <a:lnTo>
                      <a:pt x="41" y="76"/>
                    </a:lnTo>
                    <a:lnTo>
                      <a:pt x="62" y="77"/>
                    </a:lnTo>
                    <a:cubicBezTo>
                      <a:pt x="62" y="73"/>
                      <a:pt x="67" y="54"/>
                      <a:pt x="61" y="54"/>
                    </a:cubicBezTo>
                    <a:lnTo>
                      <a:pt x="60" y="54"/>
                    </a:lnTo>
                    <a:cubicBezTo>
                      <a:pt x="56" y="54"/>
                      <a:pt x="57" y="58"/>
                      <a:pt x="53" y="58"/>
                    </a:cubicBezTo>
                    <a:lnTo>
                      <a:pt x="49" y="58"/>
                    </a:lnTo>
                    <a:lnTo>
                      <a:pt x="46" y="55"/>
                    </a:lnTo>
                    <a:lnTo>
                      <a:pt x="46" y="47"/>
                    </a:lnTo>
                    <a:cubicBezTo>
                      <a:pt x="46" y="44"/>
                      <a:pt x="50" y="41"/>
                      <a:pt x="54" y="41"/>
                    </a:cubicBezTo>
                    <a:lnTo>
                      <a:pt x="55" y="41"/>
                    </a:lnTo>
                    <a:cubicBezTo>
                      <a:pt x="59" y="41"/>
                      <a:pt x="55" y="44"/>
                      <a:pt x="63" y="44"/>
                    </a:cubicBezTo>
                    <a:cubicBezTo>
                      <a:pt x="63" y="41"/>
                      <a:pt x="64" y="40"/>
                      <a:pt x="64" y="37"/>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91" name="Freeform 30"/>
              <p:cNvSpPr>
                <a:spLocks/>
              </p:cNvSpPr>
              <p:nvPr/>
            </p:nvSpPr>
            <p:spPr bwMode="auto">
              <a:xfrm>
                <a:off x="9401175" y="4152900"/>
                <a:ext cx="561975" cy="914400"/>
              </a:xfrm>
              <a:custGeom>
                <a:avLst/>
                <a:gdLst>
                  <a:gd name="T0" fmla="*/ 59 w 59"/>
                  <a:gd name="T1" fmla="*/ 33 h 96"/>
                  <a:gd name="T2" fmla="*/ 58 w 59"/>
                  <a:gd name="T3" fmla="*/ 19 h 96"/>
                  <a:gd name="T4" fmla="*/ 41 w 59"/>
                  <a:gd name="T5" fmla="*/ 19 h 96"/>
                  <a:gd name="T6" fmla="*/ 45 w 59"/>
                  <a:gd name="T7" fmla="*/ 10 h 96"/>
                  <a:gd name="T8" fmla="*/ 45 w 59"/>
                  <a:gd name="T9" fmla="*/ 9 h 96"/>
                  <a:gd name="T10" fmla="*/ 32 w 59"/>
                  <a:gd name="T11" fmla="*/ 0 h 96"/>
                  <a:gd name="T12" fmla="*/ 31 w 59"/>
                  <a:gd name="T13" fmla="*/ 0 h 96"/>
                  <a:gd name="T14" fmla="*/ 24 w 59"/>
                  <a:gd name="T15" fmla="*/ 7 h 96"/>
                  <a:gd name="T16" fmla="*/ 24 w 59"/>
                  <a:gd name="T17" fmla="*/ 10 h 96"/>
                  <a:gd name="T18" fmla="*/ 28 w 59"/>
                  <a:gd name="T19" fmla="*/ 17 h 96"/>
                  <a:gd name="T20" fmla="*/ 25 w 59"/>
                  <a:gd name="T21" fmla="*/ 20 h 96"/>
                  <a:gd name="T22" fmla="*/ 2 w 59"/>
                  <a:gd name="T23" fmla="*/ 20 h 96"/>
                  <a:gd name="T24" fmla="*/ 0 w 59"/>
                  <a:gd name="T25" fmla="*/ 30 h 96"/>
                  <a:gd name="T26" fmla="*/ 0 w 59"/>
                  <a:gd name="T27" fmla="*/ 42 h 96"/>
                  <a:gd name="T28" fmla="*/ 4 w 59"/>
                  <a:gd name="T29" fmla="*/ 42 h 96"/>
                  <a:gd name="T30" fmla="*/ 8 w 59"/>
                  <a:gd name="T31" fmla="*/ 38 h 96"/>
                  <a:gd name="T32" fmla="*/ 11 w 59"/>
                  <a:gd name="T33" fmla="*/ 38 h 96"/>
                  <a:gd name="T34" fmla="*/ 18 w 59"/>
                  <a:gd name="T35" fmla="*/ 44 h 96"/>
                  <a:gd name="T36" fmla="*/ 18 w 59"/>
                  <a:gd name="T37" fmla="*/ 49 h 96"/>
                  <a:gd name="T38" fmla="*/ 12 w 59"/>
                  <a:gd name="T39" fmla="*/ 55 h 96"/>
                  <a:gd name="T40" fmla="*/ 9 w 59"/>
                  <a:gd name="T41" fmla="*/ 55 h 96"/>
                  <a:gd name="T42" fmla="*/ 4 w 59"/>
                  <a:gd name="T43" fmla="*/ 53 h 96"/>
                  <a:gd name="T44" fmla="*/ 0 w 59"/>
                  <a:gd name="T45" fmla="*/ 53 h 96"/>
                  <a:gd name="T46" fmla="*/ 0 w 59"/>
                  <a:gd name="T47" fmla="*/ 74 h 96"/>
                  <a:gd name="T48" fmla="*/ 24 w 59"/>
                  <a:gd name="T49" fmla="*/ 74 h 96"/>
                  <a:gd name="T50" fmla="*/ 24 w 59"/>
                  <a:gd name="T51" fmla="*/ 80 h 96"/>
                  <a:gd name="T52" fmla="*/ 19 w 59"/>
                  <a:gd name="T53" fmla="*/ 85 h 96"/>
                  <a:gd name="T54" fmla="*/ 31 w 59"/>
                  <a:gd name="T55" fmla="*/ 96 h 96"/>
                  <a:gd name="T56" fmla="*/ 34 w 59"/>
                  <a:gd name="T57" fmla="*/ 96 h 96"/>
                  <a:gd name="T58" fmla="*/ 42 w 59"/>
                  <a:gd name="T59" fmla="*/ 89 h 96"/>
                  <a:gd name="T60" fmla="*/ 42 w 59"/>
                  <a:gd name="T61" fmla="*/ 88 h 96"/>
                  <a:gd name="T62" fmla="*/ 38 w 59"/>
                  <a:gd name="T63" fmla="*/ 79 h 96"/>
                  <a:gd name="T64" fmla="*/ 38 w 59"/>
                  <a:gd name="T65" fmla="*/ 74 h 96"/>
                  <a:gd name="T66" fmla="*/ 56 w 59"/>
                  <a:gd name="T67" fmla="*/ 75 h 96"/>
                  <a:gd name="T68" fmla="*/ 58 w 59"/>
                  <a:gd name="T69" fmla="*/ 52 h 96"/>
                  <a:gd name="T70" fmla="*/ 51 w 59"/>
                  <a:gd name="T71" fmla="*/ 54 h 96"/>
                  <a:gd name="T72" fmla="*/ 41 w 59"/>
                  <a:gd name="T73" fmla="*/ 44 h 96"/>
                  <a:gd name="T74" fmla="*/ 41 w 59"/>
                  <a:gd name="T75" fmla="*/ 43 h 96"/>
                  <a:gd name="T76" fmla="*/ 49 w 59"/>
                  <a:gd name="T77" fmla="*/ 31 h 96"/>
                  <a:gd name="T78" fmla="*/ 55 w 59"/>
                  <a:gd name="T79" fmla="*/ 31 h 96"/>
                  <a:gd name="T80" fmla="*/ 59 w 59"/>
                  <a:gd name="T8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96">
                    <a:moveTo>
                      <a:pt x="59" y="33"/>
                    </a:moveTo>
                    <a:lnTo>
                      <a:pt x="58" y="19"/>
                    </a:lnTo>
                    <a:lnTo>
                      <a:pt x="41" y="19"/>
                    </a:lnTo>
                    <a:cubicBezTo>
                      <a:pt x="41" y="11"/>
                      <a:pt x="45" y="15"/>
                      <a:pt x="45" y="10"/>
                    </a:cubicBezTo>
                    <a:lnTo>
                      <a:pt x="45" y="9"/>
                    </a:lnTo>
                    <a:cubicBezTo>
                      <a:pt x="45" y="2"/>
                      <a:pt x="39" y="0"/>
                      <a:pt x="32" y="0"/>
                    </a:cubicBezTo>
                    <a:lnTo>
                      <a:pt x="31" y="0"/>
                    </a:lnTo>
                    <a:cubicBezTo>
                      <a:pt x="26" y="0"/>
                      <a:pt x="24" y="2"/>
                      <a:pt x="24" y="7"/>
                    </a:cubicBezTo>
                    <a:lnTo>
                      <a:pt x="24" y="10"/>
                    </a:lnTo>
                    <a:cubicBezTo>
                      <a:pt x="24" y="14"/>
                      <a:pt x="28" y="13"/>
                      <a:pt x="28" y="17"/>
                    </a:cubicBezTo>
                    <a:cubicBezTo>
                      <a:pt x="28" y="19"/>
                      <a:pt x="27" y="20"/>
                      <a:pt x="25" y="20"/>
                    </a:cubicBezTo>
                    <a:lnTo>
                      <a:pt x="2" y="20"/>
                    </a:lnTo>
                    <a:cubicBezTo>
                      <a:pt x="2" y="25"/>
                      <a:pt x="0" y="25"/>
                      <a:pt x="0" y="30"/>
                    </a:cubicBezTo>
                    <a:lnTo>
                      <a:pt x="0" y="42"/>
                    </a:lnTo>
                    <a:lnTo>
                      <a:pt x="4" y="42"/>
                    </a:lnTo>
                    <a:cubicBezTo>
                      <a:pt x="7" y="42"/>
                      <a:pt x="7" y="40"/>
                      <a:pt x="8" y="38"/>
                    </a:cubicBezTo>
                    <a:lnTo>
                      <a:pt x="11" y="38"/>
                    </a:lnTo>
                    <a:cubicBezTo>
                      <a:pt x="15" y="38"/>
                      <a:pt x="18" y="41"/>
                      <a:pt x="18" y="44"/>
                    </a:cubicBezTo>
                    <a:lnTo>
                      <a:pt x="18" y="49"/>
                    </a:lnTo>
                    <a:cubicBezTo>
                      <a:pt x="18" y="51"/>
                      <a:pt x="14" y="55"/>
                      <a:pt x="12" y="55"/>
                    </a:cubicBezTo>
                    <a:lnTo>
                      <a:pt x="9" y="55"/>
                    </a:lnTo>
                    <a:cubicBezTo>
                      <a:pt x="6" y="55"/>
                      <a:pt x="8" y="53"/>
                      <a:pt x="4" y="53"/>
                    </a:cubicBezTo>
                    <a:lnTo>
                      <a:pt x="0" y="53"/>
                    </a:lnTo>
                    <a:lnTo>
                      <a:pt x="0" y="74"/>
                    </a:lnTo>
                    <a:lnTo>
                      <a:pt x="24" y="74"/>
                    </a:lnTo>
                    <a:lnTo>
                      <a:pt x="24" y="80"/>
                    </a:lnTo>
                    <a:cubicBezTo>
                      <a:pt x="22" y="81"/>
                      <a:pt x="19" y="82"/>
                      <a:pt x="19" y="85"/>
                    </a:cubicBezTo>
                    <a:cubicBezTo>
                      <a:pt x="19" y="93"/>
                      <a:pt x="24" y="96"/>
                      <a:pt x="31" y="96"/>
                    </a:cubicBezTo>
                    <a:lnTo>
                      <a:pt x="34" y="96"/>
                    </a:lnTo>
                    <a:cubicBezTo>
                      <a:pt x="38" y="96"/>
                      <a:pt x="42" y="92"/>
                      <a:pt x="42" y="89"/>
                    </a:cubicBezTo>
                    <a:lnTo>
                      <a:pt x="42" y="88"/>
                    </a:lnTo>
                    <a:cubicBezTo>
                      <a:pt x="42" y="82"/>
                      <a:pt x="38" y="83"/>
                      <a:pt x="38" y="79"/>
                    </a:cubicBezTo>
                    <a:lnTo>
                      <a:pt x="38" y="74"/>
                    </a:lnTo>
                    <a:lnTo>
                      <a:pt x="56" y="75"/>
                    </a:lnTo>
                    <a:lnTo>
                      <a:pt x="58" y="52"/>
                    </a:lnTo>
                    <a:cubicBezTo>
                      <a:pt x="56" y="53"/>
                      <a:pt x="54" y="54"/>
                      <a:pt x="51" y="54"/>
                    </a:cubicBezTo>
                    <a:cubicBezTo>
                      <a:pt x="45" y="54"/>
                      <a:pt x="41" y="49"/>
                      <a:pt x="41" y="44"/>
                    </a:cubicBezTo>
                    <a:lnTo>
                      <a:pt x="41" y="43"/>
                    </a:lnTo>
                    <a:cubicBezTo>
                      <a:pt x="41" y="38"/>
                      <a:pt x="45" y="31"/>
                      <a:pt x="49" y="31"/>
                    </a:cubicBezTo>
                    <a:lnTo>
                      <a:pt x="55" y="31"/>
                    </a:lnTo>
                    <a:cubicBezTo>
                      <a:pt x="57" y="31"/>
                      <a:pt x="57" y="32"/>
                      <a:pt x="59"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92" name="Freeform 31"/>
              <p:cNvSpPr>
                <a:spLocks/>
              </p:cNvSpPr>
              <p:nvPr/>
            </p:nvSpPr>
            <p:spPr bwMode="auto">
              <a:xfrm>
                <a:off x="9829800" y="4362450"/>
                <a:ext cx="885825" cy="666750"/>
              </a:xfrm>
              <a:custGeom>
                <a:avLst/>
                <a:gdLst>
                  <a:gd name="T0" fmla="*/ 56 w 93"/>
                  <a:gd name="T1" fmla="*/ 0 h 70"/>
                  <a:gd name="T2" fmla="*/ 59 w 93"/>
                  <a:gd name="T3" fmla="*/ 11 h 70"/>
                  <a:gd name="T4" fmla="*/ 49 w 93"/>
                  <a:gd name="T5" fmla="*/ 20 h 70"/>
                  <a:gd name="T6" fmla="*/ 44 w 93"/>
                  <a:gd name="T7" fmla="*/ 20 h 70"/>
                  <a:gd name="T8" fmla="*/ 30 w 93"/>
                  <a:gd name="T9" fmla="*/ 6 h 70"/>
                  <a:gd name="T10" fmla="*/ 30 w 93"/>
                  <a:gd name="T11" fmla="*/ 5 h 70"/>
                  <a:gd name="T12" fmla="*/ 32 w 93"/>
                  <a:gd name="T13" fmla="*/ 0 h 70"/>
                  <a:gd name="T14" fmla="*/ 18 w 93"/>
                  <a:gd name="T15" fmla="*/ 1 h 70"/>
                  <a:gd name="T16" fmla="*/ 18 w 93"/>
                  <a:gd name="T17" fmla="*/ 11 h 70"/>
                  <a:gd name="T18" fmla="*/ 15 w 93"/>
                  <a:gd name="T19" fmla="*/ 14 h 70"/>
                  <a:gd name="T20" fmla="*/ 14 w 93"/>
                  <a:gd name="T21" fmla="*/ 14 h 70"/>
                  <a:gd name="T22" fmla="*/ 7 w 93"/>
                  <a:gd name="T23" fmla="*/ 12 h 70"/>
                  <a:gd name="T24" fmla="*/ 0 w 93"/>
                  <a:gd name="T25" fmla="*/ 20 h 70"/>
                  <a:gd name="T26" fmla="*/ 0 w 93"/>
                  <a:gd name="T27" fmla="*/ 21 h 70"/>
                  <a:gd name="T28" fmla="*/ 5 w 93"/>
                  <a:gd name="T29" fmla="*/ 28 h 70"/>
                  <a:gd name="T30" fmla="*/ 6 w 93"/>
                  <a:gd name="T31" fmla="*/ 28 h 70"/>
                  <a:gd name="T32" fmla="*/ 14 w 93"/>
                  <a:gd name="T33" fmla="*/ 26 h 70"/>
                  <a:gd name="T34" fmla="*/ 17 w 93"/>
                  <a:gd name="T35" fmla="*/ 30 h 70"/>
                  <a:gd name="T36" fmla="*/ 17 w 93"/>
                  <a:gd name="T37" fmla="*/ 38 h 70"/>
                  <a:gd name="T38" fmla="*/ 15 w 93"/>
                  <a:gd name="T39" fmla="*/ 53 h 70"/>
                  <a:gd name="T40" fmla="*/ 24 w 93"/>
                  <a:gd name="T41" fmla="*/ 52 h 70"/>
                  <a:gd name="T42" fmla="*/ 28 w 93"/>
                  <a:gd name="T43" fmla="*/ 52 h 70"/>
                  <a:gd name="T44" fmla="*/ 32 w 93"/>
                  <a:gd name="T45" fmla="*/ 56 h 70"/>
                  <a:gd name="T46" fmla="*/ 30 w 93"/>
                  <a:gd name="T47" fmla="*/ 63 h 70"/>
                  <a:gd name="T48" fmla="*/ 38 w 93"/>
                  <a:gd name="T49" fmla="*/ 70 h 70"/>
                  <a:gd name="T50" fmla="*/ 46 w 93"/>
                  <a:gd name="T51" fmla="*/ 64 h 70"/>
                  <a:gd name="T52" fmla="*/ 43 w 93"/>
                  <a:gd name="T53" fmla="*/ 57 h 70"/>
                  <a:gd name="T54" fmla="*/ 48 w 93"/>
                  <a:gd name="T55" fmla="*/ 53 h 70"/>
                  <a:gd name="T56" fmla="*/ 77 w 93"/>
                  <a:gd name="T57" fmla="*/ 53 h 70"/>
                  <a:gd name="T58" fmla="*/ 75 w 93"/>
                  <a:gd name="T59" fmla="*/ 32 h 70"/>
                  <a:gd name="T60" fmla="*/ 78 w 93"/>
                  <a:gd name="T61" fmla="*/ 30 h 70"/>
                  <a:gd name="T62" fmla="*/ 79 w 93"/>
                  <a:gd name="T63" fmla="*/ 30 h 70"/>
                  <a:gd name="T64" fmla="*/ 86 w 93"/>
                  <a:gd name="T65" fmla="*/ 34 h 70"/>
                  <a:gd name="T66" fmla="*/ 93 w 93"/>
                  <a:gd name="T67" fmla="*/ 29 h 70"/>
                  <a:gd name="T68" fmla="*/ 93 w 93"/>
                  <a:gd name="T69" fmla="*/ 25 h 70"/>
                  <a:gd name="T70" fmla="*/ 84 w 93"/>
                  <a:gd name="T71" fmla="*/ 17 h 70"/>
                  <a:gd name="T72" fmla="*/ 79 w 93"/>
                  <a:gd name="T73" fmla="*/ 20 h 70"/>
                  <a:gd name="T74" fmla="*/ 76 w 93"/>
                  <a:gd name="T75" fmla="*/ 20 h 70"/>
                  <a:gd name="T76" fmla="*/ 76 w 93"/>
                  <a:gd name="T77" fmla="*/ 0 h 70"/>
                  <a:gd name="T78" fmla="*/ 56 w 93"/>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70">
                    <a:moveTo>
                      <a:pt x="56" y="0"/>
                    </a:moveTo>
                    <a:cubicBezTo>
                      <a:pt x="58" y="3"/>
                      <a:pt x="59" y="6"/>
                      <a:pt x="59" y="11"/>
                    </a:cubicBezTo>
                    <a:cubicBezTo>
                      <a:pt x="59" y="15"/>
                      <a:pt x="52" y="20"/>
                      <a:pt x="49" y="20"/>
                    </a:cubicBezTo>
                    <a:lnTo>
                      <a:pt x="44" y="20"/>
                    </a:lnTo>
                    <a:cubicBezTo>
                      <a:pt x="36" y="20"/>
                      <a:pt x="30" y="15"/>
                      <a:pt x="30" y="6"/>
                    </a:cubicBezTo>
                    <a:lnTo>
                      <a:pt x="30" y="5"/>
                    </a:lnTo>
                    <a:cubicBezTo>
                      <a:pt x="30" y="2"/>
                      <a:pt x="31" y="4"/>
                      <a:pt x="32" y="0"/>
                    </a:cubicBezTo>
                    <a:lnTo>
                      <a:pt x="18" y="1"/>
                    </a:lnTo>
                    <a:lnTo>
                      <a:pt x="18" y="11"/>
                    </a:lnTo>
                    <a:cubicBezTo>
                      <a:pt x="18" y="13"/>
                      <a:pt x="17" y="14"/>
                      <a:pt x="15" y="14"/>
                    </a:cubicBezTo>
                    <a:lnTo>
                      <a:pt x="14" y="14"/>
                    </a:lnTo>
                    <a:cubicBezTo>
                      <a:pt x="10" y="14"/>
                      <a:pt x="10" y="12"/>
                      <a:pt x="7" y="12"/>
                    </a:cubicBezTo>
                    <a:cubicBezTo>
                      <a:pt x="3" y="12"/>
                      <a:pt x="0" y="16"/>
                      <a:pt x="0" y="20"/>
                    </a:cubicBezTo>
                    <a:lnTo>
                      <a:pt x="0" y="21"/>
                    </a:lnTo>
                    <a:cubicBezTo>
                      <a:pt x="0" y="24"/>
                      <a:pt x="2" y="28"/>
                      <a:pt x="5" y="28"/>
                    </a:cubicBezTo>
                    <a:lnTo>
                      <a:pt x="6" y="28"/>
                    </a:lnTo>
                    <a:cubicBezTo>
                      <a:pt x="10" y="28"/>
                      <a:pt x="10" y="26"/>
                      <a:pt x="14" y="26"/>
                    </a:cubicBezTo>
                    <a:cubicBezTo>
                      <a:pt x="15" y="26"/>
                      <a:pt x="17" y="28"/>
                      <a:pt x="17" y="30"/>
                    </a:cubicBezTo>
                    <a:lnTo>
                      <a:pt x="17" y="38"/>
                    </a:lnTo>
                    <a:cubicBezTo>
                      <a:pt x="17" y="45"/>
                      <a:pt x="15" y="46"/>
                      <a:pt x="15" y="53"/>
                    </a:cubicBezTo>
                    <a:lnTo>
                      <a:pt x="24" y="52"/>
                    </a:lnTo>
                    <a:lnTo>
                      <a:pt x="28" y="52"/>
                    </a:lnTo>
                    <a:cubicBezTo>
                      <a:pt x="30" y="52"/>
                      <a:pt x="32" y="54"/>
                      <a:pt x="32" y="56"/>
                    </a:cubicBezTo>
                    <a:cubicBezTo>
                      <a:pt x="32" y="59"/>
                      <a:pt x="30" y="59"/>
                      <a:pt x="30" y="63"/>
                    </a:cubicBezTo>
                    <a:cubicBezTo>
                      <a:pt x="30" y="68"/>
                      <a:pt x="33" y="70"/>
                      <a:pt x="38" y="70"/>
                    </a:cubicBezTo>
                    <a:cubicBezTo>
                      <a:pt x="42" y="70"/>
                      <a:pt x="46" y="68"/>
                      <a:pt x="46" y="64"/>
                    </a:cubicBezTo>
                    <a:cubicBezTo>
                      <a:pt x="46" y="60"/>
                      <a:pt x="43" y="60"/>
                      <a:pt x="43" y="57"/>
                    </a:cubicBezTo>
                    <a:cubicBezTo>
                      <a:pt x="43" y="56"/>
                      <a:pt x="46" y="53"/>
                      <a:pt x="48" y="53"/>
                    </a:cubicBezTo>
                    <a:lnTo>
                      <a:pt x="77" y="53"/>
                    </a:lnTo>
                    <a:lnTo>
                      <a:pt x="75" y="32"/>
                    </a:lnTo>
                    <a:cubicBezTo>
                      <a:pt x="75" y="31"/>
                      <a:pt x="76" y="30"/>
                      <a:pt x="78" y="30"/>
                    </a:cubicBezTo>
                    <a:lnTo>
                      <a:pt x="79" y="30"/>
                    </a:lnTo>
                    <a:cubicBezTo>
                      <a:pt x="83" y="30"/>
                      <a:pt x="82" y="34"/>
                      <a:pt x="86" y="34"/>
                    </a:cubicBezTo>
                    <a:cubicBezTo>
                      <a:pt x="89" y="34"/>
                      <a:pt x="93" y="32"/>
                      <a:pt x="93" y="29"/>
                    </a:cubicBezTo>
                    <a:lnTo>
                      <a:pt x="93" y="25"/>
                    </a:lnTo>
                    <a:cubicBezTo>
                      <a:pt x="93" y="20"/>
                      <a:pt x="89" y="17"/>
                      <a:pt x="84" y="17"/>
                    </a:cubicBezTo>
                    <a:cubicBezTo>
                      <a:pt x="82" y="17"/>
                      <a:pt x="82" y="20"/>
                      <a:pt x="79" y="20"/>
                    </a:cubicBezTo>
                    <a:lnTo>
                      <a:pt x="76" y="20"/>
                    </a:lnTo>
                    <a:lnTo>
                      <a:pt x="7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grpSp>
        <p:sp>
          <p:nvSpPr>
            <p:cNvPr id="267" name="Rectangle 266"/>
            <p:cNvSpPr/>
            <p:nvPr/>
          </p:nvSpPr>
          <p:spPr>
            <a:xfrm>
              <a:off x="4562043" y="3188144"/>
              <a:ext cx="2489821" cy="523220"/>
            </a:xfrm>
            <a:prstGeom prst="rect">
              <a:avLst/>
            </a:prstGeom>
          </p:spPr>
          <p:txBody>
            <a:bodyPr wrap="square">
              <a:spAutoFit/>
            </a:bodyPr>
            <a:lstStyle/>
            <a:p>
              <a:pPr algn="ctr" defTabSz="1039521"/>
              <a:r>
                <a:rPr lang="en-US" sz="1400" b="1" dirty="0">
                  <a:solidFill>
                    <a:prstClr val="black"/>
                  </a:solidFill>
                  <a:latin typeface="Calibri" panose="020F0502020204030204" pitchFamily="34" charset="0"/>
                </a:rPr>
                <a:t>SCOPE </a:t>
              </a:r>
            </a:p>
            <a:p>
              <a:pPr algn="ctr" defTabSz="1039521"/>
              <a:r>
                <a:rPr lang="en-US" sz="1400" b="1" dirty="0">
                  <a:solidFill>
                    <a:prstClr val="black"/>
                  </a:solidFill>
                  <a:latin typeface="Calibri" panose="020F0502020204030204" pitchFamily="34" charset="0"/>
                </a:rPr>
                <a:t>OVERVIEW</a:t>
              </a:r>
            </a:p>
          </p:txBody>
        </p:sp>
        <p:grpSp>
          <p:nvGrpSpPr>
            <p:cNvPr id="268" name="Group 267"/>
            <p:cNvGrpSpPr/>
            <p:nvPr/>
          </p:nvGrpSpPr>
          <p:grpSpPr>
            <a:xfrm>
              <a:off x="3568546" y="2901544"/>
              <a:ext cx="417585" cy="556083"/>
              <a:chOff x="-4743450" y="4779963"/>
              <a:chExt cx="306387" cy="409575"/>
            </a:xfrm>
            <a:solidFill>
              <a:sysClr val="window" lastClr="FFFFFF"/>
            </a:solidFill>
            <a:effectLst>
              <a:outerShdw blurRad="63500" sx="102000" sy="102000" algn="ctr" rotWithShape="0">
                <a:prstClr val="black">
                  <a:alpha val="40000"/>
                </a:prstClr>
              </a:outerShdw>
            </a:effectLst>
          </p:grpSpPr>
          <p:sp>
            <p:nvSpPr>
              <p:cNvPr id="277" name="Freeform 11"/>
              <p:cNvSpPr>
                <a:spLocks/>
              </p:cNvSpPr>
              <p:nvPr/>
            </p:nvSpPr>
            <p:spPr bwMode="auto">
              <a:xfrm>
                <a:off x="-4641850" y="5138738"/>
                <a:ext cx="103187" cy="50800"/>
              </a:xfrm>
              <a:custGeom>
                <a:avLst/>
                <a:gdLst>
                  <a:gd name="T0" fmla="*/ 37 w 85"/>
                  <a:gd name="T1" fmla="*/ 42 h 42"/>
                  <a:gd name="T2" fmla="*/ 21 w 85"/>
                  <a:gd name="T3" fmla="*/ 33 h 42"/>
                  <a:gd name="T4" fmla="*/ 14 w 85"/>
                  <a:gd name="T5" fmla="*/ 23 h 42"/>
                  <a:gd name="T6" fmla="*/ 10 w 85"/>
                  <a:gd name="T7" fmla="*/ 21 h 42"/>
                  <a:gd name="T8" fmla="*/ 0 w 85"/>
                  <a:gd name="T9" fmla="*/ 10 h 42"/>
                  <a:gd name="T10" fmla="*/ 11 w 85"/>
                  <a:gd name="T11" fmla="*/ 0 h 42"/>
                  <a:gd name="T12" fmla="*/ 74 w 85"/>
                  <a:gd name="T13" fmla="*/ 0 h 42"/>
                  <a:gd name="T14" fmla="*/ 85 w 85"/>
                  <a:gd name="T15" fmla="*/ 10 h 42"/>
                  <a:gd name="T16" fmla="*/ 75 w 85"/>
                  <a:gd name="T17" fmla="*/ 21 h 42"/>
                  <a:gd name="T18" fmla="*/ 72 w 85"/>
                  <a:gd name="T19" fmla="*/ 23 h 42"/>
                  <a:gd name="T20" fmla="*/ 49 w 85"/>
                  <a:gd name="T21" fmla="*/ 42 h 42"/>
                  <a:gd name="T22" fmla="*/ 49 w 85"/>
                  <a:gd name="T23" fmla="*/ 42 h 42"/>
                  <a:gd name="T24" fmla="*/ 37 w 85"/>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42">
                    <a:moveTo>
                      <a:pt x="37" y="42"/>
                    </a:moveTo>
                    <a:cubicBezTo>
                      <a:pt x="31" y="40"/>
                      <a:pt x="25" y="38"/>
                      <a:pt x="21" y="33"/>
                    </a:cubicBezTo>
                    <a:cubicBezTo>
                      <a:pt x="18" y="30"/>
                      <a:pt x="16" y="27"/>
                      <a:pt x="14" y="23"/>
                    </a:cubicBezTo>
                    <a:cubicBezTo>
                      <a:pt x="13" y="22"/>
                      <a:pt x="12" y="21"/>
                      <a:pt x="10" y="21"/>
                    </a:cubicBezTo>
                    <a:cubicBezTo>
                      <a:pt x="4" y="21"/>
                      <a:pt x="0" y="16"/>
                      <a:pt x="0" y="10"/>
                    </a:cubicBezTo>
                    <a:cubicBezTo>
                      <a:pt x="0" y="4"/>
                      <a:pt x="5" y="0"/>
                      <a:pt x="11" y="0"/>
                    </a:cubicBezTo>
                    <a:cubicBezTo>
                      <a:pt x="32" y="0"/>
                      <a:pt x="53" y="0"/>
                      <a:pt x="74" y="0"/>
                    </a:cubicBezTo>
                    <a:cubicBezTo>
                      <a:pt x="80" y="0"/>
                      <a:pt x="85" y="4"/>
                      <a:pt x="85" y="10"/>
                    </a:cubicBezTo>
                    <a:cubicBezTo>
                      <a:pt x="85" y="16"/>
                      <a:pt x="81" y="21"/>
                      <a:pt x="75" y="21"/>
                    </a:cubicBezTo>
                    <a:cubicBezTo>
                      <a:pt x="74" y="21"/>
                      <a:pt x="72" y="22"/>
                      <a:pt x="72" y="23"/>
                    </a:cubicBezTo>
                    <a:cubicBezTo>
                      <a:pt x="67" y="33"/>
                      <a:pt x="60" y="39"/>
                      <a:pt x="49" y="42"/>
                    </a:cubicBezTo>
                    <a:cubicBezTo>
                      <a:pt x="49" y="42"/>
                      <a:pt x="49" y="42"/>
                      <a:pt x="49" y="42"/>
                    </a:cubicBezTo>
                    <a:cubicBezTo>
                      <a:pt x="45" y="42"/>
                      <a:pt x="41" y="42"/>
                      <a:pt x="3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78" name="Freeform 12"/>
              <p:cNvSpPr>
                <a:spLocks/>
              </p:cNvSpPr>
              <p:nvPr/>
            </p:nvSpPr>
            <p:spPr bwMode="auto">
              <a:xfrm>
                <a:off x="-4703763" y="4821238"/>
                <a:ext cx="219075" cy="266700"/>
              </a:xfrm>
              <a:custGeom>
                <a:avLst/>
                <a:gdLst>
                  <a:gd name="T0" fmla="*/ 136 w 180"/>
                  <a:gd name="T1" fmla="*/ 220 h 220"/>
                  <a:gd name="T2" fmla="*/ 51 w 180"/>
                  <a:gd name="T3" fmla="*/ 220 h 220"/>
                  <a:gd name="T4" fmla="*/ 45 w 180"/>
                  <a:gd name="T5" fmla="*/ 191 h 220"/>
                  <a:gd name="T6" fmla="*/ 29 w 180"/>
                  <a:gd name="T7" fmla="*/ 154 h 220"/>
                  <a:gd name="T8" fmla="*/ 12 w 180"/>
                  <a:gd name="T9" fmla="*/ 113 h 220"/>
                  <a:gd name="T10" fmla="*/ 74 w 180"/>
                  <a:gd name="T11" fmla="*/ 11 h 220"/>
                  <a:gd name="T12" fmla="*/ 177 w 180"/>
                  <a:gd name="T13" fmla="*/ 76 h 220"/>
                  <a:gd name="T14" fmla="*/ 170 w 180"/>
                  <a:gd name="T15" fmla="*/ 128 h 220"/>
                  <a:gd name="T16" fmla="*/ 149 w 180"/>
                  <a:gd name="T17" fmla="*/ 173 h 220"/>
                  <a:gd name="T18" fmla="*/ 137 w 180"/>
                  <a:gd name="T19" fmla="*/ 209 h 220"/>
                  <a:gd name="T20" fmla="*/ 136 w 180"/>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220">
                    <a:moveTo>
                      <a:pt x="136" y="220"/>
                    </a:moveTo>
                    <a:cubicBezTo>
                      <a:pt x="108" y="220"/>
                      <a:pt x="80" y="220"/>
                      <a:pt x="51" y="220"/>
                    </a:cubicBezTo>
                    <a:cubicBezTo>
                      <a:pt x="51" y="210"/>
                      <a:pt x="49" y="200"/>
                      <a:pt x="45" y="191"/>
                    </a:cubicBezTo>
                    <a:cubicBezTo>
                      <a:pt x="40" y="178"/>
                      <a:pt x="34" y="166"/>
                      <a:pt x="29" y="154"/>
                    </a:cubicBezTo>
                    <a:cubicBezTo>
                      <a:pt x="22" y="140"/>
                      <a:pt x="16" y="127"/>
                      <a:pt x="12" y="113"/>
                    </a:cubicBezTo>
                    <a:cubicBezTo>
                      <a:pt x="0" y="68"/>
                      <a:pt x="29" y="21"/>
                      <a:pt x="74" y="11"/>
                    </a:cubicBezTo>
                    <a:cubicBezTo>
                      <a:pt x="121" y="0"/>
                      <a:pt x="167" y="29"/>
                      <a:pt x="177" y="76"/>
                    </a:cubicBezTo>
                    <a:cubicBezTo>
                      <a:pt x="180" y="94"/>
                      <a:pt x="178" y="111"/>
                      <a:pt x="170" y="128"/>
                    </a:cubicBezTo>
                    <a:cubicBezTo>
                      <a:pt x="164" y="143"/>
                      <a:pt x="156" y="158"/>
                      <a:pt x="149" y="173"/>
                    </a:cubicBezTo>
                    <a:cubicBezTo>
                      <a:pt x="143" y="185"/>
                      <a:pt x="139" y="197"/>
                      <a:pt x="137" y="209"/>
                    </a:cubicBezTo>
                    <a:cubicBezTo>
                      <a:pt x="136" y="213"/>
                      <a:pt x="136" y="216"/>
                      <a:pt x="136"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79" name="Freeform 13"/>
              <p:cNvSpPr>
                <a:spLocks/>
              </p:cNvSpPr>
              <p:nvPr/>
            </p:nvSpPr>
            <p:spPr bwMode="auto">
              <a:xfrm>
                <a:off x="-4641850" y="5099050"/>
                <a:ext cx="103187" cy="25400"/>
              </a:xfrm>
              <a:custGeom>
                <a:avLst/>
                <a:gdLst>
                  <a:gd name="T0" fmla="*/ 42 w 85"/>
                  <a:gd name="T1" fmla="*/ 21 h 21"/>
                  <a:gd name="T2" fmla="*/ 11 w 85"/>
                  <a:gd name="T3" fmla="*/ 21 h 21"/>
                  <a:gd name="T4" fmla="*/ 0 w 85"/>
                  <a:gd name="T5" fmla="*/ 11 h 21"/>
                  <a:gd name="T6" fmla="*/ 11 w 85"/>
                  <a:gd name="T7" fmla="*/ 0 h 21"/>
                  <a:gd name="T8" fmla="*/ 74 w 85"/>
                  <a:gd name="T9" fmla="*/ 0 h 21"/>
                  <a:gd name="T10" fmla="*/ 85 w 85"/>
                  <a:gd name="T11" fmla="*/ 11 h 21"/>
                  <a:gd name="T12" fmla="*/ 74 w 85"/>
                  <a:gd name="T13" fmla="*/ 21 h 21"/>
                  <a:gd name="T14" fmla="*/ 42 w 85"/>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21">
                    <a:moveTo>
                      <a:pt x="42" y="21"/>
                    </a:moveTo>
                    <a:cubicBezTo>
                      <a:pt x="32" y="21"/>
                      <a:pt x="22" y="21"/>
                      <a:pt x="11" y="21"/>
                    </a:cubicBezTo>
                    <a:cubicBezTo>
                      <a:pt x="5" y="21"/>
                      <a:pt x="0" y="17"/>
                      <a:pt x="0" y="11"/>
                    </a:cubicBezTo>
                    <a:cubicBezTo>
                      <a:pt x="0" y="5"/>
                      <a:pt x="5" y="0"/>
                      <a:pt x="11" y="0"/>
                    </a:cubicBezTo>
                    <a:cubicBezTo>
                      <a:pt x="32" y="0"/>
                      <a:pt x="53" y="0"/>
                      <a:pt x="74" y="0"/>
                    </a:cubicBezTo>
                    <a:cubicBezTo>
                      <a:pt x="81" y="0"/>
                      <a:pt x="85" y="5"/>
                      <a:pt x="85" y="11"/>
                    </a:cubicBezTo>
                    <a:cubicBezTo>
                      <a:pt x="85" y="17"/>
                      <a:pt x="81" y="21"/>
                      <a:pt x="74" y="21"/>
                    </a:cubicBezTo>
                    <a:cubicBezTo>
                      <a:pt x="64" y="21"/>
                      <a:pt x="53"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0" name="Freeform 14"/>
              <p:cNvSpPr>
                <a:spLocks/>
              </p:cNvSpPr>
              <p:nvPr/>
            </p:nvSpPr>
            <p:spPr bwMode="auto">
              <a:xfrm>
                <a:off x="-4678363" y="4794250"/>
                <a:ext cx="34925" cy="34925"/>
              </a:xfrm>
              <a:custGeom>
                <a:avLst/>
                <a:gdLst>
                  <a:gd name="T0" fmla="*/ 18 w 29"/>
                  <a:gd name="T1" fmla="*/ 0 h 29"/>
                  <a:gd name="T2" fmla="*/ 29 w 29"/>
                  <a:gd name="T3" fmla="*/ 19 h 29"/>
                  <a:gd name="T4" fmla="*/ 11 w 29"/>
                  <a:gd name="T5" fmla="*/ 29 h 29"/>
                  <a:gd name="T6" fmla="*/ 0 w 29"/>
                  <a:gd name="T7" fmla="*/ 10 h 29"/>
                  <a:gd name="T8" fmla="*/ 18 w 29"/>
                  <a:gd name="T9" fmla="*/ 0 h 29"/>
                </a:gdLst>
                <a:ahLst/>
                <a:cxnLst>
                  <a:cxn ang="0">
                    <a:pos x="T0" y="T1"/>
                  </a:cxn>
                  <a:cxn ang="0">
                    <a:pos x="T2" y="T3"/>
                  </a:cxn>
                  <a:cxn ang="0">
                    <a:pos x="T4" y="T5"/>
                  </a:cxn>
                  <a:cxn ang="0">
                    <a:pos x="T6" y="T7"/>
                  </a:cxn>
                  <a:cxn ang="0">
                    <a:pos x="T8" y="T9"/>
                  </a:cxn>
                </a:cxnLst>
                <a:rect l="0" t="0" r="r" b="b"/>
                <a:pathLst>
                  <a:path w="29" h="29">
                    <a:moveTo>
                      <a:pt x="18" y="0"/>
                    </a:moveTo>
                    <a:cubicBezTo>
                      <a:pt x="22" y="6"/>
                      <a:pt x="26" y="12"/>
                      <a:pt x="29" y="19"/>
                    </a:cubicBezTo>
                    <a:cubicBezTo>
                      <a:pt x="23" y="22"/>
                      <a:pt x="17" y="26"/>
                      <a:pt x="11" y="29"/>
                    </a:cubicBezTo>
                    <a:cubicBezTo>
                      <a:pt x="7" y="23"/>
                      <a:pt x="4" y="17"/>
                      <a:pt x="0" y="10"/>
                    </a:cubicBezTo>
                    <a:cubicBezTo>
                      <a:pt x="6" y="7"/>
                      <a:pt x="12" y="3"/>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1" name="Freeform 15"/>
              <p:cNvSpPr>
                <a:spLocks/>
              </p:cNvSpPr>
              <p:nvPr/>
            </p:nvSpPr>
            <p:spPr bwMode="auto">
              <a:xfrm>
                <a:off x="-4730750" y="4845050"/>
                <a:ext cx="36512" cy="36513"/>
              </a:xfrm>
              <a:custGeom>
                <a:avLst/>
                <a:gdLst>
                  <a:gd name="T0" fmla="*/ 19 w 30"/>
                  <a:gd name="T1" fmla="*/ 30 h 30"/>
                  <a:gd name="T2" fmla="*/ 0 w 30"/>
                  <a:gd name="T3" fmla="*/ 19 h 30"/>
                  <a:gd name="T4" fmla="*/ 11 w 30"/>
                  <a:gd name="T5" fmla="*/ 0 h 30"/>
                  <a:gd name="T6" fmla="*/ 30 w 30"/>
                  <a:gd name="T7" fmla="*/ 11 h 30"/>
                  <a:gd name="T8" fmla="*/ 19 w 30"/>
                  <a:gd name="T9" fmla="*/ 30 h 30"/>
                </a:gdLst>
                <a:ahLst/>
                <a:cxnLst>
                  <a:cxn ang="0">
                    <a:pos x="T0" y="T1"/>
                  </a:cxn>
                  <a:cxn ang="0">
                    <a:pos x="T2" y="T3"/>
                  </a:cxn>
                  <a:cxn ang="0">
                    <a:pos x="T4" y="T5"/>
                  </a:cxn>
                  <a:cxn ang="0">
                    <a:pos x="T6" y="T7"/>
                  </a:cxn>
                  <a:cxn ang="0">
                    <a:pos x="T8" y="T9"/>
                  </a:cxn>
                </a:cxnLst>
                <a:rect l="0" t="0" r="r" b="b"/>
                <a:pathLst>
                  <a:path w="30" h="30">
                    <a:moveTo>
                      <a:pt x="19" y="30"/>
                    </a:moveTo>
                    <a:cubicBezTo>
                      <a:pt x="13" y="26"/>
                      <a:pt x="7" y="23"/>
                      <a:pt x="0" y="19"/>
                    </a:cubicBezTo>
                    <a:cubicBezTo>
                      <a:pt x="4" y="13"/>
                      <a:pt x="7" y="6"/>
                      <a:pt x="11" y="0"/>
                    </a:cubicBezTo>
                    <a:cubicBezTo>
                      <a:pt x="18" y="4"/>
                      <a:pt x="24" y="8"/>
                      <a:pt x="30" y="11"/>
                    </a:cubicBezTo>
                    <a:cubicBezTo>
                      <a:pt x="26" y="17"/>
                      <a:pt x="23" y="23"/>
                      <a:pt x="1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2" name="Freeform 16"/>
              <p:cNvSpPr>
                <a:spLocks/>
              </p:cNvSpPr>
              <p:nvPr/>
            </p:nvSpPr>
            <p:spPr bwMode="auto">
              <a:xfrm>
                <a:off x="-4486275" y="4845050"/>
                <a:ext cx="36512" cy="36513"/>
              </a:xfrm>
              <a:custGeom>
                <a:avLst/>
                <a:gdLst>
                  <a:gd name="T0" fmla="*/ 11 w 30"/>
                  <a:gd name="T1" fmla="*/ 30 h 30"/>
                  <a:gd name="T2" fmla="*/ 0 w 30"/>
                  <a:gd name="T3" fmla="*/ 11 h 30"/>
                  <a:gd name="T4" fmla="*/ 19 w 30"/>
                  <a:gd name="T5" fmla="*/ 0 h 30"/>
                  <a:gd name="T6" fmla="*/ 30 w 30"/>
                  <a:gd name="T7" fmla="*/ 19 h 30"/>
                  <a:gd name="T8" fmla="*/ 11 w 30"/>
                  <a:gd name="T9" fmla="*/ 30 h 30"/>
                </a:gdLst>
                <a:ahLst/>
                <a:cxnLst>
                  <a:cxn ang="0">
                    <a:pos x="T0" y="T1"/>
                  </a:cxn>
                  <a:cxn ang="0">
                    <a:pos x="T2" y="T3"/>
                  </a:cxn>
                  <a:cxn ang="0">
                    <a:pos x="T4" y="T5"/>
                  </a:cxn>
                  <a:cxn ang="0">
                    <a:pos x="T6" y="T7"/>
                  </a:cxn>
                  <a:cxn ang="0">
                    <a:pos x="T8" y="T9"/>
                  </a:cxn>
                </a:cxnLst>
                <a:rect l="0" t="0" r="r" b="b"/>
                <a:pathLst>
                  <a:path w="30" h="30">
                    <a:moveTo>
                      <a:pt x="11" y="30"/>
                    </a:moveTo>
                    <a:cubicBezTo>
                      <a:pt x="7" y="23"/>
                      <a:pt x="4" y="17"/>
                      <a:pt x="0" y="11"/>
                    </a:cubicBezTo>
                    <a:cubicBezTo>
                      <a:pt x="6" y="8"/>
                      <a:pt x="13" y="4"/>
                      <a:pt x="19" y="0"/>
                    </a:cubicBezTo>
                    <a:cubicBezTo>
                      <a:pt x="23" y="6"/>
                      <a:pt x="26" y="12"/>
                      <a:pt x="30" y="19"/>
                    </a:cubicBezTo>
                    <a:cubicBezTo>
                      <a:pt x="24" y="22"/>
                      <a:pt x="17" y="26"/>
                      <a:pt x="1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3" name="Freeform 17"/>
              <p:cNvSpPr>
                <a:spLocks/>
              </p:cNvSpPr>
              <p:nvPr/>
            </p:nvSpPr>
            <p:spPr bwMode="auto">
              <a:xfrm>
                <a:off x="-4537075" y="4794250"/>
                <a:ext cx="34925" cy="34925"/>
              </a:xfrm>
              <a:custGeom>
                <a:avLst/>
                <a:gdLst>
                  <a:gd name="T0" fmla="*/ 18 w 29"/>
                  <a:gd name="T1" fmla="*/ 29 h 29"/>
                  <a:gd name="T2" fmla="*/ 0 w 29"/>
                  <a:gd name="T3" fmla="*/ 19 h 29"/>
                  <a:gd name="T4" fmla="*/ 11 w 29"/>
                  <a:gd name="T5" fmla="*/ 0 h 29"/>
                  <a:gd name="T6" fmla="*/ 29 w 29"/>
                  <a:gd name="T7" fmla="*/ 10 h 29"/>
                  <a:gd name="T8" fmla="*/ 18 w 29"/>
                  <a:gd name="T9" fmla="*/ 29 h 29"/>
                </a:gdLst>
                <a:ahLst/>
                <a:cxnLst>
                  <a:cxn ang="0">
                    <a:pos x="T0" y="T1"/>
                  </a:cxn>
                  <a:cxn ang="0">
                    <a:pos x="T2" y="T3"/>
                  </a:cxn>
                  <a:cxn ang="0">
                    <a:pos x="T4" y="T5"/>
                  </a:cxn>
                  <a:cxn ang="0">
                    <a:pos x="T6" y="T7"/>
                  </a:cxn>
                  <a:cxn ang="0">
                    <a:pos x="T8" y="T9"/>
                  </a:cxn>
                </a:cxnLst>
                <a:rect l="0" t="0" r="r" b="b"/>
                <a:pathLst>
                  <a:path w="29" h="29">
                    <a:moveTo>
                      <a:pt x="18" y="29"/>
                    </a:moveTo>
                    <a:cubicBezTo>
                      <a:pt x="12" y="26"/>
                      <a:pt x="6" y="22"/>
                      <a:pt x="0" y="19"/>
                    </a:cubicBezTo>
                    <a:cubicBezTo>
                      <a:pt x="3" y="12"/>
                      <a:pt x="7" y="6"/>
                      <a:pt x="11" y="0"/>
                    </a:cubicBezTo>
                    <a:cubicBezTo>
                      <a:pt x="17" y="3"/>
                      <a:pt x="23" y="7"/>
                      <a:pt x="29" y="10"/>
                    </a:cubicBezTo>
                    <a:cubicBezTo>
                      <a:pt x="26" y="17"/>
                      <a:pt x="22" y="23"/>
                      <a:pt x="1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4" name="Freeform 18"/>
              <p:cNvSpPr>
                <a:spLocks/>
              </p:cNvSpPr>
              <p:nvPr/>
            </p:nvSpPr>
            <p:spPr bwMode="auto">
              <a:xfrm>
                <a:off x="-4484688" y="4984750"/>
                <a:ext cx="34925" cy="36513"/>
              </a:xfrm>
              <a:custGeom>
                <a:avLst/>
                <a:gdLst>
                  <a:gd name="T0" fmla="*/ 28 w 28"/>
                  <a:gd name="T1" fmla="*/ 11 h 30"/>
                  <a:gd name="T2" fmla="*/ 17 w 28"/>
                  <a:gd name="T3" fmla="*/ 30 h 30"/>
                  <a:gd name="T4" fmla="*/ 0 w 28"/>
                  <a:gd name="T5" fmla="*/ 20 h 30"/>
                  <a:gd name="T6" fmla="*/ 9 w 28"/>
                  <a:gd name="T7" fmla="*/ 0 h 30"/>
                  <a:gd name="T8" fmla="*/ 28 w 28"/>
                  <a:gd name="T9" fmla="*/ 11 h 30"/>
                </a:gdLst>
                <a:ahLst/>
                <a:cxnLst>
                  <a:cxn ang="0">
                    <a:pos x="T0" y="T1"/>
                  </a:cxn>
                  <a:cxn ang="0">
                    <a:pos x="T2" y="T3"/>
                  </a:cxn>
                  <a:cxn ang="0">
                    <a:pos x="T4" y="T5"/>
                  </a:cxn>
                  <a:cxn ang="0">
                    <a:pos x="T6" y="T7"/>
                  </a:cxn>
                  <a:cxn ang="0">
                    <a:pos x="T8" y="T9"/>
                  </a:cxn>
                </a:cxnLst>
                <a:rect l="0" t="0" r="r" b="b"/>
                <a:pathLst>
                  <a:path w="28" h="30">
                    <a:moveTo>
                      <a:pt x="28" y="11"/>
                    </a:moveTo>
                    <a:cubicBezTo>
                      <a:pt x="24" y="17"/>
                      <a:pt x="21" y="23"/>
                      <a:pt x="17" y="30"/>
                    </a:cubicBezTo>
                    <a:cubicBezTo>
                      <a:pt x="11" y="26"/>
                      <a:pt x="6" y="23"/>
                      <a:pt x="0" y="20"/>
                    </a:cubicBezTo>
                    <a:cubicBezTo>
                      <a:pt x="3" y="13"/>
                      <a:pt x="6" y="7"/>
                      <a:pt x="9" y="0"/>
                    </a:cubicBezTo>
                    <a:cubicBezTo>
                      <a:pt x="15" y="4"/>
                      <a:pt x="21" y="7"/>
                      <a:pt x="2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5" name="Freeform 19"/>
              <p:cNvSpPr>
                <a:spLocks/>
              </p:cNvSpPr>
              <p:nvPr/>
            </p:nvSpPr>
            <p:spPr bwMode="auto">
              <a:xfrm>
                <a:off x="-4743450" y="4921250"/>
                <a:ext cx="26987" cy="23813"/>
              </a:xfrm>
              <a:custGeom>
                <a:avLst/>
                <a:gdLst>
                  <a:gd name="T0" fmla="*/ 22 w 22"/>
                  <a:gd name="T1" fmla="*/ 20 h 20"/>
                  <a:gd name="T2" fmla="*/ 0 w 22"/>
                  <a:gd name="T3" fmla="*/ 20 h 20"/>
                  <a:gd name="T4" fmla="*/ 0 w 22"/>
                  <a:gd name="T5" fmla="*/ 0 h 20"/>
                  <a:gd name="T6" fmla="*/ 22 w 22"/>
                  <a:gd name="T7" fmla="*/ 0 h 20"/>
                  <a:gd name="T8" fmla="*/ 22 w 22"/>
                  <a:gd name="T9" fmla="*/ 20 h 20"/>
                </a:gdLst>
                <a:ahLst/>
                <a:cxnLst>
                  <a:cxn ang="0">
                    <a:pos x="T0" y="T1"/>
                  </a:cxn>
                  <a:cxn ang="0">
                    <a:pos x="T2" y="T3"/>
                  </a:cxn>
                  <a:cxn ang="0">
                    <a:pos x="T4" y="T5"/>
                  </a:cxn>
                  <a:cxn ang="0">
                    <a:pos x="T6" y="T7"/>
                  </a:cxn>
                  <a:cxn ang="0">
                    <a:pos x="T8" y="T9"/>
                  </a:cxn>
                </a:cxnLst>
                <a:rect l="0" t="0" r="r" b="b"/>
                <a:pathLst>
                  <a:path w="22" h="20">
                    <a:moveTo>
                      <a:pt x="22" y="20"/>
                    </a:moveTo>
                    <a:cubicBezTo>
                      <a:pt x="15" y="20"/>
                      <a:pt x="8" y="20"/>
                      <a:pt x="0" y="20"/>
                    </a:cubicBezTo>
                    <a:cubicBezTo>
                      <a:pt x="0" y="14"/>
                      <a:pt x="0" y="7"/>
                      <a:pt x="0" y="0"/>
                    </a:cubicBezTo>
                    <a:cubicBezTo>
                      <a:pt x="7" y="0"/>
                      <a:pt x="15" y="0"/>
                      <a:pt x="22" y="0"/>
                    </a:cubicBezTo>
                    <a:cubicBezTo>
                      <a:pt x="22" y="7"/>
                      <a:pt x="22" y="13"/>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6" name="Freeform 20"/>
              <p:cNvSpPr>
                <a:spLocks/>
              </p:cNvSpPr>
              <p:nvPr/>
            </p:nvSpPr>
            <p:spPr bwMode="auto">
              <a:xfrm>
                <a:off x="-4462463" y="4921250"/>
                <a:ext cx="25400" cy="23813"/>
              </a:xfrm>
              <a:custGeom>
                <a:avLst/>
                <a:gdLst>
                  <a:gd name="T0" fmla="*/ 21 w 21"/>
                  <a:gd name="T1" fmla="*/ 20 h 20"/>
                  <a:gd name="T2" fmla="*/ 0 w 21"/>
                  <a:gd name="T3" fmla="*/ 20 h 20"/>
                  <a:gd name="T4" fmla="*/ 0 w 21"/>
                  <a:gd name="T5" fmla="*/ 0 h 20"/>
                  <a:gd name="T6" fmla="*/ 21 w 21"/>
                  <a:gd name="T7" fmla="*/ 0 h 20"/>
                  <a:gd name="T8" fmla="*/ 21 w 21"/>
                  <a:gd name="T9" fmla="*/ 20 h 20"/>
                </a:gdLst>
                <a:ahLst/>
                <a:cxnLst>
                  <a:cxn ang="0">
                    <a:pos x="T0" y="T1"/>
                  </a:cxn>
                  <a:cxn ang="0">
                    <a:pos x="T2" y="T3"/>
                  </a:cxn>
                  <a:cxn ang="0">
                    <a:pos x="T4" y="T5"/>
                  </a:cxn>
                  <a:cxn ang="0">
                    <a:pos x="T6" y="T7"/>
                  </a:cxn>
                  <a:cxn ang="0">
                    <a:pos x="T8" y="T9"/>
                  </a:cxn>
                </a:cxnLst>
                <a:rect l="0" t="0" r="r" b="b"/>
                <a:pathLst>
                  <a:path w="21" h="20">
                    <a:moveTo>
                      <a:pt x="21" y="20"/>
                    </a:moveTo>
                    <a:cubicBezTo>
                      <a:pt x="14" y="20"/>
                      <a:pt x="6" y="20"/>
                      <a:pt x="0" y="20"/>
                    </a:cubicBezTo>
                    <a:cubicBezTo>
                      <a:pt x="0" y="13"/>
                      <a:pt x="0" y="7"/>
                      <a:pt x="0" y="0"/>
                    </a:cubicBezTo>
                    <a:cubicBezTo>
                      <a:pt x="6" y="0"/>
                      <a:pt x="14" y="0"/>
                      <a:pt x="21" y="0"/>
                    </a:cubicBezTo>
                    <a:cubicBezTo>
                      <a:pt x="21" y="6"/>
                      <a:pt x="21" y="13"/>
                      <a:pt x="2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7" name="Freeform 21"/>
              <p:cNvSpPr>
                <a:spLocks/>
              </p:cNvSpPr>
              <p:nvPr/>
            </p:nvSpPr>
            <p:spPr bwMode="auto">
              <a:xfrm>
                <a:off x="-4602163" y="4779963"/>
                <a:ext cx="25400" cy="25400"/>
              </a:xfrm>
              <a:custGeom>
                <a:avLst/>
                <a:gdLst>
                  <a:gd name="T0" fmla="*/ 21 w 21"/>
                  <a:gd name="T1" fmla="*/ 0 h 22"/>
                  <a:gd name="T2" fmla="*/ 21 w 21"/>
                  <a:gd name="T3" fmla="*/ 22 h 22"/>
                  <a:gd name="T4" fmla="*/ 0 w 21"/>
                  <a:gd name="T5" fmla="*/ 22 h 22"/>
                  <a:gd name="T6" fmla="*/ 0 w 21"/>
                  <a:gd name="T7" fmla="*/ 0 h 22"/>
                  <a:gd name="T8" fmla="*/ 21 w 21"/>
                  <a:gd name="T9" fmla="*/ 0 h 22"/>
                </a:gdLst>
                <a:ahLst/>
                <a:cxnLst>
                  <a:cxn ang="0">
                    <a:pos x="T0" y="T1"/>
                  </a:cxn>
                  <a:cxn ang="0">
                    <a:pos x="T2" y="T3"/>
                  </a:cxn>
                  <a:cxn ang="0">
                    <a:pos x="T4" y="T5"/>
                  </a:cxn>
                  <a:cxn ang="0">
                    <a:pos x="T6" y="T7"/>
                  </a:cxn>
                  <a:cxn ang="0">
                    <a:pos x="T8" y="T9"/>
                  </a:cxn>
                </a:cxnLst>
                <a:rect l="0" t="0" r="r" b="b"/>
                <a:pathLst>
                  <a:path w="21" h="22">
                    <a:moveTo>
                      <a:pt x="21" y="0"/>
                    </a:moveTo>
                    <a:cubicBezTo>
                      <a:pt x="21" y="8"/>
                      <a:pt x="21" y="15"/>
                      <a:pt x="21" y="22"/>
                    </a:cubicBezTo>
                    <a:cubicBezTo>
                      <a:pt x="14" y="22"/>
                      <a:pt x="7" y="22"/>
                      <a:pt x="0" y="22"/>
                    </a:cubicBezTo>
                    <a:cubicBezTo>
                      <a:pt x="0" y="15"/>
                      <a:pt x="0" y="8"/>
                      <a:pt x="0" y="0"/>
                    </a:cubicBezTo>
                    <a:cubicBezTo>
                      <a:pt x="7" y="0"/>
                      <a:pt x="14"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88" name="Freeform 22"/>
              <p:cNvSpPr>
                <a:spLocks/>
              </p:cNvSpPr>
              <p:nvPr/>
            </p:nvSpPr>
            <p:spPr bwMode="auto">
              <a:xfrm>
                <a:off x="-4730750" y="4984750"/>
                <a:ext cx="34925" cy="36513"/>
              </a:xfrm>
              <a:custGeom>
                <a:avLst/>
                <a:gdLst>
                  <a:gd name="T0" fmla="*/ 28 w 28"/>
                  <a:gd name="T1" fmla="*/ 20 h 30"/>
                  <a:gd name="T2" fmla="*/ 11 w 28"/>
                  <a:gd name="T3" fmla="*/ 30 h 30"/>
                  <a:gd name="T4" fmla="*/ 0 w 28"/>
                  <a:gd name="T5" fmla="*/ 11 h 30"/>
                  <a:gd name="T6" fmla="*/ 20 w 28"/>
                  <a:gd name="T7" fmla="*/ 0 h 30"/>
                  <a:gd name="T8" fmla="*/ 28 w 28"/>
                  <a:gd name="T9" fmla="*/ 20 h 30"/>
                </a:gdLst>
                <a:ahLst/>
                <a:cxnLst>
                  <a:cxn ang="0">
                    <a:pos x="T0" y="T1"/>
                  </a:cxn>
                  <a:cxn ang="0">
                    <a:pos x="T2" y="T3"/>
                  </a:cxn>
                  <a:cxn ang="0">
                    <a:pos x="T4" y="T5"/>
                  </a:cxn>
                  <a:cxn ang="0">
                    <a:pos x="T6" y="T7"/>
                  </a:cxn>
                  <a:cxn ang="0">
                    <a:pos x="T8" y="T9"/>
                  </a:cxn>
                </a:cxnLst>
                <a:rect l="0" t="0" r="r" b="b"/>
                <a:pathLst>
                  <a:path w="28" h="30">
                    <a:moveTo>
                      <a:pt x="28" y="20"/>
                    </a:moveTo>
                    <a:cubicBezTo>
                      <a:pt x="23" y="23"/>
                      <a:pt x="17" y="26"/>
                      <a:pt x="11" y="30"/>
                    </a:cubicBezTo>
                    <a:cubicBezTo>
                      <a:pt x="8" y="24"/>
                      <a:pt x="4" y="18"/>
                      <a:pt x="0" y="11"/>
                    </a:cubicBezTo>
                    <a:cubicBezTo>
                      <a:pt x="7" y="7"/>
                      <a:pt x="13" y="4"/>
                      <a:pt x="20" y="0"/>
                    </a:cubicBezTo>
                    <a:cubicBezTo>
                      <a:pt x="23" y="7"/>
                      <a:pt x="25" y="13"/>
                      <a:pt x="2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grpSp>
        <p:grpSp>
          <p:nvGrpSpPr>
            <p:cNvPr id="269" name="Group 268"/>
            <p:cNvGrpSpPr>
              <a:grpSpLocks noChangeAspect="1"/>
            </p:cNvGrpSpPr>
            <p:nvPr/>
          </p:nvGrpSpPr>
          <p:grpSpPr>
            <a:xfrm>
              <a:off x="6543601" y="5018391"/>
              <a:ext cx="682497" cy="584144"/>
              <a:chOff x="481716" y="4123078"/>
              <a:chExt cx="552450" cy="474662"/>
            </a:xfrm>
            <a:solidFill>
              <a:sysClr val="window" lastClr="FFFFFF"/>
            </a:solidFill>
            <a:effectLst>
              <a:outerShdw blurRad="63500" sx="102000" sy="102000" algn="ctr" rotWithShape="0">
                <a:prstClr val="black">
                  <a:alpha val="40000"/>
                </a:prstClr>
              </a:outerShdw>
            </a:effectLst>
          </p:grpSpPr>
          <p:sp>
            <p:nvSpPr>
              <p:cNvPr id="273" name="Freeform 51"/>
              <p:cNvSpPr>
                <a:spLocks noEditPoints="1"/>
              </p:cNvSpPr>
              <p:nvPr/>
            </p:nvSpPr>
            <p:spPr bwMode="auto">
              <a:xfrm>
                <a:off x="696028" y="4123078"/>
                <a:ext cx="128588" cy="128588"/>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74" name="Freeform 52"/>
              <p:cNvSpPr>
                <a:spLocks noEditPoints="1"/>
              </p:cNvSpPr>
              <p:nvPr/>
            </p:nvSpPr>
            <p:spPr bwMode="auto">
              <a:xfrm>
                <a:off x="497591" y="4273890"/>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75" name="Freeform 53"/>
              <p:cNvSpPr>
                <a:spLocks noEditPoints="1"/>
              </p:cNvSpPr>
              <p:nvPr/>
            </p:nvSpPr>
            <p:spPr bwMode="auto">
              <a:xfrm>
                <a:off x="907166" y="4205628"/>
                <a:ext cx="127000" cy="128588"/>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sp>
            <p:nvSpPr>
              <p:cNvPr id="276" name="Freeform 54"/>
              <p:cNvSpPr>
                <a:spLocks noEditPoints="1"/>
              </p:cNvSpPr>
              <p:nvPr/>
            </p:nvSpPr>
            <p:spPr bwMode="auto">
              <a:xfrm>
                <a:off x="481716" y="4202453"/>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63">
                  <a:defRPr/>
                </a:pPr>
                <a:endParaRPr lang="en-IN" sz="1400" kern="0" dirty="0">
                  <a:solidFill>
                    <a:prstClr val="black"/>
                  </a:solidFill>
                  <a:latin typeface="Calibri" panose="020F0502020204030204" pitchFamily="34" charset="0"/>
                </a:endParaRPr>
              </a:p>
            </p:txBody>
          </p:sp>
        </p:grpSp>
        <p:sp>
          <p:nvSpPr>
            <p:cNvPr id="270" name="Rectangle 269"/>
            <p:cNvSpPr/>
            <p:nvPr/>
          </p:nvSpPr>
          <p:spPr>
            <a:xfrm>
              <a:off x="329589" y="5009993"/>
              <a:ext cx="3714098" cy="523220"/>
            </a:xfrm>
            <a:prstGeom prst="rect">
              <a:avLst/>
            </a:prstGeom>
          </p:spPr>
          <p:txBody>
            <a:bodyPr wrap="square" numCol="1">
              <a:spAutoFit/>
            </a:bodyPr>
            <a:lstStyle/>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Mon – Fri : 7AM – 4PM (Secondary Support)</a:t>
              </a:r>
            </a:p>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Primary Support at all other times</a:t>
              </a:r>
            </a:p>
          </p:txBody>
        </p:sp>
        <p:sp>
          <p:nvSpPr>
            <p:cNvPr id="271" name="Rectangle 270"/>
            <p:cNvSpPr/>
            <p:nvPr/>
          </p:nvSpPr>
          <p:spPr>
            <a:xfrm>
              <a:off x="8371581" y="4762341"/>
              <a:ext cx="3388354" cy="738664"/>
            </a:xfrm>
            <a:prstGeom prst="rect">
              <a:avLst/>
            </a:prstGeom>
            <a:noFill/>
          </p:spPr>
          <p:txBody>
            <a:bodyPr wrap="square">
              <a:spAutoFit/>
            </a:bodyPr>
            <a:lstStyle/>
            <a:p>
              <a:pPr marL="306895" indent="-228584" defTabSz="1581500">
                <a:buFont typeface="Arial" panose="020B0604020202020204" pitchFamily="34" charset="0"/>
                <a:buChar char="•"/>
                <a:defRPr/>
              </a:pPr>
              <a:r>
                <a:rPr lang="en-US" sz="1400" kern="0" dirty="0">
                  <a:solidFill>
                    <a:srgbClr val="000000"/>
                  </a:solidFill>
                  <a:latin typeface="Calibri" panose="020F0502020204030204" pitchFamily="34" charset="0"/>
                  <a:ea typeface="ＭＳ Ｐゴシック" charset="-128"/>
                  <a:cs typeface="Segoe UI" panose="020B0502040204020203" pitchFamily="34" charset="0"/>
                </a:rPr>
                <a:t>Fixed Price for Bundle A &amp; B</a:t>
              </a:r>
            </a:p>
            <a:p>
              <a:pPr marL="306895" indent="-228584" defTabSz="1581500">
                <a:buFont typeface="Arial" panose="020B0604020202020204" pitchFamily="34" charset="0"/>
                <a:buChar char="•"/>
                <a:defRPr/>
              </a:pPr>
              <a:r>
                <a:rPr lang="en-US" sz="1400" kern="0" dirty="0">
                  <a:solidFill>
                    <a:srgbClr val="000000"/>
                  </a:solidFill>
                  <a:latin typeface="Calibri" panose="020F0502020204030204" pitchFamily="34" charset="0"/>
                  <a:ea typeface="ＭＳ Ｐゴシック" charset="-128"/>
                  <a:cs typeface="Segoe UI" panose="020B0502040204020203" pitchFamily="34" charset="0"/>
                </a:rPr>
                <a:t>Onsite - Offshore Delivery</a:t>
              </a:r>
            </a:p>
            <a:p>
              <a:pPr marL="306895" indent="-228584" defTabSz="1581500">
                <a:buFont typeface="Arial" panose="020B0604020202020204" pitchFamily="34" charset="0"/>
                <a:buChar char="•"/>
                <a:defRPr/>
              </a:pPr>
              <a:r>
                <a:rPr lang="en-US" sz="1400" kern="0" dirty="0">
                  <a:solidFill>
                    <a:srgbClr val="000000"/>
                  </a:solidFill>
                  <a:latin typeface="Calibri" panose="020F0502020204030204" pitchFamily="34" charset="0"/>
                  <a:ea typeface="ＭＳ Ｐゴシック" charset="-128"/>
                  <a:cs typeface="Segoe UI" panose="020B0502040204020203" pitchFamily="34" charset="0"/>
                </a:rPr>
                <a:t>Work with Marriott IT</a:t>
              </a:r>
            </a:p>
          </p:txBody>
        </p:sp>
        <p:sp>
          <p:nvSpPr>
            <p:cNvPr id="272" name="Rectangle 271"/>
            <p:cNvSpPr/>
            <p:nvPr/>
          </p:nvSpPr>
          <p:spPr>
            <a:xfrm>
              <a:off x="8436587" y="4506579"/>
              <a:ext cx="1325106" cy="307777"/>
            </a:xfrm>
            <a:prstGeom prst="rect">
              <a:avLst/>
            </a:prstGeom>
          </p:spPr>
          <p:txBody>
            <a:bodyPr wrap="none">
              <a:spAutoFit/>
            </a:bodyPr>
            <a:lstStyle/>
            <a:p>
              <a:pPr defTabSz="609463"/>
              <a:r>
                <a:rPr lang="en-US" sz="1400" b="1" dirty="0">
                  <a:solidFill>
                    <a:prstClr val="black"/>
                  </a:solidFill>
                  <a:latin typeface="Calibri" panose="020F0502020204030204" pitchFamily="34" charset="0"/>
                </a:rPr>
                <a:t>Delivery Model</a:t>
              </a:r>
            </a:p>
          </p:txBody>
        </p:sp>
      </p:grpSp>
      <p:graphicFrame>
        <p:nvGraphicFramePr>
          <p:cNvPr id="304" name="Table 303"/>
          <p:cNvGraphicFramePr>
            <a:graphicFrameLocks noGrp="1"/>
          </p:cNvGraphicFramePr>
          <p:nvPr>
            <p:extLst/>
          </p:nvPr>
        </p:nvGraphicFramePr>
        <p:xfrm>
          <a:off x="8579069" y="3095688"/>
          <a:ext cx="3245787" cy="1066800"/>
        </p:xfrm>
        <a:graphic>
          <a:graphicData uri="http://schemas.openxmlformats.org/drawingml/2006/table">
            <a:tbl>
              <a:tblPr firstRow="1" bandRow="1">
                <a:tableStyleId>{5940675A-B579-460E-94D1-54222C63F5DA}</a:tableStyleId>
              </a:tblPr>
              <a:tblGrid>
                <a:gridCol w="1249721">
                  <a:extLst>
                    <a:ext uri="{9D8B030D-6E8A-4147-A177-3AD203B41FA5}">
                      <a16:colId xmlns:a16="http://schemas.microsoft.com/office/drawing/2014/main" val="4212823493"/>
                    </a:ext>
                  </a:extLst>
                </a:gridCol>
                <a:gridCol w="1034231">
                  <a:extLst>
                    <a:ext uri="{9D8B030D-6E8A-4147-A177-3AD203B41FA5}">
                      <a16:colId xmlns:a16="http://schemas.microsoft.com/office/drawing/2014/main" val="2649728421"/>
                    </a:ext>
                  </a:extLst>
                </a:gridCol>
                <a:gridCol w="961835">
                  <a:extLst>
                    <a:ext uri="{9D8B030D-6E8A-4147-A177-3AD203B41FA5}">
                      <a16:colId xmlns:a16="http://schemas.microsoft.com/office/drawing/2014/main" val="4013335505"/>
                    </a:ext>
                  </a:extLst>
                </a:gridCol>
              </a:tblGrid>
              <a:tr h="213360">
                <a:tc>
                  <a:txBody>
                    <a:bodyPr/>
                    <a:lstStyle/>
                    <a:p>
                      <a:endParaRPr lang="en-US" sz="1400" dirty="0">
                        <a:solidFill>
                          <a:schemeClr val="tx2"/>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1" dirty="0" smtClean="0">
                          <a:solidFill>
                            <a:schemeClr val="tx1"/>
                          </a:solidFill>
                          <a:latin typeface="Calibri" panose="020F0502020204030204" pitchFamily="34" charset="0"/>
                        </a:rPr>
                        <a:t>Response</a:t>
                      </a:r>
                      <a:endParaRPr lang="en-US" sz="1400" b="1"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1" dirty="0" smtClean="0">
                          <a:solidFill>
                            <a:schemeClr val="tx1"/>
                          </a:solidFill>
                          <a:latin typeface="Calibri" panose="020F0502020204030204" pitchFamily="34" charset="0"/>
                        </a:rPr>
                        <a:t>Resolution</a:t>
                      </a:r>
                      <a:endParaRPr lang="en-US" sz="1400" b="1"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42459670"/>
                  </a:ext>
                </a:extLst>
              </a:tr>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Calibri" panose="020F0502020204030204" pitchFamily="34" charset="0"/>
                        </a:rPr>
                        <a:t>P1 (&gt;=95%)</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15 Min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2 Hr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07521088"/>
                  </a:ext>
                </a:extLst>
              </a:tr>
              <a:tr h="213360">
                <a:tc>
                  <a:txBody>
                    <a:bodyPr/>
                    <a:lstStyle/>
                    <a:p>
                      <a:r>
                        <a:rPr lang="en-US" sz="1400" dirty="0" smtClean="0">
                          <a:solidFill>
                            <a:schemeClr val="tx1"/>
                          </a:solidFill>
                          <a:latin typeface="Calibri" panose="020F0502020204030204" pitchFamily="34" charset="0"/>
                        </a:rPr>
                        <a:t>P2 (&gt;=95%)</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30 Min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4 Hr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8515831"/>
                  </a:ext>
                </a:extLst>
              </a:tr>
              <a:tr h="213360">
                <a:tc>
                  <a:txBody>
                    <a:bodyPr/>
                    <a:lstStyle/>
                    <a:p>
                      <a:r>
                        <a:rPr lang="en-US" sz="1400" dirty="0" smtClean="0">
                          <a:solidFill>
                            <a:schemeClr val="tx1"/>
                          </a:solidFill>
                          <a:latin typeface="Calibri" panose="020F0502020204030204" pitchFamily="34" charset="0"/>
                        </a:rPr>
                        <a:t>P3 (&gt;=95%)</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24 Hr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solidFill>
                            <a:schemeClr val="tx1"/>
                          </a:solidFill>
                          <a:latin typeface="Calibri" panose="020F0502020204030204" pitchFamily="34" charset="0"/>
                        </a:rPr>
                        <a:t>48 Hr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58548069"/>
                  </a:ext>
                </a:extLst>
              </a:tr>
              <a:tr h="213360">
                <a:tc>
                  <a:txBody>
                    <a:bodyPr/>
                    <a:lstStyle/>
                    <a:p>
                      <a:r>
                        <a:rPr lang="en-US" sz="1400" dirty="0" smtClean="0">
                          <a:solidFill>
                            <a:schemeClr val="tx1"/>
                          </a:solidFill>
                          <a:latin typeface="Calibri" panose="020F0502020204030204" pitchFamily="34" charset="0"/>
                        </a:rPr>
                        <a:t>Problem Mgmt.</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gridSpan="2">
                  <a:txBody>
                    <a:bodyPr/>
                    <a:lstStyle/>
                    <a:p>
                      <a:pPr algn="ctr"/>
                      <a:r>
                        <a:rPr lang="en-US" sz="1400" dirty="0" smtClean="0">
                          <a:solidFill>
                            <a:schemeClr val="tx1"/>
                          </a:solidFill>
                          <a:latin typeface="Calibri" panose="020F0502020204030204" pitchFamily="34" charset="0"/>
                        </a:rPr>
                        <a:t>&lt; 20 Days</a:t>
                      </a:r>
                      <a:endParaRPr lang="en-US" sz="1400" dirty="0">
                        <a:solidFill>
                          <a:schemeClr val="tx1"/>
                        </a:solidFill>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dirty="0"/>
                    </a:p>
                  </a:txBody>
                  <a:tcPr/>
                </a:tc>
                <a:extLst>
                  <a:ext uri="{0D108BD9-81ED-4DB2-BD59-A6C34878D82A}">
                    <a16:rowId xmlns:a16="http://schemas.microsoft.com/office/drawing/2014/main" val="146047384"/>
                  </a:ext>
                </a:extLst>
              </a:tr>
            </a:tbl>
          </a:graphicData>
        </a:graphic>
      </p:graphicFrame>
      <p:sp>
        <p:nvSpPr>
          <p:cNvPr id="305" name="Rectangle 304"/>
          <p:cNvSpPr/>
          <p:nvPr/>
        </p:nvSpPr>
        <p:spPr>
          <a:xfrm>
            <a:off x="330734" y="3563084"/>
            <a:ext cx="1662699" cy="307777"/>
          </a:xfrm>
          <a:prstGeom prst="rect">
            <a:avLst/>
          </a:prstGeom>
        </p:spPr>
        <p:txBody>
          <a:bodyPr wrap="none">
            <a:spAutoFit/>
          </a:bodyPr>
          <a:lstStyle/>
          <a:p>
            <a:pPr defTabSz="609463"/>
            <a:r>
              <a:rPr lang="en-US" sz="1400" b="1" dirty="0">
                <a:solidFill>
                  <a:prstClr val="black"/>
                </a:solidFill>
                <a:latin typeface="Calibri" panose="020F0502020204030204" pitchFamily="34" charset="0"/>
              </a:rPr>
              <a:t>Volumetric (annual)</a:t>
            </a:r>
          </a:p>
        </p:txBody>
      </p:sp>
      <p:sp>
        <p:nvSpPr>
          <p:cNvPr id="306" name="Rectangle 305"/>
          <p:cNvSpPr/>
          <p:nvPr/>
        </p:nvSpPr>
        <p:spPr>
          <a:xfrm>
            <a:off x="376240" y="3833037"/>
            <a:ext cx="3707808" cy="954107"/>
          </a:xfrm>
          <a:prstGeom prst="rect">
            <a:avLst/>
          </a:prstGeom>
        </p:spPr>
        <p:txBody>
          <a:bodyPr wrap="square">
            <a:spAutoFit/>
          </a:bodyPr>
          <a:lstStyle/>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1102 Incidents | 53 Major Incidents</a:t>
            </a:r>
          </a:p>
          <a:p>
            <a:pPr marL="228584" indent="-228584" defTabSz="1581500">
              <a:buFont typeface="Arial" panose="020B0604020202020204" pitchFamily="34" charset="0"/>
              <a:buChar char="•"/>
              <a:defRPr/>
            </a:pPr>
            <a:r>
              <a:rPr lang="en-US" sz="1400" kern="0" dirty="0" smtClean="0">
                <a:solidFill>
                  <a:prstClr val="black"/>
                </a:solidFill>
                <a:latin typeface="Calibri" panose="020F0502020204030204" pitchFamily="34" charset="0"/>
                <a:cs typeface="Arial" panose="020B0604020202020204" pitchFamily="34" charset="0"/>
              </a:rPr>
              <a:t>303 </a:t>
            </a:r>
            <a:r>
              <a:rPr lang="en-US" sz="1400" kern="0" dirty="0">
                <a:solidFill>
                  <a:prstClr val="black"/>
                </a:solidFill>
                <a:latin typeface="Calibri" panose="020F0502020204030204" pitchFamily="34" charset="0"/>
                <a:cs typeface="Arial" panose="020B0604020202020204" pitchFamily="34" charset="0"/>
              </a:rPr>
              <a:t>Problem Tickets </a:t>
            </a:r>
          </a:p>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95 Releases</a:t>
            </a:r>
          </a:p>
          <a:p>
            <a:pPr marL="228584" indent="-228584" defTabSz="1581500">
              <a:buFont typeface="Arial" panose="020B0604020202020204" pitchFamily="34" charset="0"/>
              <a:buChar char="•"/>
              <a:defRPr/>
            </a:pPr>
            <a:r>
              <a:rPr lang="en-US" sz="1400" kern="0" dirty="0">
                <a:solidFill>
                  <a:prstClr val="black"/>
                </a:solidFill>
                <a:latin typeface="Calibri" panose="020F0502020204030204" pitchFamily="34" charset="0"/>
                <a:cs typeface="Arial" panose="020B0604020202020204" pitchFamily="34" charset="0"/>
              </a:rPr>
              <a:t>2157 CR’s</a:t>
            </a:r>
          </a:p>
        </p:txBody>
      </p:sp>
    </p:spTree>
    <p:extLst>
      <p:ext uri="{BB962C8B-B14F-4D97-AF65-F5344CB8AC3E}">
        <p14:creationId xmlns:p14="http://schemas.microsoft.com/office/powerpoint/2010/main" val="257824291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Our Understanding of Scope of Services in - RFP2</a:t>
            </a:r>
            <a:endParaRPr lang="en-US" dirty="0"/>
          </a:p>
        </p:txBody>
      </p:sp>
      <p:sp>
        <p:nvSpPr>
          <p:cNvPr id="3" name="Footer Placeholder 2"/>
          <p:cNvSpPr>
            <a:spLocks noGrp="1"/>
          </p:cNvSpPr>
          <p:nvPr>
            <p:ph type="ftr" sz="quarter" idx="4294967295"/>
          </p:nvPr>
        </p:nvSpPr>
        <p:spPr>
          <a:xfrm>
            <a:off x="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t>© 2018 Cognizant</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65" name="Group 64"/>
          <p:cNvGrpSpPr/>
          <p:nvPr/>
        </p:nvGrpSpPr>
        <p:grpSpPr>
          <a:xfrm>
            <a:off x="192661" y="819333"/>
            <a:ext cx="11632195" cy="5066719"/>
            <a:chOff x="167919" y="659675"/>
            <a:chExt cx="11632194" cy="5066718"/>
          </a:xfrm>
        </p:grpSpPr>
        <p:sp>
          <p:nvSpPr>
            <p:cNvPr id="66" name="Oval 65"/>
            <p:cNvSpPr/>
            <p:nvPr/>
          </p:nvSpPr>
          <p:spPr>
            <a:xfrm>
              <a:off x="3642648" y="1283360"/>
              <a:ext cx="4357229" cy="4340493"/>
            </a:xfrm>
            <a:prstGeom prst="ellipse">
              <a:avLst/>
            </a:prstGeom>
            <a:solidFill>
              <a:sysClr val="window" lastClr="FFFFFF">
                <a:lumMod val="95000"/>
              </a:sysClr>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7" name="Oval 66"/>
            <p:cNvSpPr/>
            <p:nvPr/>
          </p:nvSpPr>
          <p:spPr>
            <a:xfrm>
              <a:off x="4431011" y="2068696"/>
              <a:ext cx="2780500" cy="2769821"/>
            </a:xfrm>
            <a:prstGeom prst="ellipse">
              <a:avLst/>
            </a:prstGeom>
            <a:solidFill>
              <a:srgbClr val="FFC000"/>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8" name="Oval 67"/>
            <p:cNvSpPr/>
            <p:nvPr/>
          </p:nvSpPr>
          <p:spPr>
            <a:xfrm>
              <a:off x="3351068" y="2754417"/>
              <a:ext cx="835061" cy="831856"/>
            </a:xfrm>
            <a:prstGeom prst="ellipse">
              <a:avLst/>
            </a:prstGeom>
            <a:solidFill>
              <a:srgbClr val="82582D"/>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9" name="Oval 68"/>
            <p:cNvSpPr/>
            <p:nvPr/>
          </p:nvSpPr>
          <p:spPr>
            <a:xfrm>
              <a:off x="4517776" y="955784"/>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0" name="Oval 69"/>
            <p:cNvSpPr/>
            <p:nvPr/>
          </p:nvSpPr>
          <p:spPr>
            <a:xfrm>
              <a:off x="7516247" y="3049215"/>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1" name="Oval 70"/>
            <p:cNvSpPr/>
            <p:nvPr/>
          </p:nvSpPr>
          <p:spPr>
            <a:xfrm>
              <a:off x="6777454" y="1383968"/>
              <a:ext cx="835061" cy="831856"/>
            </a:xfrm>
            <a:prstGeom prst="ellipse">
              <a:avLst/>
            </a:prstGeom>
            <a:solidFill>
              <a:srgbClr val="82582D"/>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2" name="Oval 71"/>
            <p:cNvSpPr/>
            <p:nvPr/>
          </p:nvSpPr>
          <p:spPr>
            <a:xfrm flipV="1">
              <a:off x="3944036" y="4650746"/>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3" name="Oval 72"/>
            <p:cNvSpPr/>
            <p:nvPr/>
          </p:nvSpPr>
          <p:spPr>
            <a:xfrm flipV="1">
              <a:off x="6455016" y="4894537"/>
              <a:ext cx="835061" cy="831856"/>
            </a:xfrm>
            <a:prstGeom prst="ellipse">
              <a:avLst/>
            </a:prstGeom>
            <a:solidFill>
              <a:srgbClr val="451A0A"/>
            </a:solidFill>
            <a:ln w="381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74" name="Group 5"/>
            <p:cNvGrpSpPr>
              <a:grpSpLocks noChangeAspect="1"/>
            </p:cNvGrpSpPr>
            <p:nvPr/>
          </p:nvGrpSpPr>
          <p:grpSpPr bwMode="auto">
            <a:xfrm>
              <a:off x="6912633" y="1622690"/>
              <a:ext cx="656068" cy="403936"/>
              <a:chOff x="-1637" y="1629"/>
              <a:chExt cx="1838" cy="1136"/>
            </a:xfrm>
            <a:solidFill>
              <a:sysClr val="window" lastClr="FFFFFF"/>
            </a:solidFill>
            <a:effectLst>
              <a:outerShdw blurRad="63500" sx="102000" sy="102000" algn="ctr" rotWithShape="0">
                <a:prstClr val="black">
                  <a:alpha val="40000"/>
                </a:prstClr>
              </a:outerShdw>
            </a:effectLst>
          </p:grpSpPr>
          <p:sp>
            <p:nvSpPr>
              <p:cNvPr id="122" name="Freeform 6"/>
              <p:cNvSpPr>
                <a:spLocks noEditPoints="1"/>
              </p:cNvSpPr>
              <p:nvPr/>
            </p:nvSpPr>
            <p:spPr bwMode="auto">
              <a:xfrm>
                <a:off x="-529" y="1688"/>
                <a:ext cx="730" cy="730"/>
              </a:xfrm>
              <a:custGeom>
                <a:avLst/>
                <a:gdLst>
                  <a:gd name="T0" fmla="*/ 272 w 309"/>
                  <a:gd name="T1" fmla="*/ 236 h 309"/>
                  <a:gd name="T2" fmla="*/ 270 w 309"/>
                  <a:gd name="T3" fmla="*/ 210 h 309"/>
                  <a:gd name="T4" fmla="*/ 288 w 309"/>
                  <a:gd name="T5" fmla="*/ 206 h 309"/>
                  <a:gd name="T6" fmla="*/ 307 w 309"/>
                  <a:gd name="T7" fmla="*/ 189 h 309"/>
                  <a:gd name="T8" fmla="*/ 297 w 309"/>
                  <a:gd name="T9" fmla="*/ 166 h 309"/>
                  <a:gd name="T10" fmla="*/ 282 w 309"/>
                  <a:gd name="T11" fmla="*/ 146 h 309"/>
                  <a:gd name="T12" fmla="*/ 296 w 309"/>
                  <a:gd name="T13" fmla="*/ 133 h 309"/>
                  <a:gd name="T14" fmla="*/ 304 w 309"/>
                  <a:gd name="T15" fmla="*/ 109 h 309"/>
                  <a:gd name="T16" fmla="*/ 284 w 309"/>
                  <a:gd name="T17" fmla="*/ 93 h 309"/>
                  <a:gd name="T18" fmla="*/ 261 w 309"/>
                  <a:gd name="T19" fmla="*/ 83 h 309"/>
                  <a:gd name="T20" fmla="*/ 266 w 309"/>
                  <a:gd name="T21" fmla="*/ 65 h 309"/>
                  <a:gd name="T22" fmla="*/ 261 w 309"/>
                  <a:gd name="T23" fmla="*/ 40 h 309"/>
                  <a:gd name="T24" fmla="*/ 236 w 309"/>
                  <a:gd name="T25" fmla="*/ 37 h 309"/>
                  <a:gd name="T26" fmla="*/ 218 w 309"/>
                  <a:gd name="T27" fmla="*/ 44 h 309"/>
                  <a:gd name="T28" fmla="*/ 206 w 309"/>
                  <a:gd name="T29" fmla="*/ 21 h 309"/>
                  <a:gd name="T30" fmla="*/ 190 w 309"/>
                  <a:gd name="T31" fmla="*/ 2 h 309"/>
                  <a:gd name="T32" fmla="*/ 166 w 309"/>
                  <a:gd name="T33" fmla="*/ 12 h 309"/>
                  <a:gd name="T34" fmla="*/ 146 w 309"/>
                  <a:gd name="T35" fmla="*/ 27 h 309"/>
                  <a:gd name="T36" fmla="*/ 133 w 309"/>
                  <a:gd name="T37" fmla="*/ 14 h 309"/>
                  <a:gd name="T38" fmla="*/ 109 w 309"/>
                  <a:gd name="T39" fmla="*/ 5 h 309"/>
                  <a:gd name="T40" fmla="*/ 94 w 309"/>
                  <a:gd name="T41" fmla="*/ 26 h 309"/>
                  <a:gd name="T42" fmla="*/ 83 w 309"/>
                  <a:gd name="T43" fmla="*/ 49 h 309"/>
                  <a:gd name="T44" fmla="*/ 65 w 309"/>
                  <a:gd name="T45" fmla="*/ 43 h 309"/>
                  <a:gd name="T46" fmla="*/ 41 w 309"/>
                  <a:gd name="T47" fmla="*/ 48 h 309"/>
                  <a:gd name="T48" fmla="*/ 37 w 309"/>
                  <a:gd name="T49" fmla="*/ 73 h 309"/>
                  <a:gd name="T50" fmla="*/ 40 w 309"/>
                  <a:gd name="T51" fmla="*/ 99 h 309"/>
                  <a:gd name="T52" fmla="*/ 22 w 309"/>
                  <a:gd name="T53" fmla="*/ 103 h 309"/>
                  <a:gd name="T54" fmla="*/ 3 w 309"/>
                  <a:gd name="T55" fmla="*/ 120 h 309"/>
                  <a:gd name="T56" fmla="*/ 13 w 309"/>
                  <a:gd name="T57" fmla="*/ 143 h 309"/>
                  <a:gd name="T58" fmla="*/ 27 w 309"/>
                  <a:gd name="T59" fmla="*/ 163 h 309"/>
                  <a:gd name="T60" fmla="*/ 14 w 309"/>
                  <a:gd name="T61" fmla="*/ 176 h 309"/>
                  <a:gd name="T62" fmla="*/ 6 w 309"/>
                  <a:gd name="T63" fmla="*/ 200 h 309"/>
                  <a:gd name="T64" fmla="*/ 26 w 309"/>
                  <a:gd name="T65" fmla="*/ 216 h 309"/>
                  <a:gd name="T66" fmla="*/ 49 w 309"/>
                  <a:gd name="T67" fmla="*/ 226 h 309"/>
                  <a:gd name="T68" fmla="*/ 44 w 309"/>
                  <a:gd name="T69" fmla="*/ 244 h 309"/>
                  <a:gd name="T70" fmla="*/ 49 w 309"/>
                  <a:gd name="T71" fmla="*/ 269 h 309"/>
                  <a:gd name="T72" fmla="*/ 74 w 309"/>
                  <a:gd name="T73" fmla="*/ 272 h 309"/>
                  <a:gd name="T74" fmla="*/ 99 w 309"/>
                  <a:gd name="T75" fmla="*/ 269 h 309"/>
                  <a:gd name="T76" fmla="*/ 103 w 309"/>
                  <a:gd name="T77" fmla="*/ 287 h 309"/>
                  <a:gd name="T78" fmla="*/ 120 w 309"/>
                  <a:gd name="T79" fmla="*/ 307 h 309"/>
                  <a:gd name="T80" fmla="*/ 143 w 309"/>
                  <a:gd name="T81" fmla="*/ 297 h 309"/>
                  <a:gd name="T82" fmla="*/ 164 w 309"/>
                  <a:gd name="T83" fmla="*/ 282 h 309"/>
                  <a:gd name="T84" fmla="*/ 177 w 309"/>
                  <a:gd name="T85" fmla="*/ 295 h 309"/>
                  <a:gd name="T86" fmla="*/ 201 w 309"/>
                  <a:gd name="T87" fmla="*/ 304 h 309"/>
                  <a:gd name="T88" fmla="*/ 216 w 309"/>
                  <a:gd name="T89" fmla="*/ 283 h 309"/>
                  <a:gd name="T90" fmla="*/ 226 w 309"/>
                  <a:gd name="T91" fmla="*/ 260 h 309"/>
                  <a:gd name="T92" fmla="*/ 244 w 309"/>
                  <a:gd name="T93" fmla="*/ 266 h 309"/>
                  <a:gd name="T94" fmla="*/ 269 w 309"/>
                  <a:gd name="T95" fmla="*/ 261 h 309"/>
                  <a:gd name="T96" fmla="*/ 272 w 309"/>
                  <a:gd name="T97" fmla="*/ 236 h 309"/>
                  <a:gd name="T98" fmla="*/ 94 w 309"/>
                  <a:gd name="T99" fmla="*/ 220 h 309"/>
                  <a:gd name="T100" fmla="*/ 89 w 309"/>
                  <a:gd name="T101" fmla="*/ 93 h 309"/>
                  <a:gd name="T102" fmla="*/ 216 w 309"/>
                  <a:gd name="T103" fmla="*/ 89 h 309"/>
                  <a:gd name="T104" fmla="*/ 220 w 309"/>
                  <a:gd name="T105" fmla="*/ 215 h 309"/>
                  <a:gd name="T106" fmla="*/ 94 w 309"/>
                  <a:gd name="T107" fmla="*/ 22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309">
                    <a:moveTo>
                      <a:pt x="272" y="236"/>
                    </a:moveTo>
                    <a:cubicBezTo>
                      <a:pt x="266" y="230"/>
                      <a:pt x="268" y="215"/>
                      <a:pt x="270" y="210"/>
                    </a:cubicBezTo>
                    <a:cubicBezTo>
                      <a:pt x="272" y="206"/>
                      <a:pt x="280" y="204"/>
                      <a:pt x="288" y="206"/>
                    </a:cubicBezTo>
                    <a:cubicBezTo>
                      <a:pt x="296" y="208"/>
                      <a:pt x="304" y="200"/>
                      <a:pt x="307" y="189"/>
                    </a:cubicBezTo>
                    <a:cubicBezTo>
                      <a:pt x="309" y="178"/>
                      <a:pt x="305" y="168"/>
                      <a:pt x="297" y="166"/>
                    </a:cubicBezTo>
                    <a:cubicBezTo>
                      <a:pt x="289" y="164"/>
                      <a:pt x="283" y="150"/>
                      <a:pt x="282" y="146"/>
                    </a:cubicBezTo>
                    <a:cubicBezTo>
                      <a:pt x="282" y="141"/>
                      <a:pt x="288" y="135"/>
                      <a:pt x="296" y="133"/>
                    </a:cubicBezTo>
                    <a:cubicBezTo>
                      <a:pt x="304" y="130"/>
                      <a:pt x="307" y="119"/>
                      <a:pt x="304" y="109"/>
                    </a:cubicBezTo>
                    <a:cubicBezTo>
                      <a:pt x="301" y="98"/>
                      <a:pt x="292" y="91"/>
                      <a:pt x="284" y="93"/>
                    </a:cubicBezTo>
                    <a:cubicBezTo>
                      <a:pt x="276" y="96"/>
                      <a:pt x="263" y="87"/>
                      <a:pt x="261" y="83"/>
                    </a:cubicBezTo>
                    <a:cubicBezTo>
                      <a:pt x="258" y="79"/>
                      <a:pt x="260" y="71"/>
                      <a:pt x="266" y="65"/>
                    </a:cubicBezTo>
                    <a:cubicBezTo>
                      <a:pt x="271" y="59"/>
                      <a:pt x="269" y="48"/>
                      <a:pt x="261" y="40"/>
                    </a:cubicBezTo>
                    <a:cubicBezTo>
                      <a:pt x="253" y="32"/>
                      <a:pt x="241" y="31"/>
                      <a:pt x="236" y="37"/>
                    </a:cubicBezTo>
                    <a:cubicBezTo>
                      <a:pt x="230" y="43"/>
                      <a:pt x="222" y="46"/>
                      <a:pt x="218" y="44"/>
                    </a:cubicBezTo>
                    <a:cubicBezTo>
                      <a:pt x="214" y="41"/>
                      <a:pt x="205" y="29"/>
                      <a:pt x="206" y="21"/>
                    </a:cubicBezTo>
                    <a:cubicBezTo>
                      <a:pt x="208" y="13"/>
                      <a:pt x="201" y="5"/>
                      <a:pt x="190" y="2"/>
                    </a:cubicBezTo>
                    <a:cubicBezTo>
                      <a:pt x="179" y="0"/>
                      <a:pt x="168" y="4"/>
                      <a:pt x="166" y="12"/>
                    </a:cubicBezTo>
                    <a:cubicBezTo>
                      <a:pt x="164" y="20"/>
                      <a:pt x="151" y="27"/>
                      <a:pt x="146" y="27"/>
                    </a:cubicBezTo>
                    <a:cubicBezTo>
                      <a:pt x="141" y="28"/>
                      <a:pt x="135" y="21"/>
                      <a:pt x="133" y="14"/>
                    </a:cubicBezTo>
                    <a:cubicBezTo>
                      <a:pt x="131" y="6"/>
                      <a:pt x="120" y="2"/>
                      <a:pt x="109" y="5"/>
                    </a:cubicBezTo>
                    <a:cubicBezTo>
                      <a:pt x="98" y="9"/>
                      <a:pt x="91" y="18"/>
                      <a:pt x="94" y="26"/>
                    </a:cubicBezTo>
                    <a:cubicBezTo>
                      <a:pt x="96" y="33"/>
                      <a:pt x="87" y="46"/>
                      <a:pt x="83" y="49"/>
                    </a:cubicBezTo>
                    <a:cubicBezTo>
                      <a:pt x="80" y="51"/>
                      <a:pt x="71" y="49"/>
                      <a:pt x="65" y="43"/>
                    </a:cubicBezTo>
                    <a:cubicBezTo>
                      <a:pt x="59" y="38"/>
                      <a:pt x="48" y="40"/>
                      <a:pt x="41" y="48"/>
                    </a:cubicBezTo>
                    <a:cubicBezTo>
                      <a:pt x="33" y="56"/>
                      <a:pt x="31" y="68"/>
                      <a:pt x="37" y="73"/>
                    </a:cubicBezTo>
                    <a:cubicBezTo>
                      <a:pt x="43" y="79"/>
                      <a:pt x="42" y="94"/>
                      <a:pt x="40" y="99"/>
                    </a:cubicBezTo>
                    <a:cubicBezTo>
                      <a:pt x="38" y="103"/>
                      <a:pt x="30" y="105"/>
                      <a:pt x="22" y="103"/>
                    </a:cubicBezTo>
                    <a:cubicBezTo>
                      <a:pt x="14" y="101"/>
                      <a:pt x="5" y="109"/>
                      <a:pt x="3" y="120"/>
                    </a:cubicBezTo>
                    <a:cubicBezTo>
                      <a:pt x="0" y="131"/>
                      <a:pt x="5" y="141"/>
                      <a:pt x="13" y="143"/>
                    </a:cubicBezTo>
                    <a:cubicBezTo>
                      <a:pt x="21" y="145"/>
                      <a:pt x="27" y="159"/>
                      <a:pt x="27" y="163"/>
                    </a:cubicBezTo>
                    <a:cubicBezTo>
                      <a:pt x="28" y="168"/>
                      <a:pt x="22" y="174"/>
                      <a:pt x="14" y="176"/>
                    </a:cubicBezTo>
                    <a:cubicBezTo>
                      <a:pt x="6" y="179"/>
                      <a:pt x="2" y="190"/>
                      <a:pt x="6" y="200"/>
                    </a:cubicBezTo>
                    <a:cubicBezTo>
                      <a:pt x="9" y="211"/>
                      <a:pt x="18" y="218"/>
                      <a:pt x="26" y="216"/>
                    </a:cubicBezTo>
                    <a:cubicBezTo>
                      <a:pt x="34" y="213"/>
                      <a:pt x="46" y="222"/>
                      <a:pt x="49" y="226"/>
                    </a:cubicBezTo>
                    <a:cubicBezTo>
                      <a:pt x="52" y="230"/>
                      <a:pt x="49" y="238"/>
                      <a:pt x="44" y="244"/>
                    </a:cubicBezTo>
                    <a:cubicBezTo>
                      <a:pt x="38" y="250"/>
                      <a:pt x="40" y="261"/>
                      <a:pt x="49" y="269"/>
                    </a:cubicBezTo>
                    <a:cubicBezTo>
                      <a:pt x="57" y="276"/>
                      <a:pt x="68" y="278"/>
                      <a:pt x="74" y="272"/>
                    </a:cubicBezTo>
                    <a:cubicBezTo>
                      <a:pt x="79" y="266"/>
                      <a:pt x="95" y="267"/>
                      <a:pt x="99" y="269"/>
                    </a:cubicBezTo>
                    <a:cubicBezTo>
                      <a:pt x="103" y="271"/>
                      <a:pt x="105" y="279"/>
                      <a:pt x="103" y="287"/>
                    </a:cubicBezTo>
                    <a:cubicBezTo>
                      <a:pt x="101" y="295"/>
                      <a:pt x="109" y="304"/>
                      <a:pt x="120" y="307"/>
                    </a:cubicBezTo>
                    <a:cubicBezTo>
                      <a:pt x="131" y="309"/>
                      <a:pt x="141" y="305"/>
                      <a:pt x="143" y="297"/>
                    </a:cubicBezTo>
                    <a:cubicBezTo>
                      <a:pt x="145" y="289"/>
                      <a:pt x="159" y="282"/>
                      <a:pt x="164" y="282"/>
                    </a:cubicBezTo>
                    <a:cubicBezTo>
                      <a:pt x="168" y="281"/>
                      <a:pt x="174" y="288"/>
                      <a:pt x="177" y="295"/>
                    </a:cubicBezTo>
                    <a:cubicBezTo>
                      <a:pt x="179" y="303"/>
                      <a:pt x="190" y="307"/>
                      <a:pt x="201" y="304"/>
                    </a:cubicBezTo>
                    <a:cubicBezTo>
                      <a:pt x="212" y="300"/>
                      <a:pt x="218" y="291"/>
                      <a:pt x="216" y="283"/>
                    </a:cubicBezTo>
                    <a:cubicBezTo>
                      <a:pt x="213" y="275"/>
                      <a:pt x="222" y="263"/>
                      <a:pt x="226" y="260"/>
                    </a:cubicBezTo>
                    <a:cubicBezTo>
                      <a:pt x="230" y="258"/>
                      <a:pt x="238" y="260"/>
                      <a:pt x="244" y="266"/>
                    </a:cubicBezTo>
                    <a:cubicBezTo>
                      <a:pt x="250" y="271"/>
                      <a:pt x="261" y="269"/>
                      <a:pt x="269" y="261"/>
                    </a:cubicBezTo>
                    <a:cubicBezTo>
                      <a:pt x="277" y="252"/>
                      <a:pt x="278" y="241"/>
                      <a:pt x="272" y="236"/>
                    </a:cubicBezTo>
                    <a:close/>
                    <a:moveTo>
                      <a:pt x="94" y="220"/>
                    </a:moveTo>
                    <a:cubicBezTo>
                      <a:pt x="58" y="186"/>
                      <a:pt x="55" y="130"/>
                      <a:pt x="89" y="93"/>
                    </a:cubicBezTo>
                    <a:cubicBezTo>
                      <a:pt x="123" y="57"/>
                      <a:pt x="179" y="55"/>
                      <a:pt x="216" y="89"/>
                    </a:cubicBezTo>
                    <a:cubicBezTo>
                      <a:pt x="252" y="123"/>
                      <a:pt x="254" y="179"/>
                      <a:pt x="220" y="215"/>
                    </a:cubicBezTo>
                    <a:cubicBezTo>
                      <a:pt x="187" y="252"/>
                      <a:pt x="130" y="254"/>
                      <a:pt x="94"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23" name="Freeform 7"/>
              <p:cNvSpPr>
                <a:spLocks noEditPoints="1"/>
              </p:cNvSpPr>
              <p:nvPr/>
            </p:nvSpPr>
            <p:spPr bwMode="auto">
              <a:xfrm>
                <a:off x="-1637" y="1629"/>
                <a:ext cx="1136" cy="1136"/>
              </a:xfrm>
              <a:custGeom>
                <a:avLst/>
                <a:gdLst>
                  <a:gd name="T0" fmla="*/ 423 w 481"/>
                  <a:gd name="T1" fmla="*/ 367 h 481"/>
                  <a:gd name="T2" fmla="*/ 419 w 481"/>
                  <a:gd name="T3" fmla="*/ 328 h 481"/>
                  <a:gd name="T4" fmla="*/ 447 w 481"/>
                  <a:gd name="T5" fmla="*/ 321 h 481"/>
                  <a:gd name="T6" fmla="*/ 477 w 481"/>
                  <a:gd name="T7" fmla="*/ 295 h 481"/>
                  <a:gd name="T8" fmla="*/ 461 w 481"/>
                  <a:gd name="T9" fmla="*/ 259 h 481"/>
                  <a:gd name="T10" fmla="*/ 438 w 481"/>
                  <a:gd name="T11" fmla="*/ 227 h 481"/>
                  <a:gd name="T12" fmla="*/ 459 w 481"/>
                  <a:gd name="T13" fmla="*/ 207 h 481"/>
                  <a:gd name="T14" fmla="*/ 472 w 481"/>
                  <a:gd name="T15" fmla="*/ 169 h 481"/>
                  <a:gd name="T16" fmla="*/ 440 w 481"/>
                  <a:gd name="T17" fmla="*/ 146 h 481"/>
                  <a:gd name="T18" fmla="*/ 405 w 481"/>
                  <a:gd name="T19" fmla="*/ 130 h 481"/>
                  <a:gd name="T20" fmla="*/ 413 w 481"/>
                  <a:gd name="T21" fmla="*/ 102 h 481"/>
                  <a:gd name="T22" fmla="*/ 405 w 481"/>
                  <a:gd name="T23" fmla="*/ 63 h 481"/>
                  <a:gd name="T24" fmla="*/ 366 w 481"/>
                  <a:gd name="T25" fmla="*/ 58 h 481"/>
                  <a:gd name="T26" fmla="*/ 339 w 481"/>
                  <a:gd name="T27" fmla="*/ 69 h 481"/>
                  <a:gd name="T28" fmla="*/ 320 w 481"/>
                  <a:gd name="T29" fmla="*/ 34 h 481"/>
                  <a:gd name="T30" fmla="*/ 294 w 481"/>
                  <a:gd name="T31" fmla="*/ 4 h 481"/>
                  <a:gd name="T32" fmla="*/ 258 w 481"/>
                  <a:gd name="T33" fmla="*/ 20 h 481"/>
                  <a:gd name="T34" fmla="*/ 226 w 481"/>
                  <a:gd name="T35" fmla="*/ 43 h 481"/>
                  <a:gd name="T36" fmla="*/ 206 w 481"/>
                  <a:gd name="T37" fmla="*/ 22 h 481"/>
                  <a:gd name="T38" fmla="*/ 169 w 481"/>
                  <a:gd name="T39" fmla="*/ 9 h 481"/>
                  <a:gd name="T40" fmla="*/ 145 w 481"/>
                  <a:gd name="T41" fmla="*/ 40 h 481"/>
                  <a:gd name="T42" fmla="*/ 129 w 481"/>
                  <a:gd name="T43" fmla="*/ 76 h 481"/>
                  <a:gd name="T44" fmla="*/ 101 w 481"/>
                  <a:gd name="T45" fmla="*/ 68 h 481"/>
                  <a:gd name="T46" fmla="*/ 62 w 481"/>
                  <a:gd name="T47" fmla="*/ 76 h 481"/>
                  <a:gd name="T48" fmla="*/ 58 w 481"/>
                  <a:gd name="T49" fmla="*/ 115 h 481"/>
                  <a:gd name="T50" fmla="*/ 62 w 481"/>
                  <a:gd name="T51" fmla="*/ 154 h 481"/>
                  <a:gd name="T52" fmla="*/ 33 w 481"/>
                  <a:gd name="T53" fmla="*/ 161 h 481"/>
                  <a:gd name="T54" fmla="*/ 4 w 481"/>
                  <a:gd name="T55" fmla="*/ 187 h 481"/>
                  <a:gd name="T56" fmla="*/ 19 w 481"/>
                  <a:gd name="T57" fmla="*/ 223 h 481"/>
                  <a:gd name="T58" fmla="*/ 42 w 481"/>
                  <a:gd name="T59" fmla="*/ 255 h 481"/>
                  <a:gd name="T60" fmla="*/ 21 w 481"/>
                  <a:gd name="T61" fmla="*/ 275 h 481"/>
                  <a:gd name="T62" fmla="*/ 8 w 481"/>
                  <a:gd name="T63" fmla="*/ 312 h 481"/>
                  <a:gd name="T64" fmla="*/ 40 w 481"/>
                  <a:gd name="T65" fmla="*/ 336 h 481"/>
                  <a:gd name="T66" fmla="*/ 76 w 481"/>
                  <a:gd name="T67" fmla="*/ 352 h 481"/>
                  <a:gd name="T68" fmla="*/ 67 w 481"/>
                  <a:gd name="T69" fmla="*/ 380 h 481"/>
                  <a:gd name="T70" fmla="*/ 75 w 481"/>
                  <a:gd name="T71" fmla="*/ 419 h 481"/>
                  <a:gd name="T72" fmla="*/ 114 w 481"/>
                  <a:gd name="T73" fmla="*/ 423 h 481"/>
                  <a:gd name="T74" fmla="*/ 153 w 481"/>
                  <a:gd name="T75" fmla="*/ 419 h 481"/>
                  <a:gd name="T76" fmla="*/ 160 w 481"/>
                  <a:gd name="T77" fmla="*/ 448 h 481"/>
                  <a:gd name="T78" fmla="*/ 186 w 481"/>
                  <a:gd name="T79" fmla="*/ 477 h 481"/>
                  <a:gd name="T80" fmla="*/ 222 w 481"/>
                  <a:gd name="T81" fmla="*/ 462 h 481"/>
                  <a:gd name="T82" fmla="*/ 254 w 481"/>
                  <a:gd name="T83" fmla="*/ 439 h 481"/>
                  <a:gd name="T84" fmla="*/ 274 w 481"/>
                  <a:gd name="T85" fmla="*/ 460 h 481"/>
                  <a:gd name="T86" fmla="*/ 311 w 481"/>
                  <a:gd name="T87" fmla="*/ 473 h 481"/>
                  <a:gd name="T88" fmla="*/ 335 w 481"/>
                  <a:gd name="T89" fmla="*/ 441 h 481"/>
                  <a:gd name="T90" fmla="*/ 351 w 481"/>
                  <a:gd name="T91" fmla="*/ 405 h 481"/>
                  <a:gd name="T92" fmla="*/ 379 w 481"/>
                  <a:gd name="T93" fmla="*/ 414 h 481"/>
                  <a:gd name="T94" fmla="*/ 418 w 481"/>
                  <a:gd name="T95" fmla="*/ 406 h 481"/>
                  <a:gd name="T96" fmla="*/ 423 w 481"/>
                  <a:gd name="T97" fmla="*/ 367 h 481"/>
                  <a:gd name="T98" fmla="*/ 145 w 481"/>
                  <a:gd name="T99" fmla="*/ 343 h 481"/>
                  <a:gd name="T100" fmla="*/ 138 w 481"/>
                  <a:gd name="T101" fmla="*/ 146 h 481"/>
                  <a:gd name="T102" fmla="*/ 335 w 481"/>
                  <a:gd name="T103" fmla="*/ 139 h 481"/>
                  <a:gd name="T104" fmla="*/ 342 w 481"/>
                  <a:gd name="T105" fmla="*/ 336 h 481"/>
                  <a:gd name="T106" fmla="*/ 145 w 481"/>
                  <a:gd name="T107" fmla="*/ 34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1" h="481">
                    <a:moveTo>
                      <a:pt x="423" y="367"/>
                    </a:moveTo>
                    <a:cubicBezTo>
                      <a:pt x="413" y="358"/>
                      <a:pt x="416" y="334"/>
                      <a:pt x="419" y="328"/>
                    </a:cubicBezTo>
                    <a:cubicBezTo>
                      <a:pt x="422" y="321"/>
                      <a:pt x="434" y="318"/>
                      <a:pt x="447" y="321"/>
                    </a:cubicBezTo>
                    <a:cubicBezTo>
                      <a:pt x="459" y="324"/>
                      <a:pt x="473" y="312"/>
                      <a:pt x="477" y="295"/>
                    </a:cubicBezTo>
                    <a:cubicBezTo>
                      <a:pt x="481" y="278"/>
                      <a:pt x="474" y="262"/>
                      <a:pt x="461" y="259"/>
                    </a:cubicBezTo>
                    <a:cubicBezTo>
                      <a:pt x="449" y="256"/>
                      <a:pt x="439" y="234"/>
                      <a:pt x="438" y="227"/>
                    </a:cubicBezTo>
                    <a:cubicBezTo>
                      <a:pt x="437" y="220"/>
                      <a:pt x="447" y="211"/>
                      <a:pt x="459" y="207"/>
                    </a:cubicBezTo>
                    <a:cubicBezTo>
                      <a:pt x="471" y="203"/>
                      <a:pt x="477" y="186"/>
                      <a:pt x="472" y="169"/>
                    </a:cubicBezTo>
                    <a:cubicBezTo>
                      <a:pt x="467" y="153"/>
                      <a:pt x="453" y="142"/>
                      <a:pt x="440" y="146"/>
                    </a:cubicBezTo>
                    <a:cubicBezTo>
                      <a:pt x="428" y="150"/>
                      <a:pt x="409" y="136"/>
                      <a:pt x="405" y="130"/>
                    </a:cubicBezTo>
                    <a:cubicBezTo>
                      <a:pt x="400" y="124"/>
                      <a:pt x="404" y="111"/>
                      <a:pt x="413" y="102"/>
                    </a:cubicBezTo>
                    <a:cubicBezTo>
                      <a:pt x="422" y="92"/>
                      <a:pt x="418" y="75"/>
                      <a:pt x="405" y="63"/>
                    </a:cubicBezTo>
                    <a:cubicBezTo>
                      <a:pt x="392" y="51"/>
                      <a:pt x="375" y="49"/>
                      <a:pt x="366" y="58"/>
                    </a:cubicBezTo>
                    <a:cubicBezTo>
                      <a:pt x="357" y="68"/>
                      <a:pt x="345" y="72"/>
                      <a:pt x="339" y="69"/>
                    </a:cubicBezTo>
                    <a:cubicBezTo>
                      <a:pt x="332" y="65"/>
                      <a:pt x="317" y="47"/>
                      <a:pt x="320" y="34"/>
                    </a:cubicBezTo>
                    <a:cubicBezTo>
                      <a:pt x="323" y="22"/>
                      <a:pt x="311" y="8"/>
                      <a:pt x="294" y="4"/>
                    </a:cubicBezTo>
                    <a:cubicBezTo>
                      <a:pt x="277" y="0"/>
                      <a:pt x="261" y="7"/>
                      <a:pt x="258" y="20"/>
                    </a:cubicBezTo>
                    <a:cubicBezTo>
                      <a:pt x="255" y="32"/>
                      <a:pt x="234" y="42"/>
                      <a:pt x="226" y="43"/>
                    </a:cubicBezTo>
                    <a:cubicBezTo>
                      <a:pt x="219" y="43"/>
                      <a:pt x="210" y="34"/>
                      <a:pt x="206" y="22"/>
                    </a:cubicBezTo>
                    <a:cubicBezTo>
                      <a:pt x="202" y="10"/>
                      <a:pt x="186" y="4"/>
                      <a:pt x="169" y="9"/>
                    </a:cubicBezTo>
                    <a:cubicBezTo>
                      <a:pt x="152" y="14"/>
                      <a:pt x="141" y="28"/>
                      <a:pt x="145" y="40"/>
                    </a:cubicBezTo>
                    <a:cubicBezTo>
                      <a:pt x="149" y="53"/>
                      <a:pt x="135" y="72"/>
                      <a:pt x="129" y="76"/>
                    </a:cubicBezTo>
                    <a:cubicBezTo>
                      <a:pt x="123" y="80"/>
                      <a:pt x="111" y="77"/>
                      <a:pt x="101" y="68"/>
                    </a:cubicBezTo>
                    <a:cubicBezTo>
                      <a:pt x="92" y="59"/>
                      <a:pt x="74" y="63"/>
                      <a:pt x="62" y="76"/>
                    </a:cubicBezTo>
                    <a:cubicBezTo>
                      <a:pt x="50" y="89"/>
                      <a:pt x="48" y="106"/>
                      <a:pt x="58" y="115"/>
                    </a:cubicBezTo>
                    <a:cubicBezTo>
                      <a:pt x="67" y="124"/>
                      <a:pt x="65" y="147"/>
                      <a:pt x="62" y="154"/>
                    </a:cubicBezTo>
                    <a:cubicBezTo>
                      <a:pt x="59" y="160"/>
                      <a:pt x="46" y="164"/>
                      <a:pt x="33" y="161"/>
                    </a:cubicBezTo>
                    <a:cubicBezTo>
                      <a:pt x="21" y="158"/>
                      <a:pt x="8" y="169"/>
                      <a:pt x="4" y="187"/>
                    </a:cubicBezTo>
                    <a:cubicBezTo>
                      <a:pt x="0" y="204"/>
                      <a:pt x="7" y="220"/>
                      <a:pt x="19" y="223"/>
                    </a:cubicBezTo>
                    <a:cubicBezTo>
                      <a:pt x="32" y="226"/>
                      <a:pt x="42" y="247"/>
                      <a:pt x="42" y="255"/>
                    </a:cubicBezTo>
                    <a:cubicBezTo>
                      <a:pt x="43" y="262"/>
                      <a:pt x="33" y="271"/>
                      <a:pt x="21" y="275"/>
                    </a:cubicBezTo>
                    <a:cubicBezTo>
                      <a:pt x="9" y="279"/>
                      <a:pt x="3" y="295"/>
                      <a:pt x="8" y="312"/>
                    </a:cubicBezTo>
                    <a:cubicBezTo>
                      <a:pt x="13" y="329"/>
                      <a:pt x="28" y="340"/>
                      <a:pt x="40" y="336"/>
                    </a:cubicBezTo>
                    <a:cubicBezTo>
                      <a:pt x="52" y="332"/>
                      <a:pt x="71" y="346"/>
                      <a:pt x="76" y="352"/>
                    </a:cubicBezTo>
                    <a:cubicBezTo>
                      <a:pt x="80" y="358"/>
                      <a:pt x="76" y="370"/>
                      <a:pt x="67" y="380"/>
                    </a:cubicBezTo>
                    <a:cubicBezTo>
                      <a:pt x="59" y="389"/>
                      <a:pt x="62" y="407"/>
                      <a:pt x="75" y="419"/>
                    </a:cubicBezTo>
                    <a:cubicBezTo>
                      <a:pt x="88" y="430"/>
                      <a:pt x="105" y="433"/>
                      <a:pt x="114" y="423"/>
                    </a:cubicBezTo>
                    <a:cubicBezTo>
                      <a:pt x="123" y="414"/>
                      <a:pt x="147" y="416"/>
                      <a:pt x="153" y="419"/>
                    </a:cubicBezTo>
                    <a:cubicBezTo>
                      <a:pt x="160" y="422"/>
                      <a:pt x="163" y="435"/>
                      <a:pt x="160" y="448"/>
                    </a:cubicBezTo>
                    <a:cubicBezTo>
                      <a:pt x="157" y="460"/>
                      <a:pt x="169" y="473"/>
                      <a:pt x="186" y="477"/>
                    </a:cubicBezTo>
                    <a:cubicBezTo>
                      <a:pt x="203" y="481"/>
                      <a:pt x="219" y="474"/>
                      <a:pt x="222" y="462"/>
                    </a:cubicBezTo>
                    <a:cubicBezTo>
                      <a:pt x="225" y="449"/>
                      <a:pt x="247" y="439"/>
                      <a:pt x="254" y="439"/>
                    </a:cubicBezTo>
                    <a:cubicBezTo>
                      <a:pt x="261" y="438"/>
                      <a:pt x="270" y="448"/>
                      <a:pt x="274" y="460"/>
                    </a:cubicBezTo>
                    <a:cubicBezTo>
                      <a:pt x="278" y="472"/>
                      <a:pt x="295" y="478"/>
                      <a:pt x="311" y="473"/>
                    </a:cubicBezTo>
                    <a:cubicBezTo>
                      <a:pt x="328" y="468"/>
                      <a:pt x="339" y="453"/>
                      <a:pt x="335" y="441"/>
                    </a:cubicBezTo>
                    <a:cubicBezTo>
                      <a:pt x="331" y="429"/>
                      <a:pt x="345" y="410"/>
                      <a:pt x="351" y="405"/>
                    </a:cubicBezTo>
                    <a:cubicBezTo>
                      <a:pt x="357" y="401"/>
                      <a:pt x="370" y="405"/>
                      <a:pt x="379" y="414"/>
                    </a:cubicBezTo>
                    <a:cubicBezTo>
                      <a:pt x="388" y="422"/>
                      <a:pt x="406" y="419"/>
                      <a:pt x="418" y="406"/>
                    </a:cubicBezTo>
                    <a:cubicBezTo>
                      <a:pt x="430" y="393"/>
                      <a:pt x="432" y="376"/>
                      <a:pt x="423" y="367"/>
                    </a:cubicBezTo>
                    <a:close/>
                    <a:moveTo>
                      <a:pt x="145" y="343"/>
                    </a:moveTo>
                    <a:cubicBezTo>
                      <a:pt x="89" y="290"/>
                      <a:pt x="86" y="202"/>
                      <a:pt x="138" y="146"/>
                    </a:cubicBezTo>
                    <a:cubicBezTo>
                      <a:pt x="190" y="90"/>
                      <a:pt x="279" y="86"/>
                      <a:pt x="335" y="139"/>
                    </a:cubicBezTo>
                    <a:cubicBezTo>
                      <a:pt x="391" y="191"/>
                      <a:pt x="394" y="279"/>
                      <a:pt x="342" y="336"/>
                    </a:cubicBezTo>
                    <a:cubicBezTo>
                      <a:pt x="290" y="392"/>
                      <a:pt x="202" y="395"/>
                      <a:pt x="145" y="3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24" name="Freeform 8"/>
              <p:cNvSpPr>
                <a:spLocks/>
              </p:cNvSpPr>
              <p:nvPr/>
            </p:nvSpPr>
            <p:spPr bwMode="auto">
              <a:xfrm>
                <a:off x="-1325" y="1943"/>
                <a:ext cx="510" cy="510"/>
              </a:xfrm>
              <a:custGeom>
                <a:avLst/>
                <a:gdLst>
                  <a:gd name="T0" fmla="*/ 178 w 216"/>
                  <a:gd name="T1" fmla="*/ 177 h 216"/>
                  <a:gd name="T2" fmla="*/ 39 w 216"/>
                  <a:gd name="T3" fmla="*/ 177 h 216"/>
                  <a:gd name="T4" fmla="*/ 39 w 216"/>
                  <a:gd name="T5" fmla="*/ 38 h 216"/>
                  <a:gd name="T6" fmla="*/ 178 w 216"/>
                  <a:gd name="T7" fmla="*/ 38 h 216"/>
                  <a:gd name="T8" fmla="*/ 178 w 216"/>
                  <a:gd name="T9" fmla="*/ 177 h 216"/>
                </a:gdLst>
                <a:ahLst/>
                <a:cxnLst>
                  <a:cxn ang="0">
                    <a:pos x="T0" y="T1"/>
                  </a:cxn>
                  <a:cxn ang="0">
                    <a:pos x="T2" y="T3"/>
                  </a:cxn>
                  <a:cxn ang="0">
                    <a:pos x="T4" y="T5"/>
                  </a:cxn>
                  <a:cxn ang="0">
                    <a:pos x="T6" y="T7"/>
                  </a:cxn>
                  <a:cxn ang="0">
                    <a:pos x="T8" y="T9"/>
                  </a:cxn>
                </a:cxnLst>
                <a:rect l="0" t="0" r="r" b="b"/>
                <a:pathLst>
                  <a:path w="216" h="216">
                    <a:moveTo>
                      <a:pt x="178" y="177"/>
                    </a:moveTo>
                    <a:cubicBezTo>
                      <a:pt x="139" y="216"/>
                      <a:pt x="77" y="216"/>
                      <a:pt x="39" y="177"/>
                    </a:cubicBezTo>
                    <a:cubicBezTo>
                      <a:pt x="0" y="139"/>
                      <a:pt x="0" y="77"/>
                      <a:pt x="39" y="38"/>
                    </a:cubicBezTo>
                    <a:cubicBezTo>
                      <a:pt x="77" y="0"/>
                      <a:pt x="139" y="0"/>
                      <a:pt x="178" y="38"/>
                    </a:cubicBezTo>
                    <a:cubicBezTo>
                      <a:pt x="216" y="77"/>
                      <a:pt x="216" y="139"/>
                      <a:pt x="178"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75" name="Oval 74"/>
            <p:cNvSpPr/>
            <p:nvPr/>
          </p:nvSpPr>
          <p:spPr>
            <a:xfrm>
              <a:off x="4648471" y="2296853"/>
              <a:ext cx="2345583" cy="2336578"/>
            </a:xfrm>
            <a:prstGeom prst="ellipse">
              <a:avLst/>
            </a:prstGeom>
            <a:solidFill>
              <a:sysClr val="window" lastClr="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6" name="Rectangle 75"/>
            <p:cNvSpPr/>
            <p:nvPr/>
          </p:nvSpPr>
          <p:spPr>
            <a:xfrm>
              <a:off x="8351307" y="925587"/>
              <a:ext cx="3448806" cy="1384995"/>
            </a:xfrm>
            <a:prstGeom prst="rect">
              <a:avLst/>
            </a:prstGeom>
            <a:noFill/>
          </p:spPr>
          <p:txBody>
            <a:bodyPr wrap="square">
              <a:spAutoFit/>
            </a:bodyPr>
            <a:lstStyle/>
            <a:p>
              <a:pPr marL="228594" marR="0" lvl="0" indent="-22859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8 COTS (Siebel, </a:t>
              </a:r>
              <a:r>
                <a:rPr kumimoji="0" lang="en-US" sz="1400" b="0" i="0" u="none" strike="noStrike" kern="0" cap="none" spc="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Endeca</a:t>
              </a: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a:t>
              </a:r>
              <a:r>
                <a:rPr kumimoji="0" lang="en-US" sz="1400" b="0" i="0" u="none" strike="noStrike" kern="0" cap="none" spc="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Microstrategy,Netezza</a:t>
              </a: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Vignette), 44 Custom, 6 Unknown</a:t>
              </a:r>
            </a:p>
            <a:p>
              <a:pPr marL="228594" marR="0" lvl="0" indent="-22859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38 Critical, 9 Business Essential, 11 Unknown</a:t>
              </a:r>
            </a:p>
            <a:p>
              <a:pPr marL="228594" marR="0" lvl="0" indent="-22859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loud – 8, In house – 30, Rest - Unknown</a:t>
              </a:r>
            </a:p>
          </p:txBody>
        </p:sp>
        <p:sp>
          <p:nvSpPr>
            <p:cNvPr id="77" name="Rectangle 76"/>
            <p:cNvSpPr/>
            <p:nvPr/>
          </p:nvSpPr>
          <p:spPr>
            <a:xfrm>
              <a:off x="401002" y="964922"/>
              <a:ext cx="3707808" cy="1169551"/>
            </a:xfrm>
            <a:prstGeom prst="rect">
              <a:avLst/>
            </a:prstGeom>
          </p:spPr>
          <p:txBody>
            <a:bodyPr wrap="square">
              <a:spAutoFit/>
            </a:bodyPr>
            <a:lstStyle/>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pplication Development</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pplication Maintenance (Scheduling, Patches, fixes, tuning, batch processing, error correction, documentation)</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Enhancement </a:t>
              </a:r>
            </a:p>
          </p:txBody>
        </p:sp>
        <p:sp>
          <p:nvSpPr>
            <p:cNvPr id="78" name="Rectangle 77"/>
            <p:cNvSpPr/>
            <p:nvPr/>
          </p:nvSpPr>
          <p:spPr>
            <a:xfrm>
              <a:off x="392044" y="2563453"/>
              <a:ext cx="2828704" cy="1815882"/>
            </a:xfrm>
            <a:prstGeom prst="rect">
              <a:avLst/>
            </a:prstGeom>
          </p:spPr>
          <p:txBody>
            <a:bodyPr wrap="square" numCol="1">
              <a:spAutoFit/>
            </a:bodyPr>
            <a:lstStyle/>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ssembler, C, C++</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Java/HTML</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P/Drupal</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Siebel</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inframe, Linux</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obile Apps</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Informatica</a:t>
              </a: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Data Warehouse</a:t>
              </a:r>
            </a:p>
          </p:txBody>
        </p:sp>
        <p:sp>
          <p:nvSpPr>
            <p:cNvPr id="80" name="TextBox 79"/>
            <p:cNvSpPr txBox="1"/>
            <p:nvPr/>
          </p:nvSpPr>
          <p:spPr>
            <a:xfrm>
              <a:off x="8352401" y="724755"/>
              <a:ext cx="1425903" cy="307777"/>
            </a:xfrm>
            <a:prstGeom prst="rect">
              <a:avLst/>
            </a:prstGeom>
            <a:noFill/>
          </p:spPr>
          <p:txBody>
            <a:bodyPr wrap="none" rtlCol="0">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pplications - 58</a:t>
              </a:r>
            </a:p>
          </p:txBody>
        </p:sp>
        <p:sp>
          <p:nvSpPr>
            <p:cNvPr id="81" name="Rectangle 80"/>
            <p:cNvSpPr/>
            <p:nvPr/>
          </p:nvSpPr>
          <p:spPr>
            <a:xfrm>
              <a:off x="167919" y="4611652"/>
              <a:ext cx="2716104" cy="307777"/>
            </a:xfrm>
            <a:prstGeom prst="rect">
              <a:avLst/>
            </a:prstGeom>
          </p:spPr>
          <p:txBody>
            <a:bodyPr wrap="square">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otential Support Coverages</a:t>
              </a:r>
            </a:p>
          </p:txBody>
        </p:sp>
        <p:sp>
          <p:nvSpPr>
            <p:cNvPr id="82" name="Rectangle 81"/>
            <p:cNvSpPr/>
            <p:nvPr/>
          </p:nvSpPr>
          <p:spPr>
            <a:xfrm>
              <a:off x="289412" y="659675"/>
              <a:ext cx="1824676" cy="307777"/>
            </a:xfrm>
            <a:prstGeom prst="rect">
              <a:avLst/>
            </a:prstGeom>
          </p:spPr>
          <p:txBody>
            <a:bodyPr wrap="square">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cope of Services </a:t>
              </a:r>
            </a:p>
          </p:txBody>
        </p:sp>
        <p:sp>
          <p:nvSpPr>
            <p:cNvPr id="83" name="Rectangle 82"/>
            <p:cNvSpPr/>
            <p:nvPr/>
          </p:nvSpPr>
          <p:spPr>
            <a:xfrm>
              <a:off x="280455" y="2289543"/>
              <a:ext cx="1451423" cy="307777"/>
            </a:xfrm>
            <a:prstGeom prst="rect">
              <a:avLst/>
            </a:prstGeom>
          </p:spPr>
          <p:txBody>
            <a:bodyPr wrap="none">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Key Technologies</a:t>
              </a:r>
            </a:p>
          </p:txBody>
        </p:sp>
        <p:sp>
          <p:nvSpPr>
            <p:cNvPr id="84" name="Rectangle 83"/>
            <p:cNvSpPr/>
            <p:nvPr/>
          </p:nvSpPr>
          <p:spPr>
            <a:xfrm>
              <a:off x="8377823" y="2357589"/>
              <a:ext cx="861903" cy="307777"/>
            </a:xfrm>
            <a:prstGeom prst="rect">
              <a:avLst/>
            </a:prstGeom>
          </p:spPr>
          <p:txBody>
            <a:bodyPr wrap="none">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Key SLA’s</a:t>
              </a:r>
            </a:p>
          </p:txBody>
        </p:sp>
        <p:grpSp>
          <p:nvGrpSpPr>
            <p:cNvPr id="85" name="Group 4"/>
            <p:cNvGrpSpPr>
              <a:grpSpLocks noChangeAspect="1"/>
            </p:cNvGrpSpPr>
            <p:nvPr/>
          </p:nvGrpSpPr>
          <p:grpSpPr bwMode="auto">
            <a:xfrm>
              <a:off x="7662497" y="3262944"/>
              <a:ext cx="513096" cy="443365"/>
              <a:chOff x="-201" y="713"/>
              <a:chExt cx="1652" cy="1433"/>
            </a:xfrm>
            <a:solidFill>
              <a:sysClr val="window" lastClr="FFFFFF"/>
            </a:solidFill>
            <a:effectLst>
              <a:outerShdw blurRad="63500" sx="102000" sy="102000" algn="ctr" rotWithShape="0">
                <a:prstClr val="black">
                  <a:alpha val="40000"/>
                </a:prstClr>
              </a:outerShdw>
            </a:effectLst>
          </p:grpSpPr>
          <p:sp>
            <p:nvSpPr>
              <p:cNvPr id="116" name="Oval 5"/>
              <p:cNvSpPr>
                <a:spLocks noChangeArrowheads="1"/>
              </p:cNvSpPr>
              <p:nvPr/>
            </p:nvSpPr>
            <p:spPr bwMode="auto">
              <a:xfrm>
                <a:off x="-64"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7" name="Freeform 6"/>
              <p:cNvSpPr>
                <a:spLocks noEditPoints="1"/>
              </p:cNvSpPr>
              <p:nvPr/>
            </p:nvSpPr>
            <p:spPr bwMode="auto">
              <a:xfrm>
                <a:off x="-201" y="713"/>
                <a:ext cx="488" cy="1433"/>
              </a:xfrm>
              <a:custGeom>
                <a:avLst/>
                <a:gdLst>
                  <a:gd name="T0" fmla="*/ 171 w 206"/>
                  <a:gd name="T1" fmla="*/ 0 h 604"/>
                  <a:gd name="T2" fmla="*/ 34 w 206"/>
                  <a:gd name="T3" fmla="*/ 0 h 604"/>
                  <a:gd name="T4" fmla="*/ 0 w 206"/>
                  <a:gd name="T5" fmla="*/ 35 h 604"/>
                  <a:gd name="T6" fmla="*/ 0 w 206"/>
                  <a:gd name="T7" fmla="*/ 569 h 604"/>
                  <a:gd name="T8" fmla="*/ 34 w 206"/>
                  <a:gd name="T9" fmla="*/ 604 h 604"/>
                  <a:gd name="T10" fmla="*/ 171 w 206"/>
                  <a:gd name="T11" fmla="*/ 604 h 604"/>
                  <a:gd name="T12" fmla="*/ 206 w 206"/>
                  <a:gd name="T13" fmla="*/ 569 h 604"/>
                  <a:gd name="T14" fmla="*/ 206 w 206"/>
                  <a:gd name="T15" fmla="*/ 35 h 604"/>
                  <a:gd name="T16" fmla="*/ 171 w 206"/>
                  <a:gd name="T17" fmla="*/ 0 h 604"/>
                  <a:gd name="T18" fmla="*/ 42 w 206"/>
                  <a:gd name="T19" fmla="*/ 116 h 604"/>
                  <a:gd name="T20" fmla="*/ 77 w 206"/>
                  <a:gd name="T21" fmla="*/ 81 h 604"/>
                  <a:gd name="T22" fmla="*/ 128 w 206"/>
                  <a:gd name="T23" fmla="*/ 81 h 604"/>
                  <a:gd name="T24" fmla="*/ 163 w 206"/>
                  <a:gd name="T25" fmla="*/ 116 h 604"/>
                  <a:gd name="T26" fmla="*/ 163 w 206"/>
                  <a:gd name="T27" fmla="*/ 336 h 604"/>
                  <a:gd name="T28" fmla="*/ 128 w 206"/>
                  <a:gd name="T29" fmla="*/ 370 h 604"/>
                  <a:gd name="T30" fmla="*/ 77 w 206"/>
                  <a:gd name="T31" fmla="*/ 370 h 604"/>
                  <a:gd name="T32" fmla="*/ 42 w 206"/>
                  <a:gd name="T33" fmla="*/ 336 h 604"/>
                  <a:gd name="T34" fmla="*/ 42 w 206"/>
                  <a:gd name="T35" fmla="*/ 116 h 604"/>
                  <a:gd name="T36" fmla="*/ 103 w 206"/>
                  <a:gd name="T37" fmla="*/ 555 h 604"/>
                  <a:gd name="T38" fmla="*/ 39 w 206"/>
                  <a:gd name="T39" fmla="*/ 492 h 604"/>
                  <a:gd name="T40" fmla="*/ 103 w 206"/>
                  <a:gd name="T41" fmla="*/ 428 h 604"/>
                  <a:gd name="T42" fmla="*/ 166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1" y="0"/>
                    </a:moveTo>
                    <a:cubicBezTo>
                      <a:pt x="34" y="0"/>
                      <a:pt x="34" y="0"/>
                      <a:pt x="34" y="0"/>
                    </a:cubicBezTo>
                    <a:cubicBezTo>
                      <a:pt x="15" y="0"/>
                      <a:pt x="0" y="16"/>
                      <a:pt x="0" y="35"/>
                    </a:cubicBezTo>
                    <a:cubicBezTo>
                      <a:pt x="0" y="569"/>
                      <a:pt x="0" y="569"/>
                      <a:pt x="0" y="569"/>
                    </a:cubicBezTo>
                    <a:cubicBezTo>
                      <a:pt x="0" y="588"/>
                      <a:pt x="15" y="604"/>
                      <a:pt x="34" y="604"/>
                    </a:cubicBezTo>
                    <a:cubicBezTo>
                      <a:pt x="171" y="604"/>
                      <a:pt x="171" y="604"/>
                      <a:pt x="171" y="604"/>
                    </a:cubicBezTo>
                    <a:cubicBezTo>
                      <a:pt x="190" y="604"/>
                      <a:pt x="206" y="588"/>
                      <a:pt x="206" y="569"/>
                    </a:cubicBezTo>
                    <a:cubicBezTo>
                      <a:pt x="206" y="35"/>
                      <a:pt x="206" y="35"/>
                      <a:pt x="206" y="35"/>
                    </a:cubicBezTo>
                    <a:cubicBezTo>
                      <a:pt x="206" y="16"/>
                      <a:pt x="190" y="0"/>
                      <a:pt x="171" y="0"/>
                    </a:cubicBezTo>
                    <a:close/>
                    <a:moveTo>
                      <a:pt x="42" y="116"/>
                    </a:moveTo>
                    <a:cubicBezTo>
                      <a:pt x="42" y="97"/>
                      <a:pt x="58" y="81"/>
                      <a:pt x="77" y="81"/>
                    </a:cubicBezTo>
                    <a:cubicBezTo>
                      <a:pt x="128" y="81"/>
                      <a:pt x="128" y="81"/>
                      <a:pt x="128" y="81"/>
                    </a:cubicBezTo>
                    <a:cubicBezTo>
                      <a:pt x="147" y="81"/>
                      <a:pt x="163" y="97"/>
                      <a:pt x="163" y="116"/>
                    </a:cubicBezTo>
                    <a:cubicBezTo>
                      <a:pt x="163" y="336"/>
                      <a:pt x="163" y="336"/>
                      <a:pt x="163" y="336"/>
                    </a:cubicBezTo>
                    <a:cubicBezTo>
                      <a:pt x="163" y="355"/>
                      <a:pt x="147" y="370"/>
                      <a:pt x="128" y="370"/>
                    </a:cubicBezTo>
                    <a:cubicBezTo>
                      <a:pt x="77" y="370"/>
                      <a:pt x="77" y="370"/>
                      <a:pt x="77" y="370"/>
                    </a:cubicBezTo>
                    <a:cubicBezTo>
                      <a:pt x="58" y="370"/>
                      <a:pt x="42" y="355"/>
                      <a:pt x="42" y="336"/>
                    </a:cubicBezTo>
                    <a:lnTo>
                      <a:pt x="42" y="116"/>
                    </a:lnTo>
                    <a:close/>
                    <a:moveTo>
                      <a:pt x="103" y="555"/>
                    </a:moveTo>
                    <a:cubicBezTo>
                      <a:pt x="68" y="555"/>
                      <a:pt x="39" y="527"/>
                      <a:pt x="39" y="492"/>
                    </a:cubicBezTo>
                    <a:cubicBezTo>
                      <a:pt x="39" y="457"/>
                      <a:pt x="68" y="428"/>
                      <a:pt x="103" y="428"/>
                    </a:cubicBezTo>
                    <a:cubicBezTo>
                      <a:pt x="138" y="428"/>
                      <a:pt x="166" y="457"/>
                      <a:pt x="166" y="492"/>
                    </a:cubicBezTo>
                    <a:cubicBezTo>
                      <a:pt x="166"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8" name="Freeform 7"/>
              <p:cNvSpPr>
                <a:spLocks noEditPoints="1"/>
              </p:cNvSpPr>
              <p:nvPr/>
            </p:nvSpPr>
            <p:spPr bwMode="auto">
              <a:xfrm>
                <a:off x="380" y="713"/>
                <a:ext cx="488" cy="1433"/>
              </a:xfrm>
              <a:custGeom>
                <a:avLst/>
                <a:gdLst>
                  <a:gd name="T0" fmla="*/ 172 w 206"/>
                  <a:gd name="T1" fmla="*/ 0 h 604"/>
                  <a:gd name="T2" fmla="*/ 35 w 206"/>
                  <a:gd name="T3" fmla="*/ 0 h 604"/>
                  <a:gd name="T4" fmla="*/ 0 w 206"/>
                  <a:gd name="T5" fmla="*/ 35 h 604"/>
                  <a:gd name="T6" fmla="*/ 0 w 206"/>
                  <a:gd name="T7" fmla="*/ 569 h 604"/>
                  <a:gd name="T8" fmla="*/ 35 w 206"/>
                  <a:gd name="T9" fmla="*/ 604 h 604"/>
                  <a:gd name="T10" fmla="*/ 172 w 206"/>
                  <a:gd name="T11" fmla="*/ 604 h 604"/>
                  <a:gd name="T12" fmla="*/ 206 w 206"/>
                  <a:gd name="T13" fmla="*/ 569 h 604"/>
                  <a:gd name="T14" fmla="*/ 206 w 206"/>
                  <a:gd name="T15" fmla="*/ 35 h 604"/>
                  <a:gd name="T16" fmla="*/ 172 w 206"/>
                  <a:gd name="T17" fmla="*/ 0 h 604"/>
                  <a:gd name="T18" fmla="*/ 43 w 206"/>
                  <a:gd name="T19" fmla="*/ 116 h 604"/>
                  <a:gd name="T20" fmla="*/ 78 w 206"/>
                  <a:gd name="T21" fmla="*/ 81 h 604"/>
                  <a:gd name="T22" fmla="*/ 129 w 206"/>
                  <a:gd name="T23" fmla="*/ 81 h 604"/>
                  <a:gd name="T24" fmla="*/ 164 w 206"/>
                  <a:gd name="T25" fmla="*/ 116 h 604"/>
                  <a:gd name="T26" fmla="*/ 164 w 206"/>
                  <a:gd name="T27" fmla="*/ 336 h 604"/>
                  <a:gd name="T28" fmla="*/ 129 w 206"/>
                  <a:gd name="T29" fmla="*/ 370 h 604"/>
                  <a:gd name="T30" fmla="*/ 78 w 206"/>
                  <a:gd name="T31" fmla="*/ 370 h 604"/>
                  <a:gd name="T32" fmla="*/ 43 w 206"/>
                  <a:gd name="T33" fmla="*/ 336 h 604"/>
                  <a:gd name="T34" fmla="*/ 43 w 206"/>
                  <a:gd name="T35" fmla="*/ 116 h 604"/>
                  <a:gd name="T36" fmla="*/ 103 w 206"/>
                  <a:gd name="T37" fmla="*/ 555 h 604"/>
                  <a:gd name="T38" fmla="*/ 40 w 206"/>
                  <a:gd name="T39" fmla="*/ 492 h 604"/>
                  <a:gd name="T40" fmla="*/ 103 w 206"/>
                  <a:gd name="T41" fmla="*/ 428 h 604"/>
                  <a:gd name="T42" fmla="*/ 167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2" y="0"/>
                    </a:moveTo>
                    <a:cubicBezTo>
                      <a:pt x="35" y="0"/>
                      <a:pt x="35" y="0"/>
                      <a:pt x="35" y="0"/>
                    </a:cubicBezTo>
                    <a:cubicBezTo>
                      <a:pt x="16" y="0"/>
                      <a:pt x="0" y="16"/>
                      <a:pt x="0" y="35"/>
                    </a:cubicBezTo>
                    <a:cubicBezTo>
                      <a:pt x="0" y="569"/>
                      <a:pt x="0" y="569"/>
                      <a:pt x="0" y="569"/>
                    </a:cubicBezTo>
                    <a:cubicBezTo>
                      <a:pt x="0" y="588"/>
                      <a:pt x="16" y="604"/>
                      <a:pt x="35" y="604"/>
                    </a:cubicBezTo>
                    <a:cubicBezTo>
                      <a:pt x="172" y="604"/>
                      <a:pt x="172" y="604"/>
                      <a:pt x="172" y="604"/>
                    </a:cubicBezTo>
                    <a:cubicBezTo>
                      <a:pt x="191" y="604"/>
                      <a:pt x="206" y="588"/>
                      <a:pt x="206" y="569"/>
                    </a:cubicBezTo>
                    <a:cubicBezTo>
                      <a:pt x="206" y="35"/>
                      <a:pt x="206" y="35"/>
                      <a:pt x="206" y="35"/>
                    </a:cubicBezTo>
                    <a:cubicBezTo>
                      <a:pt x="206" y="16"/>
                      <a:pt x="191" y="0"/>
                      <a:pt x="172" y="0"/>
                    </a:cubicBezTo>
                    <a:close/>
                    <a:moveTo>
                      <a:pt x="43" y="116"/>
                    </a:moveTo>
                    <a:cubicBezTo>
                      <a:pt x="43" y="97"/>
                      <a:pt x="59" y="81"/>
                      <a:pt x="78" y="81"/>
                    </a:cubicBezTo>
                    <a:cubicBezTo>
                      <a:pt x="129" y="81"/>
                      <a:pt x="129" y="81"/>
                      <a:pt x="129" y="81"/>
                    </a:cubicBezTo>
                    <a:cubicBezTo>
                      <a:pt x="148" y="81"/>
                      <a:pt x="164" y="97"/>
                      <a:pt x="164" y="116"/>
                    </a:cubicBezTo>
                    <a:cubicBezTo>
                      <a:pt x="164" y="336"/>
                      <a:pt x="164" y="336"/>
                      <a:pt x="164" y="336"/>
                    </a:cubicBezTo>
                    <a:cubicBezTo>
                      <a:pt x="164" y="355"/>
                      <a:pt x="148" y="370"/>
                      <a:pt x="129" y="370"/>
                    </a:cubicBezTo>
                    <a:cubicBezTo>
                      <a:pt x="78" y="370"/>
                      <a:pt x="78" y="370"/>
                      <a:pt x="78" y="370"/>
                    </a:cubicBezTo>
                    <a:cubicBezTo>
                      <a:pt x="59" y="370"/>
                      <a:pt x="43" y="355"/>
                      <a:pt x="43" y="336"/>
                    </a:cubicBezTo>
                    <a:lnTo>
                      <a:pt x="43" y="116"/>
                    </a:lnTo>
                    <a:close/>
                    <a:moveTo>
                      <a:pt x="103" y="555"/>
                    </a:moveTo>
                    <a:cubicBezTo>
                      <a:pt x="68" y="555"/>
                      <a:pt x="40" y="527"/>
                      <a:pt x="40" y="492"/>
                    </a:cubicBezTo>
                    <a:cubicBezTo>
                      <a:pt x="40" y="457"/>
                      <a:pt x="68" y="428"/>
                      <a:pt x="103" y="428"/>
                    </a:cubicBezTo>
                    <a:cubicBezTo>
                      <a:pt x="138" y="428"/>
                      <a:pt x="167" y="457"/>
                      <a:pt x="167" y="492"/>
                    </a:cubicBezTo>
                    <a:cubicBezTo>
                      <a:pt x="167"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9" name="Oval 8"/>
              <p:cNvSpPr>
                <a:spLocks noChangeArrowheads="1"/>
              </p:cNvSpPr>
              <p:nvPr/>
            </p:nvSpPr>
            <p:spPr bwMode="auto">
              <a:xfrm>
                <a:off x="517"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20" name="Freeform 7"/>
              <p:cNvSpPr>
                <a:spLocks noEditPoints="1"/>
              </p:cNvSpPr>
              <p:nvPr/>
            </p:nvSpPr>
            <p:spPr bwMode="auto">
              <a:xfrm>
                <a:off x="963" y="713"/>
                <a:ext cx="488" cy="1433"/>
              </a:xfrm>
              <a:custGeom>
                <a:avLst/>
                <a:gdLst>
                  <a:gd name="T0" fmla="*/ 172 w 206"/>
                  <a:gd name="T1" fmla="*/ 0 h 604"/>
                  <a:gd name="T2" fmla="*/ 35 w 206"/>
                  <a:gd name="T3" fmla="*/ 0 h 604"/>
                  <a:gd name="T4" fmla="*/ 0 w 206"/>
                  <a:gd name="T5" fmla="*/ 35 h 604"/>
                  <a:gd name="T6" fmla="*/ 0 w 206"/>
                  <a:gd name="T7" fmla="*/ 569 h 604"/>
                  <a:gd name="T8" fmla="*/ 35 w 206"/>
                  <a:gd name="T9" fmla="*/ 604 h 604"/>
                  <a:gd name="T10" fmla="*/ 172 w 206"/>
                  <a:gd name="T11" fmla="*/ 604 h 604"/>
                  <a:gd name="T12" fmla="*/ 206 w 206"/>
                  <a:gd name="T13" fmla="*/ 569 h 604"/>
                  <a:gd name="T14" fmla="*/ 206 w 206"/>
                  <a:gd name="T15" fmla="*/ 35 h 604"/>
                  <a:gd name="T16" fmla="*/ 172 w 206"/>
                  <a:gd name="T17" fmla="*/ 0 h 604"/>
                  <a:gd name="T18" fmla="*/ 43 w 206"/>
                  <a:gd name="T19" fmla="*/ 116 h 604"/>
                  <a:gd name="T20" fmla="*/ 78 w 206"/>
                  <a:gd name="T21" fmla="*/ 81 h 604"/>
                  <a:gd name="T22" fmla="*/ 129 w 206"/>
                  <a:gd name="T23" fmla="*/ 81 h 604"/>
                  <a:gd name="T24" fmla="*/ 164 w 206"/>
                  <a:gd name="T25" fmla="*/ 116 h 604"/>
                  <a:gd name="T26" fmla="*/ 164 w 206"/>
                  <a:gd name="T27" fmla="*/ 336 h 604"/>
                  <a:gd name="T28" fmla="*/ 129 w 206"/>
                  <a:gd name="T29" fmla="*/ 370 h 604"/>
                  <a:gd name="T30" fmla="*/ 78 w 206"/>
                  <a:gd name="T31" fmla="*/ 370 h 604"/>
                  <a:gd name="T32" fmla="*/ 43 w 206"/>
                  <a:gd name="T33" fmla="*/ 336 h 604"/>
                  <a:gd name="T34" fmla="*/ 43 w 206"/>
                  <a:gd name="T35" fmla="*/ 116 h 604"/>
                  <a:gd name="T36" fmla="*/ 103 w 206"/>
                  <a:gd name="T37" fmla="*/ 555 h 604"/>
                  <a:gd name="T38" fmla="*/ 40 w 206"/>
                  <a:gd name="T39" fmla="*/ 492 h 604"/>
                  <a:gd name="T40" fmla="*/ 103 w 206"/>
                  <a:gd name="T41" fmla="*/ 428 h 604"/>
                  <a:gd name="T42" fmla="*/ 167 w 206"/>
                  <a:gd name="T43" fmla="*/ 492 h 604"/>
                  <a:gd name="T44" fmla="*/ 103 w 206"/>
                  <a:gd name="T45" fmla="*/ 55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604">
                    <a:moveTo>
                      <a:pt x="172" y="0"/>
                    </a:moveTo>
                    <a:cubicBezTo>
                      <a:pt x="35" y="0"/>
                      <a:pt x="35" y="0"/>
                      <a:pt x="35" y="0"/>
                    </a:cubicBezTo>
                    <a:cubicBezTo>
                      <a:pt x="16" y="0"/>
                      <a:pt x="0" y="16"/>
                      <a:pt x="0" y="35"/>
                    </a:cubicBezTo>
                    <a:cubicBezTo>
                      <a:pt x="0" y="569"/>
                      <a:pt x="0" y="569"/>
                      <a:pt x="0" y="569"/>
                    </a:cubicBezTo>
                    <a:cubicBezTo>
                      <a:pt x="0" y="588"/>
                      <a:pt x="16" y="604"/>
                      <a:pt x="35" y="604"/>
                    </a:cubicBezTo>
                    <a:cubicBezTo>
                      <a:pt x="172" y="604"/>
                      <a:pt x="172" y="604"/>
                      <a:pt x="172" y="604"/>
                    </a:cubicBezTo>
                    <a:cubicBezTo>
                      <a:pt x="191" y="604"/>
                      <a:pt x="206" y="588"/>
                      <a:pt x="206" y="569"/>
                    </a:cubicBezTo>
                    <a:cubicBezTo>
                      <a:pt x="206" y="35"/>
                      <a:pt x="206" y="35"/>
                      <a:pt x="206" y="35"/>
                    </a:cubicBezTo>
                    <a:cubicBezTo>
                      <a:pt x="206" y="16"/>
                      <a:pt x="191" y="0"/>
                      <a:pt x="172" y="0"/>
                    </a:cubicBezTo>
                    <a:close/>
                    <a:moveTo>
                      <a:pt x="43" y="116"/>
                    </a:moveTo>
                    <a:cubicBezTo>
                      <a:pt x="43" y="97"/>
                      <a:pt x="59" y="81"/>
                      <a:pt x="78" y="81"/>
                    </a:cubicBezTo>
                    <a:cubicBezTo>
                      <a:pt x="129" y="81"/>
                      <a:pt x="129" y="81"/>
                      <a:pt x="129" y="81"/>
                    </a:cubicBezTo>
                    <a:cubicBezTo>
                      <a:pt x="148" y="81"/>
                      <a:pt x="164" y="97"/>
                      <a:pt x="164" y="116"/>
                    </a:cubicBezTo>
                    <a:cubicBezTo>
                      <a:pt x="164" y="336"/>
                      <a:pt x="164" y="336"/>
                      <a:pt x="164" y="336"/>
                    </a:cubicBezTo>
                    <a:cubicBezTo>
                      <a:pt x="164" y="355"/>
                      <a:pt x="148" y="370"/>
                      <a:pt x="129" y="370"/>
                    </a:cubicBezTo>
                    <a:cubicBezTo>
                      <a:pt x="78" y="370"/>
                      <a:pt x="78" y="370"/>
                      <a:pt x="78" y="370"/>
                    </a:cubicBezTo>
                    <a:cubicBezTo>
                      <a:pt x="59" y="370"/>
                      <a:pt x="43" y="355"/>
                      <a:pt x="43" y="336"/>
                    </a:cubicBezTo>
                    <a:lnTo>
                      <a:pt x="43" y="116"/>
                    </a:lnTo>
                    <a:close/>
                    <a:moveTo>
                      <a:pt x="103" y="555"/>
                    </a:moveTo>
                    <a:cubicBezTo>
                      <a:pt x="68" y="555"/>
                      <a:pt x="40" y="527"/>
                      <a:pt x="40" y="492"/>
                    </a:cubicBezTo>
                    <a:cubicBezTo>
                      <a:pt x="40" y="457"/>
                      <a:pt x="68" y="428"/>
                      <a:pt x="103" y="428"/>
                    </a:cubicBezTo>
                    <a:cubicBezTo>
                      <a:pt x="138" y="428"/>
                      <a:pt x="167" y="457"/>
                      <a:pt x="167" y="492"/>
                    </a:cubicBezTo>
                    <a:cubicBezTo>
                      <a:pt x="167" y="527"/>
                      <a:pt x="138" y="555"/>
                      <a:pt x="103"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21" name="Oval 8"/>
              <p:cNvSpPr>
                <a:spLocks noChangeArrowheads="1"/>
              </p:cNvSpPr>
              <p:nvPr/>
            </p:nvSpPr>
            <p:spPr bwMode="auto">
              <a:xfrm>
                <a:off x="1100" y="1773"/>
                <a:ext cx="214" cy="2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grpSp>
        <p:grpSp>
          <p:nvGrpSpPr>
            <p:cNvPr id="86" name="Group 85"/>
            <p:cNvGrpSpPr>
              <a:grpSpLocks noChangeAspect="1"/>
            </p:cNvGrpSpPr>
            <p:nvPr/>
          </p:nvGrpSpPr>
          <p:grpSpPr>
            <a:xfrm>
              <a:off x="4147871" y="4726319"/>
              <a:ext cx="482684" cy="584144"/>
              <a:chOff x="8326165" y="1883987"/>
              <a:chExt cx="485962" cy="590377"/>
            </a:xfrm>
          </p:grpSpPr>
          <p:sp>
            <p:nvSpPr>
              <p:cNvPr id="114" name="Freeform 234"/>
              <p:cNvSpPr>
                <a:spLocks noEditPoints="1"/>
              </p:cNvSpPr>
              <p:nvPr/>
            </p:nvSpPr>
            <p:spPr bwMode="auto">
              <a:xfrm>
                <a:off x="8326165" y="2234020"/>
                <a:ext cx="485962" cy="240344"/>
              </a:xfrm>
              <a:custGeom>
                <a:avLst/>
                <a:gdLst>
                  <a:gd name="T0" fmla="*/ 533 w 1923"/>
                  <a:gd name="T1" fmla="*/ 894 h 894"/>
                  <a:gd name="T2" fmla="*/ 566 w 1923"/>
                  <a:gd name="T3" fmla="*/ 884 h 894"/>
                  <a:gd name="T4" fmla="*/ 592 w 1923"/>
                  <a:gd name="T5" fmla="*/ 857 h 894"/>
                  <a:gd name="T6" fmla="*/ 634 w 1923"/>
                  <a:gd name="T7" fmla="*/ 773 h 894"/>
                  <a:gd name="T8" fmla="*/ 673 w 1923"/>
                  <a:gd name="T9" fmla="*/ 714 h 894"/>
                  <a:gd name="T10" fmla="*/ 703 w 1923"/>
                  <a:gd name="T11" fmla="*/ 689 h 894"/>
                  <a:gd name="T12" fmla="*/ 742 w 1923"/>
                  <a:gd name="T13" fmla="*/ 670 h 894"/>
                  <a:gd name="T14" fmla="*/ 793 w 1923"/>
                  <a:gd name="T15" fmla="*/ 660 h 894"/>
                  <a:gd name="T16" fmla="*/ 859 w 1923"/>
                  <a:gd name="T17" fmla="*/ 657 h 894"/>
                  <a:gd name="T18" fmla="*/ 1230 w 1923"/>
                  <a:gd name="T19" fmla="*/ 662 h 894"/>
                  <a:gd name="T20" fmla="*/ 1458 w 1923"/>
                  <a:gd name="T21" fmla="*/ 657 h 894"/>
                  <a:gd name="T22" fmla="*/ 1511 w 1923"/>
                  <a:gd name="T23" fmla="*/ 650 h 894"/>
                  <a:gd name="T24" fmla="*/ 1560 w 1923"/>
                  <a:gd name="T25" fmla="*/ 628 h 894"/>
                  <a:gd name="T26" fmla="*/ 1608 w 1923"/>
                  <a:gd name="T27" fmla="*/ 584 h 894"/>
                  <a:gd name="T28" fmla="*/ 1787 w 1923"/>
                  <a:gd name="T29" fmla="*/ 374 h 894"/>
                  <a:gd name="T30" fmla="*/ 1921 w 1923"/>
                  <a:gd name="T31" fmla="*/ 223 h 894"/>
                  <a:gd name="T32" fmla="*/ 1923 w 1923"/>
                  <a:gd name="T33" fmla="*/ 176 h 894"/>
                  <a:gd name="T34" fmla="*/ 1913 w 1923"/>
                  <a:gd name="T35" fmla="*/ 126 h 894"/>
                  <a:gd name="T36" fmla="*/ 1900 w 1923"/>
                  <a:gd name="T37" fmla="*/ 105 h 894"/>
                  <a:gd name="T38" fmla="*/ 1879 w 1923"/>
                  <a:gd name="T39" fmla="*/ 93 h 894"/>
                  <a:gd name="T40" fmla="*/ 1849 w 1923"/>
                  <a:gd name="T41" fmla="*/ 93 h 894"/>
                  <a:gd name="T42" fmla="*/ 1603 w 1923"/>
                  <a:gd name="T43" fmla="*/ 340 h 894"/>
                  <a:gd name="T44" fmla="*/ 1555 w 1923"/>
                  <a:gd name="T45" fmla="*/ 381 h 894"/>
                  <a:gd name="T46" fmla="*/ 1480 w 1923"/>
                  <a:gd name="T47" fmla="*/ 391 h 894"/>
                  <a:gd name="T48" fmla="*/ 769 w 1923"/>
                  <a:gd name="T49" fmla="*/ 390 h 894"/>
                  <a:gd name="T50" fmla="*/ 758 w 1923"/>
                  <a:gd name="T51" fmla="*/ 379 h 894"/>
                  <a:gd name="T52" fmla="*/ 758 w 1923"/>
                  <a:gd name="T53" fmla="*/ 362 h 894"/>
                  <a:gd name="T54" fmla="*/ 769 w 1923"/>
                  <a:gd name="T55" fmla="*/ 350 h 894"/>
                  <a:gd name="T56" fmla="*/ 872 w 1923"/>
                  <a:gd name="T57" fmla="*/ 349 h 894"/>
                  <a:gd name="T58" fmla="*/ 1004 w 1923"/>
                  <a:gd name="T59" fmla="*/ 347 h 894"/>
                  <a:gd name="T60" fmla="*/ 1118 w 1923"/>
                  <a:gd name="T61" fmla="*/ 321 h 894"/>
                  <a:gd name="T62" fmla="*/ 1142 w 1923"/>
                  <a:gd name="T63" fmla="*/ 290 h 894"/>
                  <a:gd name="T64" fmla="*/ 1160 w 1923"/>
                  <a:gd name="T65" fmla="*/ 248 h 894"/>
                  <a:gd name="T66" fmla="*/ 1160 w 1923"/>
                  <a:gd name="T67" fmla="*/ 224 h 894"/>
                  <a:gd name="T68" fmla="*/ 1136 w 1923"/>
                  <a:gd name="T69" fmla="*/ 187 h 894"/>
                  <a:gd name="T70" fmla="*/ 1082 w 1923"/>
                  <a:gd name="T71" fmla="*/ 155 h 894"/>
                  <a:gd name="T72" fmla="*/ 531 w 1923"/>
                  <a:gd name="T73" fmla="*/ 136 h 894"/>
                  <a:gd name="T74" fmla="*/ 459 w 1923"/>
                  <a:gd name="T75" fmla="*/ 157 h 894"/>
                  <a:gd name="T76" fmla="*/ 379 w 1923"/>
                  <a:gd name="T77" fmla="*/ 207 h 894"/>
                  <a:gd name="T78" fmla="*/ 328 w 1923"/>
                  <a:gd name="T79" fmla="*/ 253 h 894"/>
                  <a:gd name="T80" fmla="*/ 276 w 1923"/>
                  <a:gd name="T81" fmla="*/ 316 h 894"/>
                  <a:gd name="T82" fmla="*/ 189 w 1923"/>
                  <a:gd name="T83" fmla="*/ 464 h 894"/>
                  <a:gd name="T84" fmla="*/ 44 w 1923"/>
                  <a:gd name="T85" fmla="*/ 753 h 894"/>
                  <a:gd name="T86" fmla="*/ 5 w 1923"/>
                  <a:gd name="T87" fmla="*/ 839 h 894"/>
                  <a:gd name="T88" fmla="*/ 0 w 1923"/>
                  <a:gd name="T89" fmla="*/ 870 h 894"/>
                  <a:gd name="T90" fmla="*/ 12 w 1923"/>
                  <a:gd name="T91" fmla="*/ 888 h 894"/>
                  <a:gd name="T92" fmla="*/ 1830 w 1923"/>
                  <a:gd name="T93" fmla="*/ 53 h 894"/>
                  <a:gd name="T94" fmla="*/ 1799 w 1923"/>
                  <a:gd name="T95" fmla="*/ 18 h 894"/>
                  <a:gd name="T96" fmla="*/ 1765 w 1923"/>
                  <a:gd name="T97" fmla="*/ 1 h 894"/>
                  <a:gd name="T98" fmla="*/ 1723 w 1923"/>
                  <a:gd name="T99" fmla="*/ 8 h 894"/>
                  <a:gd name="T100" fmla="*/ 1669 w 1923"/>
                  <a:gd name="T101" fmla="*/ 56 h 894"/>
                  <a:gd name="T102" fmla="*/ 1499 w 1923"/>
                  <a:gd name="T103" fmla="*/ 348 h 894"/>
                  <a:gd name="T104" fmla="*/ 1545 w 1923"/>
                  <a:gd name="T105" fmla="*/ 337 h 894"/>
                  <a:gd name="T106" fmla="*/ 1585 w 1923"/>
                  <a:gd name="T107" fmla="*/ 298 h 894"/>
                  <a:gd name="T108" fmla="*/ 1314 w 1923"/>
                  <a:gd name="T109" fmla="*/ 349 h 894"/>
                  <a:gd name="T110" fmla="*/ 1562 w 1923"/>
                  <a:gd name="T111" fmla="*/ 48 h 894"/>
                  <a:gd name="T112" fmla="*/ 1522 w 1923"/>
                  <a:gd name="T113" fmla="*/ 46 h 894"/>
                  <a:gd name="T114" fmla="*/ 1483 w 1923"/>
                  <a:gd name="T115" fmla="*/ 65 h 894"/>
                  <a:gd name="T116" fmla="*/ 1410 w 1923"/>
                  <a:gd name="T117" fmla="*/ 133 h 894"/>
                  <a:gd name="T118" fmla="*/ 1289 w 1923"/>
                  <a:gd name="T119" fmla="*/ 250 h 894"/>
                  <a:gd name="T120" fmla="*/ 1196 w 1923"/>
                  <a:gd name="T121" fmla="*/ 33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3" h="894">
                    <a:moveTo>
                      <a:pt x="34" y="892"/>
                    </a:moveTo>
                    <a:lnTo>
                      <a:pt x="521" y="892"/>
                    </a:lnTo>
                    <a:lnTo>
                      <a:pt x="527" y="894"/>
                    </a:lnTo>
                    <a:lnTo>
                      <a:pt x="533" y="894"/>
                    </a:lnTo>
                    <a:lnTo>
                      <a:pt x="543" y="894"/>
                    </a:lnTo>
                    <a:lnTo>
                      <a:pt x="554" y="890"/>
                    </a:lnTo>
                    <a:lnTo>
                      <a:pt x="559" y="888"/>
                    </a:lnTo>
                    <a:lnTo>
                      <a:pt x="566" y="884"/>
                    </a:lnTo>
                    <a:lnTo>
                      <a:pt x="572" y="880"/>
                    </a:lnTo>
                    <a:lnTo>
                      <a:pt x="578" y="873"/>
                    </a:lnTo>
                    <a:lnTo>
                      <a:pt x="585" y="866"/>
                    </a:lnTo>
                    <a:lnTo>
                      <a:pt x="592" y="857"/>
                    </a:lnTo>
                    <a:lnTo>
                      <a:pt x="599" y="846"/>
                    </a:lnTo>
                    <a:lnTo>
                      <a:pt x="606" y="834"/>
                    </a:lnTo>
                    <a:lnTo>
                      <a:pt x="619" y="804"/>
                    </a:lnTo>
                    <a:lnTo>
                      <a:pt x="634" y="773"/>
                    </a:lnTo>
                    <a:lnTo>
                      <a:pt x="642" y="758"/>
                    </a:lnTo>
                    <a:lnTo>
                      <a:pt x="651" y="742"/>
                    </a:lnTo>
                    <a:lnTo>
                      <a:pt x="661" y="728"/>
                    </a:lnTo>
                    <a:lnTo>
                      <a:pt x="673" y="714"/>
                    </a:lnTo>
                    <a:lnTo>
                      <a:pt x="680" y="707"/>
                    </a:lnTo>
                    <a:lnTo>
                      <a:pt x="687" y="700"/>
                    </a:lnTo>
                    <a:lnTo>
                      <a:pt x="695" y="695"/>
                    </a:lnTo>
                    <a:lnTo>
                      <a:pt x="703" y="689"/>
                    </a:lnTo>
                    <a:lnTo>
                      <a:pt x="712" y="683"/>
                    </a:lnTo>
                    <a:lnTo>
                      <a:pt x="722" y="679"/>
                    </a:lnTo>
                    <a:lnTo>
                      <a:pt x="732" y="674"/>
                    </a:lnTo>
                    <a:lnTo>
                      <a:pt x="742" y="670"/>
                    </a:lnTo>
                    <a:lnTo>
                      <a:pt x="753" y="667"/>
                    </a:lnTo>
                    <a:lnTo>
                      <a:pt x="766" y="664"/>
                    </a:lnTo>
                    <a:lnTo>
                      <a:pt x="779" y="661"/>
                    </a:lnTo>
                    <a:lnTo>
                      <a:pt x="793" y="660"/>
                    </a:lnTo>
                    <a:lnTo>
                      <a:pt x="808" y="657"/>
                    </a:lnTo>
                    <a:lnTo>
                      <a:pt x="823" y="657"/>
                    </a:lnTo>
                    <a:lnTo>
                      <a:pt x="840" y="657"/>
                    </a:lnTo>
                    <a:lnTo>
                      <a:pt x="859" y="657"/>
                    </a:lnTo>
                    <a:lnTo>
                      <a:pt x="940" y="661"/>
                    </a:lnTo>
                    <a:lnTo>
                      <a:pt x="1034" y="662"/>
                    </a:lnTo>
                    <a:lnTo>
                      <a:pt x="1133" y="662"/>
                    </a:lnTo>
                    <a:lnTo>
                      <a:pt x="1230" y="662"/>
                    </a:lnTo>
                    <a:lnTo>
                      <a:pt x="1319" y="661"/>
                    </a:lnTo>
                    <a:lnTo>
                      <a:pt x="1391" y="660"/>
                    </a:lnTo>
                    <a:lnTo>
                      <a:pt x="1440" y="659"/>
                    </a:lnTo>
                    <a:lnTo>
                      <a:pt x="1458" y="657"/>
                    </a:lnTo>
                    <a:lnTo>
                      <a:pt x="1461" y="657"/>
                    </a:lnTo>
                    <a:lnTo>
                      <a:pt x="1473" y="657"/>
                    </a:lnTo>
                    <a:lnTo>
                      <a:pt x="1490" y="655"/>
                    </a:lnTo>
                    <a:lnTo>
                      <a:pt x="1511" y="650"/>
                    </a:lnTo>
                    <a:lnTo>
                      <a:pt x="1522" y="646"/>
                    </a:lnTo>
                    <a:lnTo>
                      <a:pt x="1535" y="642"/>
                    </a:lnTo>
                    <a:lnTo>
                      <a:pt x="1547" y="635"/>
                    </a:lnTo>
                    <a:lnTo>
                      <a:pt x="1560" y="628"/>
                    </a:lnTo>
                    <a:lnTo>
                      <a:pt x="1572" y="619"/>
                    </a:lnTo>
                    <a:lnTo>
                      <a:pt x="1585" y="609"/>
                    </a:lnTo>
                    <a:lnTo>
                      <a:pt x="1597" y="598"/>
                    </a:lnTo>
                    <a:lnTo>
                      <a:pt x="1608" y="584"/>
                    </a:lnTo>
                    <a:lnTo>
                      <a:pt x="1639" y="547"/>
                    </a:lnTo>
                    <a:lnTo>
                      <a:pt x="1683" y="495"/>
                    </a:lnTo>
                    <a:lnTo>
                      <a:pt x="1734" y="436"/>
                    </a:lnTo>
                    <a:lnTo>
                      <a:pt x="1787" y="374"/>
                    </a:lnTo>
                    <a:lnTo>
                      <a:pt x="1838" y="316"/>
                    </a:lnTo>
                    <a:lnTo>
                      <a:pt x="1880" y="268"/>
                    </a:lnTo>
                    <a:lnTo>
                      <a:pt x="1910" y="235"/>
                    </a:lnTo>
                    <a:lnTo>
                      <a:pt x="1921" y="223"/>
                    </a:lnTo>
                    <a:lnTo>
                      <a:pt x="1921" y="216"/>
                    </a:lnTo>
                    <a:lnTo>
                      <a:pt x="1923" y="200"/>
                    </a:lnTo>
                    <a:lnTo>
                      <a:pt x="1923" y="189"/>
                    </a:lnTo>
                    <a:lnTo>
                      <a:pt x="1923" y="176"/>
                    </a:lnTo>
                    <a:lnTo>
                      <a:pt x="1922" y="164"/>
                    </a:lnTo>
                    <a:lnTo>
                      <a:pt x="1920" y="150"/>
                    </a:lnTo>
                    <a:lnTo>
                      <a:pt x="1918" y="138"/>
                    </a:lnTo>
                    <a:lnTo>
                      <a:pt x="1913" y="126"/>
                    </a:lnTo>
                    <a:lnTo>
                      <a:pt x="1911" y="120"/>
                    </a:lnTo>
                    <a:lnTo>
                      <a:pt x="1908" y="114"/>
                    </a:lnTo>
                    <a:lnTo>
                      <a:pt x="1904" y="110"/>
                    </a:lnTo>
                    <a:lnTo>
                      <a:pt x="1900" y="105"/>
                    </a:lnTo>
                    <a:lnTo>
                      <a:pt x="1895" y="102"/>
                    </a:lnTo>
                    <a:lnTo>
                      <a:pt x="1891" y="98"/>
                    </a:lnTo>
                    <a:lnTo>
                      <a:pt x="1885" y="95"/>
                    </a:lnTo>
                    <a:lnTo>
                      <a:pt x="1879" y="93"/>
                    </a:lnTo>
                    <a:lnTo>
                      <a:pt x="1873" y="92"/>
                    </a:lnTo>
                    <a:lnTo>
                      <a:pt x="1865" y="92"/>
                    </a:lnTo>
                    <a:lnTo>
                      <a:pt x="1858" y="92"/>
                    </a:lnTo>
                    <a:lnTo>
                      <a:pt x="1849" y="93"/>
                    </a:lnTo>
                    <a:lnTo>
                      <a:pt x="1631" y="312"/>
                    </a:lnTo>
                    <a:lnTo>
                      <a:pt x="1631" y="311"/>
                    </a:lnTo>
                    <a:lnTo>
                      <a:pt x="1616" y="327"/>
                    </a:lnTo>
                    <a:lnTo>
                      <a:pt x="1603" y="340"/>
                    </a:lnTo>
                    <a:lnTo>
                      <a:pt x="1589" y="355"/>
                    </a:lnTo>
                    <a:lnTo>
                      <a:pt x="1578" y="366"/>
                    </a:lnTo>
                    <a:lnTo>
                      <a:pt x="1567" y="375"/>
                    </a:lnTo>
                    <a:lnTo>
                      <a:pt x="1555" y="381"/>
                    </a:lnTo>
                    <a:lnTo>
                      <a:pt x="1543" y="385"/>
                    </a:lnTo>
                    <a:lnTo>
                      <a:pt x="1526" y="389"/>
                    </a:lnTo>
                    <a:lnTo>
                      <a:pt x="1506" y="390"/>
                    </a:lnTo>
                    <a:lnTo>
                      <a:pt x="1480" y="391"/>
                    </a:lnTo>
                    <a:lnTo>
                      <a:pt x="1480" y="391"/>
                    </a:lnTo>
                    <a:lnTo>
                      <a:pt x="777" y="391"/>
                    </a:lnTo>
                    <a:lnTo>
                      <a:pt x="774" y="391"/>
                    </a:lnTo>
                    <a:lnTo>
                      <a:pt x="769" y="390"/>
                    </a:lnTo>
                    <a:lnTo>
                      <a:pt x="766" y="388"/>
                    </a:lnTo>
                    <a:lnTo>
                      <a:pt x="763" y="385"/>
                    </a:lnTo>
                    <a:lnTo>
                      <a:pt x="760" y="382"/>
                    </a:lnTo>
                    <a:lnTo>
                      <a:pt x="758" y="379"/>
                    </a:lnTo>
                    <a:lnTo>
                      <a:pt x="757" y="374"/>
                    </a:lnTo>
                    <a:lnTo>
                      <a:pt x="757" y="371"/>
                    </a:lnTo>
                    <a:lnTo>
                      <a:pt x="757" y="366"/>
                    </a:lnTo>
                    <a:lnTo>
                      <a:pt x="758" y="362"/>
                    </a:lnTo>
                    <a:lnTo>
                      <a:pt x="760" y="358"/>
                    </a:lnTo>
                    <a:lnTo>
                      <a:pt x="763" y="355"/>
                    </a:lnTo>
                    <a:lnTo>
                      <a:pt x="766" y="353"/>
                    </a:lnTo>
                    <a:lnTo>
                      <a:pt x="769" y="350"/>
                    </a:lnTo>
                    <a:lnTo>
                      <a:pt x="774" y="349"/>
                    </a:lnTo>
                    <a:lnTo>
                      <a:pt x="777" y="349"/>
                    </a:lnTo>
                    <a:lnTo>
                      <a:pt x="830" y="349"/>
                    </a:lnTo>
                    <a:lnTo>
                      <a:pt x="872" y="349"/>
                    </a:lnTo>
                    <a:lnTo>
                      <a:pt x="908" y="349"/>
                    </a:lnTo>
                    <a:lnTo>
                      <a:pt x="940" y="348"/>
                    </a:lnTo>
                    <a:lnTo>
                      <a:pt x="971" y="348"/>
                    </a:lnTo>
                    <a:lnTo>
                      <a:pt x="1004" y="347"/>
                    </a:lnTo>
                    <a:lnTo>
                      <a:pt x="1041" y="346"/>
                    </a:lnTo>
                    <a:lnTo>
                      <a:pt x="1087" y="345"/>
                    </a:lnTo>
                    <a:lnTo>
                      <a:pt x="1097" y="339"/>
                    </a:lnTo>
                    <a:lnTo>
                      <a:pt x="1118" y="321"/>
                    </a:lnTo>
                    <a:lnTo>
                      <a:pt x="1124" y="314"/>
                    </a:lnTo>
                    <a:lnTo>
                      <a:pt x="1131" y="307"/>
                    </a:lnTo>
                    <a:lnTo>
                      <a:pt x="1136" y="299"/>
                    </a:lnTo>
                    <a:lnTo>
                      <a:pt x="1142" y="290"/>
                    </a:lnTo>
                    <a:lnTo>
                      <a:pt x="1148" y="281"/>
                    </a:lnTo>
                    <a:lnTo>
                      <a:pt x="1152" y="271"/>
                    </a:lnTo>
                    <a:lnTo>
                      <a:pt x="1157" y="260"/>
                    </a:lnTo>
                    <a:lnTo>
                      <a:pt x="1160" y="248"/>
                    </a:lnTo>
                    <a:lnTo>
                      <a:pt x="1161" y="241"/>
                    </a:lnTo>
                    <a:lnTo>
                      <a:pt x="1161" y="235"/>
                    </a:lnTo>
                    <a:lnTo>
                      <a:pt x="1161" y="229"/>
                    </a:lnTo>
                    <a:lnTo>
                      <a:pt x="1160" y="224"/>
                    </a:lnTo>
                    <a:lnTo>
                      <a:pt x="1157" y="214"/>
                    </a:lnTo>
                    <a:lnTo>
                      <a:pt x="1151" y="203"/>
                    </a:lnTo>
                    <a:lnTo>
                      <a:pt x="1144" y="196"/>
                    </a:lnTo>
                    <a:lnTo>
                      <a:pt x="1136" y="187"/>
                    </a:lnTo>
                    <a:lnTo>
                      <a:pt x="1127" y="180"/>
                    </a:lnTo>
                    <a:lnTo>
                      <a:pt x="1117" y="173"/>
                    </a:lnTo>
                    <a:lnTo>
                      <a:pt x="1099" y="163"/>
                    </a:lnTo>
                    <a:lnTo>
                      <a:pt x="1082" y="155"/>
                    </a:lnTo>
                    <a:lnTo>
                      <a:pt x="1070" y="150"/>
                    </a:lnTo>
                    <a:lnTo>
                      <a:pt x="1065" y="149"/>
                    </a:lnTo>
                    <a:lnTo>
                      <a:pt x="539" y="135"/>
                    </a:lnTo>
                    <a:lnTo>
                      <a:pt x="531" y="136"/>
                    </a:lnTo>
                    <a:lnTo>
                      <a:pt x="511" y="140"/>
                    </a:lnTo>
                    <a:lnTo>
                      <a:pt x="496" y="144"/>
                    </a:lnTo>
                    <a:lnTo>
                      <a:pt x="479" y="149"/>
                    </a:lnTo>
                    <a:lnTo>
                      <a:pt x="459" y="157"/>
                    </a:lnTo>
                    <a:lnTo>
                      <a:pt x="438" y="168"/>
                    </a:lnTo>
                    <a:lnTo>
                      <a:pt x="416" y="181"/>
                    </a:lnTo>
                    <a:lnTo>
                      <a:pt x="391" y="198"/>
                    </a:lnTo>
                    <a:lnTo>
                      <a:pt x="379" y="207"/>
                    </a:lnTo>
                    <a:lnTo>
                      <a:pt x="366" y="217"/>
                    </a:lnTo>
                    <a:lnTo>
                      <a:pt x="354" y="228"/>
                    </a:lnTo>
                    <a:lnTo>
                      <a:pt x="340" y="241"/>
                    </a:lnTo>
                    <a:lnTo>
                      <a:pt x="328" y="253"/>
                    </a:lnTo>
                    <a:lnTo>
                      <a:pt x="314" y="268"/>
                    </a:lnTo>
                    <a:lnTo>
                      <a:pt x="302" y="283"/>
                    </a:lnTo>
                    <a:lnTo>
                      <a:pt x="288" y="299"/>
                    </a:lnTo>
                    <a:lnTo>
                      <a:pt x="276" y="316"/>
                    </a:lnTo>
                    <a:lnTo>
                      <a:pt x="262" y="336"/>
                    </a:lnTo>
                    <a:lnTo>
                      <a:pt x="250" y="356"/>
                    </a:lnTo>
                    <a:lnTo>
                      <a:pt x="237" y="377"/>
                    </a:lnTo>
                    <a:lnTo>
                      <a:pt x="189" y="464"/>
                    </a:lnTo>
                    <a:lnTo>
                      <a:pt x="145" y="548"/>
                    </a:lnTo>
                    <a:lnTo>
                      <a:pt x="105" y="626"/>
                    </a:lnTo>
                    <a:lnTo>
                      <a:pt x="71" y="695"/>
                    </a:lnTo>
                    <a:lnTo>
                      <a:pt x="44" y="753"/>
                    </a:lnTo>
                    <a:lnTo>
                      <a:pt x="23" y="798"/>
                    </a:lnTo>
                    <a:lnTo>
                      <a:pt x="10" y="827"/>
                    </a:lnTo>
                    <a:lnTo>
                      <a:pt x="6" y="837"/>
                    </a:lnTo>
                    <a:lnTo>
                      <a:pt x="5" y="839"/>
                    </a:lnTo>
                    <a:lnTo>
                      <a:pt x="3" y="845"/>
                    </a:lnTo>
                    <a:lnTo>
                      <a:pt x="1" y="854"/>
                    </a:lnTo>
                    <a:lnTo>
                      <a:pt x="0" y="864"/>
                    </a:lnTo>
                    <a:lnTo>
                      <a:pt x="0" y="870"/>
                    </a:lnTo>
                    <a:lnTo>
                      <a:pt x="1" y="875"/>
                    </a:lnTo>
                    <a:lnTo>
                      <a:pt x="4" y="880"/>
                    </a:lnTo>
                    <a:lnTo>
                      <a:pt x="7" y="884"/>
                    </a:lnTo>
                    <a:lnTo>
                      <a:pt x="12" y="888"/>
                    </a:lnTo>
                    <a:lnTo>
                      <a:pt x="17" y="890"/>
                    </a:lnTo>
                    <a:lnTo>
                      <a:pt x="25" y="892"/>
                    </a:lnTo>
                    <a:lnTo>
                      <a:pt x="34" y="892"/>
                    </a:lnTo>
                    <a:close/>
                    <a:moveTo>
                      <a:pt x="1830" y="53"/>
                    </a:moveTo>
                    <a:lnTo>
                      <a:pt x="1823" y="43"/>
                    </a:lnTo>
                    <a:lnTo>
                      <a:pt x="1813" y="31"/>
                    </a:lnTo>
                    <a:lnTo>
                      <a:pt x="1807" y="25"/>
                    </a:lnTo>
                    <a:lnTo>
                      <a:pt x="1799" y="18"/>
                    </a:lnTo>
                    <a:lnTo>
                      <a:pt x="1792" y="13"/>
                    </a:lnTo>
                    <a:lnTo>
                      <a:pt x="1783" y="8"/>
                    </a:lnTo>
                    <a:lnTo>
                      <a:pt x="1774" y="5"/>
                    </a:lnTo>
                    <a:lnTo>
                      <a:pt x="1765" y="1"/>
                    </a:lnTo>
                    <a:lnTo>
                      <a:pt x="1755" y="0"/>
                    </a:lnTo>
                    <a:lnTo>
                      <a:pt x="1745" y="1"/>
                    </a:lnTo>
                    <a:lnTo>
                      <a:pt x="1735" y="4"/>
                    </a:lnTo>
                    <a:lnTo>
                      <a:pt x="1723" y="8"/>
                    </a:lnTo>
                    <a:lnTo>
                      <a:pt x="1711" y="16"/>
                    </a:lnTo>
                    <a:lnTo>
                      <a:pt x="1700" y="26"/>
                    </a:lnTo>
                    <a:lnTo>
                      <a:pt x="1684" y="42"/>
                    </a:lnTo>
                    <a:lnTo>
                      <a:pt x="1669" y="56"/>
                    </a:lnTo>
                    <a:lnTo>
                      <a:pt x="1373" y="349"/>
                    </a:lnTo>
                    <a:lnTo>
                      <a:pt x="1480" y="349"/>
                    </a:lnTo>
                    <a:lnTo>
                      <a:pt x="1480" y="349"/>
                    </a:lnTo>
                    <a:lnTo>
                      <a:pt x="1499" y="348"/>
                    </a:lnTo>
                    <a:lnTo>
                      <a:pt x="1515" y="347"/>
                    </a:lnTo>
                    <a:lnTo>
                      <a:pt x="1527" y="345"/>
                    </a:lnTo>
                    <a:lnTo>
                      <a:pt x="1537" y="341"/>
                    </a:lnTo>
                    <a:lnTo>
                      <a:pt x="1545" y="337"/>
                    </a:lnTo>
                    <a:lnTo>
                      <a:pt x="1554" y="331"/>
                    </a:lnTo>
                    <a:lnTo>
                      <a:pt x="1562" y="322"/>
                    </a:lnTo>
                    <a:lnTo>
                      <a:pt x="1572" y="312"/>
                    </a:lnTo>
                    <a:lnTo>
                      <a:pt x="1585" y="298"/>
                    </a:lnTo>
                    <a:lnTo>
                      <a:pt x="1602" y="281"/>
                    </a:lnTo>
                    <a:lnTo>
                      <a:pt x="1602" y="281"/>
                    </a:lnTo>
                    <a:lnTo>
                      <a:pt x="1830" y="53"/>
                    </a:lnTo>
                    <a:close/>
                    <a:moveTo>
                      <a:pt x="1314" y="349"/>
                    </a:moveTo>
                    <a:lnTo>
                      <a:pt x="1591" y="74"/>
                    </a:lnTo>
                    <a:lnTo>
                      <a:pt x="1570" y="51"/>
                    </a:lnTo>
                    <a:lnTo>
                      <a:pt x="1568" y="50"/>
                    </a:lnTo>
                    <a:lnTo>
                      <a:pt x="1562" y="48"/>
                    </a:lnTo>
                    <a:lnTo>
                      <a:pt x="1552" y="45"/>
                    </a:lnTo>
                    <a:lnTo>
                      <a:pt x="1538" y="44"/>
                    </a:lnTo>
                    <a:lnTo>
                      <a:pt x="1530" y="45"/>
                    </a:lnTo>
                    <a:lnTo>
                      <a:pt x="1522" y="46"/>
                    </a:lnTo>
                    <a:lnTo>
                      <a:pt x="1513" y="49"/>
                    </a:lnTo>
                    <a:lnTo>
                      <a:pt x="1503" y="52"/>
                    </a:lnTo>
                    <a:lnTo>
                      <a:pt x="1493" y="58"/>
                    </a:lnTo>
                    <a:lnTo>
                      <a:pt x="1483" y="65"/>
                    </a:lnTo>
                    <a:lnTo>
                      <a:pt x="1473" y="72"/>
                    </a:lnTo>
                    <a:lnTo>
                      <a:pt x="1461" y="83"/>
                    </a:lnTo>
                    <a:lnTo>
                      <a:pt x="1437" y="106"/>
                    </a:lnTo>
                    <a:lnTo>
                      <a:pt x="1410" y="133"/>
                    </a:lnTo>
                    <a:lnTo>
                      <a:pt x="1380" y="162"/>
                    </a:lnTo>
                    <a:lnTo>
                      <a:pt x="1350" y="191"/>
                    </a:lnTo>
                    <a:lnTo>
                      <a:pt x="1319" y="220"/>
                    </a:lnTo>
                    <a:lnTo>
                      <a:pt x="1289" y="250"/>
                    </a:lnTo>
                    <a:lnTo>
                      <a:pt x="1259" y="276"/>
                    </a:lnTo>
                    <a:lnTo>
                      <a:pt x="1233" y="299"/>
                    </a:lnTo>
                    <a:lnTo>
                      <a:pt x="1214" y="316"/>
                    </a:lnTo>
                    <a:lnTo>
                      <a:pt x="1196" y="330"/>
                    </a:lnTo>
                    <a:lnTo>
                      <a:pt x="1181" y="341"/>
                    </a:lnTo>
                    <a:lnTo>
                      <a:pt x="1168" y="349"/>
                    </a:lnTo>
                    <a:lnTo>
                      <a:pt x="1314" y="349"/>
                    </a:lnTo>
                    <a:close/>
                  </a:path>
                </a:pathLst>
              </a:custGeom>
              <a:solidFill>
                <a:sysClr val="window" lastClr="FFFFFF"/>
              </a:solidFill>
              <a:ln>
                <a:noFill/>
              </a:ln>
              <a:effectLst>
                <a:outerShdw blurRad="63500" sx="102000" sy="102000" algn="ctr" rotWithShape="0">
                  <a:prstClr val="black">
                    <a:alpha val="40000"/>
                  </a:prstClr>
                </a:outerShdw>
              </a:effectLst>
              <a:extLst/>
            </p:spPr>
            <p:txBody>
              <a:bodyPr vert="horz" wrap="square" lIns="158144" tIns="79076" rIns="158144" bIns="79076" numCol="1" anchor="t" anchorCtr="0" compatLnSpc="1">
                <a:prstTxWarp prst="textNoShape">
                  <a:avLst/>
                </a:prstTxWarp>
              </a:bodyPr>
              <a:lstStyle/>
              <a:p>
                <a:pPr marL="0" marR="0" lvl="0" indent="0" algn="l" defTabSz="15815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pic>
            <p:nvPicPr>
              <p:cNvPr id="115" name="Picture 2" descr="D:\Dropbox\Desktop\PPT-old\ppt page 3\policies-and-automation-2.png"/>
              <p:cNvPicPr>
                <a:picLocks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446367" y="1883987"/>
                <a:ext cx="365760" cy="36576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87" name="Group 86"/>
            <p:cNvGrpSpPr>
              <a:grpSpLocks noChangeAspect="1"/>
            </p:cNvGrpSpPr>
            <p:nvPr/>
          </p:nvGrpSpPr>
          <p:grpSpPr>
            <a:xfrm>
              <a:off x="4694316" y="1065919"/>
              <a:ext cx="598184" cy="650428"/>
              <a:chOff x="9093330" y="3296511"/>
              <a:chExt cx="1622295" cy="1770789"/>
            </a:xfrm>
            <a:solidFill>
              <a:sysClr val="window" lastClr="FFFFFF"/>
            </a:solidFill>
            <a:effectLst>
              <a:outerShdw blurRad="63500" sx="102000" sy="102000" algn="ctr" rotWithShape="0">
                <a:prstClr val="black">
                  <a:alpha val="40000"/>
                </a:prstClr>
              </a:outerShdw>
            </a:effectLst>
          </p:grpSpPr>
          <p:sp>
            <p:nvSpPr>
              <p:cNvPr id="110" name="Freeform 28"/>
              <p:cNvSpPr>
                <a:spLocks/>
              </p:cNvSpPr>
              <p:nvPr/>
            </p:nvSpPr>
            <p:spPr bwMode="auto">
              <a:xfrm>
                <a:off x="9093330" y="3296511"/>
                <a:ext cx="819148" cy="781049"/>
              </a:xfrm>
              <a:custGeom>
                <a:avLst/>
                <a:gdLst>
                  <a:gd name="T0" fmla="*/ 22 w 86"/>
                  <a:gd name="T1" fmla="*/ 7 h 82"/>
                  <a:gd name="T2" fmla="*/ 22 w 86"/>
                  <a:gd name="T3" fmla="*/ 8 h 82"/>
                  <a:gd name="T4" fmla="*/ 29 w 86"/>
                  <a:gd name="T5" fmla="*/ 16 h 82"/>
                  <a:gd name="T6" fmla="*/ 29 w 86"/>
                  <a:gd name="T7" fmla="*/ 17 h 82"/>
                  <a:gd name="T8" fmla="*/ 2 w 86"/>
                  <a:gd name="T9" fmla="*/ 36 h 82"/>
                  <a:gd name="T10" fmla="*/ 14 w 86"/>
                  <a:gd name="T11" fmla="*/ 53 h 82"/>
                  <a:gd name="T12" fmla="*/ 12 w 86"/>
                  <a:gd name="T13" fmla="*/ 57 h 82"/>
                  <a:gd name="T14" fmla="*/ 2 w 86"/>
                  <a:gd name="T15" fmla="*/ 56 h 82"/>
                  <a:gd name="T16" fmla="*/ 0 w 86"/>
                  <a:gd name="T17" fmla="*/ 62 h 82"/>
                  <a:gd name="T18" fmla="*/ 0 w 86"/>
                  <a:gd name="T19" fmla="*/ 63 h 82"/>
                  <a:gd name="T20" fmla="*/ 8 w 86"/>
                  <a:gd name="T21" fmla="*/ 72 h 82"/>
                  <a:gd name="T22" fmla="*/ 18 w 86"/>
                  <a:gd name="T23" fmla="*/ 64 h 82"/>
                  <a:gd name="T24" fmla="*/ 29 w 86"/>
                  <a:gd name="T25" fmla="*/ 82 h 82"/>
                  <a:gd name="T26" fmla="*/ 49 w 86"/>
                  <a:gd name="T27" fmla="*/ 72 h 82"/>
                  <a:gd name="T28" fmla="*/ 49 w 86"/>
                  <a:gd name="T29" fmla="*/ 71 h 82"/>
                  <a:gd name="T30" fmla="*/ 39 w 86"/>
                  <a:gd name="T31" fmla="*/ 64 h 82"/>
                  <a:gd name="T32" fmla="*/ 39 w 86"/>
                  <a:gd name="T33" fmla="*/ 59 h 82"/>
                  <a:gd name="T34" fmla="*/ 54 w 86"/>
                  <a:gd name="T35" fmla="*/ 48 h 82"/>
                  <a:gd name="T36" fmla="*/ 60 w 86"/>
                  <a:gd name="T37" fmla="*/ 63 h 82"/>
                  <a:gd name="T38" fmla="*/ 63 w 86"/>
                  <a:gd name="T39" fmla="*/ 65 h 82"/>
                  <a:gd name="T40" fmla="*/ 82 w 86"/>
                  <a:gd name="T41" fmla="*/ 54 h 82"/>
                  <a:gd name="T42" fmla="*/ 74 w 86"/>
                  <a:gd name="T43" fmla="*/ 38 h 82"/>
                  <a:gd name="T44" fmla="*/ 82 w 86"/>
                  <a:gd name="T45" fmla="*/ 37 h 82"/>
                  <a:gd name="T46" fmla="*/ 86 w 86"/>
                  <a:gd name="T47" fmla="*/ 31 h 82"/>
                  <a:gd name="T48" fmla="*/ 86 w 86"/>
                  <a:gd name="T49" fmla="*/ 30 h 82"/>
                  <a:gd name="T50" fmla="*/ 79 w 86"/>
                  <a:gd name="T51" fmla="*/ 21 h 82"/>
                  <a:gd name="T52" fmla="*/ 77 w 86"/>
                  <a:gd name="T53" fmla="*/ 21 h 82"/>
                  <a:gd name="T54" fmla="*/ 70 w 86"/>
                  <a:gd name="T55" fmla="*/ 27 h 82"/>
                  <a:gd name="T56" fmla="*/ 66 w 86"/>
                  <a:gd name="T57" fmla="*/ 27 h 82"/>
                  <a:gd name="T58" fmla="*/ 56 w 86"/>
                  <a:gd name="T59" fmla="*/ 4 h 82"/>
                  <a:gd name="T60" fmla="*/ 42 w 86"/>
                  <a:gd name="T61" fmla="*/ 12 h 82"/>
                  <a:gd name="T62" fmla="*/ 38 w 86"/>
                  <a:gd name="T63" fmla="*/ 10 h 82"/>
                  <a:gd name="T64" fmla="*/ 38 w 86"/>
                  <a:gd name="T65" fmla="*/ 4 h 82"/>
                  <a:gd name="T66" fmla="*/ 33 w 86"/>
                  <a:gd name="T67" fmla="*/ 0 h 82"/>
                  <a:gd name="T68" fmla="*/ 31 w 86"/>
                  <a:gd name="T69" fmla="*/ 0 h 82"/>
                  <a:gd name="T70" fmla="*/ 22 w 86"/>
                  <a:gd name="T7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82">
                    <a:moveTo>
                      <a:pt x="22" y="7"/>
                    </a:moveTo>
                    <a:lnTo>
                      <a:pt x="22" y="8"/>
                    </a:lnTo>
                    <a:cubicBezTo>
                      <a:pt x="22" y="14"/>
                      <a:pt x="29" y="11"/>
                      <a:pt x="29" y="16"/>
                    </a:cubicBezTo>
                    <a:lnTo>
                      <a:pt x="29" y="17"/>
                    </a:lnTo>
                    <a:cubicBezTo>
                      <a:pt x="29" y="23"/>
                      <a:pt x="6" y="31"/>
                      <a:pt x="2" y="36"/>
                    </a:cubicBezTo>
                    <a:cubicBezTo>
                      <a:pt x="3" y="38"/>
                      <a:pt x="14" y="52"/>
                      <a:pt x="14" y="53"/>
                    </a:cubicBezTo>
                    <a:cubicBezTo>
                      <a:pt x="14" y="55"/>
                      <a:pt x="13" y="55"/>
                      <a:pt x="12" y="57"/>
                    </a:cubicBezTo>
                    <a:lnTo>
                      <a:pt x="2" y="56"/>
                    </a:lnTo>
                    <a:cubicBezTo>
                      <a:pt x="1" y="58"/>
                      <a:pt x="0" y="59"/>
                      <a:pt x="0" y="62"/>
                    </a:cubicBezTo>
                    <a:lnTo>
                      <a:pt x="0" y="63"/>
                    </a:lnTo>
                    <a:cubicBezTo>
                      <a:pt x="0" y="68"/>
                      <a:pt x="4" y="72"/>
                      <a:pt x="8" y="72"/>
                    </a:cubicBezTo>
                    <a:cubicBezTo>
                      <a:pt x="17" y="72"/>
                      <a:pt x="13" y="64"/>
                      <a:pt x="18" y="64"/>
                    </a:cubicBezTo>
                    <a:cubicBezTo>
                      <a:pt x="21" y="64"/>
                      <a:pt x="29" y="78"/>
                      <a:pt x="29" y="82"/>
                    </a:cubicBezTo>
                    <a:cubicBezTo>
                      <a:pt x="34" y="82"/>
                      <a:pt x="49" y="76"/>
                      <a:pt x="49" y="72"/>
                    </a:cubicBezTo>
                    <a:lnTo>
                      <a:pt x="49" y="71"/>
                    </a:lnTo>
                    <a:cubicBezTo>
                      <a:pt x="49" y="68"/>
                      <a:pt x="42" y="65"/>
                      <a:pt x="39" y="64"/>
                    </a:cubicBezTo>
                    <a:lnTo>
                      <a:pt x="39" y="59"/>
                    </a:lnTo>
                    <a:cubicBezTo>
                      <a:pt x="39" y="52"/>
                      <a:pt x="47" y="48"/>
                      <a:pt x="54" y="48"/>
                    </a:cubicBezTo>
                    <a:cubicBezTo>
                      <a:pt x="62" y="48"/>
                      <a:pt x="60" y="58"/>
                      <a:pt x="60" y="63"/>
                    </a:cubicBezTo>
                    <a:cubicBezTo>
                      <a:pt x="60" y="64"/>
                      <a:pt x="61" y="65"/>
                      <a:pt x="63" y="65"/>
                    </a:cubicBezTo>
                    <a:cubicBezTo>
                      <a:pt x="67" y="65"/>
                      <a:pt x="79" y="56"/>
                      <a:pt x="82" y="54"/>
                    </a:cubicBezTo>
                    <a:cubicBezTo>
                      <a:pt x="79" y="49"/>
                      <a:pt x="74" y="46"/>
                      <a:pt x="74" y="38"/>
                    </a:cubicBezTo>
                    <a:lnTo>
                      <a:pt x="82" y="37"/>
                    </a:lnTo>
                    <a:cubicBezTo>
                      <a:pt x="83" y="35"/>
                      <a:pt x="86" y="34"/>
                      <a:pt x="86" y="31"/>
                    </a:cubicBezTo>
                    <a:lnTo>
                      <a:pt x="86" y="30"/>
                    </a:lnTo>
                    <a:cubicBezTo>
                      <a:pt x="86" y="26"/>
                      <a:pt x="82" y="21"/>
                      <a:pt x="79" y="21"/>
                    </a:cubicBezTo>
                    <a:lnTo>
                      <a:pt x="77" y="21"/>
                    </a:lnTo>
                    <a:cubicBezTo>
                      <a:pt x="71" y="21"/>
                      <a:pt x="75" y="27"/>
                      <a:pt x="70" y="27"/>
                    </a:cubicBezTo>
                    <a:lnTo>
                      <a:pt x="66" y="27"/>
                    </a:lnTo>
                    <a:lnTo>
                      <a:pt x="56" y="4"/>
                    </a:lnTo>
                    <a:cubicBezTo>
                      <a:pt x="51" y="5"/>
                      <a:pt x="47" y="12"/>
                      <a:pt x="42" y="12"/>
                    </a:cubicBezTo>
                    <a:cubicBezTo>
                      <a:pt x="40" y="12"/>
                      <a:pt x="40" y="11"/>
                      <a:pt x="38" y="10"/>
                    </a:cubicBezTo>
                    <a:lnTo>
                      <a:pt x="38" y="4"/>
                    </a:lnTo>
                    <a:cubicBezTo>
                      <a:pt x="37" y="2"/>
                      <a:pt x="36" y="0"/>
                      <a:pt x="33" y="0"/>
                    </a:cubicBezTo>
                    <a:lnTo>
                      <a:pt x="31" y="0"/>
                    </a:lnTo>
                    <a:cubicBezTo>
                      <a:pt x="27" y="0"/>
                      <a:pt x="22" y="4"/>
                      <a:pt x="2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1" name="Freeform 29"/>
              <p:cNvSpPr>
                <a:spLocks/>
              </p:cNvSpPr>
              <p:nvPr/>
            </p:nvSpPr>
            <p:spPr bwMode="auto">
              <a:xfrm>
                <a:off x="9972675" y="3600450"/>
                <a:ext cx="638175" cy="914400"/>
              </a:xfrm>
              <a:custGeom>
                <a:avLst/>
                <a:gdLst>
                  <a:gd name="T0" fmla="*/ 64 w 67"/>
                  <a:gd name="T1" fmla="*/ 22 h 96"/>
                  <a:gd name="T2" fmla="*/ 42 w 67"/>
                  <a:gd name="T3" fmla="*/ 22 h 96"/>
                  <a:gd name="T4" fmla="*/ 39 w 67"/>
                  <a:gd name="T5" fmla="*/ 19 h 96"/>
                  <a:gd name="T6" fmla="*/ 44 w 67"/>
                  <a:gd name="T7" fmla="*/ 10 h 96"/>
                  <a:gd name="T8" fmla="*/ 44 w 67"/>
                  <a:gd name="T9" fmla="*/ 8 h 96"/>
                  <a:gd name="T10" fmla="*/ 35 w 67"/>
                  <a:gd name="T11" fmla="*/ 0 h 96"/>
                  <a:gd name="T12" fmla="*/ 32 w 67"/>
                  <a:gd name="T13" fmla="*/ 0 h 96"/>
                  <a:gd name="T14" fmla="*/ 22 w 67"/>
                  <a:gd name="T15" fmla="*/ 8 h 96"/>
                  <a:gd name="T16" fmla="*/ 22 w 67"/>
                  <a:gd name="T17" fmla="*/ 10 h 96"/>
                  <a:gd name="T18" fmla="*/ 26 w 67"/>
                  <a:gd name="T19" fmla="*/ 15 h 96"/>
                  <a:gd name="T20" fmla="*/ 26 w 67"/>
                  <a:gd name="T21" fmla="*/ 21 h 96"/>
                  <a:gd name="T22" fmla="*/ 21 w 67"/>
                  <a:gd name="T23" fmla="*/ 22 h 96"/>
                  <a:gd name="T24" fmla="*/ 4 w 67"/>
                  <a:gd name="T25" fmla="*/ 21 h 96"/>
                  <a:gd name="T26" fmla="*/ 1 w 67"/>
                  <a:gd name="T27" fmla="*/ 42 h 96"/>
                  <a:gd name="T28" fmla="*/ 5 w 67"/>
                  <a:gd name="T29" fmla="*/ 48 h 96"/>
                  <a:gd name="T30" fmla="*/ 6 w 67"/>
                  <a:gd name="T31" fmla="*/ 48 h 96"/>
                  <a:gd name="T32" fmla="*/ 11 w 67"/>
                  <a:gd name="T33" fmla="*/ 46 h 96"/>
                  <a:gd name="T34" fmla="*/ 12 w 67"/>
                  <a:gd name="T35" fmla="*/ 46 h 96"/>
                  <a:gd name="T36" fmla="*/ 17 w 67"/>
                  <a:gd name="T37" fmla="*/ 47 h 96"/>
                  <a:gd name="T38" fmla="*/ 18 w 67"/>
                  <a:gd name="T39" fmla="*/ 56 h 96"/>
                  <a:gd name="T40" fmla="*/ 9 w 67"/>
                  <a:gd name="T41" fmla="*/ 62 h 96"/>
                  <a:gd name="T42" fmla="*/ 6 w 67"/>
                  <a:gd name="T43" fmla="*/ 60 h 96"/>
                  <a:gd name="T44" fmla="*/ 0 w 67"/>
                  <a:gd name="T45" fmla="*/ 61 h 96"/>
                  <a:gd name="T46" fmla="*/ 0 w 67"/>
                  <a:gd name="T47" fmla="*/ 64 h 96"/>
                  <a:gd name="T48" fmla="*/ 1 w 67"/>
                  <a:gd name="T49" fmla="*/ 77 h 96"/>
                  <a:gd name="T50" fmla="*/ 20 w 67"/>
                  <a:gd name="T51" fmla="*/ 77 h 96"/>
                  <a:gd name="T52" fmla="*/ 23 w 67"/>
                  <a:gd name="T53" fmla="*/ 80 h 96"/>
                  <a:gd name="T54" fmla="*/ 19 w 67"/>
                  <a:gd name="T55" fmla="*/ 87 h 96"/>
                  <a:gd name="T56" fmla="*/ 28 w 67"/>
                  <a:gd name="T57" fmla="*/ 96 h 96"/>
                  <a:gd name="T58" fmla="*/ 34 w 67"/>
                  <a:gd name="T59" fmla="*/ 96 h 96"/>
                  <a:gd name="T60" fmla="*/ 40 w 67"/>
                  <a:gd name="T61" fmla="*/ 88 h 96"/>
                  <a:gd name="T62" fmla="*/ 36 w 67"/>
                  <a:gd name="T63" fmla="*/ 79 h 96"/>
                  <a:gd name="T64" fmla="*/ 36 w 67"/>
                  <a:gd name="T65" fmla="*/ 76 h 96"/>
                  <a:gd name="T66" fmla="*/ 41 w 67"/>
                  <a:gd name="T67" fmla="*/ 76 h 96"/>
                  <a:gd name="T68" fmla="*/ 62 w 67"/>
                  <a:gd name="T69" fmla="*/ 77 h 96"/>
                  <a:gd name="T70" fmla="*/ 61 w 67"/>
                  <a:gd name="T71" fmla="*/ 54 h 96"/>
                  <a:gd name="T72" fmla="*/ 60 w 67"/>
                  <a:gd name="T73" fmla="*/ 54 h 96"/>
                  <a:gd name="T74" fmla="*/ 53 w 67"/>
                  <a:gd name="T75" fmla="*/ 58 h 96"/>
                  <a:gd name="T76" fmla="*/ 49 w 67"/>
                  <a:gd name="T77" fmla="*/ 58 h 96"/>
                  <a:gd name="T78" fmla="*/ 46 w 67"/>
                  <a:gd name="T79" fmla="*/ 55 h 96"/>
                  <a:gd name="T80" fmla="*/ 46 w 67"/>
                  <a:gd name="T81" fmla="*/ 47 h 96"/>
                  <a:gd name="T82" fmla="*/ 54 w 67"/>
                  <a:gd name="T83" fmla="*/ 41 h 96"/>
                  <a:gd name="T84" fmla="*/ 55 w 67"/>
                  <a:gd name="T85" fmla="*/ 41 h 96"/>
                  <a:gd name="T86" fmla="*/ 63 w 67"/>
                  <a:gd name="T87" fmla="*/ 44 h 96"/>
                  <a:gd name="T88" fmla="*/ 64 w 67"/>
                  <a:gd name="T89" fmla="*/ 37 h 96"/>
                  <a:gd name="T90" fmla="*/ 64 w 67"/>
                  <a:gd name="T91"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6">
                    <a:moveTo>
                      <a:pt x="64" y="22"/>
                    </a:moveTo>
                    <a:lnTo>
                      <a:pt x="42" y="22"/>
                    </a:lnTo>
                    <a:cubicBezTo>
                      <a:pt x="40" y="22"/>
                      <a:pt x="39" y="21"/>
                      <a:pt x="39" y="19"/>
                    </a:cubicBezTo>
                    <a:cubicBezTo>
                      <a:pt x="39" y="15"/>
                      <a:pt x="44" y="18"/>
                      <a:pt x="44" y="10"/>
                    </a:cubicBezTo>
                    <a:lnTo>
                      <a:pt x="44" y="8"/>
                    </a:lnTo>
                    <a:cubicBezTo>
                      <a:pt x="44" y="3"/>
                      <a:pt x="40" y="0"/>
                      <a:pt x="35" y="0"/>
                    </a:cubicBezTo>
                    <a:lnTo>
                      <a:pt x="32" y="0"/>
                    </a:lnTo>
                    <a:cubicBezTo>
                      <a:pt x="26" y="0"/>
                      <a:pt x="22" y="2"/>
                      <a:pt x="22" y="8"/>
                    </a:cubicBezTo>
                    <a:lnTo>
                      <a:pt x="22" y="10"/>
                    </a:lnTo>
                    <a:cubicBezTo>
                      <a:pt x="22" y="13"/>
                      <a:pt x="24" y="14"/>
                      <a:pt x="26" y="15"/>
                    </a:cubicBezTo>
                    <a:lnTo>
                      <a:pt x="26" y="21"/>
                    </a:lnTo>
                    <a:cubicBezTo>
                      <a:pt x="23" y="22"/>
                      <a:pt x="24" y="22"/>
                      <a:pt x="21" y="22"/>
                    </a:cubicBezTo>
                    <a:lnTo>
                      <a:pt x="4" y="21"/>
                    </a:lnTo>
                    <a:lnTo>
                      <a:pt x="1" y="42"/>
                    </a:lnTo>
                    <a:cubicBezTo>
                      <a:pt x="1" y="44"/>
                      <a:pt x="2" y="48"/>
                      <a:pt x="5" y="48"/>
                    </a:cubicBezTo>
                    <a:lnTo>
                      <a:pt x="6" y="48"/>
                    </a:lnTo>
                    <a:cubicBezTo>
                      <a:pt x="9" y="48"/>
                      <a:pt x="8" y="46"/>
                      <a:pt x="11" y="46"/>
                    </a:cubicBezTo>
                    <a:lnTo>
                      <a:pt x="12" y="46"/>
                    </a:lnTo>
                    <a:cubicBezTo>
                      <a:pt x="15" y="46"/>
                      <a:pt x="15" y="46"/>
                      <a:pt x="17" y="47"/>
                    </a:cubicBezTo>
                    <a:lnTo>
                      <a:pt x="18" y="56"/>
                    </a:lnTo>
                    <a:cubicBezTo>
                      <a:pt x="19" y="60"/>
                      <a:pt x="13" y="62"/>
                      <a:pt x="9" y="62"/>
                    </a:cubicBezTo>
                    <a:cubicBezTo>
                      <a:pt x="7" y="62"/>
                      <a:pt x="8" y="60"/>
                      <a:pt x="6" y="60"/>
                    </a:cubicBezTo>
                    <a:cubicBezTo>
                      <a:pt x="2" y="60"/>
                      <a:pt x="4" y="61"/>
                      <a:pt x="0" y="61"/>
                    </a:cubicBezTo>
                    <a:lnTo>
                      <a:pt x="0" y="64"/>
                    </a:lnTo>
                    <a:lnTo>
                      <a:pt x="1" y="77"/>
                    </a:lnTo>
                    <a:lnTo>
                      <a:pt x="20" y="77"/>
                    </a:lnTo>
                    <a:cubicBezTo>
                      <a:pt x="22" y="77"/>
                      <a:pt x="23" y="78"/>
                      <a:pt x="23" y="80"/>
                    </a:cubicBezTo>
                    <a:cubicBezTo>
                      <a:pt x="23" y="83"/>
                      <a:pt x="19" y="80"/>
                      <a:pt x="19" y="87"/>
                    </a:cubicBezTo>
                    <a:cubicBezTo>
                      <a:pt x="19" y="92"/>
                      <a:pt x="23" y="96"/>
                      <a:pt x="28" y="96"/>
                    </a:cubicBezTo>
                    <a:lnTo>
                      <a:pt x="34" y="96"/>
                    </a:lnTo>
                    <a:cubicBezTo>
                      <a:pt x="37" y="96"/>
                      <a:pt x="40" y="92"/>
                      <a:pt x="40" y="88"/>
                    </a:cubicBezTo>
                    <a:cubicBezTo>
                      <a:pt x="40" y="82"/>
                      <a:pt x="36" y="83"/>
                      <a:pt x="36" y="79"/>
                    </a:cubicBezTo>
                    <a:lnTo>
                      <a:pt x="36" y="76"/>
                    </a:lnTo>
                    <a:lnTo>
                      <a:pt x="41" y="76"/>
                    </a:lnTo>
                    <a:lnTo>
                      <a:pt x="62" y="77"/>
                    </a:lnTo>
                    <a:cubicBezTo>
                      <a:pt x="62" y="73"/>
                      <a:pt x="67" y="54"/>
                      <a:pt x="61" y="54"/>
                    </a:cubicBezTo>
                    <a:lnTo>
                      <a:pt x="60" y="54"/>
                    </a:lnTo>
                    <a:cubicBezTo>
                      <a:pt x="56" y="54"/>
                      <a:pt x="57" y="58"/>
                      <a:pt x="53" y="58"/>
                    </a:cubicBezTo>
                    <a:lnTo>
                      <a:pt x="49" y="58"/>
                    </a:lnTo>
                    <a:lnTo>
                      <a:pt x="46" y="55"/>
                    </a:lnTo>
                    <a:lnTo>
                      <a:pt x="46" y="47"/>
                    </a:lnTo>
                    <a:cubicBezTo>
                      <a:pt x="46" y="44"/>
                      <a:pt x="50" y="41"/>
                      <a:pt x="54" y="41"/>
                    </a:cubicBezTo>
                    <a:lnTo>
                      <a:pt x="55" y="41"/>
                    </a:lnTo>
                    <a:cubicBezTo>
                      <a:pt x="59" y="41"/>
                      <a:pt x="55" y="44"/>
                      <a:pt x="63" y="44"/>
                    </a:cubicBezTo>
                    <a:cubicBezTo>
                      <a:pt x="63" y="41"/>
                      <a:pt x="64" y="40"/>
                      <a:pt x="64" y="37"/>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2" name="Freeform 30"/>
              <p:cNvSpPr>
                <a:spLocks/>
              </p:cNvSpPr>
              <p:nvPr/>
            </p:nvSpPr>
            <p:spPr bwMode="auto">
              <a:xfrm>
                <a:off x="9401175" y="4152900"/>
                <a:ext cx="561975" cy="914400"/>
              </a:xfrm>
              <a:custGeom>
                <a:avLst/>
                <a:gdLst>
                  <a:gd name="T0" fmla="*/ 59 w 59"/>
                  <a:gd name="T1" fmla="*/ 33 h 96"/>
                  <a:gd name="T2" fmla="*/ 58 w 59"/>
                  <a:gd name="T3" fmla="*/ 19 h 96"/>
                  <a:gd name="T4" fmla="*/ 41 w 59"/>
                  <a:gd name="T5" fmla="*/ 19 h 96"/>
                  <a:gd name="T6" fmla="*/ 45 w 59"/>
                  <a:gd name="T7" fmla="*/ 10 h 96"/>
                  <a:gd name="T8" fmla="*/ 45 w 59"/>
                  <a:gd name="T9" fmla="*/ 9 h 96"/>
                  <a:gd name="T10" fmla="*/ 32 w 59"/>
                  <a:gd name="T11" fmla="*/ 0 h 96"/>
                  <a:gd name="T12" fmla="*/ 31 w 59"/>
                  <a:gd name="T13" fmla="*/ 0 h 96"/>
                  <a:gd name="T14" fmla="*/ 24 w 59"/>
                  <a:gd name="T15" fmla="*/ 7 h 96"/>
                  <a:gd name="T16" fmla="*/ 24 w 59"/>
                  <a:gd name="T17" fmla="*/ 10 h 96"/>
                  <a:gd name="T18" fmla="*/ 28 w 59"/>
                  <a:gd name="T19" fmla="*/ 17 h 96"/>
                  <a:gd name="T20" fmla="*/ 25 w 59"/>
                  <a:gd name="T21" fmla="*/ 20 h 96"/>
                  <a:gd name="T22" fmla="*/ 2 w 59"/>
                  <a:gd name="T23" fmla="*/ 20 h 96"/>
                  <a:gd name="T24" fmla="*/ 0 w 59"/>
                  <a:gd name="T25" fmla="*/ 30 h 96"/>
                  <a:gd name="T26" fmla="*/ 0 w 59"/>
                  <a:gd name="T27" fmla="*/ 42 h 96"/>
                  <a:gd name="T28" fmla="*/ 4 w 59"/>
                  <a:gd name="T29" fmla="*/ 42 h 96"/>
                  <a:gd name="T30" fmla="*/ 8 w 59"/>
                  <a:gd name="T31" fmla="*/ 38 h 96"/>
                  <a:gd name="T32" fmla="*/ 11 w 59"/>
                  <a:gd name="T33" fmla="*/ 38 h 96"/>
                  <a:gd name="T34" fmla="*/ 18 w 59"/>
                  <a:gd name="T35" fmla="*/ 44 h 96"/>
                  <a:gd name="T36" fmla="*/ 18 w 59"/>
                  <a:gd name="T37" fmla="*/ 49 h 96"/>
                  <a:gd name="T38" fmla="*/ 12 w 59"/>
                  <a:gd name="T39" fmla="*/ 55 h 96"/>
                  <a:gd name="T40" fmla="*/ 9 w 59"/>
                  <a:gd name="T41" fmla="*/ 55 h 96"/>
                  <a:gd name="T42" fmla="*/ 4 w 59"/>
                  <a:gd name="T43" fmla="*/ 53 h 96"/>
                  <a:gd name="T44" fmla="*/ 0 w 59"/>
                  <a:gd name="T45" fmla="*/ 53 h 96"/>
                  <a:gd name="T46" fmla="*/ 0 w 59"/>
                  <a:gd name="T47" fmla="*/ 74 h 96"/>
                  <a:gd name="T48" fmla="*/ 24 w 59"/>
                  <a:gd name="T49" fmla="*/ 74 h 96"/>
                  <a:gd name="T50" fmla="*/ 24 w 59"/>
                  <a:gd name="T51" fmla="*/ 80 h 96"/>
                  <a:gd name="T52" fmla="*/ 19 w 59"/>
                  <a:gd name="T53" fmla="*/ 85 h 96"/>
                  <a:gd name="T54" fmla="*/ 31 w 59"/>
                  <a:gd name="T55" fmla="*/ 96 h 96"/>
                  <a:gd name="T56" fmla="*/ 34 w 59"/>
                  <a:gd name="T57" fmla="*/ 96 h 96"/>
                  <a:gd name="T58" fmla="*/ 42 w 59"/>
                  <a:gd name="T59" fmla="*/ 89 h 96"/>
                  <a:gd name="T60" fmla="*/ 42 w 59"/>
                  <a:gd name="T61" fmla="*/ 88 h 96"/>
                  <a:gd name="T62" fmla="*/ 38 w 59"/>
                  <a:gd name="T63" fmla="*/ 79 h 96"/>
                  <a:gd name="T64" fmla="*/ 38 w 59"/>
                  <a:gd name="T65" fmla="*/ 74 h 96"/>
                  <a:gd name="T66" fmla="*/ 56 w 59"/>
                  <a:gd name="T67" fmla="*/ 75 h 96"/>
                  <a:gd name="T68" fmla="*/ 58 w 59"/>
                  <a:gd name="T69" fmla="*/ 52 h 96"/>
                  <a:gd name="T70" fmla="*/ 51 w 59"/>
                  <a:gd name="T71" fmla="*/ 54 h 96"/>
                  <a:gd name="T72" fmla="*/ 41 w 59"/>
                  <a:gd name="T73" fmla="*/ 44 h 96"/>
                  <a:gd name="T74" fmla="*/ 41 w 59"/>
                  <a:gd name="T75" fmla="*/ 43 h 96"/>
                  <a:gd name="T76" fmla="*/ 49 w 59"/>
                  <a:gd name="T77" fmla="*/ 31 h 96"/>
                  <a:gd name="T78" fmla="*/ 55 w 59"/>
                  <a:gd name="T79" fmla="*/ 31 h 96"/>
                  <a:gd name="T80" fmla="*/ 59 w 59"/>
                  <a:gd name="T8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96">
                    <a:moveTo>
                      <a:pt x="59" y="33"/>
                    </a:moveTo>
                    <a:lnTo>
                      <a:pt x="58" y="19"/>
                    </a:lnTo>
                    <a:lnTo>
                      <a:pt x="41" y="19"/>
                    </a:lnTo>
                    <a:cubicBezTo>
                      <a:pt x="41" y="11"/>
                      <a:pt x="45" y="15"/>
                      <a:pt x="45" y="10"/>
                    </a:cubicBezTo>
                    <a:lnTo>
                      <a:pt x="45" y="9"/>
                    </a:lnTo>
                    <a:cubicBezTo>
                      <a:pt x="45" y="2"/>
                      <a:pt x="39" y="0"/>
                      <a:pt x="32" y="0"/>
                    </a:cubicBezTo>
                    <a:lnTo>
                      <a:pt x="31" y="0"/>
                    </a:lnTo>
                    <a:cubicBezTo>
                      <a:pt x="26" y="0"/>
                      <a:pt x="24" y="2"/>
                      <a:pt x="24" y="7"/>
                    </a:cubicBezTo>
                    <a:lnTo>
                      <a:pt x="24" y="10"/>
                    </a:lnTo>
                    <a:cubicBezTo>
                      <a:pt x="24" y="14"/>
                      <a:pt x="28" y="13"/>
                      <a:pt x="28" y="17"/>
                    </a:cubicBezTo>
                    <a:cubicBezTo>
                      <a:pt x="28" y="19"/>
                      <a:pt x="27" y="20"/>
                      <a:pt x="25" y="20"/>
                    </a:cubicBezTo>
                    <a:lnTo>
                      <a:pt x="2" y="20"/>
                    </a:lnTo>
                    <a:cubicBezTo>
                      <a:pt x="2" y="25"/>
                      <a:pt x="0" y="25"/>
                      <a:pt x="0" y="30"/>
                    </a:cubicBezTo>
                    <a:lnTo>
                      <a:pt x="0" y="42"/>
                    </a:lnTo>
                    <a:lnTo>
                      <a:pt x="4" y="42"/>
                    </a:lnTo>
                    <a:cubicBezTo>
                      <a:pt x="7" y="42"/>
                      <a:pt x="7" y="40"/>
                      <a:pt x="8" y="38"/>
                    </a:cubicBezTo>
                    <a:lnTo>
                      <a:pt x="11" y="38"/>
                    </a:lnTo>
                    <a:cubicBezTo>
                      <a:pt x="15" y="38"/>
                      <a:pt x="18" y="41"/>
                      <a:pt x="18" y="44"/>
                    </a:cubicBezTo>
                    <a:lnTo>
                      <a:pt x="18" y="49"/>
                    </a:lnTo>
                    <a:cubicBezTo>
                      <a:pt x="18" y="51"/>
                      <a:pt x="14" y="55"/>
                      <a:pt x="12" y="55"/>
                    </a:cubicBezTo>
                    <a:lnTo>
                      <a:pt x="9" y="55"/>
                    </a:lnTo>
                    <a:cubicBezTo>
                      <a:pt x="6" y="55"/>
                      <a:pt x="8" y="53"/>
                      <a:pt x="4" y="53"/>
                    </a:cubicBezTo>
                    <a:lnTo>
                      <a:pt x="0" y="53"/>
                    </a:lnTo>
                    <a:lnTo>
                      <a:pt x="0" y="74"/>
                    </a:lnTo>
                    <a:lnTo>
                      <a:pt x="24" y="74"/>
                    </a:lnTo>
                    <a:lnTo>
                      <a:pt x="24" y="80"/>
                    </a:lnTo>
                    <a:cubicBezTo>
                      <a:pt x="22" y="81"/>
                      <a:pt x="19" y="82"/>
                      <a:pt x="19" y="85"/>
                    </a:cubicBezTo>
                    <a:cubicBezTo>
                      <a:pt x="19" y="93"/>
                      <a:pt x="24" y="96"/>
                      <a:pt x="31" y="96"/>
                    </a:cubicBezTo>
                    <a:lnTo>
                      <a:pt x="34" y="96"/>
                    </a:lnTo>
                    <a:cubicBezTo>
                      <a:pt x="38" y="96"/>
                      <a:pt x="42" y="92"/>
                      <a:pt x="42" y="89"/>
                    </a:cubicBezTo>
                    <a:lnTo>
                      <a:pt x="42" y="88"/>
                    </a:lnTo>
                    <a:cubicBezTo>
                      <a:pt x="42" y="82"/>
                      <a:pt x="38" y="83"/>
                      <a:pt x="38" y="79"/>
                    </a:cubicBezTo>
                    <a:lnTo>
                      <a:pt x="38" y="74"/>
                    </a:lnTo>
                    <a:lnTo>
                      <a:pt x="56" y="75"/>
                    </a:lnTo>
                    <a:lnTo>
                      <a:pt x="58" y="52"/>
                    </a:lnTo>
                    <a:cubicBezTo>
                      <a:pt x="56" y="53"/>
                      <a:pt x="54" y="54"/>
                      <a:pt x="51" y="54"/>
                    </a:cubicBezTo>
                    <a:cubicBezTo>
                      <a:pt x="45" y="54"/>
                      <a:pt x="41" y="49"/>
                      <a:pt x="41" y="44"/>
                    </a:cubicBezTo>
                    <a:lnTo>
                      <a:pt x="41" y="43"/>
                    </a:lnTo>
                    <a:cubicBezTo>
                      <a:pt x="41" y="38"/>
                      <a:pt x="45" y="31"/>
                      <a:pt x="49" y="31"/>
                    </a:cubicBezTo>
                    <a:lnTo>
                      <a:pt x="55" y="31"/>
                    </a:lnTo>
                    <a:cubicBezTo>
                      <a:pt x="57" y="31"/>
                      <a:pt x="57" y="32"/>
                      <a:pt x="59"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3" name="Freeform 31"/>
              <p:cNvSpPr>
                <a:spLocks/>
              </p:cNvSpPr>
              <p:nvPr/>
            </p:nvSpPr>
            <p:spPr bwMode="auto">
              <a:xfrm>
                <a:off x="9829800" y="4362450"/>
                <a:ext cx="885825" cy="666750"/>
              </a:xfrm>
              <a:custGeom>
                <a:avLst/>
                <a:gdLst>
                  <a:gd name="T0" fmla="*/ 56 w 93"/>
                  <a:gd name="T1" fmla="*/ 0 h 70"/>
                  <a:gd name="T2" fmla="*/ 59 w 93"/>
                  <a:gd name="T3" fmla="*/ 11 h 70"/>
                  <a:gd name="T4" fmla="*/ 49 w 93"/>
                  <a:gd name="T5" fmla="*/ 20 h 70"/>
                  <a:gd name="T6" fmla="*/ 44 w 93"/>
                  <a:gd name="T7" fmla="*/ 20 h 70"/>
                  <a:gd name="T8" fmla="*/ 30 w 93"/>
                  <a:gd name="T9" fmla="*/ 6 h 70"/>
                  <a:gd name="T10" fmla="*/ 30 w 93"/>
                  <a:gd name="T11" fmla="*/ 5 h 70"/>
                  <a:gd name="T12" fmla="*/ 32 w 93"/>
                  <a:gd name="T13" fmla="*/ 0 h 70"/>
                  <a:gd name="T14" fmla="*/ 18 w 93"/>
                  <a:gd name="T15" fmla="*/ 1 h 70"/>
                  <a:gd name="T16" fmla="*/ 18 w 93"/>
                  <a:gd name="T17" fmla="*/ 11 h 70"/>
                  <a:gd name="T18" fmla="*/ 15 w 93"/>
                  <a:gd name="T19" fmla="*/ 14 h 70"/>
                  <a:gd name="T20" fmla="*/ 14 w 93"/>
                  <a:gd name="T21" fmla="*/ 14 h 70"/>
                  <a:gd name="T22" fmla="*/ 7 w 93"/>
                  <a:gd name="T23" fmla="*/ 12 h 70"/>
                  <a:gd name="T24" fmla="*/ 0 w 93"/>
                  <a:gd name="T25" fmla="*/ 20 h 70"/>
                  <a:gd name="T26" fmla="*/ 0 w 93"/>
                  <a:gd name="T27" fmla="*/ 21 h 70"/>
                  <a:gd name="T28" fmla="*/ 5 w 93"/>
                  <a:gd name="T29" fmla="*/ 28 h 70"/>
                  <a:gd name="T30" fmla="*/ 6 w 93"/>
                  <a:gd name="T31" fmla="*/ 28 h 70"/>
                  <a:gd name="T32" fmla="*/ 14 w 93"/>
                  <a:gd name="T33" fmla="*/ 26 h 70"/>
                  <a:gd name="T34" fmla="*/ 17 w 93"/>
                  <a:gd name="T35" fmla="*/ 30 h 70"/>
                  <a:gd name="T36" fmla="*/ 17 w 93"/>
                  <a:gd name="T37" fmla="*/ 38 h 70"/>
                  <a:gd name="T38" fmla="*/ 15 w 93"/>
                  <a:gd name="T39" fmla="*/ 53 h 70"/>
                  <a:gd name="T40" fmla="*/ 24 w 93"/>
                  <a:gd name="T41" fmla="*/ 52 h 70"/>
                  <a:gd name="T42" fmla="*/ 28 w 93"/>
                  <a:gd name="T43" fmla="*/ 52 h 70"/>
                  <a:gd name="T44" fmla="*/ 32 w 93"/>
                  <a:gd name="T45" fmla="*/ 56 h 70"/>
                  <a:gd name="T46" fmla="*/ 30 w 93"/>
                  <a:gd name="T47" fmla="*/ 63 h 70"/>
                  <a:gd name="T48" fmla="*/ 38 w 93"/>
                  <a:gd name="T49" fmla="*/ 70 h 70"/>
                  <a:gd name="T50" fmla="*/ 46 w 93"/>
                  <a:gd name="T51" fmla="*/ 64 h 70"/>
                  <a:gd name="T52" fmla="*/ 43 w 93"/>
                  <a:gd name="T53" fmla="*/ 57 h 70"/>
                  <a:gd name="T54" fmla="*/ 48 w 93"/>
                  <a:gd name="T55" fmla="*/ 53 h 70"/>
                  <a:gd name="T56" fmla="*/ 77 w 93"/>
                  <a:gd name="T57" fmla="*/ 53 h 70"/>
                  <a:gd name="T58" fmla="*/ 75 w 93"/>
                  <a:gd name="T59" fmla="*/ 32 h 70"/>
                  <a:gd name="T60" fmla="*/ 78 w 93"/>
                  <a:gd name="T61" fmla="*/ 30 h 70"/>
                  <a:gd name="T62" fmla="*/ 79 w 93"/>
                  <a:gd name="T63" fmla="*/ 30 h 70"/>
                  <a:gd name="T64" fmla="*/ 86 w 93"/>
                  <a:gd name="T65" fmla="*/ 34 h 70"/>
                  <a:gd name="T66" fmla="*/ 93 w 93"/>
                  <a:gd name="T67" fmla="*/ 29 h 70"/>
                  <a:gd name="T68" fmla="*/ 93 w 93"/>
                  <a:gd name="T69" fmla="*/ 25 h 70"/>
                  <a:gd name="T70" fmla="*/ 84 w 93"/>
                  <a:gd name="T71" fmla="*/ 17 h 70"/>
                  <a:gd name="T72" fmla="*/ 79 w 93"/>
                  <a:gd name="T73" fmla="*/ 20 h 70"/>
                  <a:gd name="T74" fmla="*/ 76 w 93"/>
                  <a:gd name="T75" fmla="*/ 20 h 70"/>
                  <a:gd name="T76" fmla="*/ 76 w 93"/>
                  <a:gd name="T77" fmla="*/ 0 h 70"/>
                  <a:gd name="T78" fmla="*/ 56 w 93"/>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70">
                    <a:moveTo>
                      <a:pt x="56" y="0"/>
                    </a:moveTo>
                    <a:cubicBezTo>
                      <a:pt x="58" y="3"/>
                      <a:pt x="59" y="6"/>
                      <a:pt x="59" y="11"/>
                    </a:cubicBezTo>
                    <a:cubicBezTo>
                      <a:pt x="59" y="15"/>
                      <a:pt x="52" y="20"/>
                      <a:pt x="49" y="20"/>
                    </a:cubicBezTo>
                    <a:lnTo>
                      <a:pt x="44" y="20"/>
                    </a:lnTo>
                    <a:cubicBezTo>
                      <a:pt x="36" y="20"/>
                      <a:pt x="30" y="15"/>
                      <a:pt x="30" y="6"/>
                    </a:cubicBezTo>
                    <a:lnTo>
                      <a:pt x="30" y="5"/>
                    </a:lnTo>
                    <a:cubicBezTo>
                      <a:pt x="30" y="2"/>
                      <a:pt x="31" y="4"/>
                      <a:pt x="32" y="0"/>
                    </a:cubicBezTo>
                    <a:lnTo>
                      <a:pt x="18" y="1"/>
                    </a:lnTo>
                    <a:lnTo>
                      <a:pt x="18" y="11"/>
                    </a:lnTo>
                    <a:cubicBezTo>
                      <a:pt x="18" y="13"/>
                      <a:pt x="17" y="14"/>
                      <a:pt x="15" y="14"/>
                    </a:cubicBezTo>
                    <a:lnTo>
                      <a:pt x="14" y="14"/>
                    </a:lnTo>
                    <a:cubicBezTo>
                      <a:pt x="10" y="14"/>
                      <a:pt x="10" y="12"/>
                      <a:pt x="7" y="12"/>
                    </a:cubicBezTo>
                    <a:cubicBezTo>
                      <a:pt x="3" y="12"/>
                      <a:pt x="0" y="16"/>
                      <a:pt x="0" y="20"/>
                    </a:cubicBezTo>
                    <a:lnTo>
                      <a:pt x="0" y="21"/>
                    </a:lnTo>
                    <a:cubicBezTo>
                      <a:pt x="0" y="24"/>
                      <a:pt x="2" y="28"/>
                      <a:pt x="5" y="28"/>
                    </a:cubicBezTo>
                    <a:lnTo>
                      <a:pt x="6" y="28"/>
                    </a:lnTo>
                    <a:cubicBezTo>
                      <a:pt x="10" y="28"/>
                      <a:pt x="10" y="26"/>
                      <a:pt x="14" y="26"/>
                    </a:cubicBezTo>
                    <a:cubicBezTo>
                      <a:pt x="15" y="26"/>
                      <a:pt x="17" y="28"/>
                      <a:pt x="17" y="30"/>
                    </a:cubicBezTo>
                    <a:lnTo>
                      <a:pt x="17" y="38"/>
                    </a:lnTo>
                    <a:cubicBezTo>
                      <a:pt x="17" y="45"/>
                      <a:pt x="15" y="46"/>
                      <a:pt x="15" y="53"/>
                    </a:cubicBezTo>
                    <a:lnTo>
                      <a:pt x="24" y="52"/>
                    </a:lnTo>
                    <a:lnTo>
                      <a:pt x="28" y="52"/>
                    </a:lnTo>
                    <a:cubicBezTo>
                      <a:pt x="30" y="52"/>
                      <a:pt x="32" y="54"/>
                      <a:pt x="32" y="56"/>
                    </a:cubicBezTo>
                    <a:cubicBezTo>
                      <a:pt x="32" y="59"/>
                      <a:pt x="30" y="59"/>
                      <a:pt x="30" y="63"/>
                    </a:cubicBezTo>
                    <a:cubicBezTo>
                      <a:pt x="30" y="68"/>
                      <a:pt x="33" y="70"/>
                      <a:pt x="38" y="70"/>
                    </a:cubicBezTo>
                    <a:cubicBezTo>
                      <a:pt x="42" y="70"/>
                      <a:pt x="46" y="68"/>
                      <a:pt x="46" y="64"/>
                    </a:cubicBezTo>
                    <a:cubicBezTo>
                      <a:pt x="46" y="60"/>
                      <a:pt x="43" y="60"/>
                      <a:pt x="43" y="57"/>
                    </a:cubicBezTo>
                    <a:cubicBezTo>
                      <a:pt x="43" y="56"/>
                      <a:pt x="46" y="53"/>
                      <a:pt x="48" y="53"/>
                    </a:cubicBezTo>
                    <a:lnTo>
                      <a:pt x="77" y="53"/>
                    </a:lnTo>
                    <a:lnTo>
                      <a:pt x="75" y="32"/>
                    </a:lnTo>
                    <a:cubicBezTo>
                      <a:pt x="75" y="31"/>
                      <a:pt x="76" y="30"/>
                      <a:pt x="78" y="30"/>
                    </a:cubicBezTo>
                    <a:lnTo>
                      <a:pt x="79" y="30"/>
                    </a:lnTo>
                    <a:cubicBezTo>
                      <a:pt x="83" y="30"/>
                      <a:pt x="82" y="34"/>
                      <a:pt x="86" y="34"/>
                    </a:cubicBezTo>
                    <a:cubicBezTo>
                      <a:pt x="89" y="34"/>
                      <a:pt x="93" y="32"/>
                      <a:pt x="93" y="29"/>
                    </a:cubicBezTo>
                    <a:lnTo>
                      <a:pt x="93" y="25"/>
                    </a:lnTo>
                    <a:cubicBezTo>
                      <a:pt x="93" y="20"/>
                      <a:pt x="89" y="17"/>
                      <a:pt x="84" y="17"/>
                    </a:cubicBezTo>
                    <a:cubicBezTo>
                      <a:pt x="82" y="17"/>
                      <a:pt x="82" y="20"/>
                      <a:pt x="79" y="20"/>
                    </a:cubicBezTo>
                    <a:lnTo>
                      <a:pt x="76" y="20"/>
                    </a:lnTo>
                    <a:lnTo>
                      <a:pt x="7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88" name="Rectangle 87"/>
            <p:cNvSpPr/>
            <p:nvPr/>
          </p:nvSpPr>
          <p:spPr>
            <a:xfrm>
              <a:off x="4599184" y="3176608"/>
              <a:ext cx="2489821" cy="523220"/>
            </a:xfrm>
            <a:prstGeom prst="rect">
              <a:avLst/>
            </a:prstGeom>
          </p:spPr>
          <p:txBody>
            <a:bodyPr wrap="square">
              <a:spAutoFit/>
            </a:bodyPr>
            <a:lstStyle/>
            <a:p>
              <a:pPr marL="0" marR="0" lvl="0" indent="0" algn="ctr" defTabSz="103952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pplication</a:t>
              </a:r>
              <a:b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Landscape</a:t>
              </a:r>
            </a:p>
          </p:txBody>
        </p:sp>
        <p:grpSp>
          <p:nvGrpSpPr>
            <p:cNvPr id="89" name="Group 88"/>
            <p:cNvGrpSpPr/>
            <p:nvPr/>
          </p:nvGrpSpPr>
          <p:grpSpPr>
            <a:xfrm>
              <a:off x="3568546" y="2901544"/>
              <a:ext cx="417585" cy="556083"/>
              <a:chOff x="-4743450" y="4779963"/>
              <a:chExt cx="306387" cy="409575"/>
            </a:xfrm>
            <a:solidFill>
              <a:sysClr val="window" lastClr="FFFFFF"/>
            </a:solidFill>
            <a:effectLst>
              <a:outerShdw blurRad="63500" sx="102000" sy="102000" algn="ctr" rotWithShape="0">
                <a:prstClr val="black">
                  <a:alpha val="40000"/>
                </a:prstClr>
              </a:outerShdw>
            </a:effectLst>
          </p:grpSpPr>
          <p:sp>
            <p:nvSpPr>
              <p:cNvPr id="98" name="Freeform 11"/>
              <p:cNvSpPr>
                <a:spLocks/>
              </p:cNvSpPr>
              <p:nvPr/>
            </p:nvSpPr>
            <p:spPr bwMode="auto">
              <a:xfrm>
                <a:off x="-4641850" y="5138738"/>
                <a:ext cx="103187" cy="50800"/>
              </a:xfrm>
              <a:custGeom>
                <a:avLst/>
                <a:gdLst>
                  <a:gd name="T0" fmla="*/ 37 w 85"/>
                  <a:gd name="T1" fmla="*/ 42 h 42"/>
                  <a:gd name="T2" fmla="*/ 21 w 85"/>
                  <a:gd name="T3" fmla="*/ 33 h 42"/>
                  <a:gd name="T4" fmla="*/ 14 w 85"/>
                  <a:gd name="T5" fmla="*/ 23 h 42"/>
                  <a:gd name="T6" fmla="*/ 10 w 85"/>
                  <a:gd name="T7" fmla="*/ 21 h 42"/>
                  <a:gd name="T8" fmla="*/ 0 w 85"/>
                  <a:gd name="T9" fmla="*/ 10 h 42"/>
                  <a:gd name="T10" fmla="*/ 11 w 85"/>
                  <a:gd name="T11" fmla="*/ 0 h 42"/>
                  <a:gd name="T12" fmla="*/ 74 w 85"/>
                  <a:gd name="T13" fmla="*/ 0 h 42"/>
                  <a:gd name="T14" fmla="*/ 85 w 85"/>
                  <a:gd name="T15" fmla="*/ 10 h 42"/>
                  <a:gd name="T16" fmla="*/ 75 w 85"/>
                  <a:gd name="T17" fmla="*/ 21 h 42"/>
                  <a:gd name="T18" fmla="*/ 72 w 85"/>
                  <a:gd name="T19" fmla="*/ 23 h 42"/>
                  <a:gd name="T20" fmla="*/ 49 w 85"/>
                  <a:gd name="T21" fmla="*/ 42 h 42"/>
                  <a:gd name="T22" fmla="*/ 49 w 85"/>
                  <a:gd name="T23" fmla="*/ 42 h 42"/>
                  <a:gd name="T24" fmla="*/ 37 w 85"/>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42">
                    <a:moveTo>
                      <a:pt x="37" y="42"/>
                    </a:moveTo>
                    <a:cubicBezTo>
                      <a:pt x="31" y="40"/>
                      <a:pt x="25" y="38"/>
                      <a:pt x="21" y="33"/>
                    </a:cubicBezTo>
                    <a:cubicBezTo>
                      <a:pt x="18" y="30"/>
                      <a:pt x="16" y="27"/>
                      <a:pt x="14" y="23"/>
                    </a:cubicBezTo>
                    <a:cubicBezTo>
                      <a:pt x="13" y="22"/>
                      <a:pt x="12" y="21"/>
                      <a:pt x="10" y="21"/>
                    </a:cubicBezTo>
                    <a:cubicBezTo>
                      <a:pt x="4" y="21"/>
                      <a:pt x="0" y="16"/>
                      <a:pt x="0" y="10"/>
                    </a:cubicBezTo>
                    <a:cubicBezTo>
                      <a:pt x="0" y="4"/>
                      <a:pt x="5" y="0"/>
                      <a:pt x="11" y="0"/>
                    </a:cubicBezTo>
                    <a:cubicBezTo>
                      <a:pt x="32" y="0"/>
                      <a:pt x="53" y="0"/>
                      <a:pt x="74" y="0"/>
                    </a:cubicBezTo>
                    <a:cubicBezTo>
                      <a:pt x="80" y="0"/>
                      <a:pt x="85" y="4"/>
                      <a:pt x="85" y="10"/>
                    </a:cubicBezTo>
                    <a:cubicBezTo>
                      <a:pt x="85" y="16"/>
                      <a:pt x="81" y="21"/>
                      <a:pt x="75" y="21"/>
                    </a:cubicBezTo>
                    <a:cubicBezTo>
                      <a:pt x="74" y="21"/>
                      <a:pt x="72" y="22"/>
                      <a:pt x="72" y="23"/>
                    </a:cubicBezTo>
                    <a:cubicBezTo>
                      <a:pt x="67" y="33"/>
                      <a:pt x="60" y="39"/>
                      <a:pt x="49" y="42"/>
                    </a:cubicBezTo>
                    <a:cubicBezTo>
                      <a:pt x="49" y="42"/>
                      <a:pt x="49" y="42"/>
                      <a:pt x="49" y="42"/>
                    </a:cubicBezTo>
                    <a:cubicBezTo>
                      <a:pt x="45" y="42"/>
                      <a:pt x="41" y="42"/>
                      <a:pt x="3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9" name="Freeform 12"/>
              <p:cNvSpPr>
                <a:spLocks/>
              </p:cNvSpPr>
              <p:nvPr/>
            </p:nvSpPr>
            <p:spPr bwMode="auto">
              <a:xfrm>
                <a:off x="-4703763" y="4821238"/>
                <a:ext cx="219075" cy="266700"/>
              </a:xfrm>
              <a:custGeom>
                <a:avLst/>
                <a:gdLst>
                  <a:gd name="T0" fmla="*/ 136 w 180"/>
                  <a:gd name="T1" fmla="*/ 220 h 220"/>
                  <a:gd name="T2" fmla="*/ 51 w 180"/>
                  <a:gd name="T3" fmla="*/ 220 h 220"/>
                  <a:gd name="T4" fmla="*/ 45 w 180"/>
                  <a:gd name="T5" fmla="*/ 191 h 220"/>
                  <a:gd name="T6" fmla="*/ 29 w 180"/>
                  <a:gd name="T7" fmla="*/ 154 h 220"/>
                  <a:gd name="T8" fmla="*/ 12 w 180"/>
                  <a:gd name="T9" fmla="*/ 113 h 220"/>
                  <a:gd name="T10" fmla="*/ 74 w 180"/>
                  <a:gd name="T11" fmla="*/ 11 h 220"/>
                  <a:gd name="T12" fmla="*/ 177 w 180"/>
                  <a:gd name="T13" fmla="*/ 76 h 220"/>
                  <a:gd name="T14" fmla="*/ 170 w 180"/>
                  <a:gd name="T15" fmla="*/ 128 h 220"/>
                  <a:gd name="T16" fmla="*/ 149 w 180"/>
                  <a:gd name="T17" fmla="*/ 173 h 220"/>
                  <a:gd name="T18" fmla="*/ 137 w 180"/>
                  <a:gd name="T19" fmla="*/ 209 h 220"/>
                  <a:gd name="T20" fmla="*/ 136 w 180"/>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220">
                    <a:moveTo>
                      <a:pt x="136" y="220"/>
                    </a:moveTo>
                    <a:cubicBezTo>
                      <a:pt x="108" y="220"/>
                      <a:pt x="80" y="220"/>
                      <a:pt x="51" y="220"/>
                    </a:cubicBezTo>
                    <a:cubicBezTo>
                      <a:pt x="51" y="210"/>
                      <a:pt x="49" y="200"/>
                      <a:pt x="45" y="191"/>
                    </a:cubicBezTo>
                    <a:cubicBezTo>
                      <a:pt x="40" y="178"/>
                      <a:pt x="34" y="166"/>
                      <a:pt x="29" y="154"/>
                    </a:cubicBezTo>
                    <a:cubicBezTo>
                      <a:pt x="22" y="140"/>
                      <a:pt x="16" y="127"/>
                      <a:pt x="12" y="113"/>
                    </a:cubicBezTo>
                    <a:cubicBezTo>
                      <a:pt x="0" y="68"/>
                      <a:pt x="29" y="21"/>
                      <a:pt x="74" y="11"/>
                    </a:cubicBezTo>
                    <a:cubicBezTo>
                      <a:pt x="121" y="0"/>
                      <a:pt x="167" y="29"/>
                      <a:pt x="177" y="76"/>
                    </a:cubicBezTo>
                    <a:cubicBezTo>
                      <a:pt x="180" y="94"/>
                      <a:pt x="178" y="111"/>
                      <a:pt x="170" y="128"/>
                    </a:cubicBezTo>
                    <a:cubicBezTo>
                      <a:pt x="164" y="143"/>
                      <a:pt x="156" y="158"/>
                      <a:pt x="149" y="173"/>
                    </a:cubicBezTo>
                    <a:cubicBezTo>
                      <a:pt x="143" y="185"/>
                      <a:pt x="139" y="197"/>
                      <a:pt x="137" y="209"/>
                    </a:cubicBezTo>
                    <a:cubicBezTo>
                      <a:pt x="136" y="213"/>
                      <a:pt x="136" y="216"/>
                      <a:pt x="136"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0" name="Freeform 13"/>
              <p:cNvSpPr>
                <a:spLocks/>
              </p:cNvSpPr>
              <p:nvPr/>
            </p:nvSpPr>
            <p:spPr bwMode="auto">
              <a:xfrm>
                <a:off x="-4641850" y="5099050"/>
                <a:ext cx="103187" cy="25400"/>
              </a:xfrm>
              <a:custGeom>
                <a:avLst/>
                <a:gdLst>
                  <a:gd name="T0" fmla="*/ 42 w 85"/>
                  <a:gd name="T1" fmla="*/ 21 h 21"/>
                  <a:gd name="T2" fmla="*/ 11 w 85"/>
                  <a:gd name="T3" fmla="*/ 21 h 21"/>
                  <a:gd name="T4" fmla="*/ 0 w 85"/>
                  <a:gd name="T5" fmla="*/ 11 h 21"/>
                  <a:gd name="T6" fmla="*/ 11 w 85"/>
                  <a:gd name="T7" fmla="*/ 0 h 21"/>
                  <a:gd name="T8" fmla="*/ 74 w 85"/>
                  <a:gd name="T9" fmla="*/ 0 h 21"/>
                  <a:gd name="T10" fmla="*/ 85 w 85"/>
                  <a:gd name="T11" fmla="*/ 11 h 21"/>
                  <a:gd name="T12" fmla="*/ 74 w 85"/>
                  <a:gd name="T13" fmla="*/ 21 h 21"/>
                  <a:gd name="T14" fmla="*/ 42 w 85"/>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21">
                    <a:moveTo>
                      <a:pt x="42" y="21"/>
                    </a:moveTo>
                    <a:cubicBezTo>
                      <a:pt x="32" y="21"/>
                      <a:pt x="22" y="21"/>
                      <a:pt x="11" y="21"/>
                    </a:cubicBezTo>
                    <a:cubicBezTo>
                      <a:pt x="5" y="21"/>
                      <a:pt x="0" y="17"/>
                      <a:pt x="0" y="11"/>
                    </a:cubicBezTo>
                    <a:cubicBezTo>
                      <a:pt x="0" y="5"/>
                      <a:pt x="5" y="0"/>
                      <a:pt x="11" y="0"/>
                    </a:cubicBezTo>
                    <a:cubicBezTo>
                      <a:pt x="32" y="0"/>
                      <a:pt x="53" y="0"/>
                      <a:pt x="74" y="0"/>
                    </a:cubicBezTo>
                    <a:cubicBezTo>
                      <a:pt x="81" y="0"/>
                      <a:pt x="85" y="5"/>
                      <a:pt x="85" y="11"/>
                    </a:cubicBezTo>
                    <a:cubicBezTo>
                      <a:pt x="85" y="17"/>
                      <a:pt x="81" y="21"/>
                      <a:pt x="74" y="21"/>
                    </a:cubicBezTo>
                    <a:cubicBezTo>
                      <a:pt x="64" y="21"/>
                      <a:pt x="53"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1" name="Freeform 14"/>
              <p:cNvSpPr>
                <a:spLocks/>
              </p:cNvSpPr>
              <p:nvPr/>
            </p:nvSpPr>
            <p:spPr bwMode="auto">
              <a:xfrm>
                <a:off x="-4678363" y="4794250"/>
                <a:ext cx="34925" cy="34925"/>
              </a:xfrm>
              <a:custGeom>
                <a:avLst/>
                <a:gdLst>
                  <a:gd name="T0" fmla="*/ 18 w 29"/>
                  <a:gd name="T1" fmla="*/ 0 h 29"/>
                  <a:gd name="T2" fmla="*/ 29 w 29"/>
                  <a:gd name="T3" fmla="*/ 19 h 29"/>
                  <a:gd name="T4" fmla="*/ 11 w 29"/>
                  <a:gd name="T5" fmla="*/ 29 h 29"/>
                  <a:gd name="T6" fmla="*/ 0 w 29"/>
                  <a:gd name="T7" fmla="*/ 10 h 29"/>
                  <a:gd name="T8" fmla="*/ 18 w 29"/>
                  <a:gd name="T9" fmla="*/ 0 h 29"/>
                </a:gdLst>
                <a:ahLst/>
                <a:cxnLst>
                  <a:cxn ang="0">
                    <a:pos x="T0" y="T1"/>
                  </a:cxn>
                  <a:cxn ang="0">
                    <a:pos x="T2" y="T3"/>
                  </a:cxn>
                  <a:cxn ang="0">
                    <a:pos x="T4" y="T5"/>
                  </a:cxn>
                  <a:cxn ang="0">
                    <a:pos x="T6" y="T7"/>
                  </a:cxn>
                  <a:cxn ang="0">
                    <a:pos x="T8" y="T9"/>
                  </a:cxn>
                </a:cxnLst>
                <a:rect l="0" t="0" r="r" b="b"/>
                <a:pathLst>
                  <a:path w="29" h="29">
                    <a:moveTo>
                      <a:pt x="18" y="0"/>
                    </a:moveTo>
                    <a:cubicBezTo>
                      <a:pt x="22" y="6"/>
                      <a:pt x="26" y="12"/>
                      <a:pt x="29" y="19"/>
                    </a:cubicBezTo>
                    <a:cubicBezTo>
                      <a:pt x="23" y="22"/>
                      <a:pt x="17" y="26"/>
                      <a:pt x="11" y="29"/>
                    </a:cubicBezTo>
                    <a:cubicBezTo>
                      <a:pt x="7" y="23"/>
                      <a:pt x="4" y="17"/>
                      <a:pt x="0" y="10"/>
                    </a:cubicBezTo>
                    <a:cubicBezTo>
                      <a:pt x="6" y="7"/>
                      <a:pt x="12" y="3"/>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2" name="Freeform 15"/>
              <p:cNvSpPr>
                <a:spLocks/>
              </p:cNvSpPr>
              <p:nvPr/>
            </p:nvSpPr>
            <p:spPr bwMode="auto">
              <a:xfrm>
                <a:off x="-4730750" y="4845050"/>
                <a:ext cx="36512" cy="36513"/>
              </a:xfrm>
              <a:custGeom>
                <a:avLst/>
                <a:gdLst>
                  <a:gd name="T0" fmla="*/ 19 w 30"/>
                  <a:gd name="T1" fmla="*/ 30 h 30"/>
                  <a:gd name="T2" fmla="*/ 0 w 30"/>
                  <a:gd name="T3" fmla="*/ 19 h 30"/>
                  <a:gd name="T4" fmla="*/ 11 w 30"/>
                  <a:gd name="T5" fmla="*/ 0 h 30"/>
                  <a:gd name="T6" fmla="*/ 30 w 30"/>
                  <a:gd name="T7" fmla="*/ 11 h 30"/>
                  <a:gd name="T8" fmla="*/ 19 w 30"/>
                  <a:gd name="T9" fmla="*/ 30 h 30"/>
                </a:gdLst>
                <a:ahLst/>
                <a:cxnLst>
                  <a:cxn ang="0">
                    <a:pos x="T0" y="T1"/>
                  </a:cxn>
                  <a:cxn ang="0">
                    <a:pos x="T2" y="T3"/>
                  </a:cxn>
                  <a:cxn ang="0">
                    <a:pos x="T4" y="T5"/>
                  </a:cxn>
                  <a:cxn ang="0">
                    <a:pos x="T6" y="T7"/>
                  </a:cxn>
                  <a:cxn ang="0">
                    <a:pos x="T8" y="T9"/>
                  </a:cxn>
                </a:cxnLst>
                <a:rect l="0" t="0" r="r" b="b"/>
                <a:pathLst>
                  <a:path w="30" h="30">
                    <a:moveTo>
                      <a:pt x="19" y="30"/>
                    </a:moveTo>
                    <a:cubicBezTo>
                      <a:pt x="13" y="26"/>
                      <a:pt x="7" y="23"/>
                      <a:pt x="0" y="19"/>
                    </a:cubicBezTo>
                    <a:cubicBezTo>
                      <a:pt x="4" y="13"/>
                      <a:pt x="7" y="6"/>
                      <a:pt x="11" y="0"/>
                    </a:cubicBezTo>
                    <a:cubicBezTo>
                      <a:pt x="18" y="4"/>
                      <a:pt x="24" y="8"/>
                      <a:pt x="30" y="11"/>
                    </a:cubicBezTo>
                    <a:cubicBezTo>
                      <a:pt x="26" y="17"/>
                      <a:pt x="23" y="23"/>
                      <a:pt x="1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3" name="Freeform 16"/>
              <p:cNvSpPr>
                <a:spLocks/>
              </p:cNvSpPr>
              <p:nvPr/>
            </p:nvSpPr>
            <p:spPr bwMode="auto">
              <a:xfrm>
                <a:off x="-4486275" y="4845050"/>
                <a:ext cx="36512" cy="36513"/>
              </a:xfrm>
              <a:custGeom>
                <a:avLst/>
                <a:gdLst>
                  <a:gd name="T0" fmla="*/ 11 w 30"/>
                  <a:gd name="T1" fmla="*/ 30 h 30"/>
                  <a:gd name="T2" fmla="*/ 0 w 30"/>
                  <a:gd name="T3" fmla="*/ 11 h 30"/>
                  <a:gd name="T4" fmla="*/ 19 w 30"/>
                  <a:gd name="T5" fmla="*/ 0 h 30"/>
                  <a:gd name="T6" fmla="*/ 30 w 30"/>
                  <a:gd name="T7" fmla="*/ 19 h 30"/>
                  <a:gd name="T8" fmla="*/ 11 w 30"/>
                  <a:gd name="T9" fmla="*/ 30 h 30"/>
                </a:gdLst>
                <a:ahLst/>
                <a:cxnLst>
                  <a:cxn ang="0">
                    <a:pos x="T0" y="T1"/>
                  </a:cxn>
                  <a:cxn ang="0">
                    <a:pos x="T2" y="T3"/>
                  </a:cxn>
                  <a:cxn ang="0">
                    <a:pos x="T4" y="T5"/>
                  </a:cxn>
                  <a:cxn ang="0">
                    <a:pos x="T6" y="T7"/>
                  </a:cxn>
                  <a:cxn ang="0">
                    <a:pos x="T8" y="T9"/>
                  </a:cxn>
                </a:cxnLst>
                <a:rect l="0" t="0" r="r" b="b"/>
                <a:pathLst>
                  <a:path w="30" h="30">
                    <a:moveTo>
                      <a:pt x="11" y="30"/>
                    </a:moveTo>
                    <a:cubicBezTo>
                      <a:pt x="7" y="23"/>
                      <a:pt x="4" y="17"/>
                      <a:pt x="0" y="11"/>
                    </a:cubicBezTo>
                    <a:cubicBezTo>
                      <a:pt x="6" y="8"/>
                      <a:pt x="13" y="4"/>
                      <a:pt x="19" y="0"/>
                    </a:cubicBezTo>
                    <a:cubicBezTo>
                      <a:pt x="23" y="6"/>
                      <a:pt x="26" y="12"/>
                      <a:pt x="30" y="19"/>
                    </a:cubicBezTo>
                    <a:cubicBezTo>
                      <a:pt x="24" y="22"/>
                      <a:pt x="17" y="26"/>
                      <a:pt x="1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4" name="Freeform 17"/>
              <p:cNvSpPr>
                <a:spLocks/>
              </p:cNvSpPr>
              <p:nvPr/>
            </p:nvSpPr>
            <p:spPr bwMode="auto">
              <a:xfrm>
                <a:off x="-4537075" y="4794250"/>
                <a:ext cx="34925" cy="34925"/>
              </a:xfrm>
              <a:custGeom>
                <a:avLst/>
                <a:gdLst>
                  <a:gd name="T0" fmla="*/ 18 w 29"/>
                  <a:gd name="T1" fmla="*/ 29 h 29"/>
                  <a:gd name="T2" fmla="*/ 0 w 29"/>
                  <a:gd name="T3" fmla="*/ 19 h 29"/>
                  <a:gd name="T4" fmla="*/ 11 w 29"/>
                  <a:gd name="T5" fmla="*/ 0 h 29"/>
                  <a:gd name="T6" fmla="*/ 29 w 29"/>
                  <a:gd name="T7" fmla="*/ 10 h 29"/>
                  <a:gd name="T8" fmla="*/ 18 w 29"/>
                  <a:gd name="T9" fmla="*/ 29 h 29"/>
                </a:gdLst>
                <a:ahLst/>
                <a:cxnLst>
                  <a:cxn ang="0">
                    <a:pos x="T0" y="T1"/>
                  </a:cxn>
                  <a:cxn ang="0">
                    <a:pos x="T2" y="T3"/>
                  </a:cxn>
                  <a:cxn ang="0">
                    <a:pos x="T4" y="T5"/>
                  </a:cxn>
                  <a:cxn ang="0">
                    <a:pos x="T6" y="T7"/>
                  </a:cxn>
                  <a:cxn ang="0">
                    <a:pos x="T8" y="T9"/>
                  </a:cxn>
                </a:cxnLst>
                <a:rect l="0" t="0" r="r" b="b"/>
                <a:pathLst>
                  <a:path w="29" h="29">
                    <a:moveTo>
                      <a:pt x="18" y="29"/>
                    </a:moveTo>
                    <a:cubicBezTo>
                      <a:pt x="12" y="26"/>
                      <a:pt x="6" y="22"/>
                      <a:pt x="0" y="19"/>
                    </a:cubicBezTo>
                    <a:cubicBezTo>
                      <a:pt x="3" y="12"/>
                      <a:pt x="7" y="6"/>
                      <a:pt x="11" y="0"/>
                    </a:cubicBezTo>
                    <a:cubicBezTo>
                      <a:pt x="17" y="3"/>
                      <a:pt x="23" y="7"/>
                      <a:pt x="29" y="10"/>
                    </a:cubicBezTo>
                    <a:cubicBezTo>
                      <a:pt x="26" y="17"/>
                      <a:pt x="22" y="23"/>
                      <a:pt x="1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5" name="Freeform 18"/>
              <p:cNvSpPr>
                <a:spLocks/>
              </p:cNvSpPr>
              <p:nvPr/>
            </p:nvSpPr>
            <p:spPr bwMode="auto">
              <a:xfrm>
                <a:off x="-4484688" y="4984750"/>
                <a:ext cx="34925" cy="36513"/>
              </a:xfrm>
              <a:custGeom>
                <a:avLst/>
                <a:gdLst>
                  <a:gd name="T0" fmla="*/ 28 w 28"/>
                  <a:gd name="T1" fmla="*/ 11 h 30"/>
                  <a:gd name="T2" fmla="*/ 17 w 28"/>
                  <a:gd name="T3" fmla="*/ 30 h 30"/>
                  <a:gd name="T4" fmla="*/ 0 w 28"/>
                  <a:gd name="T5" fmla="*/ 20 h 30"/>
                  <a:gd name="T6" fmla="*/ 9 w 28"/>
                  <a:gd name="T7" fmla="*/ 0 h 30"/>
                  <a:gd name="T8" fmla="*/ 28 w 28"/>
                  <a:gd name="T9" fmla="*/ 11 h 30"/>
                </a:gdLst>
                <a:ahLst/>
                <a:cxnLst>
                  <a:cxn ang="0">
                    <a:pos x="T0" y="T1"/>
                  </a:cxn>
                  <a:cxn ang="0">
                    <a:pos x="T2" y="T3"/>
                  </a:cxn>
                  <a:cxn ang="0">
                    <a:pos x="T4" y="T5"/>
                  </a:cxn>
                  <a:cxn ang="0">
                    <a:pos x="T6" y="T7"/>
                  </a:cxn>
                  <a:cxn ang="0">
                    <a:pos x="T8" y="T9"/>
                  </a:cxn>
                </a:cxnLst>
                <a:rect l="0" t="0" r="r" b="b"/>
                <a:pathLst>
                  <a:path w="28" h="30">
                    <a:moveTo>
                      <a:pt x="28" y="11"/>
                    </a:moveTo>
                    <a:cubicBezTo>
                      <a:pt x="24" y="17"/>
                      <a:pt x="21" y="23"/>
                      <a:pt x="17" y="30"/>
                    </a:cubicBezTo>
                    <a:cubicBezTo>
                      <a:pt x="11" y="26"/>
                      <a:pt x="6" y="23"/>
                      <a:pt x="0" y="20"/>
                    </a:cubicBezTo>
                    <a:cubicBezTo>
                      <a:pt x="3" y="13"/>
                      <a:pt x="6" y="7"/>
                      <a:pt x="9" y="0"/>
                    </a:cubicBezTo>
                    <a:cubicBezTo>
                      <a:pt x="15" y="4"/>
                      <a:pt x="21" y="7"/>
                      <a:pt x="2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6" name="Freeform 19"/>
              <p:cNvSpPr>
                <a:spLocks/>
              </p:cNvSpPr>
              <p:nvPr/>
            </p:nvSpPr>
            <p:spPr bwMode="auto">
              <a:xfrm>
                <a:off x="-4743450" y="4921250"/>
                <a:ext cx="26987" cy="23813"/>
              </a:xfrm>
              <a:custGeom>
                <a:avLst/>
                <a:gdLst>
                  <a:gd name="T0" fmla="*/ 22 w 22"/>
                  <a:gd name="T1" fmla="*/ 20 h 20"/>
                  <a:gd name="T2" fmla="*/ 0 w 22"/>
                  <a:gd name="T3" fmla="*/ 20 h 20"/>
                  <a:gd name="T4" fmla="*/ 0 w 22"/>
                  <a:gd name="T5" fmla="*/ 0 h 20"/>
                  <a:gd name="T6" fmla="*/ 22 w 22"/>
                  <a:gd name="T7" fmla="*/ 0 h 20"/>
                  <a:gd name="T8" fmla="*/ 22 w 22"/>
                  <a:gd name="T9" fmla="*/ 20 h 20"/>
                </a:gdLst>
                <a:ahLst/>
                <a:cxnLst>
                  <a:cxn ang="0">
                    <a:pos x="T0" y="T1"/>
                  </a:cxn>
                  <a:cxn ang="0">
                    <a:pos x="T2" y="T3"/>
                  </a:cxn>
                  <a:cxn ang="0">
                    <a:pos x="T4" y="T5"/>
                  </a:cxn>
                  <a:cxn ang="0">
                    <a:pos x="T6" y="T7"/>
                  </a:cxn>
                  <a:cxn ang="0">
                    <a:pos x="T8" y="T9"/>
                  </a:cxn>
                </a:cxnLst>
                <a:rect l="0" t="0" r="r" b="b"/>
                <a:pathLst>
                  <a:path w="22" h="20">
                    <a:moveTo>
                      <a:pt x="22" y="20"/>
                    </a:moveTo>
                    <a:cubicBezTo>
                      <a:pt x="15" y="20"/>
                      <a:pt x="8" y="20"/>
                      <a:pt x="0" y="20"/>
                    </a:cubicBezTo>
                    <a:cubicBezTo>
                      <a:pt x="0" y="14"/>
                      <a:pt x="0" y="7"/>
                      <a:pt x="0" y="0"/>
                    </a:cubicBezTo>
                    <a:cubicBezTo>
                      <a:pt x="7" y="0"/>
                      <a:pt x="15" y="0"/>
                      <a:pt x="22" y="0"/>
                    </a:cubicBezTo>
                    <a:cubicBezTo>
                      <a:pt x="22" y="7"/>
                      <a:pt x="22" y="13"/>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7" name="Freeform 20"/>
              <p:cNvSpPr>
                <a:spLocks/>
              </p:cNvSpPr>
              <p:nvPr/>
            </p:nvSpPr>
            <p:spPr bwMode="auto">
              <a:xfrm>
                <a:off x="-4462463" y="4921250"/>
                <a:ext cx="25400" cy="23813"/>
              </a:xfrm>
              <a:custGeom>
                <a:avLst/>
                <a:gdLst>
                  <a:gd name="T0" fmla="*/ 21 w 21"/>
                  <a:gd name="T1" fmla="*/ 20 h 20"/>
                  <a:gd name="T2" fmla="*/ 0 w 21"/>
                  <a:gd name="T3" fmla="*/ 20 h 20"/>
                  <a:gd name="T4" fmla="*/ 0 w 21"/>
                  <a:gd name="T5" fmla="*/ 0 h 20"/>
                  <a:gd name="T6" fmla="*/ 21 w 21"/>
                  <a:gd name="T7" fmla="*/ 0 h 20"/>
                  <a:gd name="T8" fmla="*/ 21 w 21"/>
                  <a:gd name="T9" fmla="*/ 20 h 20"/>
                </a:gdLst>
                <a:ahLst/>
                <a:cxnLst>
                  <a:cxn ang="0">
                    <a:pos x="T0" y="T1"/>
                  </a:cxn>
                  <a:cxn ang="0">
                    <a:pos x="T2" y="T3"/>
                  </a:cxn>
                  <a:cxn ang="0">
                    <a:pos x="T4" y="T5"/>
                  </a:cxn>
                  <a:cxn ang="0">
                    <a:pos x="T6" y="T7"/>
                  </a:cxn>
                  <a:cxn ang="0">
                    <a:pos x="T8" y="T9"/>
                  </a:cxn>
                </a:cxnLst>
                <a:rect l="0" t="0" r="r" b="b"/>
                <a:pathLst>
                  <a:path w="21" h="20">
                    <a:moveTo>
                      <a:pt x="21" y="20"/>
                    </a:moveTo>
                    <a:cubicBezTo>
                      <a:pt x="14" y="20"/>
                      <a:pt x="6" y="20"/>
                      <a:pt x="0" y="20"/>
                    </a:cubicBezTo>
                    <a:cubicBezTo>
                      <a:pt x="0" y="13"/>
                      <a:pt x="0" y="7"/>
                      <a:pt x="0" y="0"/>
                    </a:cubicBezTo>
                    <a:cubicBezTo>
                      <a:pt x="6" y="0"/>
                      <a:pt x="14" y="0"/>
                      <a:pt x="21" y="0"/>
                    </a:cubicBezTo>
                    <a:cubicBezTo>
                      <a:pt x="21" y="6"/>
                      <a:pt x="21" y="13"/>
                      <a:pt x="2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8" name="Freeform 21"/>
              <p:cNvSpPr>
                <a:spLocks/>
              </p:cNvSpPr>
              <p:nvPr/>
            </p:nvSpPr>
            <p:spPr bwMode="auto">
              <a:xfrm>
                <a:off x="-4602163" y="4779963"/>
                <a:ext cx="25400" cy="25400"/>
              </a:xfrm>
              <a:custGeom>
                <a:avLst/>
                <a:gdLst>
                  <a:gd name="T0" fmla="*/ 21 w 21"/>
                  <a:gd name="T1" fmla="*/ 0 h 22"/>
                  <a:gd name="T2" fmla="*/ 21 w 21"/>
                  <a:gd name="T3" fmla="*/ 22 h 22"/>
                  <a:gd name="T4" fmla="*/ 0 w 21"/>
                  <a:gd name="T5" fmla="*/ 22 h 22"/>
                  <a:gd name="T6" fmla="*/ 0 w 21"/>
                  <a:gd name="T7" fmla="*/ 0 h 22"/>
                  <a:gd name="T8" fmla="*/ 21 w 21"/>
                  <a:gd name="T9" fmla="*/ 0 h 22"/>
                </a:gdLst>
                <a:ahLst/>
                <a:cxnLst>
                  <a:cxn ang="0">
                    <a:pos x="T0" y="T1"/>
                  </a:cxn>
                  <a:cxn ang="0">
                    <a:pos x="T2" y="T3"/>
                  </a:cxn>
                  <a:cxn ang="0">
                    <a:pos x="T4" y="T5"/>
                  </a:cxn>
                  <a:cxn ang="0">
                    <a:pos x="T6" y="T7"/>
                  </a:cxn>
                  <a:cxn ang="0">
                    <a:pos x="T8" y="T9"/>
                  </a:cxn>
                </a:cxnLst>
                <a:rect l="0" t="0" r="r" b="b"/>
                <a:pathLst>
                  <a:path w="21" h="22">
                    <a:moveTo>
                      <a:pt x="21" y="0"/>
                    </a:moveTo>
                    <a:cubicBezTo>
                      <a:pt x="21" y="8"/>
                      <a:pt x="21" y="15"/>
                      <a:pt x="21" y="22"/>
                    </a:cubicBezTo>
                    <a:cubicBezTo>
                      <a:pt x="14" y="22"/>
                      <a:pt x="7" y="22"/>
                      <a:pt x="0" y="22"/>
                    </a:cubicBezTo>
                    <a:cubicBezTo>
                      <a:pt x="0" y="15"/>
                      <a:pt x="0" y="8"/>
                      <a:pt x="0" y="0"/>
                    </a:cubicBezTo>
                    <a:cubicBezTo>
                      <a:pt x="7" y="0"/>
                      <a:pt x="14"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9" name="Freeform 22"/>
              <p:cNvSpPr>
                <a:spLocks/>
              </p:cNvSpPr>
              <p:nvPr/>
            </p:nvSpPr>
            <p:spPr bwMode="auto">
              <a:xfrm>
                <a:off x="-4730750" y="4984750"/>
                <a:ext cx="34925" cy="36513"/>
              </a:xfrm>
              <a:custGeom>
                <a:avLst/>
                <a:gdLst>
                  <a:gd name="T0" fmla="*/ 28 w 28"/>
                  <a:gd name="T1" fmla="*/ 20 h 30"/>
                  <a:gd name="T2" fmla="*/ 11 w 28"/>
                  <a:gd name="T3" fmla="*/ 30 h 30"/>
                  <a:gd name="T4" fmla="*/ 0 w 28"/>
                  <a:gd name="T5" fmla="*/ 11 h 30"/>
                  <a:gd name="T6" fmla="*/ 20 w 28"/>
                  <a:gd name="T7" fmla="*/ 0 h 30"/>
                  <a:gd name="T8" fmla="*/ 28 w 28"/>
                  <a:gd name="T9" fmla="*/ 20 h 30"/>
                </a:gdLst>
                <a:ahLst/>
                <a:cxnLst>
                  <a:cxn ang="0">
                    <a:pos x="T0" y="T1"/>
                  </a:cxn>
                  <a:cxn ang="0">
                    <a:pos x="T2" y="T3"/>
                  </a:cxn>
                  <a:cxn ang="0">
                    <a:pos x="T4" y="T5"/>
                  </a:cxn>
                  <a:cxn ang="0">
                    <a:pos x="T6" y="T7"/>
                  </a:cxn>
                  <a:cxn ang="0">
                    <a:pos x="T8" y="T9"/>
                  </a:cxn>
                </a:cxnLst>
                <a:rect l="0" t="0" r="r" b="b"/>
                <a:pathLst>
                  <a:path w="28" h="30">
                    <a:moveTo>
                      <a:pt x="28" y="20"/>
                    </a:moveTo>
                    <a:cubicBezTo>
                      <a:pt x="23" y="23"/>
                      <a:pt x="17" y="26"/>
                      <a:pt x="11" y="30"/>
                    </a:cubicBezTo>
                    <a:cubicBezTo>
                      <a:pt x="8" y="24"/>
                      <a:pt x="4" y="18"/>
                      <a:pt x="0" y="11"/>
                    </a:cubicBezTo>
                    <a:cubicBezTo>
                      <a:pt x="7" y="7"/>
                      <a:pt x="13" y="4"/>
                      <a:pt x="20" y="0"/>
                    </a:cubicBezTo>
                    <a:cubicBezTo>
                      <a:pt x="23" y="7"/>
                      <a:pt x="25" y="13"/>
                      <a:pt x="2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grpSp>
        <p:grpSp>
          <p:nvGrpSpPr>
            <p:cNvPr id="90" name="Group 89"/>
            <p:cNvGrpSpPr>
              <a:grpSpLocks noChangeAspect="1"/>
            </p:cNvGrpSpPr>
            <p:nvPr/>
          </p:nvGrpSpPr>
          <p:grpSpPr>
            <a:xfrm>
              <a:off x="6543601" y="5018391"/>
              <a:ext cx="682497" cy="584144"/>
              <a:chOff x="481716" y="4123078"/>
              <a:chExt cx="552450" cy="474662"/>
            </a:xfrm>
            <a:solidFill>
              <a:sysClr val="window" lastClr="FFFFFF"/>
            </a:solidFill>
            <a:effectLst>
              <a:outerShdw blurRad="63500" sx="102000" sy="102000" algn="ctr" rotWithShape="0">
                <a:prstClr val="black">
                  <a:alpha val="40000"/>
                </a:prstClr>
              </a:outerShdw>
            </a:effectLst>
          </p:grpSpPr>
          <p:sp>
            <p:nvSpPr>
              <p:cNvPr id="94" name="Freeform 51"/>
              <p:cNvSpPr>
                <a:spLocks noEditPoints="1"/>
              </p:cNvSpPr>
              <p:nvPr/>
            </p:nvSpPr>
            <p:spPr bwMode="auto">
              <a:xfrm>
                <a:off x="696028" y="4123078"/>
                <a:ext cx="128588" cy="128588"/>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5" name="Freeform 52"/>
              <p:cNvSpPr>
                <a:spLocks noEditPoints="1"/>
              </p:cNvSpPr>
              <p:nvPr/>
            </p:nvSpPr>
            <p:spPr bwMode="auto">
              <a:xfrm>
                <a:off x="497591" y="4273890"/>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6" name="Freeform 53"/>
              <p:cNvSpPr>
                <a:spLocks noEditPoints="1"/>
              </p:cNvSpPr>
              <p:nvPr/>
            </p:nvSpPr>
            <p:spPr bwMode="auto">
              <a:xfrm>
                <a:off x="907166" y="4205628"/>
                <a:ext cx="127000" cy="128588"/>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7" name="Freeform 54"/>
              <p:cNvSpPr>
                <a:spLocks noEditPoints="1"/>
              </p:cNvSpPr>
              <p:nvPr/>
            </p:nvSpPr>
            <p:spPr bwMode="auto">
              <a:xfrm>
                <a:off x="481716" y="4202453"/>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609463"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91" name="Rectangle 90"/>
            <p:cNvSpPr/>
            <p:nvPr/>
          </p:nvSpPr>
          <p:spPr>
            <a:xfrm>
              <a:off x="229938" y="4855713"/>
              <a:ext cx="3620569" cy="738664"/>
            </a:xfrm>
            <a:prstGeom prst="rect">
              <a:avLst/>
            </a:prstGeom>
          </p:spPr>
          <p:txBody>
            <a:bodyPr wrap="square" numCol="1">
              <a:spAutoFit/>
            </a:bodyPr>
            <a:lstStyle/>
            <a:p>
              <a:pPr marL="0" marR="0" lvl="0" indent="0" algn="l" defTabSz="15815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24x7</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on – Fri : 7AM – 4PM Secondary Support </a:t>
              </a:r>
            </a:p>
            <a:p>
              <a:pPr marL="228584"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rimary Support at all other times</a:t>
              </a:r>
            </a:p>
          </p:txBody>
        </p:sp>
        <p:sp>
          <p:nvSpPr>
            <p:cNvPr id="92" name="Rectangle 91"/>
            <p:cNvSpPr/>
            <p:nvPr/>
          </p:nvSpPr>
          <p:spPr>
            <a:xfrm>
              <a:off x="8395041" y="4850141"/>
              <a:ext cx="3388354" cy="738664"/>
            </a:xfrm>
            <a:prstGeom prst="rect">
              <a:avLst/>
            </a:prstGeom>
            <a:noFill/>
          </p:spPr>
          <p:txBody>
            <a:bodyPr wrap="square">
              <a:spAutoFit/>
            </a:bodyPr>
            <a:lstStyle/>
            <a:p>
              <a:pPr marL="306895"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Segoe UI" panose="020B0502040204020203" pitchFamily="34" charset="0"/>
                </a:rPr>
                <a:t>Rate Card expected</a:t>
              </a:r>
            </a:p>
            <a:p>
              <a:pPr marL="306895"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Segoe UI" panose="020B0502040204020203" pitchFamily="34" charset="0"/>
                </a:rPr>
                <a:t>Onsite - Offshore Delivery</a:t>
              </a:r>
            </a:p>
            <a:p>
              <a:pPr marL="306895"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Segoe UI" panose="020B0502040204020203" pitchFamily="34" charset="0"/>
                </a:rPr>
                <a:t>Work with Marriott IT</a:t>
              </a:r>
            </a:p>
          </p:txBody>
        </p:sp>
        <p:sp>
          <p:nvSpPr>
            <p:cNvPr id="93" name="Rectangle 92"/>
            <p:cNvSpPr/>
            <p:nvPr/>
          </p:nvSpPr>
          <p:spPr>
            <a:xfrm>
              <a:off x="8436587" y="4506580"/>
              <a:ext cx="1325106" cy="307777"/>
            </a:xfrm>
            <a:prstGeom prst="rect">
              <a:avLst/>
            </a:prstGeom>
          </p:spPr>
          <p:txBody>
            <a:bodyPr wrap="none">
              <a:spAutoFit/>
            </a:bodyPr>
            <a:lstStyle/>
            <a:p>
              <a:pPr marL="0" marR="0" lvl="0" indent="0" algn="l" defTabSz="6094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ivery Model</a:t>
              </a:r>
            </a:p>
          </p:txBody>
        </p:sp>
      </p:grpSp>
      <p:graphicFrame>
        <p:nvGraphicFramePr>
          <p:cNvPr id="125" name="Table 124"/>
          <p:cNvGraphicFramePr>
            <a:graphicFrameLocks noGrp="1"/>
          </p:cNvGraphicFramePr>
          <p:nvPr>
            <p:extLst/>
          </p:nvPr>
        </p:nvGraphicFramePr>
        <p:xfrm>
          <a:off x="8459530" y="2786175"/>
          <a:ext cx="3538505" cy="1920240"/>
        </p:xfrm>
        <a:graphic>
          <a:graphicData uri="http://schemas.openxmlformats.org/drawingml/2006/table">
            <a:tbl>
              <a:tblPr firstRow="1" bandRow="1">
                <a:tableStyleId>{5940675A-B579-460E-94D1-54222C63F5DA}</a:tableStyleId>
              </a:tblPr>
              <a:tblGrid>
                <a:gridCol w="1936181">
                  <a:extLst>
                    <a:ext uri="{9D8B030D-6E8A-4147-A177-3AD203B41FA5}">
                      <a16:colId xmlns:a16="http://schemas.microsoft.com/office/drawing/2014/main" val="4212823493"/>
                    </a:ext>
                  </a:extLst>
                </a:gridCol>
                <a:gridCol w="1602324">
                  <a:extLst>
                    <a:ext uri="{9D8B030D-6E8A-4147-A177-3AD203B41FA5}">
                      <a16:colId xmlns:a16="http://schemas.microsoft.com/office/drawing/2014/main" val="2649728421"/>
                    </a:ext>
                  </a:extLst>
                </a:gridCol>
              </a:tblGrid>
              <a:tr h="192910">
                <a:tc>
                  <a:txBody>
                    <a:bodyPr/>
                    <a:lstStyle/>
                    <a:p>
                      <a:pPr marL="306895"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Schedule Adherence</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gt;= 95% on time</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7521088"/>
                  </a:ext>
                </a:extLst>
              </a:tr>
              <a:tr h="771639">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Proposal Response time</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lt;2000 Hrs. - 5 days</a:t>
                      </a:r>
                    </a:p>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gt;2000 Hrs. – 10 days</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515831"/>
                  </a:ext>
                </a:extLst>
              </a:tr>
              <a:tr h="385820">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Resource Onboarding Onsite</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10 Business Days</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8548069"/>
                  </a:ext>
                </a:extLst>
              </a:tr>
              <a:tr h="385820">
                <a:tc>
                  <a:txBody>
                    <a:bodyPr/>
                    <a:lstStyle/>
                    <a:p>
                      <a:pPr marL="306895" marR="0" lvl="0" indent="-228584" algn="l" defTabSz="15815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Resource Onboarding Offshore</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06895" indent="-228584" algn="l" defTabSz="1581500" rtl="0" eaLnBrk="1" latinLnBrk="0" hangingPunct="1">
                        <a:buFont typeface="Arial" panose="020B0604020202020204" pitchFamily="34" charset="0"/>
                        <a:buChar char="•"/>
                        <a:defRPr/>
                      </a:pPr>
                      <a:r>
                        <a:rPr lang="en-US" sz="1400" kern="0" dirty="0" smtClean="0">
                          <a:solidFill>
                            <a:srgbClr val="000000"/>
                          </a:solidFill>
                          <a:latin typeface="Calibri" panose="020F0502020204030204" pitchFamily="34" charset="0"/>
                          <a:ea typeface="ＭＳ Ｐゴシック" charset="-128"/>
                          <a:cs typeface="Segoe UI" panose="020B0502040204020203" pitchFamily="34" charset="0"/>
                        </a:rPr>
                        <a:t>5 Business Days</a:t>
                      </a:r>
                      <a:endParaRPr lang="en-US" sz="1400" kern="0" dirty="0">
                        <a:solidFill>
                          <a:srgbClr val="000000"/>
                        </a:solidFill>
                        <a:latin typeface="Calibri" panose="020F0502020204030204" pitchFamily="34" charset="0"/>
                        <a:ea typeface="ＭＳ Ｐゴシック" charset="-128"/>
                        <a:cs typeface="Segoe UI" panose="020B0502040204020203" pitchFamily="34" charset="0"/>
                      </a:endParaRP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47384"/>
                  </a:ext>
                </a:extLst>
              </a:tr>
            </a:tbl>
          </a:graphicData>
        </a:graphic>
      </p:graphicFrame>
    </p:spTree>
    <p:extLst>
      <p:ext uri="{BB962C8B-B14F-4D97-AF65-F5344CB8AC3E}">
        <p14:creationId xmlns:p14="http://schemas.microsoft.com/office/powerpoint/2010/main" val="206347717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Management – DIAL in action with Multiple Services and Partners </a:t>
            </a:r>
            <a:endParaRPr lang="en-US" dirty="0"/>
          </a:p>
        </p:txBody>
      </p:sp>
      <p:grpSp>
        <p:nvGrpSpPr>
          <p:cNvPr id="3" name="Group 2"/>
          <p:cNvGrpSpPr/>
          <p:nvPr/>
        </p:nvGrpSpPr>
        <p:grpSpPr>
          <a:xfrm>
            <a:off x="409432" y="886440"/>
            <a:ext cx="11600584" cy="5357612"/>
            <a:chOff x="409431" y="301343"/>
            <a:chExt cx="13830561" cy="6354499"/>
          </a:xfrm>
        </p:grpSpPr>
        <p:sp>
          <p:nvSpPr>
            <p:cNvPr id="4" name="Rectangle 3"/>
            <p:cNvSpPr/>
            <p:nvPr/>
          </p:nvSpPr>
          <p:spPr>
            <a:xfrm>
              <a:off x="937996" y="301343"/>
              <a:ext cx="9990591" cy="6013212"/>
            </a:xfrm>
            <a:prstGeom prst="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solidFill>
                  <a:prstClr val="black"/>
                </a:solidFill>
              </a:endParaRPr>
            </a:p>
          </p:txBody>
        </p:sp>
        <p:grpSp>
          <p:nvGrpSpPr>
            <p:cNvPr id="5" name="Group 4"/>
            <p:cNvGrpSpPr/>
            <p:nvPr/>
          </p:nvGrpSpPr>
          <p:grpSpPr>
            <a:xfrm>
              <a:off x="409431" y="301344"/>
              <a:ext cx="13830561" cy="6198484"/>
              <a:chOff x="409431" y="60044"/>
              <a:chExt cx="13830561" cy="6198484"/>
            </a:xfrm>
          </p:grpSpPr>
          <p:grpSp>
            <p:nvGrpSpPr>
              <p:cNvPr id="7" name="Group 6"/>
              <p:cNvGrpSpPr/>
              <p:nvPr/>
            </p:nvGrpSpPr>
            <p:grpSpPr>
              <a:xfrm>
                <a:off x="409431" y="60044"/>
                <a:ext cx="13830561" cy="6134363"/>
                <a:chOff x="409431" y="155580"/>
                <a:chExt cx="13830561" cy="6134363"/>
              </a:xfrm>
            </p:grpSpPr>
            <p:grpSp>
              <p:nvGrpSpPr>
                <p:cNvPr id="9" name="Group 8"/>
                <p:cNvGrpSpPr/>
                <p:nvPr/>
              </p:nvGrpSpPr>
              <p:grpSpPr>
                <a:xfrm>
                  <a:off x="409431" y="155580"/>
                  <a:ext cx="13830561" cy="6134363"/>
                  <a:chOff x="409431" y="155580"/>
                  <a:chExt cx="13830561" cy="6134363"/>
                </a:xfrm>
              </p:grpSpPr>
              <p:sp>
                <p:nvSpPr>
                  <p:cNvPr id="11" name="Round Same Side Corner Rectangle 10"/>
                  <p:cNvSpPr/>
                  <p:nvPr/>
                </p:nvSpPr>
                <p:spPr>
                  <a:xfrm rot="16200000">
                    <a:off x="67555" y="5321947"/>
                    <a:ext cx="1188720" cy="504968"/>
                  </a:xfrm>
                  <a:prstGeom prst="round2Same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b="1" dirty="0" smtClean="0">
                        <a:solidFill>
                          <a:prstClr val="black"/>
                        </a:solidFill>
                      </a:rPr>
                      <a:t>End User</a:t>
                    </a:r>
                    <a:endParaRPr lang="en-US" sz="1400" b="1" dirty="0">
                      <a:solidFill>
                        <a:prstClr val="black"/>
                      </a:solidFill>
                    </a:endParaRPr>
                  </a:p>
                </p:txBody>
              </p:sp>
              <p:sp>
                <p:nvSpPr>
                  <p:cNvPr id="12" name="Round Same Side Corner Rectangle 11"/>
                  <p:cNvSpPr/>
                  <p:nvPr/>
                </p:nvSpPr>
                <p:spPr>
                  <a:xfrm rot="16200000">
                    <a:off x="67556" y="4115825"/>
                    <a:ext cx="1188720" cy="504968"/>
                  </a:xfrm>
                  <a:prstGeom prst="round2Same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b="1" dirty="0" smtClean="0">
                        <a:solidFill>
                          <a:prstClr val="black"/>
                        </a:solidFill>
                      </a:rPr>
                      <a:t>Service Desk</a:t>
                    </a:r>
                    <a:endParaRPr lang="en-US" sz="1400" b="1" dirty="0">
                      <a:solidFill>
                        <a:prstClr val="black"/>
                      </a:solidFill>
                    </a:endParaRPr>
                  </a:p>
                </p:txBody>
              </p:sp>
              <p:sp>
                <p:nvSpPr>
                  <p:cNvPr id="13" name="Round Same Side Corner Rectangle 12"/>
                  <p:cNvSpPr/>
                  <p:nvPr/>
                </p:nvSpPr>
                <p:spPr>
                  <a:xfrm rot="16200000">
                    <a:off x="67556" y="2909702"/>
                    <a:ext cx="1188720" cy="504968"/>
                  </a:xfrm>
                  <a:prstGeom prst="round2Same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b="1" dirty="0" smtClean="0">
                        <a:solidFill>
                          <a:prstClr val="black"/>
                        </a:solidFill>
                      </a:rPr>
                      <a:t>App Support</a:t>
                    </a:r>
                    <a:endParaRPr lang="en-US" sz="1400" b="1" dirty="0">
                      <a:solidFill>
                        <a:prstClr val="black"/>
                      </a:solidFill>
                    </a:endParaRPr>
                  </a:p>
                </p:txBody>
              </p:sp>
              <p:sp>
                <p:nvSpPr>
                  <p:cNvPr id="14" name="Round Same Side Corner Rectangle 13"/>
                  <p:cNvSpPr/>
                  <p:nvPr/>
                </p:nvSpPr>
                <p:spPr>
                  <a:xfrm rot="16200000">
                    <a:off x="67555" y="1703579"/>
                    <a:ext cx="1188720" cy="504968"/>
                  </a:xfrm>
                  <a:prstGeom prst="round2Same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350" b="1" dirty="0" smtClean="0">
                        <a:solidFill>
                          <a:prstClr val="black"/>
                        </a:solidFill>
                      </a:rPr>
                      <a:t>Web Team</a:t>
                    </a:r>
                    <a:endParaRPr lang="en-US" sz="1350" b="1" dirty="0">
                      <a:solidFill>
                        <a:prstClr val="black"/>
                      </a:solidFill>
                    </a:endParaRPr>
                  </a:p>
                </p:txBody>
              </p:sp>
              <p:sp>
                <p:nvSpPr>
                  <p:cNvPr id="15" name="Round Same Side Corner Rectangle 14"/>
                  <p:cNvSpPr/>
                  <p:nvPr/>
                </p:nvSpPr>
                <p:spPr>
                  <a:xfrm rot="16200000">
                    <a:off x="67556" y="497456"/>
                    <a:ext cx="1188720" cy="504968"/>
                  </a:xfrm>
                  <a:prstGeom prst="round2SameRect">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b="1" dirty="0" smtClean="0">
                        <a:solidFill>
                          <a:prstClr val="black"/>
                        </a:solidFill>
                      </a:rPr>
                      <a:t>API Team</a:t>
                    </a:r>
                    <a:endParaRPr lang="en-US" sz="1600" b="1" dirty="0">
                      <a:solidFill>
                        <a:prstClr val="black"/>
                      </a:solidFill>
                    </a:endParaRPr>
                  </a:p>
                </p:txBody>
              </p:sp>
              <p:cxnSp>
                <p:nvCxnSpPr>
                  <p:cNvPr id="16" name="Straight Arrow Connector 15"/>
                  <p:cNvCxnSpPr/>
                  <p:nvPr/>
                </p:nvCxnSpPr>
                <p:spPr>
                  <a:xfrm>
                    <a:off x="914399" y="5574431"/>
                    <a:ext cx="464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378423" y="4298020"/>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378424" y="4298019"/>
                    <a:ext cx="0" cy="1280160"/>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405722" y="4286128"/>
                    <a:ext cx="1625133" cy="553998"/>
                  </a:xfrm>
                  <a:prstGeom prst="rect">
                    <a:avLst/>
                  </a:prstGeom>
                  <a:noFill/>
                </p:spPr>
                <p:txBody>
                  <a:bodyPr wrap="square" rtlCol="0">
                    <a:spAutoFit/>
                  </a:bodyPr>
                  <a:lstStyle/>
                  <a:p>
                    <a:pPr algn="ctr"/>
                    <a:r>
                      <a:rPr lang="en-US" sz="1000" b="1" dirty="0" smtClean="0">
                        <a:solidFill>
                          <a:prstClr val="black"/>
                        </a:solidFill>
                      </a:rPr>
                      <a:t>Call logging and ticket creation with appropriate priority / category</a:t>
                    </a:r>
                    <a:endParaRPr lang="en-US" sz="1000" b="1" dirty="0">
                      <a:solidFill>
                        <a:prstClr val="black"/>
                      </a:solidFill>
                    </a:endParaRPr>
                  </a:p>
                </p:txBody>
              </p:sp>
              <p:sp>
                <p:nvSpPr>
                  <p:cNvPr id="20" name="TextBox 19"/>
                  <p:cNvSpPr txBox="1"/>
                  <p:nvPr/>
                </p:nvSpPr>
                <p:spPr>
                  <a:xfrm>
                    <a:off x="890801" y="5201014"/>
                    <a:ext cx="630212" cy="369332"/>
                  </a:xfrm>
                  <a:prstGeom prst="rect">
                    <a:avLst/>
                  </a:prstGeom>
                  <a:noFill/>
                </p:spPr>
                <p:txBody>
                  <a:bodyPr wrap="square" rtlCol="0">
                    <a:spAutoFit/>
                  </a:bodyPr>
                  <a:lstStyle/>
                  <a:p>
                    <a:pPr algn="ctr"/>
                    <a:r>
                      <a:rPr lang="en-US" sz="900" b="1" dirty="0" smtClean="0">
                        <a:solidFill>
                          <a:srgbClr val="ED7D31">
                            <a:lumMod val="50000"/>
                          </a:srgbClr>
                        </a:solidFill>
                      </a:rPr>
                      <a:t>10/10 </a:t>
                    </a:r>
                  </a:p>
                  <a:p>
                    <a:pPr algn="ctr"/>
                    <a:r>
                      <a:rPr lang="en-US" sz="900" b="1" dirty="0" smtClean="0">
                        <a:solidFill>
                          <a:srgbClr val="ED7D31">
                            <a:lumMod val="50000"/>
                          </a:srgbClr>
                        </a:solidFill>
                      </a:rPr>
                      <a:t>17:57</a:t>
                    </a:r>
                    <a:endParaRPr lang="en-US" sz="900" b="1" dirty="0">
                      <a:solidFill>
                        <a:srgbClr val="ED7D31">
                          <a:lumMod val="50000"/>
                        </a:srgbClr>
                      </a:solidFill>
                    </a:endParaRPr>
                  </a:p>
                </p:txBody>
              </p:sp>
              <p:sp>
                <p:nvSpPr>
                  <p:cNvPr id="21" name="TextBox 20"/>
                  <p:cNvSpPr txBox="1"/>
                  <p:nvPr/>
                </p:nvSpPr>
                <p:spPr>
                  <a:xfrm>
                    <a:off x="1974833" y="3939387"/>
                    <a:ext cx="592312" cy="369332"/>
                  </a:xfrm>
                  <a:prstGeom prst="rect">
                    <a:avLst/>
                  </a:prstGeom>
                  <a:noFill/>
                </p:spPr>
                <p:txBody>
                  <a:bodyPr wrap="square" rtlCol="0">
                    <a:spAutoFit/>
                  </a:bodyPr>
                  <a:lstStyle/>
                  <a:p>
                    <a:pPr algn="ctr"/>
                    <a:r>
                      <a:rPr lang="en-US" sz="900" b="1" dirty="0" smtClean="0">
                        <a:solidFill>
                          <a:srgbClr val="ED7D31">
                            <a:lumMod val="50000"/>
                          </a:srgbClr>
                        </a:solidFill>
                      </a:rPr>
                      <a:t>10/10</a:t>
                    </a:r>
                  </a:p>
                  <a:p>
                    <a:pPr algn="ctr"/>
                    <a:r>
                      <a:rPr lang="en-US" sz="900" b="1" dirty="0" smtClean="0">
                        <a:solidFill>
                          <a:srgbClr val="ED7D31">
                            <a:lumMod val="50000"/>
                          </a:srgbClr>
                        </a:solidFill>
                      </a:rPr>
                      <a:t>18:37</a:t>
                    </a:r>
                  </a:p>
                </p:txBody>
              </p:sp>
              <p:sp>
                <p:nvSpPr>
                  <p:cNvPr id="22" name="Oval 21"/>
                  <p:cNvSpPr/>
                  <p:nvPr/>
                </p:nvSpPr>
                <p:spPr>
                  <a:xfrm>
                    <a:off x="1351126" y="5531785"/>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23" name="Oval 22"/>
                  <p:cNvSpPr/>
                  <p:nvPr/>
                </p:nvSpPr>
                <p:spPr>
                  <a:xfrm>
                    <a:off x="2486166" y="4264820"/>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24" name="Straight Connector 23"/>
                  <p:cNvCxnSpPr/>
                  <p:nvPr/>
                </p:nvCxnSpPr>
                <p:spPr>
                  <a:xfrm>
                    <a:off x="2523472" y="3021608"/>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2523474" y="3021610"/>
                    <a:ext cx="16459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388158" y="2650023"/>
                    <a:ext cx="592312" cy="369332"/>
                  </a:xfrm>
                  <a:prstGeom prst="rect">
                    <a:avLst/>
                  </a:prstGeom>
                  <a:noFill/>
                </p:spPr>
                <p:txBody>
                  <a:bodyPr wrap="square" rtlCol="0">
                    <a:spAutoFit/>
                  </a:bodyPr>
                  <a:lstStyle/>
                  <a:p>
                    <a:pPr algn="ctr"/>
                    <a:r>
                      <a:rPr lang="en-US" sz="900" b="1" dirty="0" smtClean="0">
                        <a:solidFill>
                          <a:srgbClr val="ED7D31">
                            <a:lumMod val="50000"/>
                          </a:srgbClr>
                        </a:solidFill>
                      </a:rPr>
                      <a:t>10/14</a:t>
                    </a:r>
                  </a:p>
                  <a:p>
                    <a:pPr algn="ctr"/>
                    <a:r>
                      <a:rPr lang="en-US" sz="900" b="1" dirty="0" smtClean="0">
                        <a:solidFill>
                          <a:srgbClr val="ED7D31">
                            <a:lumMod val="50000"/>
                          </a:srgbClr>
                        </a:solidFill>
                      </a:rPr>
                      <a:t>18:37</a:t>
                    </a:r>
                  </a:p>
                </p:txBody>
              </p:sp>
              <p:sp>
                <p:nvSpPr>
                  <p:cNvPr id="27" name="TextBox 26"/>
                  <p:cNvSpPr txBox="1"/>
                  <p:nvPr/>
                </p:nvSpPr>
                <p:spPr>
                  <a:xfrm>
                    <a:off x="2585806" y="3047680"/>
                    <a:ext cx="1314886" cy="553998"/>
                  </a:xfrm>
                  <a:prstGeom prst="rect">
                    <a:avLst/>
                  </a:prstGeom>
                  <a:noFill/>
                </p:spPr>
                <p:txBody>
                  <a:bodyPr wrap="square" rtlCol="0">
                    <a:spAutoFit/>
                  </a:bodyPr>
                  <a:lstStyle/>
                  <a:p>
                    <a:pPr algn="ctr"/>
                    <a:r>
                      <a:rPr lang="en-US" sz="1000" b="1" dirty="0" smtClean="0">
                        <a:solidFill>
                          <a:prstClr val="black"/>
                        </a:solidFill>
                      </a:rPr>
                      <a:t>Issue not replicated / analysis with the help of other teams. </a:t>
                    </a:r>
                    <a:endParaRPr lang="en-US" sz="1000" b="1" dirty="0">
                      <a:solidFill>
                        <a:prstClr val="black"/>
                      </a:solidFill>
                    </a:endParaRPr>
                  </a:p>
                </p:txBody>
              </p:sp>
              <p:sp>
                <p:nvSpPr>
                  <p:cNvPr id="28" name="Oval 27"/>
                  <p:cNvSpPr/>
                  <p:nvPr/>
                </p:nvSpPr>
                <p:spPr>
                  <a:xfrm>
                    <a:off x="4800063" y="2968245"/>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29" name="Straight Connector 28"/>
                  <p:cNvCxnSpPr/>
                  <p:nvPr/>
                </p:nvCxnSpPr>
                <p:spPr>
                  <a:xfrm>
                    <a:off x="4846689" y="1925556"/>
                    <a:ext cx="0" cy="109728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846689" y="1919641"/>
                    <a:ext cx="1920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977752" y="1544109"/>
                    <a:ext cx="592312" cy="369332"/>
                  </a:xfrm>
                  <a:prstGeom prst="rect">
                    <a:avLst/>
                  </a:prstGeom>
                  <a:noFill/>
                </p:spPr>
                <p:txBody>
                  <a:bodyPr wrap="square" rtlCol="0">
                    <a:spAutoFit/>
                  </a:bodyPr>
                  <a:lstStyle/>
                  <a:p>
                    <a:pPr algn="ctr"/>
                    <a:r>
                      <a:rPr lang="en-US" sz="900" b="1" dirty="0" smtClean="0">
                        <a:solidFill>
                          <a:srgbClr val="ED7D31">
                            <a:lumMod val="50000"/>
                          </a:srgbClr>
                        </a:solidFill>
                      </a:rPr>
                      <a:t>11/6</a:t>
                    </a:r>
                  </a:p>
                  <a:p>
                    <a:pPr algn="ctr"/>
                    <a:r>
                      <a:rPr lang="en-US" sz="900" b="1" dirty="0" smtClean="0">
                        <a:solidFill>
                          <a:srgbClr val="ED7D31">
                            <a:lumMod val="50000"/>
                          </a:srgbClr>
                        </a:solidFill>
                      </a:rPr>
                      <a:t>21:43</a:t>
                    </a:r>
                  </a:p>
                </p:txBody>
              </p:sp>
              <p:cxnSp>
                <p:nvCxnSpPr>
                  <p:cNvPr id="32" name="Straight Connector 31"/>
                  <p:cNvCxnSpPr/>
                  <p:nvPr/>
                </p:nvCxnSpPr>
                <p:spPr>
                  <a:xfrm>
                    <a:off x="7457476" y="814628"/>
                    <a:ext cx="0" cy="109728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457481" y="814628"/>
                    <a:ext cx="914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052873" y="961912"/>
                    <a:ext cx="991746" cy="839602"/>
                  </a:xfrm>
                  <a:prstGeom prst="rect">
                    <a:avLst/>
                  </a:prstGeom>
                  <a:noFill/>
                </p:spPr>
                <p:txBody>
                  <a:bodyPr wrap="square" rtlCol="0">
                    <a:spAutoFit/>
                  </a:bodyPr>
                  <a:lstStyle/>
                  <a:p>
                    <a:pPr algn="ctr"/>
                    <a:r>
                      <a:rPr lang="en-US" sz="1000" b="1" dirty="0" smtClean="0">
                        <a:solidFill>
                          <a:prstClr val="black"/>
                        </a:solidFill>
                      </a:rPr>
                      <a:t>API team analysis – No issue found</a:t>
                    </a:r>
                  </a:p>
                </p:txBody>
              </p:sp>
              <p:sp>
                <p:nvSpPr>
                  <p:cNvPr id="35" name="Oval 34"/>
                  <p:cNvSpPr/>
                  <p:nvPr/>
                </p:nvSpPr>
                <p:spPr>
                  <a:xfrm>
                    <a:off x="7413933" y="1885217"/>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36" name="Straight Arrow Connector 35"/>
                  <p:cNvCxnSpPr/>
                  <p:nvPr/>
                </p:nvCxnSpPr>
                <p:spPr>
                  <a:xfrm>
                    <a:off x="4181681" y="3020482"/>
                    <a:ext cx="640080" cy="0"/>
                  </a:xfrm>
                  <a:prstGeom prst="straightConnector1">
                    <a:avLst/>
                  </a:prstGeom>
                  <a:ln>
                    <a:solidFill>
                      <a:srgbClr val="F4433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6796959" y="1927089"/>
                    <a:ext cx="640080" cy="0"/>
                  </a:xfrm>
                  <a:prstGeom prst="straightConnector1">
                    <a:avLst/>
                  </a:prstGeom>
                  <a:ln>
                    <a:solidFill>
                      <a:srgbClr val="F4433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8331477" y="822191"/>
                    <a:ext cx="640080" cy="0"/>
                  </a:xfrm>
                  <a:prstGeom prst="straightConnector1">
                    <a:avLst/>
                  </a:prstGeom>
                  <a:ln>
                    <a:solidFill>
                      <a:srgbClr val="F4433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448867" y="457850"/>
                    <a:ext cx="592312" cy="369332"/>
                  </a:xfrm>
                  <a:prstGeom prst="rect">
                    <a:avLst/>
                  </a:prstGeom>
                  <a:noFill/>
                </p:spPr>
                <p:txBody>
                  <a:bodyPr wrap="square" rtlCol="0">
                    <a:spAutoFit/>
                  </a:bodyPr>
                  <a:lstStyle/>
                  <a:p>
                    <a:pPr algn="ctr"/>
                    <a:r>
                      <a:rPr lang="en-US" sz="900" b="1" dirty="0" smtClean="0">
                        <a:solidFill>
                          <a:srgbClr val="ED7D31">
                            <a:lumMod val="50000"/>
                          </a:srgbClr>
                        </a:solidFill>
                      </a:rPr>
                      <a:t>11/7</a:t>
                    </a:r>
                  </a:p>
                  <a:p>
                    <a:pPr algn="ctr"/>
                    <a:r>
                      <a:rPr lang="en-US" sz="900" b="1" dirty="0" smtClean="0">
                        <a:solidFill>
                          <a:srgbClr val="ED7D31">
                            <a:lumMod val="50000"/>
                          </a:srgbClr>
                        </a:solidFill>
                      </a:rPr>
                      <a:t>13:58</a:t>
                    </a:r>
                  </a:p>
                </p:txBody>
              </p:sp>
              <p:sp>
                <p:nvSpPr>
                  <p:cNvPr id="40" name="Oval 39"/>
                  <p:cNvSpPr/>
                  <p:nvPr/>
                </p:nvSpPr>
                <p:spPr>
                  <a:xfrm>
                    <a:off x="4160139" y="2995541"/>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41" name="Straight Connector 40"/>
                  <p:cNvCxnSpPr/>
                  <p:nvPr/>
                </p:nvCxnSpPr>
                <p:spPr>
                  <a:xfrm>
                    <a:off x="4204333" y="1490162"/>
                    <a:ext cx="0" cy="1554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175863" y="391699"/>
                    <a:ext cx="0" cy="1097280"/>
                  </a:xfrm>
                  <a:prstGeom prst="line">
                    <a:avLst/>
                  </a:prstGeom>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6132320" y="1462288"/>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44" name="Oval 43"/>
                  <p:cNvSpPr/>
                  <p:nvPr/>
                </p:nvSpPr>
                <p:spPr>
                  <a:xfrm>
                    <a:off x="7077744" y="353248"/>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45" name="Oval 44"/>
                  <p:cNvSpPr/>
                  <p:nvPr/>
                </p:nvSpPr>
                <p:spPr>
                  <a:xfrm>
                    <a:off x="8937623" y="773228"/>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46" name="TextBox 45"/>
                  <p:cNvSpPr txBox="1"/>
                  <p:nvPr/>
                </p:nvSpPr>
                <p:spPr>
                  <a:xfrm>
                    <a:off x="4983792" y="1915757"/>
                    <a:ext cx="1248558" cy="657080"/>
                  </a:xfrm>
                  <a:prstGeom prst="rect">
                    <a:avLst/>
                  </a:prstGeom>
                  <a:noFill/>
                </p:spPr>
                <p:txBody>
                  <a:bodyPr wrap="square" rtlCol="0">
                    <a:spAutoFit/>
                  </a:bodyPr>
                  <a:lstStyle/>
                  <a:p>
                    <a:pPr algn="ctr"/>
                    <a:r>
                      <a:rPr lang="en-US" sz="1000" b="1" dirty="0" smtClean="0">
                        <a:solidFill>
                          <a:prstClr val="black"/>
                        </a:solidFill>
                      </a:rPr>
                      <a:t>Web team analysis.  No issue found.</a:t>
                    </a:r>
                  </a:p>
                </p:txBody>
              </p:sp>
              <p:sp>
                <p:nvSpPr>
                  <p:cNvPr id="47" name="TextBox 46"/>
                  <p:cNvSpPr txBox="1"/>
                  <p:nvPr/>
                </p:nvSpPr>
                <p:spPr>
                  <a:xfrm>
                    <a:off x="6213842" y="373670"/>
                    <a:ext cx="912331" cy="839602"/>
                  </a:xfrm>
                  <a:prstGeom prst="rect">
                    <a:avLst/>
                  </a:prstGeom>
                  <a:noFill/>
                </p:spPr>
                <p:txBody>
                  <a:bodyPr wrap="square" rtlCol="0">
                    <a:spAutoFit/>
                  </a:bodyPr>
                  <a:lstStyle/>
                  <a:p>
                    <a:pPr algn="ctr"/>
                    <a:r>
                      <a:rPr lang="en-US" sz="1000" b="1" dirty="0" smtClean="0">
                        <a:solidFill>
                          <a:prstClr val="black"/>
                        </a:solidFill>
                      </a:rPr>
                      <a:t>API team analysis – No issue found</a:t>
                    </a:r>
                  </a:p>
                </p:txBody>
              </p:sp>
              <p:cxnSp>
                <p:nvCxnSpPr>
                  <p:cNvPr id="48" name="Straight Connector 47"/>
                  <p:cNvCxnSpPr/>
                  <p:nvPr/>
                </p:nvCxnSpPr>
                <p:spPr>
                  <a:xfrm>
                    <a:off x="7116999" y="398968"/>
                    <a:ext cx="0" cy="237744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978768" y="822191"/>
                    <a:ext cx="0" cy="237744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8940316" y="3116391"/>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51" name="Straight Connector 50"/>
                  <p:cNvCxnSpPr/>
                  <p:nvPr/>
                </p:nvCxnSpPr>
                <p:spPr>
                  <a:xfrm rot="16200000">
                    <a:off x="5684975" y="-3364860"/>
                    <a:ext cx="0" cy="941832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6200000">
                    <a:off x="5623242" y="-2161382"/>
                    <a:ext cx="0" cy="941832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6200000">
                    <a:off x="5684975" y="-943535"/>
                    <a:ext cx="0" cy="941832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a:off x="5650538" y="259942"/>
                    <a:ext cx="0" cy="941832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211714" y="1491942"/>
                    <a:ext cx="1920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175863" y="391699"/>
                    <a:ext cx="914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7104120" y="2771677"/>
                    <a:ext cx="914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8020791" y="2724829"/>
                    <a:ext cx="91440"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cxnSp>
                <p:nvCxnSpPr>
                  <p:cNvPr id="59" name="Straight Arrow Connector 58"/>
                  <p:cNvCxnSpPr/>
                  <p:nvPr/>
                </p:nvCxnSpPr>
                <p:spPr>
                  <a:xfrm>
                    <a:off x="9033159" y="3168877"/>
                    <a:ext cx="914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9949830" y="3122029"/>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61" name="TextBox 60"/>
                  <p:cNvSpPr txBox="1"/>
                  <p:nvPr/>
                </p:nvSpPr>
                <p:spPr>
                  <a:xfrm>
                    <a:off x="6977753" y="2790835"/>
                    <a:ext cx="1001638" cy="657080"/>
                  </a:xfrm>
                  <a:prstGeom prst="rect">
                    <a:avLst/>
                  </a:prstGeom>
                  <a:noFill/>
                </p:spPr>
                <p:txBody>
                  <a:bodyPr wrap="square" rtlCol="0">
                    <a:spAutoFit/>
                  </a:bodyPr>
                  <a:lstStyle/>
                  <a:p>
                    <a:pPr algn="ctr"/>
                    <a:r>
                      <a:rPr lang="en-US" sz="1000" b="1" dirty="0" smtClean="0">
                        <a:solidFill>
                          <a:prstClr val="black"/>
                        </a:solidFill>
                      </a:rPr>
                      <a:t>Analysis presented / Closed</a:t>
                    </a:r>
                  </a:p>
                </p:txBody>
              </p:sp>
              <p:sp>
                <p:nvSpPr>
                  <p:cNvPr id="62" name="TextBox 61"/>
                  <p:cNvSpPr txBox="1"/>
                  <p:nvPr/>
                </p:nvSpPr>
                <p:spPr>
                  <a:xfrm>
                    <a:off x="9504665" y="2768602"/>
                    <a:ext cx="592312" cy="369332"/>
                  </a:xfrm>
                  <a:prstGeom prst="rect">
                    <a:avLst/>
                  </a:prstGeom>
                  <a:noFill/>
                </p:spPr>
                <p:txBody>
                  <a:bodyPr wrap="square" rtlCol="0">
                    <a:spAutoFit/>
                  </a:bodyPr>
                  <a:lstStyle/>
                  <a:p>
                    <a:pPr algn="ctr"/>
                    <a:r>
                      <a:rPr lang="en-US" sz="900" b="1" dirty="0" smtClean="0">
                        <a:solidFill>
                          <a:srgbClr val="ED7D31">
                            <a:lumMod val="50000"/>
                          </a:srgbClr>
                        </a:solidFill>
                      </a:rPr>
                      <a:t>11/7</a:t>
                    </a:r>
                  </a:p>
                  <a:p>
                    <a:pPr algn="ctr"/>
                    <a:r>
                      <a:rPr lang="en-US" sz="900" b="1" dirty="0" smtClean="0">
                        <a:solidFill>
                          <a:srgbClr val="ED7D31">
                            <a:lumMod val="50000"/>
                          </a:srgbClr>
                        </a:solidFill>
                      </a:rPr>
                      <a:t>23:44</a:t>
                    </a:r>
                  </a:p>
                </p:txBody>
              </p:sp>
              <p:cxnSp>
                <p:nvCxnSpPr>
                  <p:cNvPr id="63" name="Straight Connector 62"/>
                  <p:cNvCxnSpPr/>
                  <p:nvPr/>
                </p:nvCxnSpPr>
                <p:spPr>
                  <a:xfrm>
                    <a:off x="9995550" y="219588"/>
                    <a:ext cx="0" cy="5852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060526" y="219588"/>
                    <a:ext cx="0" cy="5852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a:off x="6006567" y="973608"/>
                    <a:ext cx="0" cy="9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3392461" y="5632822"/>
                    <a:ext cx="2648354" cy="461665"/>
                  </a:xfrm>
                  <a:prstGeom prst="rect">
                    <a:avLst/>
                  </a:prstGeom>
                </p:spPr>
                <p:txBody>
                  <a:bodyPr wrap="none">
                    <a:spAutoFit/>
                  </a:bodyPr>
                  <a:lstStyle/>
                  <a:p>
                    <a:pPr algn="ctr"/>
                    <a:r>
                      <a:rPr lang="en-US" sz="1200" b="1" dirty="0" smtClean="0">
                        <a:solidFill>
                          <a:srgbClr val="5B9BD5">
                            <a:lumMod val="50000"/>
                          </a:srgbClr>
                        </a:solidFill>
                      </a:rPr>
                      <a:t>Service Restoration Time</a:t>
                    </a:r>
                  </a:p>
                  <a:p>
                    <a:pPr algn="ctr"/>
                    <a:r>
                      <a:rPr lang="en-US" sz="1200" b="1" i="1" dirty="0" smtClean="0">
                        <a:solidFill>
                          <a:srgbClr val="5B9BD5">
                            <a:lumMod val="50000"/>
                          </a:srgbClr>
                        </a:solidFill>
                      </a:rPr>
                      <a:t>(Service Levels Committed to Business)</a:t>
                    </a:r>
                    <a:endParaRPr lang="en-US" sz="1200" b="1" i="1" dirty="0">
                      <a:solidFill>
                        <a:srgbClr val="5B9BD5">
                          <a:lumMod val="50000"/>
                        </a:srgbClr>
                      </a:solidFill>
                    </a:endParaRPr>
                  </a:p>
                </p:txBody>
              </p:sp>
              <p:cxnSp>
                <p:nvCxnSpPr>
                  <p:cNvPr id="67" name="Straight Connector 66"/>
                  <p:cNvCxnSpPr/>
                  <p:nvPr/>
                </p:nvCxnSpPr>
                <p:spPr>
                  <a:xfrm>
                    <a:off x="1386087" y="5646839"/>
                    <a:ext cx="0" cy="3657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5956033" y="5818196"/>
                    <a:ext cx="210312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H="1">
                    <a:off x="1386087" y="5836243"/>
                    <a:ext cx="210312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8118315" y="5818196"/>
                    <a:ext cx="1828800" cy="0"/>
                  </a:xfrm>
                  <a:prstGeom prst="straightConnector1">
                    <a:avLst/>
                  </a:prstGeom>
                  <a:ln>
                    <a:solidFill>
                      <a:srgbClr val="F4433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9960194" y="5523350"/>
                    <a:ext cx="1143162" cy="766593"/>
                  </a:xfrm>
                  <a:prstGeom prst="rect">
                    <a:avLst/>
                  </a:prstGeom>
                </p:spPr>
                <p:txBody>
                  <a:bodyPr wrap="square">
                    <a:spAutoFit/>
                  </a:bodyPr>
                  <a:lstStyle/>
                  <a:p>
                    <a:pPr algn="ctr"/>
                    <a:r>
                      <a:rPr lang="en-US" sz="1200" b="1" dirty="0" smtClean="0">
                        <a:solidFill>
                          <a:srgbClr val="5B9BD5">
                            <a:lumMod val="50000"/>
                          </a:srgbClr>
                        </a:solidFill>
                      </a:rPr>
                      <a:t>Actual Restoration Time</a:t>
                    </a:r>
                    <a:endParaRPr lang="en-US" sz="1200" b="1" i="1" dirty="0">
                      <a:solidFill>
                        <a:srgbClr val="5B9BD5">
                          <a:lumMod val="50000"/>
                        </a:srgbClr>
                      </a:solidFill>
                    </a:endParaRPr>
                  </a:p>
                </p:txBody>
              </p:sp>
              <p:sp>
                <p:nvSpPr>
                  <p:cNvPr id="72" name="Rectangular Callout 71"/>
                  <p:cNvSpPr/>
                  <p:nvPr/>
                </p:nvSpPr>
                <p:spPr>
                  <a:xfrm>
                    <a:off x="3633901" y="4551033"/>
                    <a:ext cx="3344026" cy="840184"/>
                  </a:xfrm>
                  <a:prstGeom prst="wedgeRectCallou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black"/>
                        </a:solidFill>
                      </a:rPr>
                      <a:t>Service </a:t>
                    </a:r>
                    <a:r>
                      <a:rPr lang="en-US" sz="1200" b="1" dirty="0">
                        <a:solidFill>
                          <a:prstClr val="black"/>
                        </a:solidFill>
                      </a:rPr>
                      <a:t>Integration across application towers </a:t>
                    </a:r>
                    <a:r>
                      <a:rPr lang="en-US" sz="1200" b="1" dirty="0" smtClean="0">
                        <a:solidFill>
                          <a:prstClr val="black"/>
                        </a:solidFill>
                      </a:rPr>
                      <a:t>will be ensured through </a:t>
                    </a:r>
                    <a:r>
                      <a:rPr lang="en-US" sz="1200" b="1" dirty="0">
                        <a:solidFill>
                          <a:prstClr val="black"/>
                        </a:solidFill>
                      </a:rPr>
                      <a:t>the </a:t>
                    </a:r>
                    <a:r>
                      <a:rPr lang="en-US" sz="1200" b="1" dirty="0" smtClean="0">
                        <a:solidFill>
                          <a:prstClr val="black"/>
                        </a:solidFill>
                      </a:rPr>
                      <a:t>DIAL framework</a:t>
                    </a:r>
                    <a:endParaRPr lang="en-US" sz="1200" b="1" dirty="0">
                      <a:solidFill>
                        <a:prstClr val="black"/>
                      </a:solidFill>
                    </a:endParaRPr>
                  </a:p>
                </p:txBody>
              </p:sp>
              <p:sp>
                <p:nvSpPr>
                  <p:cNvPr id="73" name="Left Brace 72"/>
                  <p:cNvSpPr/>
                  <p:nvPr/>
                </p:nvSpPr>
                <p:spPr>
                  <a:xfrm rot="16200000">
                    <a:off x="8950641" y="3019431"/>
                    <a:ext cx="147878" cy="1875573"/>
                  </a:xfrm>
                  <a:prstGeom prst="leftBrace">
                    <a:avLst/>
                  </a:prstGeom>
                  <a:solidFill>
                    <a:srgbClr val="FF0000"/>
                  </a:solidFill>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prstClr val="black"/>
                      </a:solidFill>
                    </a:endParaRPr>
                  </a:p>
                </p:txBody>
              </p:sp>
              <p:sp>
                <p:nvSpPr>
                  <p:cNvPr id="74" name="Rectangle 73"/>
                  <p:cNvSpPr/>
                  <p:nvPr/>
                </p:nvSpPr>
                <p:spPr>
                  <a:xfrm>
                    <a:off x="11290674" y="2531634"/>
                    <a:ext cx="2949318" cy="3637157"/>
                  </a:xfrm>
                  <a:prstGeom prst="rect">
                    <a:avLst/>
                  </a:prstGeom>
                  <a:solidFill>
                    <a:schemeClr val="bg1"/>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black"/>
                        </a:solidFill>
                      </a:rPr>
                      <a:t>Individual service </a:t>
                    </a:r>
                    <a:r>
                      <a:rPr lang="en-US" sz="1400" b="1" dirty="0">
                        <a:solidFill>
                          <a:prstClr val="black"/>
                        </a:solidFill>
                      </a:rPr>
                      <a:t>p</a:t>
                    </a:r>
                    <a:r>
                      <a:rPr lang="en-US" sz="1400" b="1" dirty="0" smtClean="0">
                        <a:solidFill>
                          <a:prstClr val="black"/>
                        </a:solidFill>
                      </a:rPr>
                      <a:t>rovider’s SLA may be green but may not meet the service level committed to business.</a:t>
                    </a:r>
                  </a:p>
                  <a:p>
                    <a:pPr algn="ctr"/>
                    <a:r>
                      <a:rPr lang="en-US" sz="1400" b="1" dirty="0" smtClean="0">
                        <a:solidFill>
                          <a:prstClr val="black"/>
                        </a:solidFill>
                      </a:rPr>
                      <a:t> </a:t>
                    </a:r>
                  </a:p>
                  <a:p>
                    <a:pPr algn="ctr"/>
                    <a:r>
                      <a:rPr lang="en-US" sz="1400" b="1" dirty="0" smtClean="0">
                        <a:solidFill>
                          <a:srgbClr val="00B0F0"/>
                        </a:solidFill>
                      </a:rPr>
                      <a:t>DIAL Framework can help reduce the restoration times in such scenario</a:t>
                    </a:r>
                  </a:p>
                  <a:p>
                    <a:pPr algn="ctr"/>
                    <a:endParaRPr lang="en-US" sz="1400" b="1" dirty="0" smtClean="0">
                      <a:solidFill>
                        <a:srgbClr val="00B0F0"/>
                      </a:solidFill>
                    </a:endParaRPr>
                  </a:p>
                  <a:p>
                    <a:pPr algn="ctr"/>
                    <a:r>
                      <a:rPr lang="en-US" sz="1400" b="1" dirty="0" smtClean="0">
                        <a:solidFill>
                          <a:schemeClr val="accent1">
                            <a:lumMod val="75000"/>
                          </a:schemeClr>
                        </a:solidFill>
                      </a:rPr>
                      <a:t>Methodology</a:t>
                    </a:r>
                    <a:endParaRPr lang="en-US" sz="1400" b="1" dirty="0">
                      <a:solidFill>
                        <a:schemeClr val="accent1">
                          <a:lumMod val="75000"/>
                        </a:schemeClr>
                      </a:solidFill>
                    </a:endParaRPr>
                  </a:p>
                  <a:p>
                    <a:pPr algn="ctr"/>
                    <a:r>
                      <a:rPr lang="en-US" sz="1400" b="1" dirty="0" smtClean="0">
                        <a:solidFill>
                          <a:schemeClr val="accent1">
                            <a:lumMod val="75000"/>
                          </a:schemeClr>
                        </a:solidFill>
                      </a:rPr>
                      <a:t>End to End Diagnostics with  Zero maintenance Mindset</a:t>
                    </a:r>
                  </a:p>
                </p:txBody>
              </p:sp>
              <p:sp>
                <p:nvSpPr>
                  <p:cNvPr id="75" name="TextBox 74"/>
                  <p:cNvSpPr txBox="1"/>
                  <p:nvPr/>
                </p:nvSpPr>
                <p:spPr>
                  <a:xfrm>
                    <a:off x="4004860" y="3116397"/>
                    <a:ext cx="919527" cy="246221"/>
                  </a:xfrm>
                  <a:prstGeom prst="rect">
                    <a:avLst/>
                  </a:prstGeom>
                  <a:noFill/>
                  <a:ln>
                    <a:solidFill>
                      <a:srgbClr val="FF0000"/>
                    </a:solidFill>
                    <a:prstDash val="sysDash"/>
                  </a:ln>
                </p:spPr>
                <p:txBody>
                  <a:bodyPr wrap="square" rtlCol="0">
                    <a:spAutoFit/>
                  </a:bodyPr>
                  <a:lstStyle/>
                  <a:p>
                    <a:pPr algn="ctr"/>
                    <a:r>
                      <a:rPr lang="en-US" sz="1000" b="1" dirty="0" smtClean="0">
                        <a:solidFill>
                          <a:prstClr val="black"/>
                        </a:solidFill>
                      </a:rPr>
                      <a:t>FIFO Affect</a:t>
                    </a:r>
                    <a:endParaRPr lang="en-US" sz="1000" b="1" dirty="0">
                      <a:solidFill>
                        <a:prstClr val="black"/>
                      </a:solidFill>
                    </a:endParaRPr>
                  </a:p>
                </p:txBody>
              </p:sp>
              <p:sp>
                <p:nvSpPr>
                  <p:cNvPr id="76" name="Rectangle 75"/>
                  <p:cNvSpPr/>
                  <p:nvPr/>
                </p:nvSpPr>
                <p:spPr>
                  <a:xfrm rot="16200000">
                    <a:off x="7865331" y="2219155"/>
                    <a:ext cx="759695" cy="276999"/>
                  </a:xfrm>
                  <a:prstGeom prst="rect">
                    <a:avLst/>
                  </a:prstGeom>
                  <a:solidFill>
                    <a:schemeClr val="bg1">
                      <a:lumMod val="95000"/>
                    </a:schemeClr>
                  </a:solidFill>
                </p:spPr>
                <p:txBody>
                  <a:bodyPr wrap="none">
                    <a:spAutoFit/>
                  </a:bodyPr>
                  <a:lstStyle/>
                  <a:p>
                    <a:r>
                      <a:rPr lang="en-US" sz="1200" b="1" dirty="0" smtClean="0">
                        <a:solidFill>
                          <a:prstClr val="black"/>
                        </a:solidFill>
                      </a:rPr>
                      <a:t>Resolved</a:t>
                    </a:r>
                    <a:endParaRPr lang="en-US" sz="1200" b="1" dirty="0">
                      <a:solidFill>
                        <a:prstClr val="black"/>
                      </a:solidFill>
                    </a:endParaRPr>
                  </a:p>
                </p:txBody>
              </p:sp>
              <p:sp>
                <p:nvSpPr>
                  <p:cNvPr id="77" name="Rectangle 76"/>
                  <p:cNvSpPr/>
                  <p:nvPr/>
                </p:nvSpPr>
                <p:spPr>
                  <a:xfrm rot="16200000">
                    <a:off x="9736651" y="3025387"/>
                    <a:ext cx="759695" cy="276999"/>
                  </a:xfrm>
                  <a:prstGeom prst="rect">
                    <a:avLst/>
                  </a:prstGeom>
                </p:spPr>
                <p:txBody>
                  <a:bodyPr wrap="none">
                    <a:spAutoFit/>
                  </a:bodyPr>
                  <a:lstStyle/>
                  <a:p>
                    <a:r>
                      <a:rPr lang="en-US" sz="1200" b="1" dirty="0" smtClean="0">
                        <a:solidFill>
                          <a:srgbClr val="FF0000"/>
                        </a:solidFill>
                      </a:rPr>
                      <a:t>Resolved</a:t>
                    </a:r>
                    <a:endParaRPr lang="en-US" sz="1200" b="1" dirty="0">
                      <a:solidFill>
                        <a:srgbClr val="FF0000"/>
                      </a:solidFill>
                    </a:endParaRPr>
                  </a:p>
                </p:txBody>
              </p:sp>
              <p:sp>
                <p:nvSpPr>
                  <p:cNvPr id="78" name="Oval 77"/>
                  <p:cNvSpPr/>
                  <p:nvPr/>
                </p:nvSpPr>
                <p:spPr>
                  <a:xfrm>
                    <a:off x="6259563" y="1409915"/>
                    <a:ext cx="182880" cy="182880"/>
                  </a:xfrm>
                  <a:prstGeom prst="ellipse">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b="1">
                      <a:solidFill>
                        <a:prstClr val="white"/>
                      </a:solidFill>
                    </a:endParaRPr>
                  </a:p>
                </p:txBody>
              </p:sp>
              <p:sp>
                <p:nvSpPr>
                  <p:cNvPr id="79" name="Oval 78"/>
                  <p:cNvSpPr/>
                  <p:nvPr/>
                </p:nvSpPr>
                <p:spPr>
                  <a:xfrm>
                    <a:off x="7203159" y="321176"/>
                    <a:ext cx="182880" cy="182880"/>
                  </a:xfrm>
                  <a:prstGeom prst="ellipse">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b="1">
                      <a:solidFill>
                        <a:prstClr val="white"/>
                      </a:solidFill>
                    </a:endParaRPr>
                  </a:p>
                </p:txBody>
              </p:sp>
              <p:sp>
                <p:nvSpPr>
                  <p:cNvPr id="80" name="Oval 79"/>
                  <p:cNvSpPr/>
                  <p:nvPr/>
                </p:nvSpPr>
                <p:spPr>
                  <a:xfrm>
                    <a:off x="8132384" y="2695099"/>
                    <a:ext cx="182880" cy="182880"/>
                  </a:xfrm>
                  <a:prstGeom prst="ellipse">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b="1">
                      <a:solidFill>
                        <a:prstClr val="white"/>
                      </a:solidFill>
                    </a:endParaRPr>
                  </a:p>
                </p:txBody>
              </p:sp>
            </p:grpSp>
            <p:sp>
              <p:nvSpPr>
                <p:cNvPr id="10" name="TextBox 9"/>
                <p:cNvSpPr txBox="1"/>
                <p:nvPr/>
              </p:nvSpPr>
              <p:spPr>
                <a:xfrm>
                  <a:off x="9029064" y="3146792"/>
                  <a:ext cx="890430" cy="657080"/>
                </a:xfrm>
                <a:prstGeom prst="rect">
                  <a:avLst/>
                </a:prstGeom>
                <a:noFill/>
              </p:spPr>
              <p:txBody>
                <a:bodyPr wrap="square" rtlCol="0">
                  <a:spAutoFit/>
                </a:bodyPr>
                <a:lstStyle/>
                <a:p>
                  <a:pPr algn="ctr"/>
                  <a:r>
                    <a:rPr lang="en-US" sz="1000" b="1" dirty="0" smtClean="0">
                      <a:solidFill>
                        <a:prstClr val="black"/>
                      </a:solidFill>
                    </a:rPr>
                    <a:t>Analysis presented / Closed</a:t>
                  </a:r>
                </a:p>
              </p:txBody>
            </p:sp>
          </p:grpSp>
          <p:cxnSp>
            <p:nvCxnSpPr>
              <p:cNvPr id="8" name="Straight Arrow Connector 7"/>
              <p:cNvCxnSpPr/>
              <p:nvPr/>
            </p:nvCxnSpPr>
            <p:spPr>
              <a:xfrm>
                <a:off x="1385249" y="6258528"/>
                <a:ext cx="667512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4338146" y="6348065"/>
              <a:ext cx="553357" cy="307777"/>
            </a:xfrm>
            <a:prstGeom prst="rect">
              <a:avLst/>
            </a:prstGeom>
            <a:solidFill>
              <a:schemeClr val="bg1"/>
            </a:solidFill>
          </p:spPr>
          <p:txBody>
            <a:bodyPr wrap="none">
              <a:spAutoFit/>
            </a:bodyPr>
            <a:lstStyle/>
            <a:p>
              <a:r>
                <a:rPr lang="en-US" sz="1400" b="1" dirty="0" smtClean="0">
                  <a:solidFill>
                    <a:prstClr val="black"/>
                  </a:solidFill>
                </a:rPr>
                <a:t>Time</a:t>
              </a:r>
              <a:endParaRPr lang="en-US" sz="1400" dirty="0">
                <a:solidFill>
                  <a:prstClr val="black"/>
                </a:solidFill>
              </a:endParaRPr>
            </a:p>
          </p:txBody>
        </p:sp>
      </p:grpSp>
      <p:sp>
        <p:nvSpPr>
          <p:cNvPr id="81" name="TextBox 80"/>
          <p:cNvSpPr txBox="1"/>
          <p:nvPr/>
        </p:nvSpPr>
        <p:spPr>
          <a:xfrm>
            <a:off x="5693736" y="2482283"/>
            <a:ext cx="771409" cy="246221"/>
          </a:xfrm>
          <a:prstGeom prst="rect">
            <a:avLst/>
          </a:prstGeom>
          <a:noFill/>
          <a:ln>
            <a:solidFill>
              <a:srgbClr val="FF0000"/>
            </a:solidFill>
            <a:prstDash val="sysDash"/>
          </a:ln>
        </p:spPr>
        <p:txBody>
          <a:bodyPr wrap="square" rtlCol="0">
            <a:spAutoFit/>
          </a:bodyPr>
          <a:lstStyle/>
          <a:p>
            <a:pPr algn="ctr"/>
            <a:r>
              <a:rPr lang="en-US" sz="1000" b="1" dirty="0" smtClean="0">
                <a:solidFill>
                  <a:prstClr val="black"/>
                </a:solidFill>
              </a:rPr>
              <a:t>FIFO Affect</a:t>
            </a:r>
            <a:endParaRPr lang="en-US" sz="1000" b="1" dirty="0">
              <a:solidFill>
                <a:prstClr val="black"/>
              </a:solidFill>
            </a:endParaRPr>
          </a:p>
        </p:txBody>
      </p:sp>
      <p:sp>
        <p:nvSpPr>
          <p:cNvPr id="82" name="TextBox 81"/>
          <p:cNvSpPr txBox="1"/>
          <p:nvPr/>
        </p:nvSpPr>
        <p:spPr>
          <a:xfrm>
            <a:off x="9525706" y="886440"/>
            <a:ext cx="2494837" cy="1683024"/>
          </a:xfrm>
          <a:prstGeom prst="rect">
            <a:avLst/>
          </a:prstGeom>
          <a:noFill/>
          <a:ln>
            <a:solidFill>
              <a:schemeClr val="tx1"/>
            </a:solidFill>
          </a:ln>
        </p:spPr>
        <p:txBody>
          <a:bodyPr wrap="square" rtlCol="0">
            <a:noAutofit/>
          </a:bodyPr>
          <a:lstStyle/>
          <a:p>
            <a:pPr algn="ctr"/>
            <a:r>
              <a:rPr lang="en-US" sz="2000" b="1" u="sng" dirty="0" smtClean="0">
                <a:solidFill>
                  <a:prstClr val="black"/>
                </a:solidFill>
              </a:rPr>
              <a:t>Incidence Summary</a:t>
            </a:r>
            <a:endParaRPr lang="en-US" sz="2000" dirty="0">
              <a:solidFill>
                <a:prstClr val="black"/>
              </a:solidFill>
            </a:endParaRPr>
          </a:p>
          <a:p>
            <a:pPr algn="ctr"/>
            <a:r>
              <a:rPr lang="en-US" sz="2000" dirty="0" smtClean="0">
                <a:solidFill>
                  <a:prstClr val="black"/>
                </a:solidFill>
              </a:rPr>
              <a:t>“Marriott Rewards” key functionality is not working for some users</a:t>
            </a:r>
            <a:endParaRPr lang="en-US" sz="2000" dirty="0">
              <a:solidFill>
                <a:prstClr val="black"/>
              </a:solidFill>
            </a:endParaRPr>
          </a:p>
        </p:txBody>
      </p:sp>
      <p:cxnSp>
        <p:nvCxnSpPr>
          <p:cNvPr id="83" name="Elbow Connector 82"/>
          <p:cNvCxnSpPr>
            <a:stCxn id="74" idx="1"/>
            <a:endCxn id="73" idx="1"/>
          </p:cNvCxnSpPr>
          <p:nvPr/>
        </p:nvCxnSpPr>
        <p:spPr>
          <a:xfrm rot="10800000">
            <a:off x="7635515" y="4154022"/>
            <a:ext cx="1900719" cy="269003"/>
          </a:xfrm>
          <a:prstGeom prst="bentConnector4">
            <a:avLst>
              <a:gd name="adj1" fmla="val 48360"/>
              <a:gd name="adj2" fmla="val -875"/>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spTree>
    <p:extLst>
      <p:ext uri="{BB962C8B-B14F-4D97-AF65-F5344CB8AC3E}">
        <p14:creationId xmlns:p14="http://schemas.microsoft.com/office/powerpoint/2010/main" val="179523348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806" y="111355"/>
            <a:ext cx="10515600"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a:latin typeface="Calibri" panose="020F0502020204030204" pitchFamily="34" charset="0"/>
                <a:cs typeface="Calibri" panose="020F0502020204030204" pitchFamily="34" charset="0"/>
              </a:rPr>
              <a:t>Reimagining products for the digital age: </a:t>
            </a:r>
            <a:r>
              <a:rPr lang="en-US" sz="2400" dirty="0">
                <a:cs typeface="Calibri" panose="020F0502020204030204" pitchFamily="34" charset="0"/>
              </a:rPr>
              <a:t>t</a:t>
            </a:r>
            <a:r>
              <a:rPr lang="en-US" sz="2400" dirty="0">
                <a:latin typeface="Calibri" panose="020F0502020204030204" pitchFamily="34" charset="0"/>
                <a:cs typeface="Calibri" panose="020F0502020204030204" pitchFamily="34" charset="0"/>
              </a:rPr>
              <a:t>he “3Ws”</a:t>
            </a:r>
            <a:endParaRPr lang="en-US" sz="2200" b="0" dirty="0"/>
          </a:p>
        </p:txBody>
      </p:sp>
      <p:grpSp>
        <p:nvGrpSpPr>
          <p:cNvPr id="3" name="Group 2"/>
          <p:cNvGrpSpPr/>
          <p:nvPr/>
        </p:nvGrpSpPr>
        <p:grpSpPr>
          <a:xfrm>
            <a:off x="469527" y="958880"/>
            <a:ext cx="5806270" cy="3044614"/>
            <a:chOff x="540966" y="958879"/>
            <a:chExt cx="6100141" cy="3182642"/>
          </a:xfrm>
        </p:grpSpPr>
        <p:sp>
          <p:nvSpPr>
            <p:cNvPr id="4" name="object 28"/>
            <p:cNvSpPr/>
            <p:nvPr/>
          </p:nvSpPr>
          <p:spPr>
            <a:xfrm>
              <a:off x="540966" y="1304775"/>
              <a:ext cx="6100141" cy="283674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27"/>
            <p:cNvSpPr txBox="1"/>
            <p:nvPr/>
          </p:nvSpPr>
          <p:spPr>
            <a:xfrm>
              <a:off x="2994563" y="958879"/>
              <a:ext cx="1355506" cy="287323"/>
            </a:xfrm>
            <a:prstGeom prst="rect">
              <a:avLst/>
            </a:prstGeom>
          </p:spPr>
          <p:txBody>
            <a:bodyPr vert="horz" wrap="square" lIns="0" tIns="0" rIns="0" bIns="0" rtlCol="0">
              <a:spAutoFit/>
            </a:bodyPr>
            <a:lstStyle/>
            <a:p>
              <a:pPr marL="16933" marR="0" lvl="0" indent="0" algn="ctr" defTabSz="914400" rtl="0" eaLnBrk="1" fontAlgn="auto" latinLnBrk="0" hangingPunct="1">
                <a:lnSpc>
                  <a:spcPct val="100000"/>
                </a:lnSpc>
                <a:spcBef>
                  <a:spcPts val="0"/>
                </a:spcBef>
                <a:spcAft>
                  <a:spcPts val="0"/>
                </a:spcAft>
                <a:buClrTx/>
                <a:buSzTx/>
                <a:buFontTx/>
                <a:buNone/>
                <a:tabLst/>
                <a:defRPr/>
              </a:pPr>
              <a:r>
                <a:rPr kumimoji="0" sz="1867" b="1" i="0" u="none" strike="noStrike" kern="1200" cap="none" spc="-7" normalizeH="0" baseline="0" noProof="0" dirty="0" smtClean="0">
                  <a:ln>
                    <a:noFill/>
                  </a:ln>
                  <a:solidFill>
                    <a:srgbClr val="00B050"/>
                  </a:solidFill>
                  <a:effectLst/>
                  <a:uLnTx/>
                  <a:uFillTx/>
                  <a:latin typeface="Arial"/>
                  <a:ea typeface="+mn-ea"/>
                  <a:cs typeface="Arial"/>
                </a:rPr>
                <a:t>WORK</a:t>
              </a:r>
              <a:endParaRPr kumimoji="0" sz="1867" b="0" i="0" u="none" strike="noStrike" kern="1200" cap="none" spc="0" normalizeH="0" baseline="0" noProof="0" dirty="0">
                <a:ln>
                  <a:noFill/>
                </a:ln>
                <a:solidFill>
                  <a:srgbClr val="00B050"/>
                </a:solidFill>
                <a:effectLst/>
                <a:uLnTx/>
                <a:uFillTx/>
                <a:latin typeface="Arial"/>
                <a:ea typeface="+mn-ea"/>
                <a:cs typeface="Arial"/>
              </a:endParaRPr>
            </a:p>
          </p:txBody>
        </p:sp>
      </p:grpSp>
      <p:grpSp>
        <p:nvGrpSpPr>
          <p:cNvPr id="6" name="Group 5"/>
          <p:cNvGrpSpPr/>
          <p:nvPr/>
        </p:nvGrpSpPr>
        <p:grpSpPr>
          <a:xfrm>
            <a:off x="3271601" y="1784560"/>
            <a:ext cx="6088404" cy="2994055"/>
            <a:chOff x="3728816" y="1784560"/>
            <a:chExt cx="6088404" cy="2994055"/>
          </a:xfrm>
        </p:grpSpPr>
        <p:grpSp>
          <p:nvGrpSpPr>
            <p:cNvPr id="7" name="Group 6"/>
            <p:cNvGrpSpPr/>
            <p:nvPr/>
          </p:nvGrpSpPr>
          <p:grpSpPr>
            <a:xfrm>
              <a:off x="3728816" y="1784560"/>
              <a:ext cx="6088404" cy="2994055"/>
              <a:chOff x="3728816" y="2013167"/>
              <a:chExt cx="6088404" cy="2994055"/>
            </a:xfrm>
          </p:grpSpPr>
          <p:sp>
            <p:nvSpPr>
              <p:cNvPr id="24" name="Rectangle 23"/>
              <p:cNvSpPr/>
              <p:nvPr/>
            </p:nvSpPr>
            <p:spPr>
              <a:xfrm>
                <a:off x="6671493" y="2013167"/>
                <a:ext cx="1790490" cy="379656"/>
              </a:xfrm>
              <a:prstGeom prst="rect">
                <a:avLst/>
              </a:prstGeom>
            </p:spPr>
            <p:txBody>
              <a:bodyPr wrap="none">
                <a:spAutoFit/>
              </a:bodyPr>
              <a:lstStyle/>
              <a:p>
                <a:pPr marL="16933" algn="r">
                  <a:defRPr/>
                </a:pPr>
                <a:r>
                  <a:rPr lang="en-US" sz="1867" b="1" spc="-7" dirty="0">
                    <a:solidFill>
                      <a:srgbClr val="00B050"/>
                    </a:solidFill>
                    <a:latin typeface="Arial"/>
                    <a:cs typeface="Arial"/>
                  </a:rPr>
                  <a:t>WORKFORCE</a:t>
                </a:r>
              </a:p>
            </p:txBody>
          </p:sp>
          <p:sp>
            <p:nvSpPr>
              <p:cNvPr id="25" name="object 12"/>
              <p:cNvSpPr/>
              <p:nvPr/>
            </p:nvSpPr>
            <p:spPr>
              <a:xfrm>
                <a:off x="3728816" y="2388685"/>
                <a:ext cx="6088404" cy="2618537"/>
              </a:xfrm>
              <a:custGeom>
                <a:avLst/>
                <a:gdLst/>
                <a:ahLst/>
                <a:cxnLst/>
                <a:rect l="l" t="t" r="r" b="b"/>
                <a:pathLst>
                  <a:path w="3773804" h="1623060">
                    <a:moveTo>
                      <a:pt x="0" y="1623059"/>
                    </a:moveTo>
                    <a:lnTo>
                      <a:pt x="3773424" y="1623059"/>
                    </a:lnTo>
                    <a:lnTo>
                      <a:pt x="3773424" y="0"/>
                    </a:lnTo>
                    <a:lnTo>
                      <a:pt x="0" y="0"/>
                    </a:lnTo>
                    <a:lnTo>
                      <a:pt x="0" y="1623059"/>
                    </a:lnTo>
                    <a:close/>
                  </a:path>
                </a:pathLst>
              </a:custGeom>
              <a:solidFill>
                <a:schemeClr val="accent4">
                  <a:lumMod val="50000"/>
                  <a:alpha val="6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6" name="Group 25"/>
              <p:cNvGrpSpPr/>
              <p:nvPr/>
            </p:nvGrpSpPr>
            <p:grpSpPr>
              <a:xfrm>
                <a:off x="5072308" y="4052081"/>
                <a:ext cx="3003399" cy="666531"/>
                <a:chOff x="5567580" y="3873750"/>
                <a:chExt cx="3003399" cy="666531"/>
              </a:xfrm>
            </p:grpSpPr>
            <p:sp>
              <p:nvSpPr>
                <p:cNvPr id="27" name="object 15"/>
                <p:cNvSpPr/>
                <p:nvPr/>
              </p:nvSpPr>
              <p:spPr>
                <a:xfrm>
                  <a:off x="5567580" y="3950188"/>
                  <a:ext cx="590093" cy="590093"/>
                </a:xfrm>
                <a:custGeom>
                  <a:avLst/>
                  <a:gdLst/>
                  <a:ahLst/>
                  <a:cxnLst/>
                  <a:rect l="l" t="t" r="r" b="b"/>
                  <a:pathLst>
                    <a:path w="365760" h="365760">
                      <a:moveTo>
                        <a:pt x="182880" y="0"/>
                      </a:moveTo>
                      <a:lnTo>
                        <a:pt x="134276" y="6535"/>
                      </a:lnTo>
                      <a:lnTo>
                        <a:pt x="90593" y="24976"/>
                      </a:lnTo>
                      <a:lnTo>
                        <a:pt x="53578" y="53578"/>
                      </a:lnTo>
                      <a:lnTo>
                        <a:pt x="24976" y="90593"/>
                      </a:lnTo>
                      <a:lnTo>
                        <a:pt x="6535" y="134276"/>
                      </a:lnTo>
                      <a:lnTo>
                        <a:pt x="0" y="182880"/>
                      </a:lnTo>
                      <a:lnTo>
                        <a:pt x="6535" y="231483"/>
                      </a:lnTo>
                      <a:lnTo>
                        <a:pt x="24976" y="275166"/>
                      </a:lnTo>
                      <a:lnTo>
                        <a:pt x="53578" y="312181"/>
                      </a:lnTo>
                      <a:lnTo>
                        <a:pt x="90593" y="340783"/>
                      </a:lnTo>
                      <a:lnTo>
                        <a:pt x="134276" y="359224"/>
                      </a:lnTo>
                      <a:lnTo>
                        <a:pt x="182880" y="365759"/>
                      </a:lnTo>
                      <a:lnTo>
                        <a:pt x="231483" y="359224"/>
                      </a:lnTo>
                      <a:lnTo>
                        <a:pt x="275166" y="340783"/>
                      </a:lnTo>
                      <a:lnTo>
                        <a:pt x="312181" y="312181"/>
                      </a:lnTo>
                      <a:lnTo>
                        <a:pt x="340783" y="275166"/>
                      </a:lnTo>
                      <a:lnTo>
                        <a:pt x="359224" y="231483"/>
                      </a:lnTo>
                      <a:lnTo>
                        <a:pt x="365759" y="182880"/>
                      </a:lnTo>
                      <a:lnTo>
                        <a:pt x="359224" y="134276"/>
                      </a:lnTo>
                      <a:lnTo>
                        <a:pt x="340783" y="90593"/>
                      </a:lnTo>
                      <a:lnTo>
                        <a:pt x="312181" y="53578"/>
                      </a:lnTo>
                      <a:lnTo>
                        <a:pt x="275166" y="24976"/>
                      </a:lnTo>
                      <a:lnTo>
                        <a:pt x="231483" y="6535"/>
                      </a:lnTo>
                      <a:lnTo>
                        <a:pt x="182880"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object 16"/>
                <p:cNvSpPr/>
                <p:nvPr/>
              </p:nvSpPr>
              <p:spPr>
                <a:xfrm>
                  <a:off x="5840499" y="4139509"/>
                  <a:ext cx="236037" cy="236037"/>
                </a:xfrm>
                <a:prstGeom prst="rect">
                  <a:avLst/>
                </a:prstGeom>
                <a:blipFill>
                  <a:blip r:embed="rId3"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object 17"/>
                <p:cNvSpPr/>
                <p:nvPr/>
              </p:nvSpPr>
              <p:spPr>
                <a:xfrm>
                  <a:off x="5606919" y="4090334"/>
                  <a:ext cx="236037" cy="236037"/>
                </a:xfrm>
                <a:prstGeom prst="rect">
                  <a:avLst/>
                </a:prstGeom>
                <a:blipFill>
                  <a:blip r:embed="rId4"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object 18"/>
                <p:cNvSpPr/>
                <p:nvPr/>
              </p:nvSpPr>
              <p:spPr>
                <a:xfrm>
                  <a:off x="7980886" y="3873750"/>
                  <a:ext cx="590093" cy="590093"/>
                </a:xfrm>
                <a:custGeom>
                  <a:avLst/>
                  <a:gdLst/>
                  <a:ahLst/>
                  <a:cxnLst/>
                  <a:rect l="l" t="t" r="r" b="b"/>
                  <a:pathLst>
                    <a:path w="365760" h="365760">
                      <a:moveTo>
                        <a:pt x="182880" y="0"/>
                      </a:moveTo>
                      <a:lnTo>
                        <a:pt x="134276" y="6535"/>
                      </a:lnTo>
                      <a:lnTo>
                        <a:pt x="90593" y="24976"/>
                      </a:lnTo>
                      <a:lnTo>
                        <a:pt x="53578" y="53578"/>
                      </a:lnTo>
                      <a:lnTo>
                        <a:pt x="24976" y="90593"/>
                      </a:lnTo>
                      <a:lnTo>
                        <a:pt x="6535" y="134276"/>
                      </a:lnTo>
                      <a:lnTo>
                        <a:pt x="0" y="182880"/>
                      </a:lnTo>
                      <a:lnTo>
                        <a:pt x="6535" y="231483"/>
                      </a:lnTo>
                      <a:lnTo>
                        <a:pt x="24976" y="275166"/>
                      </a:lnTo>
                      <a:lnTo>
                        <a:pt x="53578" y="312181"/>
                      </a:lnTo>
                      <a:lnTo>
                        <a:pt x="90593" y="340783"/>
                      </a:lnTo>
                      <a:lnTo>
                        <a:pt x="134276" y="359224"/>
                      </a:lnTo>
                      <a:lnTo>
                        <a:pt x="182880" y="365760"/>
                      </a:lnTo>
                      <a:lnTo>
                        <a:pt x="231483" y="359224"/>
                      </a:lnTo>
                      <a:lnTo>
                        <a:pt x="275166" y="340783"/>
                      </a:lnTo>
                      <a:lnTo>
                        <a:pt x="312181" y="312181"/>
                      </a:lnTo>
                      <a:lnTo>
                        <a:pt x="340783" y="275166"/>
                      </a:lnTo>
                      <a:lnTo>
                        <a:pt x="359224" y="231483"/>
                      </a:lnTo>
                      <a:lnTo>
                        <a:pt x="365760" y="182880"/>
                      </a:lnTo>
                      <a:lnTo>
                        <a:pt x="359224" y="134276"/>
                      </a:lnTo>
                      <a:lnTo>
                        <a:pt x="340783" y="90593"/>
                      </a:lnTo>
                      <a:lnTo>
                        <a:pt x="312181" y="53578"/>
                      </a:lnTo>
                      <a:lnTo>
                        <a:pt x="275166" y="24976"/>
                      </a:lnTo>
                      <a:lnTo>
                        <a:pt x="231483" y="6535"/>
                      </a:lnTo>
                      <a:lnTo>
                        <a:pt x="182880" y="0"/>
                      </a:lnTo>
                      <a:close/>
                    </a:path>
                  </a:pathLst>
                </a:custGeom>
                <a:solidFill>
                  <a:schemeClr val="bg1">
                    <a:alpha val="19999"/>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object 19"/>
                <p:cNvSpPr/>
                <p:nvPr/>
              </p:nvSpPr>
              <p:spPr>
                <a:xfrm>
                  <a:off x="8247447" y="4070528"/>
                  <a:ext cx="236036" cy="236037"/>
                </a:xfrm>
                <a:prstGeom prst="rect">
                  <a:avLst/>
                </a:prstGeom>
                <a:blipFill>
                  <a:blip r:embed="rId3"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object 20"/>
                <p:cNvSpPr/>
                <p:nvPr/>
              </p:nvSpPr>
              <p:spPr>
                <a:xfrm>
                  <a:off x="8011413" y="4023812"/>
                  <a:ext cx="236036" cy="236037"/>
                </a:xfrm>
                <a:prstGeom prst="rect">
                  <a:avLst/>
                </a:prstGeom>
                <a:blipFill>
                  <a:blip r:embed="rId4" cstate="print">
                    <a:duotone>
                      <a:prstClr val="black"/>
                      <a:schemeClr val="tx2">
                        <a:tint val="45000"/>
                        <a:satMod val="400000"/>
                      </a:scheme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object 23"/>
                <p:cNvSpPr txBox="1"/>
                <p:nvPr/>
              </p:nvSpPr>
              <p:spPr>
                <a:xfrm>
                  <a:off x="6058723" y="3923168"/>
                  <a:ext cx="1887164" cy="561757"/>
                </a:xfrm>
                <a:prstGeom prst="rect">
                  <a:avLst/>
                </a:prstGeom>
              </p:spPr>
              <p:txBody>
                <a:bodyPr vert="horz" wrap="square" lIns="0" tIns="0" rIns="0" bIns="0" rtlCol="0">
                  <a:spAutoFit/>
                </a:bodyPr>
                <a:lstStyle/>
                <a:p>
                  <a:pPr marL="104984" marR="0" lvl="0" indent="0" algn="ctr" defTabSz="914400" rtl="0" eaLnBrk="1" fontAlgn="auto" latinLnBrk="0" hangingPunct="1">
                    <a:lnSpc>
                      <a:spcPct val="100000"/>
                    </a:lnSpc>
                    <a:spcBef>
                      <a:spcPts val="0"/>
                    </a:spcBef>
                    <a:spcAft>
                      <a:spcPts val="0"/>
                    </a:spcAft>
                    <a:buClrTx/>
                    <a:buSzTx/>
                    <a:buFontTx/>
                    <a:buNone/>
                    <a:tabLst/>
                    <a:defRPr/>
                  </a:pPr>
                  <a:r>
                    <a:rPr kumimoji="0" sz="1067" b="0" i="0" u="none" strike="noStrike" kern="1200" cap="none" spc="0" normalizeH="0" baseline="0" noProof="0" dirty="0">
                      <a:ln>
                        <a:noFill/>
                      </a:ln>
                      <a:solidFill>
                        <a:schemeClr val="bg1"/>
                      </a:solidFill>
                      <a:effectLst/>
                      <a:uLnTx/>
                      <a:uFillTx/>
                      <a:latin typeface="Arial"/>
                      <a:ea typeface="+mn-ea"/>
                      <a:cs typeface="Arial"/>
                    </a:rPr>
                    <a:t>FSEs</a:t>
                  </a:r>
                </a:p>
                <a:p>
                  <a:pPr marL="16933" marR="6773" lvl="0" indent="174409" algn="ctr" defTabSz="914400" rtl="0" eaLnBrk="1" fontAlgn="auto" latinLnBrk="0" hangingPunct="1">
                    <a:lnSpc>
                      <a:spcPts val="1520"/>
                    </a:lnSpc>
                    <a:spcBef>
                      <a:spcPts val="93"/>
                    </a:spcBef>
                    <a:spcAft>
                      <a:spcPts val="0"/>
                    </a:spcAft>
                    <a:buClrTx/>
                    <a:buSzTx/>
                    <a:buFontTx/>
                    <a:buNone/>
                    <a:tabLst/>
                    <a:defRPr/>
                  </a:pPr>
                  <a:r>
                    <a:rPr kumimoji="0" sz="1067" b="0" i="0" u="none" strike="noStrike" kern="1200" cap="none" spc="-7" normalizeH="0" baseline="0" noProof="0" dirty="0">
                      <a:ln>
                        <a:noFill/>
                      </a:ln>
                      <a:solidFill>
                        <a:schemeClr val="bg1"/>
                      </a:solidFill>
                      <a:effectLst/>
                      <a:uLnTx/>
                      <a:uFillTx/>
                      <a:latin typeface="Arial"/>
                      <a:ea typeface="+mn-ea"/>
                      <a:cs typeface="Arial"/>
                    </a:rPr>
                    <a:t>Product Managers  Engineering</a:t>
                  </a:r>
                  <a:r>
                    <a:rPr kumimoji="0" sz="1067" b="0" i="0" u="none" strike="noStrike" kern="1200" cap="none" spc="-20" normalizeH="0" baseline="0" noProof="0" dirty="0">
                      <a:ln>
                        <a:noFill/>
                      </a:ln>
                      <a:solidFill>
                        <a:schemeClr val="bg1"/>
                      </a:solidFill>
                      <a:effectLst/>
                      <a:uLnTx/>
                      <a:uFillTx/>
                      <a:latin typeface="Arial"/>
                      <a:ea typeface="+mn-ea"/>
                      <a:cs typeface="Arial"/>
                    </a:rPr>
                    <a:t> </a:t>
                  </a:r>
                  <a:r>
                    <a:rPr kumimoji="0" sz="1067" b="0" i="0" u="none" strike="noStrike" kern="1200" cap="none" spc="-7" normalizeH="0" baseline="0" noProof="0" dirty="0">
                      <a:ln>
                        <a:noFill/>
                      </a:ln>
                      <a:solidFill>
                        <a:schemeClr val="bg1"/>
                      </a:solidFill>
                      <a:effectLst/>
                      <a:uLnTx/>
                      <a:uFillTx/>
                      <a:latin typeface="Arial"/>
                      <a:ea typeface="+mn-ea"/>
                      <a:cs typeface="Arial"/>
                    </a:rPr>
                    <a:t>Managers</a:t>
                  </a:r>
                  <a:endParaRPr kumimoji="0" sz="1067" b="0" i="0" u="none" strike="noStrike" kern="1200" cap="none" spc="0" normalizeH="0" baseline="0" noProof="0" dirty="0">
                    <a:ln>
                      <a:noFill/>
                    </a:ln>
                    <a:solidFill>
                      <a:schemeClr val="bg1"/>
                    </a:solidFill>
                    <a:effectLst/>
                    <a:uLnTx/>
                    <a:uFillTx/>
                    <a:latin typeface="Arial"/>
                    <a:ea typeface="+mn-ea"/>
                    <a:cs typeface="Arial"/>
                  </a:endParaRPr>
                </a:p>
              </p:txBody>
            </p:sp>
          </p:grpSp>
        </p:grpSp>
        <p:grpSp>
          <p:nvGrpSpPr>
            <p:cNvPr id="8" name="Group 7"/>
            <p:cNvGrpSpPr/>
            <p:nvPr/>
          </p:nvGrpSpPr>
          <p:grpSpPr>
            <a:xfrm>
              <a:off x="4437920" y="2320738"/>
              <a:ext cx="4716251" cy="1216435"/>
              <a:chOff x="4437920" y="2592204"/>
              <a:chExt cx="4716251" cy="1216435"/>
            </a:xfrm>
          </p:grpSpPr>
          <p:sp>
            <p:nvSpPr>
              <p:cNvPr id="9" name="object 21"/>
              <p:cNvSpPr txBox="1"/>
              <p:nvPr/>
            </p:nvSpPr>
            <p:spPr>
              <a:xfrm>
                <a:off x="6449770" y="3627849"/>
                <a:ext cx="1369710" cy="164212"/>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67" dirty="0" smtClean="0">
                    <a:solidFill>
                      <a:schemeClr val="bg1"/>
                    </a:solidFill>
                    <a:latin typeface="Arial"/>
                    <a:cs typeface="Arial"/>
                  </a:rPr>
                  <a:t>GUILDS</a:t>
                </a:r>
                <a:endParaRPr kumimoji="0" sz="1067" b="0" i="0" u="none" strike="noStrike" kern="1200" cap="none" spc="0" normalizeH="0" baseline="0" noProof="0" dirty="0">
                  <a:ln>
                    <a:noFill/>
                  </a:ln>
                  <a:solidFill>
                    <a:schemeClr val="bg1"/>
                  </a:solidFill>
                  <a:effectLst/>
                  <a:uLnTx/>
                  <a:uFillTx/>
                  <a:latin typeface="Arial"/>
                  <a:cs typeface="Arial"/>
                </a:endParaRPr>
              </a:p>
            </p:txBody>
          </p:sp>
          <p:sp>
            <p:nvSpPr>
              <p:cNvPr id="10" name="object 22"/>
              <p:cNvSpPr txBox="1"/>
              <p:nvPr/>
            </p:nvSpPr>
            <p:spPr>
              <a:xfrm>
                <a:off x="8051845" y="3644427"/>
                <a:ext cx="1102326" cy="164212"/>
              </a:xfrm>
              <a:prstGeom prst="rect">
                <a:avLst/>
              </a:prstGeom>
            </p:spPr>
            <p:txBody>
              <a:bodyPr vert="horz" wrap="square" lIns="0" tIns="0" rIns="0" bIns="0" rtlCol="0">
                <a:spAutoFit/>
              </a:bodyPr>
              <a:lstStyle/>
              <a:p>
                <a:pPr marL="16933"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smtClean="0">
                    <a:ln>
                      <a:noFill/>
                    </a:ln>
                    <a:solidFill>
                      <a:schemeClr val="bg1"/>
                    </a:solidFill>
                    <a:effectLst/>
                    <a:uLnTx/>
                    <a:uFillTx/>
                    <a:latin typeface="Arial"/>
                    <a:ea typeface="+mn-ea"/>
                    <a:cs typeface="Arial"/>
                  </a:rPr>
                  <a:t>PODS</a:t>
                </a:r>
                <a:endParaRPr kumimoji="0" sz="1067" b="0" i="0" u="none" strike="noStrike" kern="1200" cap="none" spc="0" normalizeH="0" baseline="0" noProof="0" dirty="0">
                  <a:ln>
                    <a:noFill/>
                  </a:ln>
                  <a:solidFill>
                    <a:schemeClr val="bg1"/>
                  </a:solidFill>
                  <a:effectLst/>
                  <a:uLnTx/>
                  <a:uFillTx/>
                  <a:latin typeface="Arial"/>
                  <a:ea typeface="+mn-ea"/>
                  <a:cs typeface="Arial"/>
                </a:endParaRPr>
              </a:p>
            </p:txBody>
          </p:sp>
          <p:sp>
            <p:nvSpPr>
              <p:cNvPr id="11" name="object 43"/>
              <p:cNvSpPr/>
              <p:nvPr/>
            </p:nvSpPr>
            <p:spPr>
              <a:xfrm>
                <a:off x="6503396" y="2632315"/>
                <a:ext cx="367792" cy="367792"/>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 name="object 44"/>
              <p:cNvSpPr/>
              <p:nvPr/>
            </p:nvSpPr>
            <p:spPr>
              <a:xfrm>
                <a:off x="6503396" y="3067164"/>
                <a:ext cx="367792" cy="36779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object 45"/>
              <p:cNvSpPr/>
              <p:nvPr/>
            </p:nvSpPr>
            <p:spPr>
              <a:xfrm>
                <a:off x="7410664" y="3067164"/>
                <a:ext cx="365759" cy="36779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 name="object 46"/>
              <p:cNvSpPr/>
              <p:nvPr/>
            </p:nvSpPr>
            <p:spPr>
              <a:xfrm>
                <a:off x="6946373" y="3067164"/>
                <a:ext cx="365759" cy="367792"/>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 name="object 47"/>
              <p:cNvSpPr/>
              <p:nvPr/>
            </p:nvSpPr>
            <p:spPr>
              <a:xfrm>
                <a:off x="6969722" y="2632315"/>
                <a:ext cx="365759" cy="367792"/>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 name="object 48"/>
              <p:cNvSpPr/>
              <p:nvPr/>
            </p:nvSpPr>
            <p:spPr>
              <a:xfrm>
                <a:off x="7410664" y="2632315"/>
                <a:ext cx="365759" cy="367792"/>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7" name="object 8"/>
              <p:cNvSpPr/>
              <p:nvPr/>
            </p:nvSpPr>
            <p:spPr>
              <a:xfrm>
                <a:off x="8252127" y="2592204"/>
                <a:ext cx="845312" cy="855471"/>
              </a:xfrm>
              <a:prstGeom prst="rect">
                <a:avLst/>
              </a:prstGeom>
              <a:blipFill>
                <a:blip r:embed="rId11" cstate="print"/>
                <a:stretch>
                  <a:fillRect/>
                </a:stretch>
              </a:blipFill>
            </p:spPr>
            <p:txBody>
              <a:bodyPr wrap="square" lIns="0" tIns="0" rIns="0" bIns="0" rtlCol="0"/>
              <a:lstStyle/>
              <a:p>
                <a:pPr>
                  <a:defRPr/>
                </a:pPr>
                <a:endParaRPr sz="2400">
                  <a:solidFill>
                    <a:prstClr val="black"/>
                  </a:solidFill>
                  <a:latin typeface="Calibri" panose="020F0502020204030204" pitchFamily="34" charset="0"/>
                  <a:cs typeface="Calibri" panose="020F0502020204030204" pitchFamily="34" charset="0"/>
                </a:endParaRPr>
              </a:p>
            </p:txBody>
          </p:sp>
          <p:sp>
            <p:nvSpPr>
              <p:cNvPr id="18" name="object 49"/>
              <p:cNvSpPr/>
              <p:nvPr/>
            </p:nvSpPr>
            <p:spPr>
              <a:xfrm>
                <a:off x="4437920" y="2682279"/>
                <a:ext cx="359664" cy="359663"/>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9" name="object 50"/>
              <p:cNvSpPr/>
              <p:nvPr/>
            </p:nvSpPr>
            <p:spPr>
              <a:xfrm>
                <a:off x="5171471" y="3111032"/>
                <a:ext cx="367792" cy="371856"/>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0" name="object 51"/>
              <p:cNvSpPr/>
              <p:nvPr/>
            </p:nvSpPr>
            <p:spPr>
              <a:xfrm>
                <a:off x="4683793" y="3111032"/>
                <a:ext cx="367791" cy="371856"/>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1" name="object 52"/>
              <p:cNvSpPr/>
              <p:nvPr/>
            </p:nvSpPr>
            <p:spPr>
              <a:xfrm>
                <a:off x="4933729" y="2676184"/>
                <a:ext cx="367791" cy="371856"/>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2" name="object 53"/>
              <p:cNvSpPr/>
              <p:nvPr/>
            </p:nvSpPr>
            <p:spPr>
              <a:xfrm>
                <a:off x="5433600" y="2676184"/>
                <a:ext cx="367792" cy="371856"/>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object 21"/>
              <p:cNvSpPr txBox="1"/>
              <p:nvPr/>
            </p:nvSpPr>
            <p:spPr>
              <a:xfrm>
                <a:off x="4562696" y="3638884"/>
                <a:ext cx="1369710" cy="164212"/>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67" dirty="0" smtClean="0">
                    <a:solidFill>
                      <a:schemeClr val="bg1"/>
                    </a:solidFill>
                    <a:latin typeface="Arial"/>
                    <a:cs typeface="Arial"/>
                  </a:rPr>
                  <a:t>COMMUNITIES</a:t>
                </a:r>
                <a:endParaRPr kumimoji="0" sz="1067" b="0" i="0" u="none" strike="noStrike" kern="1200" cap="none" spc="0" normalizeH="0" baseline="0" noProof="0" dirty="0">
                  <a:ln>
                    <a:noFill/>
                  </a:ln>
                  <a:solidFill>
                    <a:schemeClr val="bg1"/>
                  </a:solidFill>
                  <a:effectLst/>
                  <a:uLnTx/>
                  <a:uFillTx/>
                  <a:latin typeface="Arial"/>
                  <a:cs typeface="Arial"/>
                </a:endParaRPr>
              </a:p>
            </p:txBody>
          </p:sp>
        </p:grpSp>
      </p:grpSp>
      <p:grpSp>
        <p:nvGrpSpPr>
          <p:cNvPr id="34" name="Group 33"/>
          <p:cNvGrpSpPr/>
          <p:nvPr/>
        </p:nvGrpSpPr>
        <p:grpSpPr>
          <a:xfrm>
            <a:off x="6347237" y="3296960"/>
            <a:ext cx="5484307" cy="2932892"/>
            <a:chOff x="6347237" y="3296960"/>
            <a:chExt cx="5484307" cy="2932892"/>
          </a:xfrm>
        </p:grpSpPr>
        <p:sp>
          <p:nvSpPr>
            <p:cNvPr id="35" name="object 2"/>
            <p:cNvSpPr txBox="1"/>
            <p:nvPr/>
          </p:nvSpPr>
          <p:spPr>
            <a:xfrm>
              <a:off x="9656193" y="3296960"/>
              <a:ext cx="2141829" cy="287324"/>
            </a:xfrm>
            <a:prstGeom prst="rect">
              <a:avLst/>
            </a:prstGeom>
          </p:spPr>
          <p:txBody>
            <a:bodyPr vert="horz" wrap="square" lIns="0" tIns="0" rIns="0" bIns="0" rtlCol="0">
              <a:spAutoFit/>
            </a:bodyPr>
            <a:lstStyle/>
            <a:p>
              <a:pPr marL="16933" algn="ctr">
                <a:defRPr/>
              </a:pPr>
              <a:r>
                <a:rPr sz="1867" b="1" spc="-7" dirty="0">
                  <a:solidFill>
                    <a:srgbClr val="00B050"/>
                  </a:solidFill>
                  <a:latin typeface="Arial"/>
                  <a:cs typeface="Arial"/>
                </a:rPr>
                <a:t>WORKPLACE</a:t>
              </a:r>
            </a:p>
          </p:txBody>
        </p:sp>
        <p:sp>
          <p:nvSpPr>
            <p:cNvPr id="36" name="Rectangle 35"/>
            <p:cNvSpPr/>
            <p:nvPr/>
          </p:nvSpPr>
          <p:spPr>
            <a:xfrm>
              <a:off x="6347237" y="3676693"/>
              <a:ext cx="5484307" cy="2553159"/>
            </a:xfrm>
            <a:prstGeom prst="rect">
              <a:avLst/>
            </a:prstGeom>
            <a:gradFill flip="none" rotWithShape="1">
              <a:gsLst>
                <a:gs pos="0">
                  <a:schemeClr val="tx1">
                    <a:shade val="30000"/>
                    <a:satMod val="115000"/>
                    <a:alpha val="60000"/>
                  </a:schemeClr>
                </a:gs>
                <a:gs pos="50000">
                  <a:schemeClr val="tx1">
                    <a:shade val="67500"/>
                    <a:satMod val="115000"/>
                  </a:schemeClr>
                </a:gs>
                <a:gs pos="100000">
                  <a:schemeClr val="tx1">
                    <a:shade val="100000"/>
                    <a:satMod val="115000"/>
                  </a:schemeClr>
                </a:gs>
              </a:gsLst>
              <a:lin ang="2700000" scaled="1"/>
              <a:tileRect/>
            </a:gra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7" name="Group 36"/>
            <p:cNvGrpSpPr/>
            <p:nvPr/>
          </p:nvGrpSpPr>
          <p:grpSpPr>
            <a:xfrm>
              <a:off x="7649429" y="4035527"/>
              <a:ext cx="3745147" cy="2034991"/>
              <a:chOff x="7649429" y="4035527"/>
              <a:chExt cx="3745147" cy="2034991"/>
            </a:xfrm>
          </p:grpSpPr>
          <p:sp>
            <p:nvSpPr>
              <p:cNvPr id="38" name="object 5"/>
              <p:cNvSpPr/>
              <p:nvPr/>
            </p:nvSpPr>
            <p:spPr>
              <a:xfrm>
                <a:off x="8004505" y="5676372"/>
                <a:ext cx="339630" cy="295598"/>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object 10"/>
              <p:cNvSpPr/>
              <p:nvPr/>
            </p:nvSpPr>
            <p:spPr>
              <a:xfrm>
                <a:off x="11002437" y="5561718"/>
                <a:ext cx="264314" cy="230047"/>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0" name="object 3"/>
              <p:cNvSpPr/>
              <p:nvPr/>
            </p:nvSpPr>
            <p:spPr>
              <a:xfrm>
                <a:off x="7719015" y="5463898"/>
                <a:ext cx="660789" cy="575121"/>
              </a:xfrm>
              <a:custGeom>
                <a:avLst/>
                <a:gdLst/>
                <a:ahLst/>
                <a:cxnLst/>
                <a:rect l="l" t="t" r="r" b="b"/>
                <a:pathLst>
                  <a:path w="365759" h="365760">
                    <a:moveTo>
                      <a:pt x="182879" y="0"/>
                    </a:moveTo>
                    <a:lnTo>
                      <a:pt x="134276" y="6532"/>
                    </a:lnTo>
                    <a:lnTo>
                      <a:pt x="90593" y="24968"/>
                    </a:lnTo>
                    <a:lnTo>
                      <a:pt x="53578" y="53563"/>
                    </a:lnTo>
                    <a:lnTo>
                      <a:pt x="24976" y="90576"/>
                    </a:lnTo>
                    <a:lnTo>
                      <a:pt x="6535" y="134262"/>
                    </a:lnTo>
                    <a:lnTo>
                      <a:pt x="0" y="182880"/>
                    </a:lnTo>
                    <a:lnTo>
                      <a:pt x="6535" y="231497"/>
                    </a:lnTo>
                    <a:lnTo>
                      <a:pt x="24976" y="275183"/>
                    </a:lnTo>
                    <a:lnTo>
                      <a:pt x="53578" y="312196"/>
                    </a:lnTo>
                    <a:lnTo>
                      <a:pt x="90593" y="340791"/>
                    </a:lnTo>
                    <a:lnTo>
                      <a:pt x="134276" y="359227"/>
                    </a:lnTo>
                    <a:lnTo>
                      <a:pt x="182879" y="365760"/>
                    </a:lnTo>
                    <a:lnTo>
                      <a:pt x="231483" y="359227"/>
                    </a:lnTo>
                    <a:lnTo>
                      <a:pt x="275166" y="340791"/>
                    </a:lnTo>
                    <a:lnTo>
                      <a:pt x="312181" y="312196"/>
                    </a:lnTo>
                    <a:lnTo>
                      <a:pt x="340783" y="275183"/>
                    </a:lnTo>
                    <a:lnTo>
                      <a:pt x="359224" y="231497"/>
                    </a:lnTo>
                    <a:lnTo>
                      <a:pt x="365759" y="182880"/>
                    </a:lnTo>
                    <a:lnTo>
                      <a:pt x="359224" y="134262"/>
                    </a:lnTo>
                    <a:lnTo>
                      <a:pt x="340783" y="90576"/>
                    </a:lnTo>
                    <a:lnTo>
                      <a:pt x="312181" y="53563"/>
                    </a:lnTo>
                    <a:lnTo>
                      <a:pt x="275166" y="24968"/>
                    </a:lnTo>
                    <a:lnTo>
                      <a:pt x="231483" y="6532"/>
                    </a:lnTo>
                    <a:lnTo>
                      <a:pt x="182879" y="0"/>
                    </a:lnTo>
                    <a:close/>
                  </a:path>
                </a:pathLst>
              </a:custGeom>
              <a:solidFill>
                <a:schemeClr val="bg1">
                  <a:alpha val="19999"/>
                </a:schemeClr>
              </a:solidFill>
              <a:ln>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1" name="object 4"/>
              <p:cNvSpPr/>
              <p:nvPr/>
            </p:nvSpPr>
            <p:spPr>
              <a:xfrm>
                <a:off x="7729176" y="5576501"/>
                <a:ext cx="509445" cy="443401"/>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object 8"/>
              <p:cNvSpPr/>
              <p:nvPr/>
            </p:nvSpPr>
            <p:spPr>
              <a:xfrm>
                <a:off x="10669288" y="5495397"/>
                <a:ext cx="660789" cy="575121"/>
              </a:xfrm>
              <a:custGeom>
                <a:avLst/>
                <a:gdLst/>
                <a:ahLst/>
                <a:cxnLst/>
                <a:rect l="l" t="t" r="r" b="b"/>
                <a:pathLst>
                  <a:path w="365759" h="365760">
                    <a:moveTo>
                      <a:pt x="182879" y="0"/>
                    </a:moveTo>
                    <a:lnTo>
                      <a:pt x="134276" y="6532"/>
                    </a:lnTo>
                    <a:lnTo>
                      <a:pt x="90593" y="24968"/>
                    </a:lnTo>
                    <a:lnTo>
                      <a:pt x="53578" y="53563"/>
                    </a:lnTo>
                    <a:lnTo>
                      <a:pt x="24976" y="90576"/>
                    </a:lnTo>
                    <a:lnTo>
                      <a:pt x="6535" y="134262"/>
                    </a:lnTo>
                    <a:lnTo>
                      <a:pt x="0" y="182880"/>
                    </a:lnTo>
                    <a:lnTo>
                      <a:pt x="6535" y="231497"/>
                    </a:lnTo>
                    <a:lnTo>
                      <a:pt x="24976" y="275183"/>
                    </a:lnTo>
                    <a:lnTo>
                      <a:pt x="53578" y="312196"/>
                    </a:lnTo>
                    <a:lnTo>
                      <a:pt x="90593" y="340791"/>
                    </a:lnTo>
                    <a:lnTo>
                      <a:pt x="134276" y="359227"/>
                    </a:lnTo>
                    <a:lnTo>
                      <a:pt x="182879" y="365760"/>
                    </a:lnTo>
                    <a:lnTo>
                      <a:pt x="231483" y="359227"/>
                    </a:lnTo>
                    <a:lnTo>
                      <a:pt x="275166" y="340791"/>
                    </a:lnTo>
                    <a:lnTo>
                      <a:pt x="312181" y="312196"/>
                    </a:lnTo>
                    <a:lnTo>
                      <a:pt x="340783" y="275183"/>
                    </a:lnTo>
                    <a:lnTo>
                      <a:pt x="359224" y="231497"/>
                    </a:lnTo>
                    <a:lnTo>
                      <a:pt x="365759" y="182880"/>
                    </a:lnTo>
                    <a:lnTo>
                      <a:pt x="359224" y="134262"/>
                    </a:lnTo>
                    <a:lnTo>
                      <a:pt x="340783" y="90576"/>
                    </a:lnTo>
                    <a:lnTo>
                      <a:pt x="312181" y="53563"/>
                    </a:lnTo>
                    <a:lnTo>
                      <a:pt x="275166" y="24968"/>
                    </a:lnTo>
                    <a:lnTo>
                      <a:pt x="231483" y="6532"/>
                    </a:lnTo>
                    <a:lnTo>
                      <a:pt x="182879" y="0"/>
                    </a:lnTo>
                    <a:close/>
                  </a:path>
                </a:pathLst>
              </a:custGeom>
              <a:solidFill>
                <a:schemeClr val="bg1">
                  <a:alpha val="19999"/>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3" name="object 9"/>
              <p:cNvSpPr/>
              <p:nvPr/>
            </p:nvSpPr>
            <p:spPr>
              <a:xfrm>
                <a:off x="10727108" y="5635568"/>
                <a:ext cx="396472" cy="345073"/>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object 11"/>
              <p:cNvSpPr txBox="1"/>
              <p:nvPr/>
            </p:nvSpPr>
            <p:spPr>
              <a:xfrm>
                <a:off x="8502962" y="5816343"/>
                <a:ext cx="2043168" cy="164212"/>
              </a:xfrm>
              <a:prstGeom prst="rect">
                <a:avLst/>
              </a:prstGeom>
            </p:spPr>
            <p:txBody>
              <a:bodyPr vert="horz" wrap="square" lIns="0" tIns="0" rIns="0" bIns="0" rtlCol="0">
                <a:spAutoFit/>
              </a:bodyPr>
              <a:lstStyle/>
              <a:p>
                <a:pPr marL="0" marR="23706"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7" normalizeH="0" baseline="0" noProof="0" dirty="0" err="1" smtClean="0">
                    <a:ln>
                      <a:noFill/>
                    </a:ln>
                    <a:solidFill>
                      <a:schemeClr val="bg1"/>
                    </a:solidFill>
                    <a:effectLst/>
                    <a:uLnTx/>
                    <a:uFillTx/>
                    <a:latin typeface="Arial"/>
                    <a:ea typeface="+mn-ea"/>
                    <a:cs typeface="Arial"/>
                  </a:rPr>
                  <a:t>Collaboratory</a:t>
                </a:r>
                <a:r>
                  <a:rPr kumimoji="0" lang="en-US" sz="1067" b="0" i="0" u="none" strike="noStrike" kern="1200" cap="none" spc="-7" normalizeH="0" baseline="0" noProof="0" dirty="0" smtClean="0">
                    <a:ln>
                      <a:noFill/>
                    </a:ln>
                    <a:solidFill>
                      <a:schemeClr val="bg1"/>
                    </a:solidFill>
                    <a:effectLst/>
                    <a:uLnTx/>
                    <a:uFillTx/>
                    <a:latin typeface="Arial"/>
                    <a:ea typeface="+mn-ea"/>
                    <a:cs typeface="Arial"/>
                  </a:rPr>
                  <a:t>, Design Studio </a:t>
                </a:r>
                <a:endParaRPr kumimoji="0" sz="1067" b="0" i="0" u="none" strike="noStrike" kern="1200" cap="none" spc="0" normalizeH="0" baseline="0" noProof="0" dirty="0">
                  <a:ln>
                    <a:noFill/>
                  </a:ln>
                  <a:solidFill>
                    <a:schemeClr val="bg1"/>
                  </a:solidFill>
                  <a:effectLst/>
                  <a:uLnTx/>
                  <a:uFillTx/>
                  <a:latin typeface="Arial"/>
                  <a:ea typeface="+mn-ea"/>
                  <a:cs typeface="Arial"/>
                </a:endParaRPr>
              </a:p>
            </p:txBody>
          </p:sp>
          <p:pic>
            <p:nvPicPr>
              <p:cNvPr id="45" name="Picture 6" descr="Related image"/>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9902615" y="4055322"/>
                <a:ext cx="1491961" cy="135712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7649429" y="4035527"/>
                <a:ext cx="1504915" cy="1357098"/>
              </a:xfrm>
              <a:prstGeom prst="rect">
                <a:avLst/>
              </a:prstGeom>
            </p:spPr>
          </p:pic>
        </p:grpSp>
      </p:grpSp>
    </p:spTree>
    <p:extLst>
      <p:ext uri="{BB962C8B-B14F-4D97-AF65-F5344CB8AC3E}">
        <p14:creationId xmlns:p14="http://schemas.microsoft.com/office/powerpoint/2010/main" val="75686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806" y="111355"/>
            <a:ext cx="10515600" cy="618385"/>
          </a:xfrm>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sz="2400" dirty="0" smtClean="0"/>
              <a:t>Proposed Agile Factory model for Accelerated Delivery</a:t>
            </a:r>
            <a:endParaRPr lang="en-US" sz="2200" b="0" dirty="0"/>
          </a:p>
        </p:txBody>
      </p:sp>
      <p:sp>
        <p:nvSpPr>
          <p:cNvPr id="5" name="Rounded Rectangle 4"/>
          <p:cNvSpPr/>
          <p:nvPr/>
        </p:nvSpPr>
        <p:spPr>
          <a:xfrm>
            <a:off x="10068780" y="1242480"/>
            <a:ext cx="1997395" cy="4726297"/>
          </a:xfrm>
          <a:prstGeom prst="roundRect">
            <a:avLst>
              <a:gd name="adj" fmla="val 2122"/>
            </a:avLst>
          </a:prstGeom>
          <a:solidFill>
            <a:sysClr val="window" lastClr="FFFFFF"/>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6" name="Rounded Rectangle 5"/>
          <p:cNvSpPr/>
          <p:nvPr/>
        </p:nvSpPr>
        <p:spPr>
          <a:xfrm>
            <a:off x="3153167" y="1242480"/>
            <a:ext cx="6693972" cy="4726297"/>
          </a:xfrm>
          <a:prstGeom prst="roundRect">
            <a:avLst>
              <a:gd name="adj" fmla="val 2122"/>
            </a:avLst>
          </a:prstGeom>
          <a:solidFill>
            <a:sysClr val="window" lastClr="FFFFFF"/>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cxnSp>
        <p:nvCxnSpPr>
          <p:cNvPr id="7" name="Straight Connector 6"/>
          <p:cNvCxnSpPr/>
          <p:nvPr/>
        </p:nvCxnSpPr>
        <p:spPr>
          <a:xfrm>
            <a:off x="4327725" y="5233058"/>
            <a:ext cx="5753901" cy="0"/>
          </a:xfrm>
          <a:prstGeom prst="line">
            <a:avLst/>
          </a:prstGeom>
          <a:noFill/>
          <a:ln w="19050" cap="flat" cmpd="sng" algn="ctr">
            <a:solidFill>
              <a:srgbClr val="005891"/>
            </a:solidFill>
            <a:prstDash val="solid"/>
            <a:tailEnd type="triangle" w="lg" len="med"/>
          </a:ln>
          <a:effectLst/>
        </p:spPr>
      </p:cxnSp>
      <p:cxnSp>
        <p:nvCxnSpPr>
          <p:cNvPr id="8" name="Straight Connector 7"/>
          <p:cNvCxnSpPr/>
          <p:nvPr/>
        </p:nvCxnSpPr>
        <p:spPr>
          <a:xfrm>
            <a:off x="4318355" y="3725955"/>
            <a:ext cx="5753901" cy="0"/>
          </a:xfrm>
          <a:prstGeom prst="line">
            <a:avLst/>
          </a:prstGeom>
          <a:noFill/>
          <a:ln w="19050" cap="flat" cmpd="sng" algn="ctr">
            <a:solidFill>
              <a:srgbClr val="005891"/>
            </a:solidFill>
            <a:prstDash val="solid"/>
            <a:tailEnd type="triangle" w="lg" len="med"/>
          </a:ln>
          <a:effectLst/>
        </p:spPr>
      </p:cxnSp>
      <p:sp>
        <p:nvSpPr>
          <p:cNvPr id="9" name="Rounded Rectangle 8"/>
          <p:cNvSpPr/>
          <p:nvPr/>
        </p:nvSpPr>
        <p:spPr>
          <a:xfrm>
            <a:off x="5654701" y="1082517"/>
            <a:ext cx="2087895" cy="335428"/>
          </a:xfrm>
          <a:prstGeom prst="roundRect">
            <a:avLst>
              <a:gd name="adj" fmla="val 50000"/>
            </a:avLst>
          </a:prstGeom>
          <a:solidFill>
            <a:srgbClr val="00A0EF"/>
          </a:solidFill>
          <a:ln w="25400" cap="flat" cmpd="sng" algn="ctr">
            <a:noFill/>
            <a:prstDash val="solid"/>
          </a:ln>
          <a:effectLst/>
        </p:spPr>
        <p:txBody>
          <a:bodyPr wrap="none" lIns="68589" tIns="34295" rIns="68589" bIns="34295" rtlCol="0" anchor="ctr">
            <a:spAutoFit/>
          </a:bodyPr>
          <a:lstStyle/>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Marriott Agile ADM Factory</a:t>
            </a:r>
          </a:p>
        </p:txBody>
      </p:sp>
      <p:cxnSp>
        <p:nvCxnSpPr>
          <p:cNvPr id="10" name="Straight Connector 9"/>
          <p:cNvCxnSpPr/>
          <p:nvPr/>
        </p:nvCxnSpPr>
        <p:spPr>
          <a:xfrm>
            <a:off x="4318355" y="2229410"/>
            <a:ext cx="5753901" cy="0"/>
          </a:xfrm>
          <a:prstGeom prst="line">
            <a:avLst/>
          </a:prstGeom>
          <a:noFill/>
          <a:ln w="19050" cap="flat" cmpd="sng" algn="ctr">
            <a:solidFill>
              <a:srgbClr val="005891"/>
            </a:solidFill>
            <a:prstDash val="solid"/>
            <a:tailEnd type="triangle" w="lg" len="med"/>
          </a:ln>
          <a:effectLst/>
        </p:spPr>
      </p:cxnSp>
      <p:sp>
        <p:nvSpPr>
          <p:cNvPr id="11" name="Rounded Rectangle 10"/>
          <p:cNvSpPr/>
          <p:nvPr/>
        </p:nvSpPr>
        <p:spPr>
          <a:xfrm>
            <a:off x="1032451" y="1242480"/>
            <a:ext cx="1908748" cy="4726297"/>
          </a:xfrm>
          <a:prstGeom prst="roundRect">
            <a:avLst>
              <a:gd name="adj" fmla="val 2122"/>
            </a:avLst>
          </a:prstGeom>
          <a:solidFill>
            <a:sysClr val="window" lastClr="FFFFFF"/>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12" name="Rounded Rectangle 11"/>
          <p:cNvSpPr/>
          <p:nvPr/>
        </p:nvSpPr>
        <p:spPr>
          <a:xfrm>
            <a:off x="10193000" y="3740089"/>
            <a:ext cx="1799268" cy="2124482"/>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13" name="Rounded Rectangle 12"/>
          <p:cNvSpPr/>
          <p:nvPr/>
        </p:nvSpPr>
        <p:spPr>
          <a:xfrm>
            <a:off x="1375016" y="1055963"/>
            <a:ext cx="1199608" cy="305520"/>
          </a:xfrm>
          <a:prstGeom prst="roundRect">
            <a:avLst>
              <a:gd name="adj" fmla="val 50000"/>
            </a:avLst>
          </a:prstGeom>
          <a:solidFill>
            <a:schemeClr val="bg2">
              <a:lumMod val="25000"/>
            </a:schemeClr>
          </a:solidFill>
          <a:ln w="12700" cap="flat" cmpd="sng" algn="ctr">
            <a:solidFill>
              <a:srgbClr val="3B3838"/>
            </a:solidFill>
            <a:prstDash val="solid"/>
          </a:ln>
          <a:effectLst/>
        </p:spPr>
        <p:txBody>
          <a:bodyPr lIns="68589" tIns="34295" rIns="68589" bIns="34295" rtlCol="0" anchor="t" anchorCtr="0"/>
          <a:lstStyle/>
          <a:p>
            <a:pPr algn="ctr">
              <a:lnSpc>
                <a:spcPts val="975"/>
              </a:lnSpc>
            </a:pPr>
            <a:r>
              <a:rPr lang="en-US" sz="1100" b="1" kern="0" dirty="0">
                <a:solidFill>
                  <a:prstClr val="white"/>
                </a:solidFill>
                <a:latin typeface="Calibiri"/>
                <a:ea typeface="Verdana" panose="020B0604030504040204" pitchFamily="34" charset="0"/>
                <a:cs typeface="Verdana" panose="020B0604030504040204" pitchFamily="34" charset="0"/>
              </a:rPr>
              <a:t>Input</a:t>
            </a:r>
          </a:p>
        </p:txBody>
      </p:sp>
      <p:cxnSp>
        <p:nvCxnSpPr>
          <p:cNvPr id="14" name="Straight Connector 13"/>
          <p:cNvCxnSpPr/>
          <p:nvPr/>
        </p:nvCxnSpPr>
        <p:spPr>
          <a:xfrm>
            <a:off x="2698685" y="2027518"/>
            <a:ext cx="451127" cy="2408"/>
          </a:xfrm>
          <a:prstGeom prst="line">
            <a:avLst/>
          </a:prstGeom>
          <a:noFill/>
          <a:ln w="19050" cap="flat" cmpd="sng" algn="ctr">
            <a:solidFill>
              <a:srgbClr val="005891"/>
            </a:solidFill>
            <a:prstDash val="solid"/>
            <a:tailEnd type="triangle" w="lg" len="med"/>
          </a:ln>
          <a:effectLst/>
        </p:spPr>
      </p:cxnSp>
      <p:sp>
        <p:nvSpPr>
          <p:cNvPr id="15" name="Rounded Rectangle 14"/>
          <p:cNvSpPr/>
          <p:nvPr/>
        </p:nvSpPr>
        <p:spPr>
          <a:xfrm>
            <a:off x="10395734" y="4070385"/>
            <a:ext cx="1461903" cy="493660"/>
          </a:xfrm>
          <a:prstGeom prst="roundRect">
            <a:avLst>
              <a:gd name="adj" fmla="val 4849"/>
            </a:avLst>
          </a:prstGeom>
          <a:solidFill>
            <a:srgbClr val="0EDF5D"/>
          </a:solidFill>
          <a:ln w="12700" cap="flat" cmpd="sng" algn="ctr">
            <a:noFill/>
            <a:prstDash val="solid"/>
          </a:ln>
          <a:effectLst/>
        </p:spPr>
        <p:txBody>
          <a:bodyPr lIns="68589" tIns="34295" rIns="68589" bIns="34295" rtlCol="0" anchor="ctr"/>
          <a:lstStyle/>
          <a:p>
            <a:pPr algn="ctr">
              <a:defRPr/>
            </a:pPr>
            <a:r>
              <a:rPr lang="en-US" sz="1000" kern="0" dirty="0" smtClean="0">
                <a:solidFill>
                  <a:prstClr val="black"/>
                </a:solidFill>
                <a:latin typeface="Calibiri"/>
                <a:ea typeface="Verdana" panose="020B0604030504040204" pitchFamily="34" charset="0"/>
                <a:cs typeface="Verdana" panose="020B0604030504040204" pitchFamily="34" charset="0"/>
              </a:rPr>
              <a:t>Enterprise Component</a:t>
            </a:r>
          </a:p>
          <a:p>
            <a:pPr algn="ctr">
              <a:defRPr/>
            </a:pPr>
            <a:r>
              <a:rPr lang="en-US" sz="1000" kern="0" dirty="0" smtClean="0">
                <a:solidFill>
                  <a:prstClr val="black"/>
                </a:solidFill>
                <a:latin typeface="Calibiri"/>
                <a:ea typeface="Verdana" panose="020B0604030504040204" pitchFamily="34" charset="0"/>
                <a:cs typeface="Verdana" panose="020B0604030504040204" pitchFamily="34" charset="0"/>
              </a:rPr>
              <a:t>Library </a:t>
            </a:r>
          </a:p>
        </p:txBody>
      </p:sp>
      <p:sp>
        <p:nvSpPr>
          <p:cNvPr id="16" name="Rounded Rectangle 15"/>
          <p:cNvSpPr/>
          <p:nvPr/>
        </p:nvSpPr>
        <p:spPr>
          <a:xfrm>
            <a:off x="10395734" y="4647155"/>
            <a:ext cx="1461903" cy="493660"/>
          </a:xfrm>
          <a:prstGeom prst="roundRect">
            <a:avLst>
              <a:gd name="adj" fmla="val 4849"/>
            </a:avLst>
          </a:prstGeom>
          <a:solidFill>
            <a:sysClr val="windowText" lastClr="000000">
              <a:lumMod val="65000"/>
              <a:lumOff val="35000"/>
            </a:sysClr>
          </a:solidFill>
          <a:ln w="12700" cap="flat" cmpd="sng" algn="ctr">
            <a:noFill/>
            <a:prstDash val="solid"/>
          </a:ln>
          <a:effectLst/>
        </p:spPr>
        <p:txBody>
          <a:bodyPr lIns="68589" tIns="34295" rIns="68589" bIns="34295" rtlCol="0" anchor="ctr"/>
          <a:lstStyle/>
          <a:p>
            <a:pPr algn="ctr">
              <a:defRPr/>
            </a:pPr>
            <a:r>
              <a:rPr lang="en-US" sz="1000" kern="0" dirty="0" smtClean="0">
                <a:solidFill>
                  <a:prstClr val="white">
                    <a:lumMod val="85000"/>
                  </a:prstClr>
                </a:solidFill>
                <a:latin typeface="Calibiri"/>
                <a:ea typeface="Verdana" panose="020B0604030504040204" pitchFamily="34" charset="0"/>
                <a:cs typeface="Verdana" panose="020B0604030504040204" pitchFamily="34" charset="0"/>
              </a:rPr>
              <a:t>Configuration Framework </a:t>
            </a:r>
          </a:p>
        </p:txBody>
      </p:sp>
      <p:sp>
        <p:nvSpPr>
          <p:cNvPr id="17" name="Rounded Rectangle 16"/>
          <p:cNvSpPr/>
          <p:nvPr/>
        </p:nvSpPr>
        <p:spPr>
          <a:xfrm>
            <a:off x="10395734" y="5223924"/>
            <a:ext cx="1461903" cy="493660"/>
          </a:xfrm>
          <a:prstGeom prst="roundRect">
            <a:avLst>
              <a:gd name="adj" fmla="val 4849"/>
            </a:avLst>
          </a:prstGeom>
          <a:solidFill>
            <a:srgbClr val="32B5DC"/>
          </a:solidFill>
          <a:ln w="12700" cap="flat" cmpd="sng" algn="ctr">
            <a:noFill/>
            <a:prstDash val="solid"/>
          </a:ln>
          <a:effectLst/>
        </p:spPr>
        <p:txBody>
          <a:bodyPr lIns="68589" tIns="34295" rIns="68589" bIns="34295" rtlCol="0" anchor="ctr"/>
          <a:lstStyle/>
          <a:p>
            <a:pPr algn="ctr">
              <a:defRPr/>
            </a:pPr>
            <a:r>
              <a:rPr lang="en-US" sz="1000" kern="0" dirty="0" smtClean="0">
                <a:solidFill>
                  <a:prstClr val="black"/>
                </a:solidFill>
                <a:latin typeface="Calibiri"/>
                <a:ea typeface="Verdana" panose="020B0604030504040204" pitchFamily="34" charset="0"/>
                <a:cs typeface="Verdana" panose="020B0604030504040204" pitchFamily="34" charset="0"/>
              </a:rPr>
              <a:t>Enterprise API /  Services </a:t>
            </a:r>
          </a:p>
        </p:txBody>
      </p:sp>
      <p:sp>
        <p:nvSpPr>
          <p:cNvPr id="18" name="Rounded Rectangle 17"/>
          <p:cNvSpPr/>
          <p:nvPr/>
        </p:nvSpPr>
        <p:spPr>
          <a:xfrm>
            <a:off x="10339304" y="1055963"/>
            <a:ext cx="1440640" cy="305520"/>
          </a:xfrm>
          <a:prstGeom prst="roundRect">
            <a:avLst>
              <a:gd name="adj" fmla="val 50000"/>
            </a:avLst>
          </a:prstGeom>
          <a:solidFill>
            <a:schemeClr val="bg2">
              <a:lumMod val="25000"/>
            </a:schemeClr>
          </a:solidFill>
          <a:ln w="12700" cap="flat" cmpd="sng" algn="ctr">
            <a:solidFill>
              <a:srgbClr val="3B3838"/>
            </a:solidFill>
            <a:prstDash val="solid"/>
          </a:ln>
          <a:effectLst/>
        </p:spPr>
        <p:txBody>
          <a:bodyPr lIns="68589" tIns="34295" rIns="68589" bIns="34295" rtlCol="0" anchor="t" anchorCtr="0"/>
          <a:lstStyle/>
          <a:p>
            <a:pPr algn="ctr">
              <a:lnSpc>
                <a:spcPts val="975"/>
              </a:lnSpc>
            </a:pPr>
            <a:r>
              <a:rPr lang="en-US" sz="1100" b="1" kern="0" dirty="0">
                <a:solidFill>
                  <a:prstClr val="white"/>
                </a:solidFill>
                <a:latin typeface="Calibiri"/>
                <a:ea typeface="Verdana" panose="020B0604030504040204" pitchFamily="34" charset="0"/>
                <a:cs typeface="Verdana" panose="020B0604030504040204" pitchFamily="34" charset="0"/>
              </a:rPr>
              <a:t>Output</a:t>
            </a:r>
          </a:p>
        </p:txBody>
      </p:sp>
      <p:sp>
        <p:nvSpPr>
          <p:cNvPr id="19" name="Rounded Rectangle 18"/>
          <p:cNvSpPr/>
          <p:nvPr/>
        </p:nvSpPr>
        <p:spPr>
          <a:xfrm>
            <a:off x="10295493" y="1757803"/>
            <a:ext cx="1461903" cy="731674"/>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defRPr/>
            </a:pPr>
            <a:endParaRPr lang="en-US" sz="3200" kern="0" smtClean="0">
              <a:solidFill>
                <a:prstClr val="white"/>
              </a:solidFill>
              <a:latin typeface="Calibiri"/>
              <a:ea typeface="Verdana" panose="020B0604030504040204" pitchFamily="34" charset="0"/>
              <a:cs typeface="Verdana" panose="020B0604030504040204" pitchFamily="34" charset="0"/>
            </a:endParaRPr>
          </a:p>
        </p:txBody>
      </p:sp>
      <p:sp>
        <p:nvSpPr>
          <p:cNvPr id="20" name="TextBox 19"/>
          <p:cNvSpPr txBox="1"/>
          <p:nvPr/>
        </p:nvSpPr>
        <p:spPr>
          <a:xfrm>
            <a:off x="10203139" y="3746057"/>
            <a:ext cx="1789128" cy="262327"/>
          </a:xfrm>
          <a:prstGeom prst="rect">
            <a:avLst/>
          </a:prstGeom>
          <a:noFill/>
        </p:spPr>
        <p:txBody>
          <a:bodyPr wrap="square" lIns="68589" tIns="34295" rIns="68589" bIns="34295" rtlCol="0">
            <a:spAutoFit/>
          </a:bodyPr>
          <a:lstStyle/>
          <a:p>
            <a:pPr algn="ctr"/>
            <a:r>
              <a:rPr lang="en-US" sz="1100" b="1" dirty="0" smtClean="0">
                <a:solidFill>
                  <a:prstClr val="black"/>
                </a:solidFill>
                <a:latin typeface="Calibiri"/>
                <a:ea typeface="Verdana" panose="020B0604030504040204" pitchFamily="34" charset="0"/>
                <a:cs typeface="Verdana" panose="020B0604030504040204" pitchFamily="34" charset="0"/>
              </a:rPr>
              <a:t>Foundation Framework</a:t>
            </a:r>
            <a:endParaRPr lang="en-US" sz="1100" b="1" dirty="0">
              <a:solidFill>
                <a:prstClr val="black"/>
              </a:solidFill>
              <a:latin typeface="Calibiri"/>
              <a:ea typeface="Verdana" panose="020B0604030504040204" pitchFamily="34" charset="0"/>
              <a:cs typeface="Verdana" panose="020B0604030504040204" pitchFamily="34" charset="0"/>
            </a:endParaRPr>
          </a:p>
        </p:txBody>
      </p:sp>
      <p:grpSp>
        <p:nvGrpSpPr>
          <p:cNvPr id="21" name="Group 20"/>
          <p:cNvGrpSpPr/>
          <p:nvPr/>
        </p:nvGrpSpPr>
        <p:grpSpPr>
          <a:xfrm>
            <a:off x="3238760" y="1619402"/>
            <a:ext cx="6516183" cy="4245169"/>
            <a:chOff x="3324053" y="2186086"/>
            <a:chExt cx="6516183" cy="3380699"/>
          </a:xfrm>
        </p:grpSpPr>
        <p:sp>
          <p:nvSpPr>
            <p:cNvPr id="50" name="Rounded Rectangle 49"/>
            <p:cNvSpPr/>
            <p:nvPr/>
          </p:nvSpPr>
          <p:spPr>
            <a:xfrm>
              <a:off x="4553585" y="3300354"/>
              <a:ext cx="2848837" cy="1123851"/>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sp>
          <p:nvSpPr>
            <p:cNvPr id="51" name="Rounded Rectangle 50"/>
            <p:cNvSpPr/>
            <p:nvPr/>
          </p:nvSpPr>
          <p:spPr>
            <a:xfrm>
              <a:off x="7481558" y="3300354"/>
              <a:ext cx="812168" cy="1123851"/>
            </a:xfrm>
            <a:prstGeom prst="roundRect">
              <a:avLst>
                <a:gd name="adj" fmla="val 3853"/>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sp>
          <p:nvSpPr>
            <p:cNvPr id="52" name="Rounded Rectangle 51"/>
            <p:cNvSpPr/>
            <p:nvPr/>
          </p:nvSpPr>
          <p:spPr>
            <a:xfrm>
              <a:off x="8372859" y="3300354"/>
              <a:ext cx="599755" cy="1123851"/>
            </a:xfrm>
            <a:prstGeom prst="roundRect">
              <a:avLst>
                <a:gd name="adj" fmla="val 3853"/>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sp>
          <p:nvSpPr>
            <p:cNvPr id="53" name="Rounded Rectangle 52"/>
            <p:cNvSpPr/>
            <p:nvPr/>
          </p:nvSpPr>
          <p:spPr>
            <a:xfrm>
              <a:off x="9051750" y="3300354"/>
              <a:ext cx="749694" cy="1123851"/>
            </a:xfrm>
            <a:prstGeom prst="roundRect">
              <a:avLst>
                <a:gd name="adj" fmla="val 3853"/>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sp>
          <p:nvSpPr>
            <p:cNvPr id="54" name="Rounded Rectangle 53"/>
            <p:cNvSpPr/>
            <p:nvPr/>
          </p:nvSpPr>
          <p:spPr>
            <a:xfrm>
              <a:off x="3656645" y="3383530"/>
              <a:ext cx="823793" cy="957500"/>
            </a:xfrm>
            <a:prstGeom prst="roundRect">
              <a:avLst>
                <a:gd name="adj" fmla="val 3853"/>
              </a:avLst>
            </a:prstGeom>
            <a:solidFill>
              <a:srgbClr val="005891"/>
            </a:solidFill>
            <a:ln w="12700" cap="flat" cmpd="sng" algn="ctr">
              <a:solidFill>
                <a:srgbClr val="005891"/>
              </a:solidFill>
              <a:prstDash val="solid"/>
            </a:ln>
            <a:effectLst/>
          </p:spPr>
          <p:txBody>
            <a:bodyPr lIns="68589" tIns="34295" rIns="68589" bIns="34295" rtlCol="0" anchor="ctr"/>
            <a:lstStyle/>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Lean</a:t>
              </a:r>
            </a:p>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Agile Dev Model</a:t>
              </a:r>
            </a:p>
          </p:txBody>
        </p:sp>
        <p:sp>
          <p:nvSpPr>
            <p:cNvPr id="55" name="TextBox 54"/>
            <p:cNvSpPr txBox="1"/>
            <p:nvPr/>
          </p:nvSpPr>
          <p:spPr>
            <a:xfrm>
              <a:off x="9048387" y="3331118"/>
              <a:ext cx="768424" cy="300092"/>
            </a:xfrm>
            <a:prstGeom prst="rect">
              <a:avLst/>
            </a:prstGeom>
            <a:noFill/>
          </p:spPr>
          <p:txBody>
            <a:bodyPr wrap="square" lIns="0" tIns="34295" rIns="68589" bIns="34295" rtlCol="0">
              <a:spAutoFit/>
            </a:bodyPr>
            <a:lstStyle/>
            <a:p>
              <a:pPr algn="ctr">
                <a:lnSpc>
                  <a:spcPct val="150000"/>
                </a:lnSpc>
              </a:pPr>
              <a:r>
                <a:rPr lang="en-US" sz="1000" dirty="0" smtClean="0">
                  <a:solidFill>
                    <a:prstClr val="black"/>
                  </a:solidFill>
                  <a:latin typeface="Calibiri"/>
                  <a:ea typeface="Verdana" panose="020B0604030504040204" pitchFamily="34" charset="0"/>
                  <a:cs typeface="Verdana" panose="020B0604030504040204" pitchFamily="34" charset="0"/>
                </a:rPr>
                <a:t>Testing</a:t>
              </a:r>
              <a:endParaRPr lang="en-US" sz="1000" dirty="0">
                <a:solidFill>
                  <a:prstClr val="black"/>
                </a:solidFill>
                <a:latin typeface="Calibiri"/>
                <a:ea typeface="Verdana" panose="020B0604030504040204" pitchFamily="34" charset="0"/>
                <a:cs typeface="Verdana" panose="020B0604030504040204" pitchFamily="34" charset="0"/>
              </a:endParaRPr>
            </a:p>
          </p:txBody>
        </p:sp>
        <p:sp>
          <p:nvSpPr>
            <p:cNvPr id="56" name="TextBox 55"/>
            <p:cNvSpPr txBox="1"/>
            <p:nvPr/>
          </p:nvSpPr>
          <p:spPr>
            <a:xfrm>
              <a:off x="8370965" y="3324875"/>
              <a:ext cx="600183" cy="271560"/>
            </a:xfrm>
            <a:prstGeom prst="rect">
              <a:avLst/>
            </a:prstGeom>
            <a:noFill/>
          </p:spPr>
          <p:txBody>
            <a:bodyPr wrap="none" lIns="68589" tIns="34295" rIns="68589" bIns="34295" rtlCol="0">
              <a:spAutoFit/>
            </a:bodyPr>
            <a:lstStyle/>
            <a:p>
              <a:pPr>
                <a:lnSpc>
                  <a:spcPct val="150000"/>
                </a:lnSpc>
              </a:pPr>
              <a:r>
                <a:rPr lang="en-US" sz="1000" dirty="0" smtClean="0">
                  <a:solidFill>
                    <a:prstClr val="black"/>
                  </a:solidFill>
                  <a:latin typeface="Calibiri"/>
                  <a:ea typeface="Verdana" panose="020B0604030504040204" pitchFamily="34" charset="0"/>
                  <a:cs typeface="Verdana" panose="020B0604030504040204" pitchFamily="34" charset="0"/>
                </a:rPr>
                <a:t>DevOps</a:t>
              </a:r>
              <a:endParaRPr lang="en-US" sz="1000" dirty="0">
                <a:solidFill>
                  <a:prstClr val="black"/>
                </a:solidFill>
                <a:latin typeface="Calibiri"/>
                <a:ea typeface="Verdana" panose="020B0604030504040204" pitchFamily="34" charset="0"/>
                <a:cs typeface="Verdana" panose="020B0604030504040204" pitchFamily="34" charset="0"/>
              </a:endParaRPr>
            </a:p>
          </p:txBody>
        </p:sp>
        <p:sp>
          <p:nvSpPr>
            <p:cNvPr id="57" name="TextBox 56"/>
            <p:cNvSpPr txBox="1"/>
            <p:nvPr/>
          </p:nvSpPr>
          <p:spPr>
            <a:xfrm>
              <a:off x="7476228" y="3368919"/>
              <a:ext cx="816937" cy="233087"/>
            </a:xfrm>
            <a:prstGeom prst="rect">
              <a:avLst/>
            </a:prstGeom>
            <a:noFill/>
          </p:spPr>
          <p:txBody>
            <a:bodyPr wrap="square" lIns="68589" tIns="34295" rIns="68589" bIns="34295" rtlCol="0">
              <a:spAutoFit/>
            </a:bodyPr>
            <a:lstStyle/>
            <a:p>
              <a:pPr algn="ctr">
                <a:lnSpc>
                  <a:spcPts val="600"/>
                </a:lnSpc>
              </a:pPr>
              <a:endParaRPr lang="en-US" sz="1000" dirty="0" smtClean="0">
                <a:solidFill>
                  <a:prstClr val="black"/>
                </a:solidFill>
                <a:latin typeface="Calibiri"/>
                <a:ea typeface="Verdana" panose="020B0604030504040204" pitchFamily="34" charset="0"/>
                <a:cs typeface="Verdana" panose="020B0604030504040204" pitchFamily="34" charset="0"/>
              </a:endParaRPr>
            </a:p>
            <a:p>
              <a:pPr algn="ctr">
                <a:lnSpc>
                  <a:spcPts val="600"/>
                </a:lnSpc>
              </a:pPr>
              <a:r>
                <a:rPr lang="en-US" sz="1000" dirty="0" smtClean="0">
                  <a:solidFill>
                    <a:prstClr val="black"/>
                  </a:solidFill>
                  <a:latin typeface="Calibiri"/>
                  <a:ea typeface="Verdana" panose="020B0604030504040204" pitchFamily="34" charset="0"/>
                  <a:cs typeface="Verdana" panose="020B0604030504040204" pitchFamily="34" charset="0"/>
                </a:rPr>
                <a:t>Services</a:t>
              </a:r>
              <a:endParaRPr lang="en-US" sz="1000" dirty="0">
                <a:solidFill>
                  <a:prstClr val="black"/>
                </a:solidFill>
                <a:latin typeface="Calibiri"/>
                <a:ea typeface="Verdana" panose="020B0604030504040204" pitchFamily="34" charset="0"/>
                <a:cs typeface="Verdana" panose="020B0604030504040204" pitchFamily="34" charset="0"/>
              </a:endParaRPr>
            </a:p>
          </p:txBody>
        </p:sp>
        <p:sp>
          <p:nvSpPr>
            <p:cNvPr id="58" name="TextBox 57"/>
            <p:cNvSpPr txBox="1"/>
            <p:nvPr/>
          </p:nvSpPr>
          <p:spPr>
            <a:xfrm>
              <a:off x="4564850" y="3376006"/>
              <a:ext cx="2839466" cy="223148"/>
            </a:xfrm>
            <a:prstGeom prst="rect">
              <a:avLst/>
            </a:prstGeom>
            <a:noFill/>
          </p:spPr>
          <p:txBody>
            <a:bodyPr wrap="square" lIns="68589" tIns="34295" rIns="68589" bIns="34295" rtlCol="0">
              <a:spAutoFit/>
            </a:bodyPr>
            <a:lstStyle>
              <a:defPPr>
                <a:defRPr lang="en-US"/>
              </a:defPPr>
              <a:lvl1pPr algn="ctr">
                <a:defRPr sz="1000">
                  <a:solidFill>
                    <a:prstClr val="black"/>
                  </a:solidFill>
                  <a:latin typeface="Calibiri"/>
                  <a:ea typeface="Verdana" panose="020B0604030504040204" pitchFamily="34" charset="0"/>
                  <a:cs typeface="Verdana" panose="020B0604030504040204" pitchFamily="34" charset="0"/>
                </a:defRPr>
              </a:lvl1pPr>
            </a:lstStyle>
            <a:p>
              <a:r>
                <a:rPr lang="en-US" dirty="0"/>
                <a:t>Reusable Assets</a:t>
              </a:r>
            </a:p>
          </p:txBody>
        </p:sp>
        <p:cxnSp>
          <p:nvCxnSpPr>
            <p:cNvPr id="59" name="Straight Connector 58"/>
            <p:cNvCxnSpPr/>
            <p:nvPr/>
          </p:nvCxnSpPr>
          <p:spPr>
            <a:xfrm>
              <a:off x="4666040" y="3639957"/>
              <a:ext cx="2608935" cy="0"/>
            </a:xfrm>
            <a:prstGeom prst="line">
              <a:avLst/>
            </a:prstGeom>
            <a:noFill/>
            <a:ln w="6350" cap="flat" cmpd="sng" algn="ctr">
              <a:solidFill>
                <a:sysClr val="window" lastClr="FFFFFF">
                  <a:lumMod val="85000"/>
                </a:sysClr>
              </a:solidFill>
              <a:prstDash val="solid"/>
            </a:ln>
            <a:effectLst/>
          </p:spPr>
        </p:cxnSp>
        <p:cxnSp>
          <p:nvCxnSpPr>
            <p:cNvPr id="60" name="Straight Connector 59"/>
            <p:cNvCxnSpPr/>
            <p:nvPr/>
          </p:nvCxnSpPr>
          <p:spPr>
            <a:xfrm>
              <a:off x="7573684" y="3640630"/>
              <a:ext cx="629743" cy="0"/>
            </a:xfrm>
            <a:prstGeom prst="line">
              <a:avLst/>
            </a:prstGeom>
            <a:noFill/>
            <a:ln w="6350" cap="flat" cmpd="sng" algn="ctr">
              <a:solidFill>
                <a:sysClr val="window" lastClr="FFFFFF">
                  <a:lumMod val="85000"/>
                </a:sysClr>
              </a:solidFill>
              <a:prstDash val="solid"/>
            </a:ln>
            <a:effectLst/>
          </p:spPr>
        </p:cxnSp>
        <p:cxnSp>
          <p:nvCxnSpPr>
            <p:cNvPr id="61" name="Straight Connector 60"/>
            <p:cNvCxnSpPr/>
            <p:nvPr/>
          </p:nvCxnSpPr>
          <p:spPr>
            <a:xfrm>
              <a:off x="8468862" y="3640630"/>
              <a:ext cx="395839" cy="0"/>
            </a:xfrm>
            <a:prstGeom prst="line">
              <a:avLst/>
            </a:prstGeom>
            <a:noFill/>
            <a:ln w="6350" cap="flat" cmpd="sng" algn="ctr">
              <a:solidFill>
                <a:sysClr val="window" lastClr="FFFFFF">
                  <a:lumMod val="85000"/>
                </a:sysClr>
              </a:solidFill>
              <a:prstDash val="solid"/>
            </a:ln>
            <a:effectLst/>
          </p:spPr>
        </p:cxnSp>
        <p:cxnSp>
          <p:nvCxnSpPr>
            <p:cNvPr id="62" name="Straight Connector 61"/>
            <p:cNvCxnSpPr/>
            <p:nvPr/>
          </p:nvCxnSpPr>
          <p:spPr>
            <a:xfrm>
              <a:off x="9152583" y="3640630"/>
              <a:ext cx="539779" cy="0"/>
            </a:xfrm>
            <a:prstGeom prst="line">
              <a:avLst/>
            </a:prstGeom>
            <a:noFill/>
            <a:ln w="6350" cap="flat" cmpd="sng" algn="ctr">
              <a:solidFill>
                <a:sysClr val="window" lastClr="FFFFFF">
                  <a:lumMod val="85000"/>
                </a:sysClr>
              </a:solidFill>
              <a:prstDash val="solid"/>
            </a:ln>
            <a:effectLst/>
          </p:spPr>
        </p:cxnSp>
        <p:pic>
          <p:nvPicPr>
            <p:cNvPr id="63" name="Picture 6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31085" y="4054794"/>
              <a:ext cx="317949" cy="268869"/>
            </a:xfrm>
            <a:prstGeom prst="rect">
              <a:avLst/>
            </a:prstGeom>
          </p:spPr>
        </p:pic>
        <p:pic>
          <p:nvPicPr>
            <p:cNvPr id="64" name="Picture 6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90159" y="3771839"/>
              <a:ext cx="199799" cy="167729"/>
            </a:xfrm>
            <a:prstGeom prst="rect">
              <a:avLst/>
            </a:prstGeom>
          </p:spPr>
        </p:pic>
        <p:pic>
          <p:nvPicPr>
            <p:cNvPr id="65" name="Picture 6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08893" y="4052709"/>
              <a:ext cx="317949" cy="268868"/>
            </a:xfrm>
            <a:prstGeom prst="rect">
              <a:avLst/>
            </a:prstGeom>
          </p:spPr>
        </p:pic>
        <p:pic>
          <p:nvPicPr>
            <p:cNvPr id="66" name="Picture 6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71933" y="3760681"/>
              <a:ext cx="179939" cy="179828"/>
            </a:xfrm>
            <a:prstGeom prst="rect">
              <a:avLst/>
            </a:prstGeom>
          </p:spPr>
        </p:pic>
        <p:pic>
          <p:nvPicPr>
            <p:cNvPr id="67" name="Picture 6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248545" y="4039991"/>
              <a:ext cx="339019" cy="298474"/>
            </a:xfrm>
            <a:prstGeom prst="rect">
              <a:avLst/>
            </a:prstGeom>
          </p:spPr>
        </p:pic>
        <p:pic>
          <p:nvPicPr>
            <p:cNvPr id="68" name="Picture 6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31820" y="3764016"/>
              <a:ext cx="166071" cy="165971"/>
            </a:xfrm>
            <a:prstGeom prst="rect">
              <a:avLst/>
            </a:prstGeom>
          </p:spPr>
        </p:pic>
        <p:sp>
          <p:nvSpPr>
            <p:cNvPr id="69" name="Rounded Rectangle 68"/>
            <p:cNvSpPr/>
            <p:nvPr/>
          </p:nvSpPr>
          <p:spPr>
            <a:xfrm>
              <a:off x="3666016" y="2259297"/>
              <a:ext cx="823793" cy="842787"/>
            </a:xfrm>
            <a:prstGeom prst="roundRect">
              <a:avLst>
                <a:gd name="adj" fmla="val 3853"/>
              </a:avLst>
            </a:prstGeom>
            <a:solidFill>
              <a:srgbClr val="005891"/>
            </a:solidFill>
            <a:ln w="12700" cap="flat" cmpd="sng" algn="ctr">
              <a:solidFill>
                <a:srgbClr val="005891"/>
              </a:solidFill>
              <a:prstDash val="solid"/>
            </a:ln>
            <a:effectLst/>
          </p:spPr>
          <p:txBody>
            <a:bodyPr lIns="0" tIns="0" rIns="0" bIns="0" rtlCol="0" anchor="ctr"/>
            <a:lstStyle/>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Services</a:t>
              </a:r>
            </a:p>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Portfolio</a:t>
              </a:r>
            </a:p>
          </p:txBody>
        </p:sp>
        <p:sp>
          <p:nvSpPr>
            <p:cNvPr id="70" name="Rounded Rectangle 69"/>
            <p:cNvSpPr/>
            <p:nvPr/>
          </p:nvSpPr>
          <p:spPr>
            <a:xfrm>
              <a:off x="3670392" y="4657541"/>
              <a:ext cx="823793" cy="836573"/>
            </a:xfrm>
            <a:prstGeom prst="roundRect">
              <a:avLst>
                <a:gd name="adj" fmla="val 3853"/>
              </a:avLst>
            </a:prstGeom>
            <a:solidFill>
              <a:srgbClr val="005891"/>
            </a:solidFill>
            <a:ln w="12700" cap="flat" cmpd="sng" algn="ctr">
              <a:solidFill>
                <a:srgbClr val="005891"/>
              </a:solidFill>
              <a:prstDash val="solid"/>
            </a:ln>
            <a:effectLst/>
          </p:spPr>
          <p:txBody>
            <a:bodyPr lIns="0" tIns="0" rIns="0" bIns="0" rtlCol="0" anchor="ctr"/>
            <a:lstStyle/>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Cognizant Enablers</a:t>
              </a:r>
            </a:p>
          </p:txBody>
        </p:sp>
        <p:sp>
          <p:nvSpPr>
            <p:cNvPr id="71" name="Rounded Rectangle 70"/>
            <p:cNvSpPr/>
            <p:nvPr/>
          </p:nvSpPr>
          <p:spPr>
            <a:xfrm>
              <a:off x="4586381" y="4592781"/>
              <a:ext cx="5253855" cy="974004"/>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sp>
          <p:nvSpPr>
            <p:cNvPr id="72" name="TextBox 71"/>
            <p:cNvSpPr txBox="1"/>
            <p:nvPr/>
          </p:nvSpPr>
          <p:spPr>
            <a:xfrm>
              <a:off x="7187724" y="4645165"/>
              <a:ext cx="1675798" cy="377036"/>
            </a:xfrm>
            <a:prstGeom prst="rect">
              <a:avLst/>
            </a:prstGeom>
            <a:noFill/>
          </p:spPr>
          <p:txBody>
            <a:bodyPr wrap="none" lIns="68589" tIns="34295" rIns="68589" bIns="34295" rtlCol="0">
              <a:spAutoFit/>
            </a:bodyPr>
            <a:lstStyle/>
            <a:p>
              <a:r>
                <a:rPr lang="en-US" sz="1000" dirty="0" smtClean="0">
                  <a:solidFill>
                    <a:srgbClr val="141414"/>
                  </a:solidFill>
                  <a:latin typeface="Calibiri"/>
                  <a:ea typeface="Verdana" panose="020B0604030504040204" pitchFamily="34" charset="0"/>
                  <a:cs typeface="Verdana" panose="020B0604030504040204" pitchFamily="34" charset="0"/>
                </a:rPr>
                <a:t>Best-in-Class Frameworks,</a:t>
              </a:r>
            </a:p>
            <a:p>
              <a:r>
                <a:rPr lang="en-US" sz="1000" dirty="0" smtClean="0">
                  <a:solidFill>
                    <a:srgbClr val="141414"/>
                  </a:solidFill>
                  <a:latin typeface="Calibiri"/>
                  <a:ea typeface="Verdana" panose="020B0604030504040204" pitchFamily="34" charset="0"/>
                  <a:cs typeface="Verdana" panose="020B0604030504040204" pitchFamily="34" charset="0"/>
                </a:rPr>
                <a:t>Tools &amp; Accelerators</a:t>
              </a:r>
              <a:endParaRPr lang="en-US" sz="1000" dirty="0">
                <a:solidFill>
                  <a:srgbClr val="141414"/>
                </a:solidFill>
                <a:latin typeface="Calibiri"/>
                <a:ea typeface="Verdana" panose="020B0604030504040204" pitchFamily="34" charset="0"/>
                <a:cs typeface="Verdana" panose="020B0604030504040204" pitchFamily="34" charset="0"/>
              </a:endParaRPr>
            </a:p>
          </p:txBody>
        </p:sp>
        <p:sp>
          <p:nvSpPr>
            <p:cNvPr id="73" name="TextBox 72"/>
            <p:cNvSpPr txBox="1"/>
            <p:nvPr/>
          </p:nvSpPr>
          <p:spPr>
            <a:xfrm>
              <a:off x="9002075" y="4694081"/>
              <a:ext cx="768498" cy="377036"/>
            </a:xfrm>
            <a:prstGeom prst="rect">
              <a:avLst/>
            </a:prstGeom>
            <a:noFill/>
          </p:spPr>
          <p:txBody>
            <a:bodyPr wrap="none" lIns="68589" tIns="34295" rIns="68589" bIns="34295" rtlCol="0">
              <a:spAutoFit/>
            </a:bodyPr>
            <a:lstStyle/>
            <a:p>
              <a:r>
                <a:rPr lang="en-US" sz="1000" dirty="0">
                  <a:solidFill>
                    <a:srgbClr val="141414"/>
                  </a:solidFill>
                  <a:latin typeface="Calibiri"/>
                  <a:ea typeface="Verdana" panose="020B0604030504040204" pitchFamily="34" charset="0"/>
                  <a:cs typeface="Verdana" panose="020B0604030504040204" pitchFamily="34" charset="0"/>
                </a:rPr>
                <a:t>Knowledge</a:t>
              </a:r>
            </a:p>
            <a:p>
              <a:r>
                <a:rPr lang="en-US" sz="1000" dirty="0">
                  <a:solidFill>
                    <a:srgbClr val="141414"/>
                  </a:solidFill>
                  <a:latin typeface="Calibiri"/>
                  <a:ea typeface="Verdana" panose="020B0604030504040204" pitchFamily="34" charset="0"/>
                  <a:cs typeface="Verdana" panose="020B0604030504040204" pitchFamily="34" charset="0"/>
                </a:rPr>
                <a:t>Repository</a:t>
              </a:r>
            </a:p>
          </p:txBody>
        </p:sp>
        <p:pic>
          <p:nvPicPr>
            <p:cNvPr id="74" name="Picture 7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57542" y="4742888"/>
              <a:ext cx="175557" cy="175449"/>
            </a:xfrm>
            <a:prstGeom prst="rect">
              <a:avLst/>
            </a:prstGeom>
          </p:spPr>
        </p:pic>
        <p:pic>
          <p:nvPicPr>
            <p:cNvPr id="75" name="Picture 7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22648" y="4802352"/>
              <a:ext cx="175557" cy="175449"/>
            </a:xfrm>
            <a:prstGeom prst="rect">
              <a:avLst/>
            </a:prstGeom>
          </p:spPr>
        </p:pic>
        <p:pic>
          <p:nvPicPr>
            <p:cNvPr id="76" name="Picture 7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21991" y="4697954"/>
              <a:ext cx="175557" cy="175449"/>
            </a:xfrm>
            <a:prstGeom prst="rect">
              <a:avLst/>
            </a:prstGeom>
          </p:spPr>
        </p:pic>
        <p:pic>
          <p:nvPicPr>
            <p:cNvPr id="77" name="Picture 7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833016" y="4761988"/>
              <a:ext cx="175557" cy="175449"/>
            </a:xfrm>
            <a:prstGeom prst="rect">
              <a:avLst/>
            </a:prstGeom>
          </p:spPr>
        </p:pic>
        <p:sp>
          <p:nvSpPr>
            <p:cNvPr id="78" name="TextBox 77"/>
            <p:cNvSpPr txBox="1"/>
            <p:nvPr/>
          </p:nvSpPr>
          <p:spPr>
            <a:xfrm>
              <a:off x="5774388" y="5124314"/>
              <a:ext cx="670715" cy="377036"/>
            </a:xfrm>
            <a:prstGeom prst="rect">
              <a:avLst/>
            </a:prstGeom>
            <a:noFill/>
          </p:spPr>
          <p:txBody>
            <a:bodyPr wrap="none" lIns="68589" tIns="34295" rIns="68589" bIns="34295" rtlCol="0">
              <a:spAutoFit/>
            </a:bodyPr>
            <a:lstStyle/>
            <a:p>
              <a:r>
                <a:rPr lang="en-US" sz="1000" dirty="0">
                  <a:solidFill>
                    <a:srgbClr val="141414"/>
                  </a:solidFill>
                  <a:latin typeface="Calibiri"/>
                  <a:ea typeface="Verdana" panose="020B0604030504040204" pitchFamily="34" charset="0"/>
                  <a:cs typeface="Verdana" panose="020B0604030504040204" pitchFamily="34" charset="0"/>
                </a:rPr>
                <a:t>Domain</a:t>
              </a:r>
            </a:p>
            <a:p>
              <a:r>
                <a:rPr lang="en-US" sz="1000" dirty="0">
                  <a:solidFill>
                    <a:srgbClr val="141414"/>
                  </a:solidFill>
                  <a:latin typeface="Calibiri"/>
                  <a:ea typeface="Verdana" panose="020B0604030504040204" pitchFamily="34" charset="0"/>
                  <a:cs typeface="Verdana" panose="020B0604030504040204" pitchFamily="34" charset="0"/>
                </a:rPr>
                <a:t>Expertise</a:t>
              </a:r>
            </a:p>
          </p:txBody>
        </p:sp>
        <p:sp>
          <p:nvSpPr>
            <p:cNvPr id="79" name="TextBox 78"/>
            <p:cNvSpPr txBox="1"/>
            <p:nvPr/>
          </p:nvSpPr>
          <p:spPr>
            <a:xfrm>
              <a:off x="7448506" y="5081431"/>
              <a:ext cx="999332" cy="377036"/>
            </a:xfrm>
            <a:prstGeom prst="rect">
              <a:avLst/>
            </a:prstGeom>
            <a:noFill/>
          </p:spPr>
          <p:txBody>
            <a:bodyPr wrap="square" lIns="68589" tIns="34295" rIns="68589" bIns="34295" rtlCol="0">
              <a:spAutoFit/>
            </a:bodyPr>
            <a:lstStyle>
              <a:defPPr>
                <a:defRPr lang="en-US"/>
              </a:defPPr>
              <a:lvl1pPr>
                <a:lnSpc>
                  <a:spcPts val="900"/>
                </a:lnSpc>
                <a:defRPr sz="850">
                  <a:solidFill>
                    <a:schemeClr val="tx1">
                      <a:lumMod val="75000"/>
                      <a:lumOff val="25000"/>
                    </a:schemeClr>
                  </a:solidFill>
                  <a:latin typeface="Arial" panose="020B0604020202020204" pitchFamily="34" charset="0"/>
                  <a:cs typeface="Arial" panose="020B0604020202020204" pitchFamily="34" charset="0"/>
                </a:defRPr>
              </a:lvl1pPr>
            </a:lstStyle>
            <a:p>
              <a:pPr>
                <a:lnSpc>
                  <a:spcPct val="100000"/>
                </a:lnSpc>
              </a:pPr>
              <a:r>
                <a:rPr lang="en-US" sz="1000" dirty="0">
                  <a:solidFill>
                    <a:srgbClr val="141414"/>
                  </a:solidFill>
                  <a:latin typeface="Calibiri"/>
                  <a:ea typeface="Verdana" panose="020B0604030504040204" pitchFamily="34" charset="0"/>
                  <a:cs typeface="Verdana" panose="020B0604030504040204" pitchFamily="34" charset="0"/>
                </a:rPr>
                <a:t>Program Management</a:t>
              </a:r>
            </a:p>
          </p:txBody>
        </p:sp>
        <p:pic>
          <p:nvPicPr>
            <p:cNvPr id="80" name="Picture 7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24547" y="5194380"/>
              <a:ext cx="175557" cy="175449"/>
            </a:xfrm>
            <a:prstGeom prst="rect">
              <a:avLst/>
            </a:prstGeom>
          </p:spPr>
        </p:pic>
        <p:pic>
          <p:nvPicPr>
            <p:cNvPr id="81" name="Picture 8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34826" y="5179884"/>
              <a:ext cx="175557" cy="175449"/>
            </a:xfrm>
            <a:prstGeom prst="rect">
              <a:avLst/>
            </a:prstGeom>
          </p:spPr>
        </p:pic>
        <p:sp>
          <p:nvSpPr>
            <p:cNvPr id="82" name="Rounded Rectangle 81"/>
            <p:cNvSpPr/>
            <p:nvPr/>
          </p:nvSpPr>
          <p:spPr>
            <a:xfrm>
              <a:off x="4562956" y="2195233"/>
              <a:ext cx="5253855" cy="974004"/>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endParaRPr lang="en-US" sz="3200" kern="0">
                <a:solidFill>
                  <a:prstClr val="white"/>
                </a:solidFill>
                <a:latin typeface="Calibiri"/>
                <a:ea typeface="Verdana" panose="020B0604030504040204" pitchFamily="34" charset="0"/>
                <a:cs typeface="Verdana" panose="020B0604030504040204" pitchFamily="34" charset="0"/>
              </a:endParaRPr>
            </a:p>
          </p:txBody>
        </p:sp>
        <p:pic>
          <p:nvPicPr>
            <p:cNvPr id="83" name="Picture 82"/>
            <p:cNvPicPr>
              <a:picLocks noChangeAspect="1"/>
            </p:cNvPicPr>
            <p:nvPr/>
          </p:nvPicPr>
          <p:blipFill rotWithShape="1">
            <a:blip r:embed="rId9" cstate="screen">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4770170" y="3857739"/>
              <a:ext cx="535526" cy="357017"/>
            </a:xfrm>
            <a:prstGeom prst="rect">
              <a:avLst/>
            </a:prstGeom>
          </p:spPr>
        </p:pic>
        <p:pic>
          <p:nvPicPr>
            <p:cNvPr id="84" name="Picture 83"/>
            <p:cNvPicPr>
              <a:picLocks noChangeAspect="1"/>
            </p:cNvPicPr>
            <p:nvPr/>
          </p:nvPicPr>
          <p:blipFill>
            <a:blip r:embed="rId10"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452226" y="3868522"/>
              <a:ext cx="474806" cy="474515"/>
            </a:xfrm>
            <a:prstGeom prst="rect">
              <a:avLst/>
            </a:prstGeom>
          </p:spPr>
        </p:pic>
        <p:pic>
          <p:nvPicPr>
            <p:cNvPr id="85" name="Picture 84"/>
            <p:cNvPicPr>
              <a:picLocks noChangeAspect="1"/>
            </p:cNvPicPr>
            <p:nvPr/>
          </p:nvPicPr>
          <p:blipFill>
            <a:blip r:embed="rId11"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073562" y="3854473"/>
              <a:ext cx="413894" cy="413640"/>
            </a:xfrm>
            <a:prstGeom prst="rect">
              <a:avLst/>
            </a:prstGeom>
          </p:spPr>
        </p:pic>
        <p:pic>
          <p:nvPicPr>
            <p:cNvPr id="86" name="Picture 85"/>
            <p:cNvPicPr>
              <a:picLocks noChangeAspect="1"/>
            </p:cNvPicPr>
            <p:nvPr/>
          </p:nvPicPr>
          <p:blipFill>
            <a:blip r:embed="rId1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633985" y="3804382"/>
              <a:ext cx="474806" cy="474515"/>
            </a:xfrm>
            <a:prstGeom prst="rect">
              <a:avLst/>
            </a:prstGeom>
          </p:spPr>
        </p:pic>
        <p:sp>
          <p:nvSpPr>
            <p:cNvPr id="87" name="TextBox 86"/>
            <p:cNvSpPr txBox="1"/>
            <p:nvPr/>
          </p:nvSpPr>
          <p:spPr>
            <a:xfrm>
              <a:off x="4783774" y="4628733"/>
              <a:ext cx="1308983" cy="377036"/>
            </a:xfrm>
            <a:prstGeom prst="rect">
              <a:avLst/>
            </a:prstGeom>
            <a:noFill/>
          </p:spPr>
          <p:txBody>
            <a:bodyPr wrap="square" lIns="68589" tIns="34295" rIns="68589" bIns="34295" rtlCol="0">
              <a:spAutoFit/>
            </a:bodyPr>
            <a:lstStyle/>
            <a:p>
              <a:r>
                <a:rPr lang="en-US" sz="1000" dirty="0" smtClean="0">
                  <a:solidFill>
                    <a:srgbClr val="141414"/>
                  </a:solidFill>
                  <a:latin typeface="Calibiri"/>
                  <a:ea typeface="Verdana" panose="020B0604030504040204" pitchFamily="34" charset="0"/>
                  <a:cs typeface="Verdana" panose="020B0604030504040204" pitchFamily="34" charset="0"/>
                </a:rPr>
                <a:t>Process Automation,</a:t>
              </a:r>
            </a:p>
            <a:p>
              <a:r>
                <a:rPr lang="en-US" sz="1000" dirty="0" smtClean="0">
                  <a:solidFill>
                    <a:srgbClr val="141414"/>
                  </a:solidFill>
                  <a:latin typeface="Calibiri"/>
                  <a:ea typeface="Verdana" panose="020B0604030504040204" pitchFamily="34" charset="0"/>
                  <a:cs typeface="Verdana" panose="020B0604030504040204" pitchFamily="34" charset="0"/>
                </a:rPr>
                <a:t>&amp; Standards</a:t>
              </a:r>
              <a:endParaRPr lang="en-US" sz="1000" dirty="0">
                <a:solidFill>
                  <a:srgbClr val="141414"/>
                </a:solidFill>
                <a:latin typeface="Calibiri"/>
                <a:ea typeface="Verdana" panose="020B0604030504040204" pitchFamily="34" charset="0"/>
                <a:cs typeface="Verdana" panose="020B0604030504040204" pitchFamily="34" charset="0"/>
              </a:endParaRPr>
            </a:p>
          </p:txBody>
        </p:sp>
        <p:sp>
          <p:nvSpPr>
            <p:cNvPr id="88" name="TextBox 87"/>
            <p:cNvSpPr txBox="1"/>
            <p:nvPr/>
          </p:nvSpPr>
          <p:spPr>
            <a:xfrm>
              <a:off x="6211016" y="4713908"/>
              <a:ext cx="948035" cy="377036"/>
            </a:xfrm>
            <a:prstGeom prst="rect">
              <a:avLst/>
            </a:prstGeom>
            <a:noFill/>
          </p:spPr>
          <p:txBody>
            <a:bodyPr wrap="none" lIns="68589" tIns="34295" rIns="68589" bIns="34295" rtlCol="0">
              <a:spAutoFit/>
            </a:bodyPr>
            <a:lstStyle/>
            <a:p>
              <a:r>
                <a:rPr lang="en-US" sz="1000" dirty="0">
                  <a:solidFill>
                    <a:srgbClr val="141414"/>
                  </a:solidFill>
                  <a:latin typeface="Calibiri"/>
                  <a:ea typeface="Verdana" panose="020B0604030504040204" pitchFamily="34" charset="0"/>
                  <a:cs typeface="Verdana" panose="020B0604030504040204" pitchFamily="34" charset="0"/>
                </a:rPr>
                <a:t>Quality </a:t>
              </a:r>
              <a:endParaRPr lang="en-US" sz="1000" dirty="0" smtClean="0">
                <a:solidFill>
                  <a:srgbClr val="141414"/>
                </a:solidFill>
                <a:latin typeface="Calibiri"/>
                <a:ea typeface="Verdana" panose="020B0604030504040204" pitchFamily="34" charset="0"/>
                <a:cs typeface="Verdana" panose="020B0604030504040204" pitchFamily="34" charset="0"/>
              </a:endParaRPr>
            </a:p>
            <a:p>
              <a:r>
                <a:rPr lang="en-US" sz="1000" dirty="0" smtClean="0">
                  <a:solidFill>
                    <a:srgbClr val="141414"/>
                  </a:solidFill>
                  <a:latin typeface="Calibiri"/>
                  <a:ea typeface="Verdana" panose="020B0604030504040204" pitchFamily="34" charset="0"/>
                  <a:cs typeface="Verdana" panose="020B0604030504040204" pitchFamily="34" charset="0"/>
                </a:rPr>
                <a:t>Improvements</a:t>
              </a:r>
              <a:endParaRPr lang="en-US" sz="1000" dirty="0">
                <a:solidFill>
                  <a:srgbClr val="141414"/>
                </a:solidFill>
                <a:latin typeface="Calibiri"/>
                <a:ea typeface="Verdana" panose="020B0604030504040204" pitchFamily="34" charset="0"/>
                <a:cs typeface="Verdana" panose="020B0604030504040204" pitchFamily="34" charset="0"/>
              </a:endParaRPr>
            </a:p>
          </p:txBody>
        </p:sp>
        <p:sp>
          <p:nvSpPr>
            <p:cNvPr id="89" name="TextBox 88"/>
            <p:cNvSpPr txBox="1"/>
            <p:nvPr/>
          </p:nvSpPr>
          <p:spPr>
            <a:xfrm>
              <a:off x="6622093" y="5147207"/>
              <a:ext cx="649876" cy="377036"/>
            </a:xfrm>
            <a:prstGeom prst="rect">
              <a:avLst/>
            </a:prstGeom>
            <a:noFill/>
          </p:spPr>
          <p:txBody>
            <a:bodyPr wrap="none" lIns="68589" tIns="34295" rIns="68589" bIns="34295" rtlCol="0">
              <a:spAutoFit/>
            </a:bodyPr>
            <a:lstStyle/>
            <a:p>
              <a:r>
                <a:rPr lang="en-US" sz="1000" dirty="0" smtClean="0">
                  <a:solidFill>
                    <a:srgbClr val="141414"/>
                  </a:solidFill>
                  <a:latin typeface="Calibiri"/>
                  <a:ea typeface="Verdana" panose="020B0604030504040204" pitchFamily="34" charset="0"/>
                  <a:cs typeface="Verdana" panose="020B0604030504040204" pitchFamily="34" charset="0"/>
                </a:rPr>
                <a:t>Platform </a:t>
              </a:r>
            </a:p>
            <a:p>
              <a:r>
                <a:rPr lang="en-US" sz="1000" dirty="0" smtClean="0">
                  <a:solidFill>
                    <a:srgbClr val="141414"/>
                  </a:solidFill>
                  <a:latin typeface="Calibiri"/>
                  <a:ea typeface="Verdana" panose="020B0604030504040204" pitchFamily="34" charset="0"/>
                  <a:cs typeface="Verdana" panose="020B0604030504040204" pitchFamily="34" charset="0"/>
                </a:rPr>
                <a:t>Play</a:t>
              </a:r>
              <a:endParaRPr lang="en-US" sz="1000" dirty="0">
                <a:solidFill>
                  <a:srgbClr val="141414"/>
                </a:solidFill>
                <a:latin typeface="Calibiri"/>
                <a:ea typeface="Verdana" panose="020B0604030504040204" pitchFamily="34" charset="0"/>
                <a:cs typeface="Verdana" panose="020B0604030504040204" pitchFamily="34" charset="0"/>
              </a:endParaRPr>
            </a:p>
          </p:txBody>
        </p:sp>
        <p:pic>
          <p:nvPicPr>
            <p:cNvPr id="90" name="Picture 8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485367" y="5182925"/>
              <a:ext cx="175557" cy="175449"/>
            </a:xfrm>
            <a:prstGeom prst="rect">
              <a:avLst/>
            </a:prstGeom>
          </p:spPr>
        </p:pic>
        <p:sp>
          <p:nvSpPr>
            <p:cNvPr id="91" name="TextBox 90"/>
            <p:cNvSpPr txBox="1"/>
            <p:nvPr/>
          </p:nvSpPr>
          <p:spPr>
            <a:xfrm>
              <a:off x="4814366" y="5112882"/>
              <a:ext cx="848648" cy="377036"/>
            </a:xfrm>
            <a:prstGeom prst="rect">
              <a:avLst/>
            </a:prstGeom>
            <a:noFill/>
          </p:spPr>
          <p:txBody>
            <a:bodyPr wrap="none" lIns="68589" tIns="34295" rIns="68589" bIns="34295" rtlCol="0">
              <a:spAutoFit/>
            </a:bodyPr>
            <a:lstStyle/>
            <a:p>
              <a:r>
                <a:rPr lang="en-US" sz="1000" dirty="0" smtClean="0">
                  <a:solidFill>
                    <a:srgbClr val="141414"/>
                  </a:solidFill>
                  <a:latin typeface="Calibiri"/>
                  <a:ea typeface="Verdana" panose="020B0604030504040204" pitchFamily="34" charset="0"/>
                  <a:cs typeface="Verdana" panose="020B0604030504040204" pitchFamily="34" charset="0"/>
                </a:rPr>
                <a:t>Data Driven </a:t>
              </a:r>
            </a:p>
            <a:p>
              <a:r>
                <a:rPr lang="en-US" sz="1000" dirty="0" smtClean="0">
                  <a:solidFill>
                    <a:srgbClr val="141414"/>
                  </a:solidFill>
                  <a:latin typeface="Calibiri"/>
                  <a:ea typeface="Verdana" panose="020B0604030504040204" pitchFamily="34" charset="0"/>
                  <a:cs typeface="Verdana" panose="020B0604030504040204" pitchFamily="34" charset="0"/>
                </a:rPr>
                <a:t>metrics</a:t>
              </a:r>
              <a:endParaRPr lang="en-US" sz="1000" dirty="0">
                <a:solidFill>
                  <a:srgbClr val="141414"/>
                </a:solidFill>
                <a:latin typeface="Calibiri"/>
                <a:ea typeface="Verdana" panose="020B0604030504040204" pitchFamily="34" charset="0"/>
                <a:cs typeface="Verdana" panose="020B0604030504040204" pitchFamily="34" charset="0"/>
              </a:endParaRPr>
            </a:p>
          </p:txBody>
        </p:sp>
        <p:pic>
          <p:nvPicPr>
            <p:cNvPr id="92" name="Picture 9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64962" y="5182948"/>
              <a:ext cx="175557" cy="175449"/>
            </a:xfrm>
            <a:prstGeom prst="rect">
              <a:avLst/>
            </a:prstGeom>
          </p:spPr>
        </p:pic>
        <p:sp>
          <p:nvSpPr>
            <p:cNvPr id="93" name="TextBox 92"/>
            <p:cNvSpPr txBox="1"/>
            <p:nvPr/>
          </p:nvSpPr>
          <p:spPr>
            <a:xfrm>
              <a:off x="8502672" y="5096789"/>
              <a:ext cx="1337564" cy="377036"/>
            </a:xfrm>
            <a:prstGeom prst="rect">
              <a:avLst/>
            </a:prstGeom>
            <a:noFill/>
          </p:spPr>
          <p:txBody>
            <a:bodyPr wrap="none" lIns="68589" tIns="34295" rIns="68589" bIns="34295" rtlCol="0">
              <a:spAutoFit/>
            </a:bodyPr>
            <a:lstStyle/>
            <a:p>
              <a:r>
                <a:rPr lang="en-US" sz="1000" dirty="0" smtClean="0">
                  <a:solidFill>
                    <a:srgbClr val="141414"/>
                  </a:solidFill>
                  <a:latin typeface="Calibiri"/>
                  <a:ea typeface="Verdana" panose="020B0604030504040204" pitchFamily="34" charset="0"/>
                  <a:cs typeface="Verdana" panose="020B0604030504040204" pitchFamily="34" charset="0"/>
                </a:rPr>
                <a:t>Training &amp; Resource </a:t>
              </a:r>
            </a:p>
            <a:p>
              <a:r>
                <a:rPr lang="en-US" sz="1000" dirty="0" smtClean="0">
                  <a:solidFill>
                    <a:srgbClr val="141414"/>
                  </a:solidFill>
                  <a:latin typeface="Calibiri"/>
                  <a:ea typeface="Verdana" panose="020B0604030504040204" pitchFamily="34" charset="0"/>
                  <a:cs typeface="Verdana" panose="020B0604030504040204" pitchFamily="34" charset="0"/>
                </a:rPr>
                <a:t>Development</a:t>
              </a:r>
              <a:endParaRPr lang="en-US" sz="1000" dirty="0">
                <a:solidFill>
                  <a:srgbClr val="141414"/>
                </a:solidFill>
                <a:latin typeface="Calibiri"/>
                <a:ea typeface="Verdana" panose="020B0604030504040204" pitchFamily="34" charset="0"/>
                <a:cs typeface="Verdana" panose="020B0604030504040204" pitchFamily="34" charset="0"/>
              </a:endParaRPr>
            </a:p>
          </p:txBody>
        </p:sp>
        <p:pic>
          <p:nvPicPr>
            <p:cNvPr id="94" name="Picture 9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36939" y="5145966"/>
              <a:ext cx="175557" cy="175449"/>
            </a:xfrm>
            <a:prstGeom prst="rect">
              <a:avLst/>
            </a:prstGeom>
          </p:spPr>
        </p:pic>
        <p:sp>
          <p:nvSpPr>
            <p:cNvPr id="95" name="Rectangle 94"/>
            <p:cNvSpPr/>
            <p:nvPr/>
          </p:nvSpPr>
          <p:spPr>
            <a:xfrm>
              <a:off x="5131697" y="2195234"/>
              <a:ext cx="361328" cy="975294"/>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Discovery</a:t>
              </a:r>
            </a:p>
          </p:txBody>
        </p:sp>
        <p:sp>
          <p:nvSpPr>
            <p:cNvPr id="96" name="Rectangle 95"/>
            <p:cNvSpPr/>
            <p:nvPr/>
          </p:nvSpPr>
          <p:spPr>
            <a:xfrm>
              <a:off x="7075182" y="2198976"/>
              <a:ext cx="328480" cy="969500"/>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Hyper Care</a:t>
              </a:r>
            </a:p>
          </p:txBody>
        </p:sp>
        <p:sp>
          <p:nvSpPr>
            <p:cNvPr id="97" name="Rectangle 96"/>
            <p:cNvSpPr/>
            <p:nvPr/>
          </p:nvSpPr>
          <p:spPr>
            <a:xfrm>
              <a:off x="5801424" y="2198977"/>
              <a:ext cx="328480" cy="969856"/>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Design</a:t>
              </a:r>
            </a:p>
          </p:txBody>
        </p:sp>
        <p:sp>
          <p:nvSpPr>
            <p:cNvPr id="98" name="Rectangle 97"/>
            <p:cNvSpPr/>
            <p:nvPr/>
          </p:nvSpPr>
          <p:spPr>
            <a:xfrm>
              <a:off x="7712061" y="2198976"/>
              <a:ext cx="328480" cy="969857"/>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Shared Services</a:t>
              </a:r>
            </a:p>
          </p:txBody>
        </p:sp>
        <p:sp>
          <p:nvSpPr>
            <p:cNvPr id="99" name="Rectangle 98"/>
            <p:cNvSpPr/>
            <p:nvPr/>
          </p:nvSpPr>
          <p:spPr>
            <a:xfrm>
              <a:off x="6438303" y="2198976"/>
              <a:ext cx="328480" cy="969500"/>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Development</a:t>
              </a:r>
            </a:p>
          </p:txBody>
        </p:sp>
        <p:sp>
          <p:nvSpPr>
            <p:cNvPr id="100" name="Rectangle 99"/>
            <p:cNvSpPr/>
            <p:nvPr/>
          </p:nvSpPr>
          <p:spPr>
            <a:xfrm>
              <a:off x="8348940" y="2198976"/>
              <a:ext cx="328480" cy="971551"/>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Consulting</a:t>
              </a:r>
            </a:p>
          </p:txBody>
        </p:sp>
        <p:sp>
          <p:nvSpPr>
            <p:cNvPr id="101" name="Rectangle 100"/>
            <p:cNvSpPr/>
            <p:nvPr/>
          </p:nvSpPr>
          <p:spPr>
            <a:xfrm>
              <a:off x="8985819" y="2201025"/>
              <a:ext cx="298618" cy="967809"/>
            </a:xfrm>
            <a:prstGeom prst="rect">
              <a:avLst/>
            </a:prstGeom>
            <a:solidFill>
              <a:srgbClr val="3A6389"/>
            </a:solidFill>
            <a:ln w="25400" cap="flat" cmpd="sng" algn="ctr">
              <a:noFill/>
              <a:prstDash val="solid"/>
            </a:ln>
            <a:effectLst/>
          </p:spPr>
          <p:txBody>
            <a:bodyPr vert="vert270" lIns="0" tIns="0" rIns="0" bIns="0" rtlCol="0" anchor="ctr"/>
            <a:lstStyle/>
            <a:p>
              <a:pPr algn="ctr">
                <a:defRPr/>
              </a:pPr>
              <a:r>
                <a:rPr lang="en-US" sz="1100" kern="0" dirty="0" smtClean="0">
                  <a:solidFill>
                    <a:prstClr val="white"/>
                  </a:solidFill>
                  <a:latin typeface="Calibiri"/>
                  <a:ea typeface="Verdana" panose="020B0604030504040204" pitchFamily="34" charset="0"/>
                  <a:cs typeface="Verdana" panose="020B0604030504040204" pitchFamily="34" charset="0"/>
                </a:rPr>
                <a:t>Localization</a:t>
              </a:r>
            </a:p>
          </p:txBody>
        </p:sp>
        <p:sp>
          <p:nvSpPr>
            <p:cNvPr id="102" name="Rectangle 101"/>
            <p:cNvSpPr/>
            <p:nvPr/>
          </p:nvSpPr>
          <p:spPr>
            <a:xfrm>
              <a:off x="3324053" y="2186086"/>
              <a:ext cx="355728" cy="3380699"/>
            </a:xfrm>
            <a:prstGeom prst="rect">
              <a:avLst/>
            </a:prstGeom>
            <a:solidFill>
              <a:srgbClr val="3B3838"/>
            </a:solidFill>
            <a:ln w="25400" cap="flat" cmpd="sng" algn="ctr">
              <a:noFill/>
              <a:prstDash val="solid"/>
            </a:ln>
            <a:effectLst/>
          </p:spPr>
          <p:txBody>
            <a:bodyPr vert="vert270" lIns="0" tIns="0" rIns="0" bIns="0" rtlCol="0" anchor="ctr"/>
            <a:lstStyle/>
            <a:p>
              <a:pPr algn="ctr">
                <a:defRPr/>
              </a:pPr>
              <a:r>
                <a:rPr lang="en-US" sz="1100" b="1" kern="0" dirty="0" smtClean="0">
                  <a:solidFill>
                    <a:prstClr val="white"/>
                  </a:solidFill>
                  <a:latin typeface="Calibiri"/>
                  <a:ea typeface="Verdana" panose="020B0604030504040204" pitchFamily="34" charset="0"/>
                  <a:cs typeface="Verdana" panose="020B0604030504040204" pitchFamily="34" charset="0"/>
                </a:rPr>
                <a:t>Application Development  &amp; Maintenance- Projects</a:t>
              </a:r>
            </a:p>
          </p:txBody>
        </p:sp>
      </p:grpSp>
      <p:pic>
        <p:nvPicPr>
          <p:cNvPr id="22" name="Picture 4" descr="Image result for development factory icon transparent"/>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863571" y="470230"/>
            <a:ext cx="627403" cy="6899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Image result for development factory icon transparent"/>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954941" y="469900"/>
            <a:ext cx="589184" cy="647945"/>
          </a:xfrm>
          <a:prstGeom prst="rect">
            <a:avLst/>
          </a:prstGeom>
          <a:noFill/>
          <a:extLst>
            <a:ext uri="{909E8E84-426E-40DD-AFC4-6F175D3DCCD1}">
              <a14:hiddenFill xmlns:a14="http://schemas.microsoft.com/office/drawing/2010/main">
                <a:solidFill>
                  <a:srgbClr val="FFFFFF"/>
                </a:solidFill>
              </a14:hiddenFill>
            </a:ext>
          </a:extLst>
        </p:spPr>
      </p:pic>
      <p:sp>
        <p:nvSpPr>
          <p:cNvPr id="24" name="Rounded Rectangle 23"/>
          <p:cNvSpPr/>
          <p:nvPr/>
        </p:nvSpPr>
        <p:spPr>
          <a:xfrm>
            <a:off x="10167471" y="1619401"/>
            <a:ext cx="1809304" cy="2032949"/>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25" name="Rounded Rectangle 24"/>
          <p:cNvSpPr/>
          <p:nvPr/>
        </p:nvSpPr>
        <p:spPr>
          <a:xfrm>
            <a:off x="10321714" y="2745996"/>
            <a:ext cx="1461903" cy="731674"/>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defRPr/>
            </a:pPr>
            <a:endParaRPr lang="en-US" sz="3200" kern="0" smtClean="0">
              <a:solidFill>
                <a:prstClr val="white"/>
              </a:solidFill>
              <a:latin typeface="Calibiri"/>
              <a:ea typeface="Verdana" panose="020B0604030504040204" pitchFamily="34" charset="0"/>
              <a:cs typeface="Verdana" panose="020B0604030504040204" pitchFamily="34" charset="0"/>
            </a:endParaRPr>
          </a:p>
        </p:txBody>
      </p:sp>
      <p:pic>
        <p:nvPicPr>
          <p:cNvPr id="26" name="Picture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92249" y="2987460"/>
            <a:ext cx="339019" cy="328241"/>
          </a:xfrm>
          <a:prstGeom prst="rect">
            <a:avLst/>
          </a:prstGeom>
        </p:spPr>
      </p:pic>
      <p:sp>
        <p:nvSpPr>
          <p:cNvPr id="27" name="TextBox 26"/>
          <p:cNvSpPr txBox="1"/>
          <p:nvPr/>
        </p:nvSpPr>
        <p:spPr>
          <a:xfrm>
            <a:off x="10167471" y="1711333"/>
            <a:ext cx="1799267" cy="160785"/>
          </a:xfrm>
          <a:prstGeom prst="rect">
            <a:avLst/>
          </a:prstGeom>
          <a:noFill/>
        </p:spPr>
        <p:txBody>
          <a:bodyPr wrap="square" lIns="68589" tIns="34295" rIns="68589" bIns="34295" rtlCol="0">
            <a:spAutoFit/>
          </a:bodyPr>
          <a:lstStyle/>
          <a:p>
            <a:pPr algn="ctr">
              <a:lnSpc>
                <a:spcPts val="600"/>
              </a:lnSpc>
            </a:pPr>
            <a:r>
              <a:rPr lang="en-US" sz="1100" b="1" dirty="0" smtClean="0">
                <a:solidFill>
                  <a:prstClr val="black"/>
                </a:solidFill>
                <a:latin typeface="Calibiri"/>
                <a:ea typeface="Verdana" panose="020B0604030504040204" pitchFamily="34" charset="0"/>
                <a:cs typeface="Verdana" panose="020B0604030504040204" pitchFamily="34" charset="0"/>
              </a:rPr>
              <a:t>App Deployment</a:t>
            </a:r>
            <a:endParaRPr lang="en-US" sz="1100" b="1" dirty="0">
              <a:solidFill>
                <a:prstClr val="black"/>
              </a:solidFill>
              <a:latin typeface="Calibiri"/>
              <a:ea typeface="Verdana" panose="020B0604030504040204" pitchFamily="34" charset="0"/>
              <a:cs typeface="Verdana" panose="020B0604030504040204" pitchFamily="34" charset="0"/>
            </a:endParaRPr>
          </a:p>
        </p:txBody>
      </p:sp>
      <p:sp>
        <p:nvSpPr>
          <p:cNvPr id="28" name="TextBox 27"/>
          <p:cNvSpPr txBox="1"/>
          <p:nvPr/>
        </p:nvSpPr>
        <p:spPr>
          <a:xfrm>
            <a:off x="10977557" y="3076322"/>
            <a:ext cx="428133" cy="160785"/>
          </a:xfrm>
          <a:prstGeom prst="rect">
            <a:avLst/>
          </a:prstGeom>
          <a:noFill/>
        </p:spPr>
        <p:txBody>
          <a:bodyPr wrap="square" lIns="68589" tIns="34295" rIns="68589" bIns="34295" rtlCol="0">
            <a:spAutoFit/>
          </a:bodyPr>
          <a:lstStyle/>
          <a:p>
            <a:pPr algn="ctr">
              <a:lnSpc>
                <a:spcPts val="600"/>
              </a:lnSpc>
            </a:pPr>
            <a:r>
              <a:rPr lang="en-US" sz="1100" b="1" dirty="0" smtClean="0">
                <a:solidFill>
                  <a:prstClr val="black"/>
                </a:solidFill>
                <a:latin typeface="Calibiri"/>
                <a:ea typeface="Verdana" panose="020B0604030504040204" pitchFamily="34" charset="0"/>
                <a:cs typeface="Verdana" panose="020B0604030504040204" pitchFamily="34" charset="0"/>
              </a:rPr>
              <a:t>App</a:t>
            </a:r>
            <a:endParaRPr lang="en-US" sz="1100" b="1" dirty="0">
              <a:solidFill>
                <a:prstClr val="black"/>
              </a:solidFill>
              <a:latin typeface="Calibiri"/>
              <a:ea typeface="Verdana" panose="020B0604030504040204" pitchFamily="34" charset="0"/>
              <a:cs typeface="Verdana" panose="020B0604030504040204" pitchFamily="34" charset="0"/>
            </a:endParaRPr>
          </a:p>
        </p:txBody>
      </p:sp>
      <p:sp>
        <p:nvSpPr>
          <p:cNvPr id="29" name="TextBox 28"/>
          <p:cNvSpPr txBox="1"/>
          <p:nvPr/>
        </p:nvSpPr>
        <p:spPr>
          <a:xfrm>
            <a:off x="10400141" y="2734747"/>
            <a:ext cx="600157" cy="728044"/>
          </a:xfrm>
          <a:prstGeom prst="rect">
            <a:avLst/>
          </a:prstGeom>
          <a:solidFill>
            <a:srgbClr val="005891"/>
          </a:solidFill>
          <a:ln w="12700" cap="flat" cmpd="sng" algn="ctr">
            <a:solidFill>
              <a:srgbClr val="005891"/>
            </a:solidFill>
            <a:prstDash val="solid"/>
          </a:ln>
          <a:effectLst/>
        </p:spPr>
        <p:txBody>
          <a:bodyPr lIns="0" tIns="0" rIns="0" bIns="0" rtlCol="0" anchor="ctr"/>
          <a:lstStyle>
            <a:defPPr>
              <a:defRPr lang="en-US"/>
            </a:defPPr>
            <a:lvl1pPr algn="ctr">
              <a:defRPr sz="1100" b="1" kern="0">
                <a:solidFill>
                  <a:prstClr val="white"/>
                </a:solidFill>
                <a:latin typeface="Calibiri"/>
                <a:ea typeface="Verdana" panose="020B0604030504040204" pitchFamily="34" charset="0"/>
                <a:cs typeface="Verdana" panose="020B0604030504040204" pitchFamily="34" charset="0"/>
              </a:defRPr>
            </a:lvl1pPr>
          </a:lstStyle>
          <a:p>
            <a:r>
              <a:rPr lang="en-US" b="0" dirty="0"/>
              <a:t>Across </a:t>
            </a:r>
          </a:p>
          <a:p>
            <a:r>
              <a:rPr lang="en-US" b="0" dirty="0"/>
              <a:t>Sector</a:t>
            </a:r>
          </a:p>
        </p:txBody>
      </p:sp>
      <p:cxnSp>
        <p:nvCxnSpPr>
          <p:cNvPr id="30" name="Straight Connector 29"/>
          <p:cNvCxnSpPr/>
          <p:nvPr/>
        </p:nvCxnSpPr>
        <p:spPr>
          <a:xfrm>
            <a:off x="2698685" y="2410089"/>
            <a:ext cx="451127" cy="2408"/>
          </a:xfrm>
          <a:prstGeom prst="line">
            <a:avLst/>
          </a:prstGeom>
          <a:noFill/>
          <a:ln w="19050" cap="flat" cmpd="sng" algn="ctr">
            <a:solidFill>
              <a:srgbClr val="005891"/>
            </a:solidFill>
            <a:prstDash val="solid"/>
            <a:tailEnd type="triangle" w="lg" len="med"/>
          </a:ln>
          <a:effectLst/>
        </p:spPr>
      </p:cxnSp>
      <p:cxnSp>
        <p:nvCxnSpPr>
          <p:cNvPr id="31" name="Straight Connector 30"/>
          <p:cNvCxnSpPr/>
          <p:nvPr/>
        </p:nvCxnSpPr>
        <p:spPr>
          <a:xfrm>
            <a:off x="2701093" y="2786388"/>
            <a:ext cx="451127" cy="2408"/>
          </a:xfrm>
          <a:prstGeom prst="line">
            <a:avLst/>
          </a:prstGeom>
          <a:noFill/>
          <a:ln w="19050" cap="flat" cmpd="sng" algn="ctr">
            <a:solidFill>
              <a:srgbClr val="005891"/>
            </a:solidFill>
            <a:prstDash val="solid"/>
            <a:tailEnd type="triangle" w="lg" len="med"/>
          </a:ln>
          <a:effectLst/>
        </p:spPr>
      </p:cxnSp>
      <p:cxnSp>
        <p:nvCxnSpPr>
          <p:cNvPr id="32" name="Straight Connector 31"/>
          <p:cNvCxnSpPr/>
          <p:nvPr/>
        </p:nvCxnSpPr>
        <p:spPr>
          <a:xfrm>
            <a:off x="2701093" y="3168960"/>
            <a:ext cx="451127" cy="2408"/>
          </a:xfrm>
          <a:prstGeom prst="line">
            <a:avLst/>
          </a:prstGeom>
          <a:noFill/>
          <a:ln w="19050" cap="flat" cmpd="sng" algn="ctr">
            <a:solidFill>
              <a:srgbClr val="005891"/>
            </a:solidFill>
            <a:prstDash val="solid"/>
            <a:tailEnd type="triangle" w="lg" len="med"/>
          </a:ln>
          <a:effectLst/>
        </p:spPr>
      </p:cxnSp>
      <p:cxnSp>
        <p:nvCxnSpPr>
          <p:cNvPr id="33" name="Straight Connector 32"/>
          <p:cNvCxnSpPr/>
          <p:nvPr/>
        </p:nvCxnSpPr>
        <p:spPr>
          <a:xfrm>
            <a:off x="2699877" y="3542850"/>
            <a:ext cx="451127" cy="2408"/>
          </a:xfrm>
          <a:prstGeom prst="line">
            <a:avLst/>
          </a:prstGeom>
          <a:noFill/>
          <a:ln w="19050" cap="flat" cmpd="sng" algn="ctr">
            <a:solidFill>
              <a:srgbClr val="005891"/>
            </a:solidFill>
            <a:prstDash val="solid"/>
            <a:tailEnd type="triangle" w="lg" len="med"/>
          </a:ln>
          <a:effectLst/>
        </p:spPr>
      </p:cxnSp>
      <p:grpSp>
        <p:nvGrpSpPr>
          <p:cNvPr id="34" name="Group 33"/>
          <p:cNvGrpSpPr/>
          <p:nvPr/>
        </p:nvGrpSpPr>
        <p:grpSpPr>
          <a:xfrm>
            <a:off x="1135708" y="1573603"/>
            <a:ext cx="1689505" cy="2259367"/>
            <a:chOff x="3125507" y="1017321"/>
            <a:chExt cx="1689505" cy="2054470"/>
          </a:xfrm>
        </p:grpSpPr>
        <p:grpSp>
          <p:nvGrpSpPr>
            <p:cNvPr id="42" name="Group 41"/>
            <p:cNvGrpSpPr/>
            <p:nvPr/>
          </p:nvGrpSpPr>
          <p:grpSpPr>
            <a:xfrm>
              <a:off x="3125507" y="1017321"/>
              <a:ext cx="1689505" cy="2054470"/>
              <a:chOff x="3125507" y="1017321"/>
              <a:chExt cx="1689505" cy="2054470"/>
            </a:xfrm>
          </p:grpSpPr>
          <p:sp>
            <p:nvSpPr>
              <p:cNvPr id="44" name="Rounded Rectangle 43"/>
              <p:cNvSpPr/>
              <p:nvPr/>
            </p:nvSpPr>
            <p:spPr>
              <a:xfrm>
                <a:off x="3125507" y="1017321"/>
                <a:ext cx="1689505" cy="2054470"/>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45" name="Rounded Rectangle 44"/>
              <p:cNvSpPr/>
              <p:nvPr/>
            </p:nvSpPr>
            <p:spPr>
              <a:xfrm>
                <a:off x="3244508" y="1276649"/>
                <a:ext cx="1447331" cy="304708"/>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r>
                  <a:rPr lang="en-US" sz="1000" kern="0" dirty="0" smtClean="0">
                    <a:solidFill>
                      <a:prstClr val="black"/>
                    </a:solidFill>
                    <a:latin typeface="Calibiri"/>
                    <a:ea typeface="Verdana" panose="020B0604030504040204" pitchFamily="34" charset="0"/>
                    <a:cs typeface="Verdana" panose="020B0604030504040204" pitchFamily="34" charset="0"/>
                  </a:rPr>
                  <a:t>Business</a:t>
                </a:r>
                <a:endParaRPr lang="en-US" sz="1000" kern="0" dirty="0">
                  <a:solidFill>
                    <a:prstClr val="black"/>
                  </a:solidFill>
                  <a:latin typeface="Calibiri"/>
                  <a:ea typeface="Verdana" panose="020B0604030504040204" pitchFamily="34" charset="0"/>
                  <a:cs typeface="Verdana" panose="020B0604030504040204" pitchFamily="34" charset="0"/>
                </a:endParaRPr>
              </a:p>
            </p:txBody>
          </p:sp>
          <p:sp>
            <p:nvSpPr>
              <p:cNvPr id="46" name="Rounded Rectangle 45"/>
              <p:cNvSpPr/>
              <p:nvPr/>
            </p:nvSpPr>
            <p:spPr>
              <a:xfrm>
                <a:off x="3241412" y="1622428"/>
                <a:ext cx="1447331" cy="304708"/>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r>
                  <a:rPr lang="en-US" sz="1000" kern="0" dirty="0" smtClean="0">
                    <a:solidFill>
                      <a:prstClr val="black"/>
                    </a:solidFill>
                    <a:latin typeface="Calibiri"/>
                    <a:ea typeface="Verdana" panose="020B0604030504040204" pitchFamily="34" charset="0"/>
                    <a:cs typeface="Verdana" panose="020B0604030504040204" pitchFamily="34" charset="0"/>
                  </a:rPr>
                  <a:t>IT</a:t>
                </a:r>
                <a:endParaRPr lang="en-US" sz="1000" kern="0" dirty="0">
                  <a:solidFill>
                    <a:prstClr val="black"/>
                  </a:solidFill>
                  <a:latin typeface="Calibiri"/>
                  <a:ea typeface="Verdana" panose="020B0604030504040204" pitchFamily="34" charset="0"/>
                  <a:cs typeface="Verdana" panose="020B0604030504040204" pitchFamily="34" charset="0"/>
                </a:endParaRPr>
              </a:p>
            </p:txBody>
          </p:sp>
          <p:sp>
            <p:nvSpPr>
              <p:cNvPr id="47" name="Rounded Rectangle 46"/>
              <p:cNvSpPr/>
              <p:nvPr/>
            </p:nvSpPr>
            <p:spPr>
              <a:xfrm>
                <a:off x="3235218" y="1968207"/>
                <a:ext cx="1447331" cy="304708"/>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r>
                  <a:rPr lang="en-US" sz="1000" kern="0" dirty="0" smtClean="0">
                    <a:solidFill>
                      <a:prstClr val="black"/>
                    </a:solidFill>
                    <a:latin typeface="Calibiri"/>
                    <a:ea typeface="Verdana" panose="020B0604030504040204" pitchFamily="34" charset="0"/>
                    <a:cs typeface="Verdana" panose="020B0604030504040204" pitchFamily="34" charset="0"/>
                  </a:rPr>
                  <a:t>Infrastructure</a:t>
                </a:r>
                <a:endParaRPr lang="en-US" sz="1000" kern="0" dirty="0">
                  <a:solidFill>
                    <a:prstClr val="black"/>
                  </a:solidFill>
                  <a:latin typeface="Calibiri"/>
                  <a:ea typeface="Verdana" panose="020B0604030504040204" pitchFamily="34" charset="0"/>
                  <a:cs typeface="Verdana" panose="020B0604030504040204" pitchFamily="34" charset="0"/>
                </a:endParaRPr>
              </a:p>
            </p:txBody>
          </p:sp>
          <p:sp>
            <p:nvSpPr>
              <p:cNvPr id="48" name="Rounded Rectangle 47"/>
              <p:cNvSpPr/>
              <p:nvPr/>
            </p:nvSpPr>
            <p:spPr>
              <a:xfrm>
                <a:off x="3232121" y="2313986"/>
                <a:ext cx="1447331" cy="304708"/>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r>
                  <a:rPr lang="en-US" sz="1000" kern="0" dirty="0" smtClean="0">
                    <a:solidFill>
                      <a:prstClr val="black"/>
                    </a:solidFill>
                    <a:latin typeface="Calibiri"/>
                    <a:ea typeface="Verdana" panose="020B0604030504040204" pitchFamily="34" charset="0"/>
                    <a:cs typeface="Verdana" panose="020B0604030504040204" pitchFamily="34" charset="0"/>
                  </a:rPr>
                  <a:t>Support Services</a:t>
                </a:r>
                <a:endParaRPr lang="en-US" sz="1000" kern="0" dirty="0">
                  <a:solidFill>
                    <a:prstClr val="black"/>
                  </a:solidFill>
                  <a:latin typeface="Calibiri"/>
                  <a:ea typeface="Verdana" panose="020B0604030504040204" pitchFamily="34" charset="0"/>
                  <a:cs typeface="Verdana" panose="020B0604030504040204" pitchFamily="34" charset="0"/>
                </a:endParaRPr>
              </a:p>
            </p:txBody>
          </p:sp>
          <p:sp>
            <p:nvSpPr>
              <p:cNvPr id="49" name="Rounded Rectangle 48"/>
              <p:cNvSpPr/>
              <p:nvPr/>
            </p:nvSpPr>
            <p:spPr>
              <a:xfrm>
                <a:off x="3238315" y="2659764"/>
                <a:ext cx="1447331" cy="304708"/>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r>
                  <a:rPr lang="en-US" sz="1000" kern="0" dirty="0" smtClean="0">
                    <a:solidFill>
                      <a:prstClr val="black"/>
                    </a:solidFill>
                    <a:latin typeface="Calibiri"/>
                    <a:ea typeface="Verdana" panose="020B0604030504040204" pitchFamily="34" charset="0"/>
                    <a:cs typeface="Verdana" panose="020B0604030504040204" pitchFamily="34" charset="0"/>
                  </a:rPr>
                  <a:t>Innovation Group</a:t>
                </a:r>
                <a:endParaRPr lang="en-US" sz="1000" kern="0" dirty="0">
                  <a:solidFill>
                    <a:prstClr val="black"/>
                  </a:solidFill>
                  <a:latin typeface="Calibiri"/>
                  <a:ea typeface="Verdana" panose="020B0604030504040204" pitchFamily="34" charset="0"/>
                  <a:cs typeface="Verdana" panose="020B0604030504040204" pitchFamily="34" charset="0"/>
                </a:endParaRPr>
              </a:p>
            </p:txBody>
          </p:sp>
        </p:grpSp>
        <p:sp>
          <p:nvSpPr>
            <p:cNvPr id="43" name="TextBox 42"/>
            <p:cNvSpPr txBox="1"/>
            <p:nvPr/>
          </p:nvSpPr>
          <p:spPr>
            <a:xfrm>
              <a:off x="3125507" y="1092481"/>
              <a:ext cx="1689505" cy="132945"/>
            </a:xfrm>
            <a:prstGeom prst="rect">
              <a:avLst/>
            </a:prstGeom>
            <a:noFill/>
          </p:spPr>
          <p:txBody>
            <a:bodyPr wrap="square" lIns="68589" tIns="34295" rIns="68589" bIns="34295" rtlCol="0">
              <a:spAutoFit/>
            </a:bodyPr>
            <a:lstStyle/>
            <a:p>
              <a:pPr algn="ctr">
                <a:lnSpc>
                  <a:spcPts val="600"/>
                </a:lnSpc>
              </a:pPr>
              <a:r>
                <a:rPr lang="en-US" sz="1100" b="1" dirty="0" smtClean="0">
                  <a:solidFill>
                    <a:prstClr val="black"/>
                  </a:solidFill>
                  <a:latin typeface="Calibiri"/>
                  <a:ea typeface="Verdana" panose="020B0604030504040204" pitchFamily="34" charset="0"/>
                  <a:cs typeface="Verdana" panose="020B0604030504040204" pitchFamily="34" charset="0"/>
                </a:rPr>
                <a:t>Marriott Team</a:t>
              </a:r>
              <a:endParaRPr lang="en-US" sz="1100" b="1" dirty="0">
                <a:solidFill>
                  <a:prstClr val="black"/>
                </a:solidFill>
                <a:latin typeface="Calibiri"/>
                <a:ea typeface="Verdana" panose="020B0604030504040204" pitchFamily="34" charset="0"/>
                <a:cs typeface="Verdana" panose="020B0604030504040204" pitchFamily="34" charset="0"/>
              </a:endParaRPr>
            </a:p>
          </p:txBody>
        </p:sp>
      </p:grpSp>
      <p:sp>
        <p:nvSpPr>
          <p:cNvPr id="35" name="Rounded Rectangle 34"/>
          <p:cNvSpPr/>
          <p:nvPr/>
        </p:nvSpPr>
        <p:spPr>
          <a:xfrm>
            <a:off x="1138787" y="3920179"/>
            <a:ext cx="1696819" cy="1944392"/>
          </a:xfrm>
          <a:prstGeom prst="roundRect">
            <a:avLst>
              <a:gd name="adj" fmla="val 2122"/>
            </a:avLst>
          </a:prstGeom>
          <a:solidFill>
            <a:schemeClr val="bg1">
              <a:lumMod val="95000"/>
            </a:schemeClr>
          </a:solidFill>
          <a:ln w="19050" cap="flat" cmpd="sng" algn="ctr">
            <a:solidFill>
              <a:sysClr val="windowText" lastClr="000000">
                <a:lumMod val="75000"/>
                <a:lumOff val="25000"/>
              </a:sysClr>
            </a:solidFill>
            <a:prstDash val="solid"/>
          </a:ln>
          <a:effectLst/>
        </p:spPr>
        <p:txBody>
          <a:bodyPr lIns="68589" tIns="34295" rIns="68589" bIns="34295" rtlCol="0" anchor="ctr"/>
          <a:lstStyle/>
          <a:p>
            <a:pPr algn="ctr">
              <a:defRPr/>
            </a:pPr>
            <a:endParaRPr lang="en-US" sz="3200" kern="0" dirty="0" smtClean="0">
              <a:solidFill>
                <a:prstClr val="white"/>
              </a:solidFill>
              <a:latin typeface="Calibiri"/>
              <a:ea typeface="Verdana" panose="020B0604030504040204" pitchFamily="34" charset="0"/>
              <a:cs typeface="Verdana" panose="020B0604030504040204" pitchFamily="34" charset="0"/>
            </a:endParaRPr>
          </a:p>
        </p:txBody>
      </p:sp>
      <p:sp>
        <p:nvSpPr>
          <p:cNvPr id="36" name="TextBox 35"/>
          <p:cNvSpPr txBox="1"/>
          <p:nvPr/>
        </p:nvSpPr>
        <p:spPr>
          <a:xfrm>
            <a:off x="1143336" y="3913909"/>
            <a:ext cx="1692270" cy="262327"/>
          </a:xfrm>
          <a:prstGeom prst="rect">
            <a:avLst/>
          </a:prstGeom>
          <a:noFill/>
        </p:spPr>
        <p:txBody>
          <a:bodyPr wrap="square" lIns="68589" tIns="34295" rIns="68589" bIns="34295" rtlCol="0">
            <a:spAutoFit/>
          </a:bodyPr>
          <a:lstStyle/>
          <a:p>
            <a:pPr algn="ctr"/>
            <a:r>
              <a:rPr lang="en-US" sz="1100" b="1" smtClean="0">
                <a:solidFill>
                  <a:prstClr val="black"/>
                </a:solidFill>
                <a:latin typeface="Calibiri"/>
                <a:ea typeface="Verdana" panose="020B0604030504040204" pitchFamily="34" charset="0"/>
                <a:cs typeface="Verdana" panose="020B0604030504040204" pitchFamily="34" charset="0"/>
              </a:rPr>
              <a:t>Activities</a:t>
            </a:r>
            <a:endParaRPr lang="en-US" sz="1100" b="1" dirty="0">
              <a:solidFill>
                <a:prstClr val="black"/>
              </a:solidFill>
              <a:latin typeface="Calibiri"/>
              <a:ea typeface="Verdana" panose="020B0604030504040204" pitchFamily="34" charset="0"/>
              <a:cs typeface="Verdana" panose="020B0604030504040204" pitchFamily="34" charset="0"/>
            </a:endParaRPr>
          </a:p>
        </p:txBody>
      </p:sp>
      <p:sp>
        <p:nvSpPr>
          <p:cNvPr id="37" name="Rounded Rectangle 36"/>
          <p:cNvSpPr/>
          <p:nvPr/>
        </p:nvSpPr>
        <p:spPr>
          <a:xfrm>
            <a:off x="1252794" y="4207894"/>
            <a:ext cx="1476812" cy="1533219"/>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defRPr/>
            </a:pPr>
            <a:r>
              <a:rPr lang="en-US" sz="1000" dirty="0" smtClean="0">
                <a:solidFill>
                  <a:prstClr val="black"/>
                </a:solidFill>
                <a:latin typeface="Calibiri"/>
                <a:ea typeface="Verdana" panose="020B0604030504040204" pitchFamily="34" charset="0"/>
                <a:cs typeface="Verdana" panose="020B0604030504040204" pitchFamily="34" charset="0"/>
              </a:rPr>
              <a:t>Demand Planning &amp; Forecasting </a:t>
            </a:r>
            <a:endParaRPr lang="en-US" sz="1000" dirty="0">
              <a:solidFill>
                <a:prstClr val="black"/>
              </a:solidFill>
              <a:latin typeface="Calibiri"/>
              <a:ea typeface="Verdana" panose="020B0604030504040204" pitchFamily="34" charset="0"/>
              <a:cs typeface="Verdana" panose="020B0604030504040204" pitchFamily="34" charset="0"/>
            </a:endParaRPr>
          </a:p>
          <a:p>
            <a:pPr algn="ctr">
              <a:defRPr/>
            </a:pPr>
            <a:endParaRPr lang="en-US" sz="1000" dirty="0">
              <a:solidFill>
                <a:prstClr val="black"/>
              </a:solidFill>
              <a:latin typeface="Calibiri"/>
              <a:ea typeface="Verdana" panose="020B0604030504040204" pitchFamily="34" charset="0"/>
              <a:cs typeface="Verdana" panose="020B0604030504040204" pitchFamily="34" charset="0"/>
            </a:endParaRPr>
          </a:p>
          <a:p>
            <a:pPr algn="ctr">
              <a:defRPr/>
            </a:pPr>
            <a:r>
              <a:rPr lang="en-US" sz="1000" dirty="0">
                <a:solidFill>
                  <a:prstClr val="black"/>
                </a:solidFill>
                <a:latin typeface="Calibiri"/>
                <a:ea typeface="Verdana" panose="020B0604030504040204" pitchFamily="34" charset="0"/>
                <a:cs typeface="Verdana" panose="020B0604030504040204" pitchFamily="34" charset="0"/>
              </a:rPr>
              <a:t>Performance Tracking and Metrics Collection</a:t>
            </a:r>
          </a:p>
          <a:p>
            <a:pPr algn="ctr">
              <a:defRPr/>
            </a:pPr>
            <a:endParaRPr lang="en-US" sz="1000" dirty="0">
              <a:solidFill>
                <a:prstClr val="black"/>
              </a:solidFill>
              <a:latin typeface="Calibiri"/>
              <a:ea typeface="Verdana" panose="020B0604030504040204" pitchFamily="34" charset="0"/>
              <a:cs typeface="Verdana" panose="020B0604030504040204" pitchFamily="34" charset="0"/>
            </a:endParaRPr>
          </a:p>
          <a:p>
            <a:pPr algn="ctr">
              <a:defRPr/>
            </a:pPr>
            <a:r>
              <a:rPr lang="en-US" sz="1000" dirty="0">
                <a:solidFill>
                  <a:prstClr val="black"/>
                </a:solidFill>
                <a:latin typeface="Calibiri"/>
                <a:ea typeface="Verdana" panose="020B0604030504040204" pitchFamily="34" charset="0"/>
                <a:cs typeface="Verdana" panose="020B0604030504040204" pitchFamily="34" charset="0"/>
              </a:rPr>
              <a:t>Requirements, Inputs and Clarifications </a:t>
            </a:r>
          </a:p>
        </p:txBody>
      </p:sp>
      <p:sp>
        <p:nvSpPr>
          <p:cNvPr id="38" name="Rounded Rectangle 37"/>
          <p:cNvSpPr/>
          <p:nvPr/>
        </p:nvSpPr>
        <p:spPr>
          <a:xfrm>
            <a:off x="10324400" y="1930289"/>
            <a:ext cx="1461903" cy="731674"/>
          </a:xfrm>
          <a:prstGeom prst="roundRect">
            <a:avLst>
              <a:gd name="adj" fmla="val 4849"/>
            </a:avLst>
          </a:prstGeom>
          <a:solidFill>
            <a:sysClr val="window" lastClr="FFFFFF"/>
          </a:solidFill>
          <a:ln w="12700" cap="flat" cmpd="sng" algn="ctr">
            <a:solidFill>
              <a:sysClr val="window" lastClr="FFFFFF">
                <a:lumMod val="65000"/>
              </a:sysClr>
            </a:solidFill>
            <a:prstDash val="solid"/>
          </a:ln>
          <a:effectLst/>
        </p:spPr>
        <p:txBody>
          <a:bodyPr lIns="68589" tIns="34295" rIns="68589" bIns="34295" rtlCol="0" anchor="ctr"/>
          <a:lstStyle/>
          <a:p>
            <a:pPr algn="ctr">
              <a:defRPr/>
            </a:pPr>
            <a:endParaRPr lang="en-US" sz="3200" kern="0" smtClean="0">
              <a:solidFill>
                <a:prstClr val="white"/>
              </a:solidFill>
              <a:latin typeface="Calibiri"/>
              <a:ea typeface="Verdana" panose="020B0604030504040204" pitchFamily="34" charset="0"/>
              <a:cs typeface="Verdana" panose="020B0604030504040204" pitchFamily="34" charset="0"/>
            </a:endParaRPr>
          </a:p>
        </p:txBody>
      </p:sp>
      <p:sp>
        <p:nvSpPr>
          <p:cNvPr id="39" name="TextBox 38"/>
          <p:cNvSpPr txBox="1"/>
          <p:nvPr/>
        </p:nvSpPr>
        <p:spPr>
          <a:xfrm>
            <a:off x="10400141" y="1922039"/>
            <a:ext cx="600157" cy="728044"/>
          </a:xfrm>
          <a:prstGeom prst="rect">
            <a:avLst/>
          </a:prstGeom>
          <a:solidFill>
            <a:srgbClr val="005891"/>
          </a:solidFill>
          <a:ln w="12700" cap="flat" cmpd="sng" algn="ctr">
            <a:solidFill>
              <a:srgbClr val="005891"/>
            </a:solidFill>
            <a:prstDash val="solid"/>
          </a:ln>
          <a:effectLst/>
        </p:spPr>
        <p:txBody>
          <a:bodyPr lIns="0" tIns="0" rIns="0" bIns="0" rtlCol="0" anchor="ctr"/>
          <a:lstStyle>
            <a:defPPr>
              <a:defRPr lang="en-US"/>
            </a:defPPr>
            <a:lvl1pPr algn="ctr">
              <a:defRPr sz="1100" b="1" kern="0">
                <a:solidFill>
                  <a:prstClr val="white"/>
                </a:solidFill>
                <a:latin typeface="Calibiri"/>
                <a:ea typeface="Verdana" panose="020B0604030504040204" pitchFamily="34" charset="0"/>
                <a:cs typeface="Verdana" panose="020B0604030504040204" pitchFamily="34" charset="0"/>
              </a:defRPr>
            </a:lvl1pPr>
          </a:lstStyle>
          <a:p>
            <a:r>
              <a:rPr lang="en-US" b="0" dirty="0"/>
              <a:t>Across </a:t>
            </a:r>
          </a:p>
          <a:p>
            <a:r>
              <a:rPr lang="en-US" b="0" dirty="0"/>
              <a:t>Sector</a:t>
            </a:r>
          </a:p>
        </p:txBody>
      </p:sp>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92249" y="2163503"/>
            <a:ext cx="339019" cy="328241"/>
          </a:xfrm>
          <a:prstGeom prst="rect">
            <a:avLst/>
          </a:prstGeom>
        </p:spPr>
      </p:pic>
      <p:sp>
        <p:nvSpPr>
          <p:cNvPr id="41" name="TextBox 40"/>
          <p:cNvSpPr txBox="1"/>
          <p:nvPr/>
        </p:nvSpPr>
        <p:spPr>
          <a:xfrm>
            <a:off x="10964116" y="2247231"/>
            <a:ext cx="428133" cy="174960"/>
          </a:xfrm>
          <a:prstGeom prst="rect">
            <a:avLst/>
          </a:prstGeom>
          <a:noFill/>
        </p:spPr>
        <p:txBody>
          <a:bodyPr wrap="square" lIns="68589" tIns="34295" rIns="68589" bIns="34295" rtlCol="0">
            <a:spAutoFit/>
          </a:bodyPr>
          <a:lstStyle/>
          <a:p>
            <a:pPr algn="ctr">
              <a:lnSpc>
                <a:spcPts val="600"/>
              </a:lnSpc>
            </a:pPr>
            <a:r>
              <a:rPr lang="en-US" sz="1100" b="1" dirty="0" smtClean="0">
                <a:solidFill>
                  <a:prstClr val="black"/>
                </a:solidFill>
                <a:latin typeface="Calibiri"/>
                <a:ea typeface="Verdana" panose="020B0604030504040204" pitchFamily="34" charset="0"/>
                <a:cs typeface="Verdana" panose="020B0604030504040204" pitchFamily="34" charset="0"/>
              </a:rPr>
              <a:t>App</a:t>
            </a:r>
            <a:endParaRPr lang="en-US" sz="1100" b="1" dirty="0">
              <a:solidFill>
                <a:prstClr val="black"/>
              </a:solidFill>
              <a:latin typeface="Calibiri"/>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84178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se Studies</a:t>
            </a:r>
            <a:endParaRPr lang="en-US" dirty="0">
              <a:cs typeface="Calibri" panose="020F0502020204030204" pitchFamily="34" charset="0"/>
            </a:endParaRPr>
          </a:p>
        </p:txBody>
      </p:sp>
      <p:sp>
        <p:nvSpPr>
          <p:cNvPr id="49" name="Rectangle 48"/>
          <p:cNvSpPr/>
          <p:nvPr/>
        </p:nvSpPr>
        <p:spPr>
          <a:xfrm>
            <a:off x="4128655" y="1122218"/>
            <a:ext cx="4059381" cy="1981199"/>
          </a:xfrm>
          <a:prstGeom prst="rect">
            <a:avLst/>
          </a:prstGeom>
        </p:spPr>
        <p:txBody>
          <a:bodyPr wrap="square">
            <a:noAutofit/>
          </a:bodyPr>
          <a:lstStyle/>
          <a:p>
            <a:pPr algn="just"/>
            <a:r>
              <a:rPr lang="en-US" sz="1400" b="1" dirty="0" smtClean="0"/>
              <a:t>Vision: </a:t>
            </a:r>
          </a:p>
          <a:p>
            <a:pPr algn="just"/>
            <a:r>
              <a:rPr lang="en-US" sz="1400" dirty="0" smtClean="0"/>
              <a:t>Create an </a:t>
            </a:r>
            <a:r>
              <a:rPr lang="en-US" sz="1400" dirty="0"/>
              <a:t>ideal Specialist </a:t>
            </a:r>
            <a:r>
              <a:rPr lang="en-US" sz="1400" dirty="0" smtClean="0"/>
              <a:t>experience </a:t>
            </a:r>
            <a:r>
              <a:rPr lang="en-US" sz="1400" dirty="0"/>
              <a:t>to </a:t>
            </a:r>
            <a:r>
              <a:rPr lang="en-US" sz="1400" dirty="0" smtClean="0"/>
              <a:t>provide </a:t>
            </a:r>
            <a:r>
              <a:rPr lang="en-US" sz="1400" dirty="0"/>
              <a:t>a streamlined </a:t>
            </a:r>
            <a:r>
              <a:rPr lang="en-US" sz="1400" dirty="0" smtClean="0"/>
              <a:t>and improved Reservations experience </a:t>
            </a:r>
            <a:r>
              <a:rPr lang="en-US" sz="1400" dirty="0"/>
              <a:t>for </a:t>
            </a:r>
            <a:r>
              <a:rPr lang="en-US" sz="1400" dirty="0" smtClean="0"/>
              <a:t>both customers </a:t>
            </a:r>
            <a:r>
              <a:rPr lang="en-US" sz="1400" dirty="0"/>
              <a:t>and </a:t>
            </a:r>
            <a:r>
              <a:rPr lang="en-US" sz="1400" dirty="0" smtClean="0"/>
              <a:t>Specialists</a:t>
            </a:r>
          </a:p>
          <a:p>
            <a:pPr algn="just"/>
            <a:endParaRPr lang="en-US" sz="1400" b="1" dirty="0" smtClean="0"/>
          </a:p>
          <a:p>
            <a:pPr algn="just"/>
            <a:r>
              <a:rPr lang="en-US" sz="1400" b="1" dirty="0" smtClean="0"/>
              <a:t>Our Solution: </a:t>
            </a:r>
          </a:p>
          <a:p>
            <a:pPr algn="just"/>
            <a:r>
              <a:rPr lang="en-US" sz="1400" dirty="0" smtClean="0"/>
              <a:t>Discovery </a:t>
            </a:r>
            <a:r>
              <a:rPr lang="en-US" sz="1400" dirty="0"/>
              <a:t>through human </a:t>
            </a:r>
            <a:r>
              <a:rPr lang="en-US" sz="1400" dirty="0" smtClean="0"/>
              <a:t>experience | </a:t>
            </a:r>
            <a:r>
              <a:rPr lang="en-US" sz="1400" dirty="0"/>
              <a:t>Collaborative Ideation and Prioritization with the </a:t>
            </a:r>
            <a:r>
              <a:rPr lang="en-US" sz="1400" dirty="0" smtClean="0"/>
              <a:t>Delta Team | Concept Development | Experience Design</a:t>
            </a:r>
            <a:endParaRPr lang="en-US" sz="1400" dirty="0"/>
          </a:p>
        </p:txBody>
      </p:sp>
      <p:cxnSp>
        <p:nvCxnSpPr>
          <p:cNvPr id="68" name="Straight Connector 67"/>
          <p:cNvCxnSpPr/>
          <p:nvPr/>
        </p:nvCxnSpPr>
        <p:spPr>
          <a:xfrm>
            <a:off x="8208235" y="260648"/>
            <a:ext cx="0" cy="647825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332509" y="3158836"/>
            <a:ext cx="115824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079776" y="274550"/>
            <a:ext cx="0" cy="64782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4100945" y="609600"/>
            <a:ext cx="4059381"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dirty="0" smtClean="0"/>
              <a:t>A </a:t>
            </a:r>
            <a:r>
              <a:rPr lang="en-IN" dirty="0"/>
              <a:t>M</a:t>
            </a:r>
            <a:r>
              <a:rPr lang="en-IN" dirty="0" smtClean="0"/>
              <a:t>ajor </a:t>
            </a:r>
            <a:r>
              <a:rPr lang="en-IN" dirty="0"/>
              <a:t>United States </a:t>
            </a:r>
            <a:r>
              <a:rPr lang="en-IN" dirty="0" smtClean="0"/>
              <a:t>Airline</a:t>
            </a:r>
            <a:endParaRPr lang="en-US" dirty="0"/>
          </a:p>
        </p:txBody>
      </p:sp>
      <p:sp>
        <p:nvSpPr>
          <p:cNvPr id="43" name="Rectangle 42"/>
          <p:cNvSpPr/>
          <p:nvPr/>
        </p:nvSpPr>
        <p:spPr>
          <a:xfrm>
            <a:off x="180110" y="609600"/>
            <a:ext cx="3851564"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dirty="0" smtClean="0"/>
              <a:t>A Large Beverage  Corporation in US </a:t>
            </a:r>
            <a:endParaRPr lang="en-US" dirty="0"/>
          </a:p>
        </p:txBody>
      </p:sp>
      <p:sp>
        <p:nvSpPr>
          <p:cNvPr id="64" name="Rectangle 63"/>
          <p:cNvSpPr/>
          <p:nvPr/>
        </p:nvSpPr>
        <p:spPr>
          <a:xfrm>
            <a:off x="8243458" y="609600"/>
            <a:ext cx="3837708"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US" dirty="0" smtClean="0"/>
              <a:t>A Global Luxury Hotel Chain</a:t>
            </a:r>
            <a:endParaRPr lang="en-US" dirty="0"/>
          </a:p>
        </p:txBody>
      </p:sp>
      <p:sp>
        <p:nvSpPr>
          <p:cNvPr id="65" name="Rectangle 64"/>
          <p:cNvSpPr/>
          <p:nvPr/>
        </p:nvSpPr>
        <p:spPr>
          <a:xfrm>
            <a:off x="152401" y="3255818"/>
            <a:ext cx="3906982"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dirty="0"/>
              <a:t>World’s Largest Fast food Chain</a:t>
            </a:r>
            <a:endParaRPr lang="en-US" dirty="0"/>
          </a:p>
        </p:txBody>
      </p:sp>
      <p:sp>
        <p:nvSpPr>
          <p:cNvPr id="66" name="Rectangle 65"/>
          <p:cNvSpPr/>
          <p:nvPr/>
        </p:nvSpPr>
        <p:spPr>
          <a:xfrm>
            <a:off x="4156365" y="3255820"/>
            <a:ext cx="3990108"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dirty="0" smtClean="0"/>
              <a:t>A Large UAE-based Airline</a:t>
            </a:r>
            <a:endParaRPr lang="en-US" dirty="0"/>
          </a:p>
        </p:txBody>
      </p:sp>
      <p:sp>
        <p:nvSpPr>
          <p:cNvPr id="70" name="Rectangle 69"/>
          <p:cNvSpPr/>
          <p:nvPr/>
        </p:nvSpPr>
        <p:spPr>
          <a:xfrm>
            <a:off x="8257309" y="3255820"/>
            <a:ext cx="3768437" cy="471055"/>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dirty="0" smtClean="0"/>
              <a:t>A Global Education Publisher</a:t>
            </a:r>
            <a:endParaRPr lang="en-US" dirty="0"/>
          </a:p>
        </p:txBody>
      </p:sp>
      <p:sp>
        <p:nvSpPr>
          <p:cNvPr id="72" name="Rectangle 71"/>
          <p:cNvSpPr/>
          <p:nvPr/>
        </p:nvSpPr>
        <p:spPr>
          <a:xfrm>
            <a:off x="8243455" y="3811892"/>
            <a:ext cx="3796145" cy="2311817"/>
          </a:xfrm>
          <a:prstGeom prst="rect">
            <a:avLst/>
          </a:prstGeom>
        </p:spPr>
        <p:txBody>
          <a:bodyPr wrap="square">
            <a:noAutofit/>
          </a:bodyPr>
          <a:lstStyle/>
          <a:p>
            <a:pPr algn="just"/>
            <a:r>
              <a:rPr lang="en-US" sz="1400" b="1" dirty="0" smtClean="0"/>
              <a:t>Vision: </a:t>
            </a:r>
          </a:p>
          <a:p>
            <a:pPr algn="just"/>
            <a:r>
              <a:rPr lang="en-US" sz="1400" dirty="0" smtClean="0"/>
              <a:t>Improve </a:t>
            </a:r>
            <a:r>
              <a:rPr lang="en-US" sz="1400" dirty="0"/>
              <a:t>its competitive advantage in the marketplace </a:t>
            </a:r>
            <a:endParaRPr lang="en-US" sz="1400" dirty="0" smtClean="0"/>
          </a:p>
          <a:p>
            <a:pPr algn="just"/>
            <a:endParaRPr lang="en-US" sz="1400" b="1" dirty="0" smtClean="0"/>
          </a:p>
          <a:p>
            <a:pPr algn="just"/>
            <a:r>
              <a:rPr lang="en-US" sz="1400" b="1" dirty="0" smtClean="0"/>
              <a:t>Our Solution: </a:t>
            </a:r>
          </a:p>
          <a:p>
            <a:pPr algn="just"/>
            <a:r>
              <a:rPr lang="en-US" sz="1400" dirty="0" smtClean="0"/>
              <a:t>Digital </a:t>
            </a:r>
            <a:r>
              <a:rPr lang="en-US" sz="1400" dirty="0"/>
              <a:t>Transformation Lab </a:t>
            </a:r>
            <a:r>
              <a:rPr lang="en-US" sz="1400" dirty="0" smtClean="0"/>
              <a:t> Setup | Conducted  </a:t>
            </a:r>
            <a:r>
              <a:rPr lang="en-US" sz="1400" dirty="0"/>
              <a:t>12 idea generation campaigns resulting in 150+ ideas of which 10 have been  successfully implemented and  35 of them have been proposed to key stakeholders</a:t>
            </a:r>
          </a:p>
        </p:txBody>
      </p:sp>
      <p:sp>
        <p:nvSpPr>
          <p:cNvPr id="73" name="Rectangle 72"/>
          <p:cNvSpPr/>
          <p:nvPr/>
        </p:nvSpPr>
        <p:spPr>
          <a:xfrm>
            <a:off x="235528" y="1110255"/>
            <a:ext cx="3809999" cy="1840761"/>
          </a:xfrm>
          <a:prstGeom prst="rect">
            <a:avLst/>
          </a:prstGeom>
        </p:spPr>
        <p:txBody>
          <a:bodyPr wrap="square">
            <a:noAutofit/>
          </a:bodyPr>
          <a:lstStyle/>
          <a:p>
            <a:pPr algn="just"/>
            <a:r>
              <a:rPr lang="en-US" sz="1400" b="1" dirty="0" smtClean="0"/>
              <a:t>Vision: </a:t>
            </a:r>
          </a:p>
          <a:p>
            <a:pPr algn="just"/>
            <a:r>
              <a:rPr lang="en-US" sz="1400" dirty="0" smtClean="0"/>
              <a:t>Transform </a:t>
            </a:r>
            <a:r>
              <a:rPr lang="en-US" sz="1400" dirty="0"/>
              <a:t>Customer Experience, Accelerate Revenue Growth and Enable sales and service operations</a:t>
            </a:r>
          </a:p>
          <a:p>
            <a:pPr algn="just"/>
            <a:endParaRPr lang="en-US" sz="1400" b="1" dirty="0" smtClean="0"/>
          </a:p>
          <a:p>
            <a:pPr algn="just"/>
            <a:r>
              <a:rPr lang="en-US" sz="1400" b="1" dirty="0" smtClean="0"/>
              <a:t>Our Solution: </a:t>
            </a:r>
          </a:p>
          <a:p>
            <a:pPr algn="just"/>
            <a:r>
              <a:rPr lang="en-US" sz="1400" dirty="0" smtClean="0"/>
              <a:t>Commerce </a:t>
            </a:r>
            <a:r>
              <a:rPr lang="en-US" sz="1400" dirty="0"/>
              <a:t>platform for self-serve | Empower agents with better customer data | Transformed Experience in Agent Interaction</a:t>
            </a:r>
          </a:p>
          <a:p>
            <a:pPr algn="just"/>
            <a:endParaRPr lang="en-US" sz="1400" dirty="0" smtClean="0"/>
          </a:p>
          <a:p>
            <a:pPr algn="just"/>
            <a:r>
              <a:rPr lang="en-US" sz="1400" dirty="0" smtClean="0"/>
              <a:t> </a:t>
            </a:r>
            <a:endParaRPr lang="en-US" sz="1400" dirty="0"/>
          </a:p>
        </p:txBody>
      </p:sp>
      <p:sp>
        <p:nvSpPr>
          <p:cNvPr id="74" name="Rectangle 73"/>
          <p:cNvSpPr/>
          <p:nvPr/>
        </p:nvSpPr>
        <p:spPr>
          <a:xfrm>
            <a:off x="220519" y="3830365"/>
            <a:ext cx="3809999" cy="1840761"/>
          </a:xfrm>
          <a:prstGeom prst="rect">
            <a:avLst/>
          </a:prstGeom>
        </p:spPr>
        <p:txBody>
          <a:bodyPr wrap="square">
            <a:noAutofit/>
          </a:bodyPr>
          <a:lstStyle/>
          <a:p>
            <a:pPr algn="just"/>
            <a:r>
              <a:rPr lang="en-US" sz="1400" b="1" dirty="0"/>
              <a:t>Vision: </a:t>
            </a:r>
          </a:p>
          <a:p>
            <a:pPr algn="just"/>
            <a:r>
              <a:rPr lang="en-US" sz="1400" dirty="0"/>
              <a:t>Connected Kitchen to help digitize its store operations for improved food quality and consistency</a:t>
            </a:r>
          </a:p>
          <a:p>
            <a:pPr algn="just"/>
            <a:endParaRPr lang="en-US" sz="1400" b="1" dirty="0"/>
          </a:p>
          <a:p>
            <a:pPr algn="just"/>
            <a:r>
              <a:rPr lang="en-US" sz="1400" b="1" dirty="0"/>
              <a:t>Our Solution: </a:t>
            </a:r>
          </a:p>
          <a:p>
            <a:pPr algn="just"/>
            <a:r>
              <a:rPr lang="en-US" sz="1400" dirty="0"/>
              <a:t>Internet of Things based solution connecting most important part of the kitchen equipment | Monitor and analyze parameters | New control panel to allow remote programming of recipes</a:t>
            </a:r>
          </a:p>
        </p:txBody>
      </p:sp>
      <p:sp>
        <p:nvSpPr>
          <p:cNvPr id="75" name="Rectangle 74"/>
          <p:cNvSpPr/>
          <p:nvPr/>
        </p:nvSpPr>
        <p:spPr>
          <a:xfrm>
            <a:off x="8243456" y="1137966"/>
            <a:ext cx="3809999" cy="1965454"/>
          </a:xfrm>
          <a:prstGeom prst="rect">
            <a:avLst/>
          </a:prstGeom>
        </p:spPr>
        <p:txBody>
          <a:bodyPr wrap="square">
            <a:noAutofit/>
          </a:bodyPr>
          <a:lstStyle/>
          <a:p>
            <a:pPr algn="just"/>
            <a:r>
              <a:rPr lang="en-US" sz="1400" b="1" dirty="0" smtClean="0"/>
              <a:t>Vision: </a:t>
            </a:r>
          </a:p>
          <a:p>
            <a:pPr algn="just"/>
            <a:r>
              <a:rPr lang="en-US" sz="1400" dirty="0" smtClean="0"/>
              <a:t>Provide </a:t>
            </a:r>
            <a:r>
              <a:rPr lang="en-US" sz="1400" dirty="0"/>
              <a:t>an Exceptional Customer Experience for loyalty members and improve loyalty penetration rates</a:t>
            </a:r>
          </a:p>
          <a:p>
            <a:pPr algn="just"/>
            <a:endParaRPr lang="en-US" sz="1400" b="1" dirty="0" smtClean="0"/>
          </a:p>
          <a:p>
            <a:pPr algn="just"/>
            <a:r>
              <a:rPr lang="en-US" sz="1400" b="1" dirty="0" smtClean="0"/>
              <a:t>Our Solution: </a:t>
            </a:r>
          </a:p>
          <a:p>
            <a:pPr algn="just"/>
            <a:r>
              <a:rPr lang="en-US" sz="1400" dirty="0" smtClean="0"/>
              <a:t>Strategic </a:t>
            </a:r>
            <a:r>
              <a:rPr lang="en-US" sz="1400" dirty="0"/>
              <a:t>partner for a website revamp and brand discovery journey | Improvement in key Loyalty KPIs  | Streamlined booking </a:t>
            </a:r>
            <a:r>
              <a:rPr lang="en-US" sz="1400" dirty="0" smtClean="0"/>
              <a:t>journey  </a:t>
            </a:r>
            <a:endParaRPr lang="en-US" sz="1400" dirty="0"/>
          </a:p>
        </p:txBody>
      </p:sp>
      <p:sp>
        <p:nvSpPr>
          <p:cNvPr id="76" name="Rectangle 75"/>
          <p:cNvSpPr/>
          <p:nvPr/>
        </p:nvSpPr>
        <p:spPr>
          <a:xfrm>
            <a:off x="4281055" y="3837293"/>
            <a:ext cx="3809999" cy="2360307"/>
          </a:xfrm>
          <a:prstGeom prst="rect">
            <a:avLst/>
          </a:prstGeom>
        </p:spPr>
        <p:txBody>
          <a:bodyPr wrap="square">
            <a:noAutofit/>
          </a:bodyPr>
          <a:lstStyle/>
          <a:p>
            <a:pPr algn="just"/>
            <a:r>
              <a:rPr lang="en-US" sz="1400" b="1" dirty="0" smtClean="0"/>
              <a:t>Vision:  </a:t>
            </a:r>
            <a:r>
              <a:rPr lang="en-US" sz="1400" dirty="0" smtClean="0"/>
              <a:t>Redefine </a:t>
            </a:r>
            <a:r>
              <a:rPr lang="en-US" sz="1400" dirty="0"/>
              <a:t>its digital guest experience to match its remarkable on-ground and inflight experience </a:t>
            </a:r>
            <a:endParaRPr lang="en-US" sz="1400" dirty="0" smtClean="0"/>
          </a:p>
          <a:p>
            <a:pPr algn="just"/>
            <a:endParaRPr lang="en-US" sz="1400" b="1" dirty="0" smtClean="0"/>
          </a:p>
          <a:p>
            <a:r>
              <a:rPr lang="en-US" sz="1400" b="1" dirty="0" smtClean="0"/>
              <a:t>Our Solution: </a:t>
            </a:r>
            <a:endParaRPr lang="en-US" sz="1400" dirty="0"/>
          </a:p>
          <a:p>
            <a:r>
              <a:rPr lang="en-US" sz="1400" dirty="0" smtClean="0"/>
              <a:t>Identification </a:t>
            </a:r>
            <a:r>
              <a:rPr lang="en-US" sz="1400" dirty="0"/>
              <a:t>of the value </a:t>
            </a:r>
            <a:r>
              <a:rPr lang="en-US" sz="1400" dirty="0" smtClean="0"/>
              <a:t>drivers | Established a Digital Center of Excellence to drive </a:t>
            </a:r>
            <a:r>
              <a:rPr lang="en-US" sz="1400" dirty="0"/>
              <a:t>innovation | facilitated sessions with </a:t>
            </a:r>
            <a:r>
              <a:rPr lang="en-US" sz="1400" dirty="0" smtClean="0"/>
              <a:t>stakeholders to </a:t>
            </a:r>
            <a:r>
              <a:rPr lang="en-US" sz="1400" dirty="0"/>
              <a:t>draw out their vision for the </a:t>
            </a:r>
            <a:r>
              <a:rPr lang="en-US" sz="1400" dirty="0" smtClean="0"/>
              <a:t>transformation | Created </a:t>
            </a:r>
            <a:r>
              <a:rPr lang="en-US" sz="1400" dirty="0"/>
              <a:t>a vision of the guest experience </a:t>
            </a:r>
            <a:endParaRPr lang="en-US" sz="1400" dirty="0" smtClean="0"/>
          </a:p>
          <a:p>
            <a:pPr algn="just"/>
            <a:endParaRPr lang="en-US" sz="1400" dirty="0" smtClean="0"/>
          </a:p>
          <a:p>
            <a:pPr algn="just"/>
            <a:r>
              <a:rPr lang="en-US" sz="1400" dirty="0" smtClean="0"/>
              <a:t> </a:t>
            </a:r>
            <a:endParaRPr lang="en-US" sz="1400" dirty="0"/>
          </a:p>
        </p:txBody>
      </p:sp>
    </p:spTree>
    <p:extLst>
      <p:ext uri="{BB962C8B-B14F-4D97-AF65-F5344CB8AC3E}">
        <p14:creationId xmlns:p14="http://schemas.microsoft.com/office/powerpoint/2010/main" val="188868735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p:cNvSpPr>
            <a:spLocks noGrp="1"/>
          </p:cNvSpPr>
          <p:nvPr>
            <p:ph type="title"/>
          </p:nvPr>
        </p:nvSpPr>
        <p:spPr/>
        <p:txBody>
          <a:bodyPr/>
          <a:lstStyle/>
          <a:p>
            <a:r>
              <a:rPr lang="en-US" dirty="0"/>
              <a:t>Our Blueprint to </a:t>
            </a:r>
            <a:r>
              <a:rPr lang="en-US" dirty="0" smtClean="0"/>
              <a:t>deliver…</a:t>
            </a:r>
            <a:endParaRPr lang="en-US" dirty="0"/>
          </a:p>
        </p:txBody>
      </p:sp>
      <p:grpSp>
        <p:nvGrpSpPr>
          <p:cNvPr id="12" name="Group 11"/>
          <p:cNvGrpSpPr/>
          <p:nvPr/>
        </p:nvGrpSpPr>
        <p:grpSpPr>
          <a:xfrm>
            <a:off x="283557" y="899657"/>
            <a:ext cx="11642910" cy="5027781"/>
            <a:chOff x="258419" y="899657"/>
            <a:chExt cx="11642910" cy="5027781"/>
          </a:xfrm>
        </p:grpSpPr>
        <p:grpSp>
          <p:nvGrpSpPr>
            <p:cNvPr id="3" name="Group 2"/>
            <p:cNvGrpSpPr/>
            <p:nvPr/>
          </p:nvGrpSpPr>
          <p:grpSpPr>
            <a:xfrm>
              <a:off x="8798367" y="921758"/>
              <a:ext cx="3084938" cy="1143007"/>
              <a:chOff x="6743535" y="735035"/>
              <a:chExt cx="2313704" cy="857255"/>
            </a:xfrm>
          </p:grpSpPr>
          <p:sp>
            <p:nvSpPr>
              <p:cNvPr id="40" name="object 38"/>
              <p:cNvSpPr/>
              <p:nvPr/>
            </p:nvSpPr>
            <p:spPr>
              <a:xfrm>
                <a:off x="6743535" y="1270036"/>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B</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7" name="TextBox 46"/>
              <p:cNvSpPr txBox="1"/>
              <p:nvPr/>
            </p:nvSpPr>
            <p:spPr>
              <a:xfrm>
                <a:off x="7168115" y="735035"/>
                <a:ext cx="1889124" cy="37693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Automation as Core Tenet, “Machine First” approach</a:t>
                </a:r>
              </a:p>
            </p:txBody>
          </p:sp>
        </p:grpSp>
        <p:grpSp>
          <p:nvGrpSpPr>
            <p:cNvPr id="4" name="Group 3"/>
            <p:cNvGrpSpPr/>
            <p:nvPr/>
          </p:nvGrpSpPr>
          <p:grpSpPr>
            <a:xfrm>
              <a:off x="8798368" y="2227524"/>
              <a:ext cx="3084937" cy="502574"/>
              <a:chOff x="6743535" y="1795224"/>
              <a:chExt cx="2313703" cy="376930"/>
            </a:xfrm>
          </p:grpSpPr>
          <p:sp>
            <p:nvSpPr>
              <p:cNvPr id="41" name="object 38"/>
              <p:cNvSpPr/>
              <p:nvPr/>
            </p:nvSpPr>
            <p:spPr>
              <a:xfrm>
                <a:off x="6743535" y="1844645"/>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C</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8" name="TextBox 47"/>
              <p:cNvSpPr txBox="1"/>
              <p:nvPr/>
            </p:nvSpPr>
            <p:spPr>
              <a:xfrm>
                <a:off x="7168114" y="1795224"/>
                <a:ext cx="1889124" cy="37693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Debt Management Framework™ driven demand management</a:t>
                </a:r>
              </a:p>
            </p:txBody>
          </p:sp>
        </p:grpSp>
        <p:grpSp>
          <p:nvGrpSpPr>
            <p:cNvPr id="5" name="Group 4"/>
            <p:cNvGrpSpPr/>
            <p:nvPr/>
          </p:nvGrpSpPr>
          <p:grpSpPr>
            <a:xfrm>
              <a:off x="8798368" y="2958564"/>
              <a:ext cx="3084937" cy="429672"/>
              <a:chOff x="6743535" y="2244378"/>
              <a:chExt cx="2313703" cy="322254"/>
            </a:xfrm>
          </p:grpSpPr>
          <p:sp>
            <p:nvSpPr>
              <p:cNvPr id="42" name="object 38"/>
              <p:cNvSpPr/>
              <p:nvPr/>
            </p:nvSpPr>
            <p:spPr>
              <a:xfrm>
                <a:off x="6743535" y="2244378"/>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D</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2" name="TextBox 51"/>
              <p:cNvSpPr txBox="1"/>
              <p:nvPr/>
            </p:nvSpPr>
            <p:spPr>
              <a:xfrm>
                <a:off x="7168114" y="2282395"/>
                <a:ext cx="1889124" cy="22309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Tool / Platform Base Delivery</a:t>
                </a:r>
              </a:p>
            </p:txBody>
          </p:sp>
        </p:grpSp>
        <p:grpSp>
          <p:nvGrpSpPr>
            <p:cNvPr id="6" name="Group 5"/>
            <p:cNvGrpSpPr/>
            <p:nvPr/>
          </p:nvGrpSpPr>
          <p:grpSpPr>
            <a:xfrm>
              <a:off x="8798368" y="3529979"/>
              <a:ext cx="3084937" cy="429672"/>
              <a:chOff x="6743535" y="2731549"/>
              <a:chExt cx="2313703" cy="322254"/>
            </a:xfrm>
          </p:grpSpPr>
          <p:sp>
            <p:nvSpPr>
              <p:cNvPr id="43" name="object 38"/>
              <p:cNvSpPr/>
              <p:nvPr/>
            </p:nvSpPr>
            <p:spPr>
              <a:xfrm>
                <a:off x="6743535" y="2731549"/>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E</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8" name="TextBox 57"/>
              <p:cNvSpPr txBox="1"/>
              <p:nvPr/>
            </p:nvSpPr>
            <p:spPr>
              <a:xfrm>
                <a:off x="7168114" y="2769566"/>
                <a:ext cx="1889124" cy="22309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Innovation and CSI</a:t>
                </a:r>
              </a:p>
            </p:txBody>
          </p:sp>
        </p:grpSp>
        <p:grpSp>
          <p:nvGrpSpPr>
            <p:cNvPr id="2" name="Group 1"/>
            <p:cNvGrpSpPr/>
            <p:nvPr/>
          </p:nvGrpSpPr>
          <p:grpSpPr>
            <a:xfrm>
              <a:off x="8798367" y="951561"/>
              <a:ext cx="3102962" cy="1152493"/>
              <a:chOff x="6743535" y="827693"/>
              <a:chExt cx="2327222" cy="864371"/>
            </a:xfrm>
          </p:grpSpPr>
          <p:sp>
            <p:nvSpPr>
              <p:cNvPr id="39" name="object 38"/>
              <p:cNvSpPr/>
              <p:nvPr/>
            </p:nvSpPr>
            <p:spPr>
              <a:xfrm>
                <a:off x="6743535" y="827693"/>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A</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7" name="TextBox 66"/>
              <p:cNvSpPr txBox="1"/>
              <p:nvPr/>
            </p:nvSpPr>
            <p:spPr>
              <a:xfrm>
                <a:off x="7181633" y="1315134"/>
                <a:ext cx="1889124" cy="37693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Deliver with Customer First Mindset</a:t>
                </a:r>
              </a:p>
            </p:txBody>
          </p:sp>
        </p:grpSp>
        <p:grpSp>
          <p:nvGrpSpPr>
            <p:cNvPr id="9" name="Group 8"/>
            <p:cNvGrpSpPr/>
            <p:nvPr/>
          </p:nvGrpSpPr>
          <p:grpSpPr>
            <a:xfrm>
              <a:off x="8798368" y="5424865"/>
              <a:ext cx="3084937" cy="502573"/>
              <a:chOff x="6743535" y="4182672"/>
              <a:chExt cx="2313703" cy="376930"/>
            </a:xfrm>
          </p:grpSpPr>
          <p:sp>
            <p:nvSpPr>
              <p:cNvPr id="46" name="object 38"/>
              <p:cNvSpPr/>
              <p:nvPr/>
            </p:nvSpPr>
            <p:spPr>
              <a:xfrm>
                <a:off x="6743535" y="4221600"/>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H</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9" name="TextBox 68"/>
              <p:cNvSpPr txBox="1"/>
              <p:nvPr/>
            </p:nvSpPr>
            <p:spPr>
              <a:xfrm>
                <a:off x="7168114" y="4182672"/>
                <a:ext cx="1889124" cy="37693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Governance &amp; Common Goal Based Delivery</a:t>
                </a:r>
              </a:p>
            </p:txBody>
          </p:sp>
        </p:grpSp>
        <p:grpSp>
          <p:nvGrpSpPr>
            <p:cNvPr id="7" name="Group 6"/>
            <p:cNvGrpSpPr/>
            <p:nvPr/>
          </p:nvGrpSpPr>
          <p:grpSpPr>
            <a:xfrm>
              <a:off x="8798368" y="4161609"/>
              <a:ext cx="3084937" cy="429672"/>
              <a:chOff x="6743535" y="3218720"/>
              <a:chExt cx="2313703" cy="322254"/>
            </a:xfrm>
          </p:grpSpPr>
          <p:sp>
            <p:nvSpPr>
              <p:cNvPr id="44" name="object 38"/>
              <p:cNvSpPr/>
              <p:nvPr/>
            </p:nvSpPr>
            <p:spPr>
              <a:xfrm>
                <a:off x="6743535" y="3218720"/>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F</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0" name="TextBox 69"/>
              <p:cNvSpPr txBox="1"/>
              <p:nvPr/>
            </p:nvSpPr>
            <p:spPr>
              <a:xfrm>
                <a:off x="7168114" y="3256737"/>
                <a:ext cx="1889124" cy="22309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Business Aligned Delivery</a:t>
                </a:r>
              </a:p>
            </p:txBody>
          </p:sp>
        </p:grpSp>
        <p:grpSp>
          <p:nvGrpSpPr>
            <p:cNvPr id="8" name="Group 7"/>
            <p:cNvGrpSpPr/>
            <p:nvPr/>
          </p:nvGrpSpPr>
          <p:grpSpPr>
            <a:xfrm>
              <a:off x="8798368" y="4793237"/>
              <a:ext cx="3084937" cy="429672"/>
              <a:chOff x="6743535" y="3705891"/>
              <a:chExt cx="2313703" cy="322254"/>
            </a:xfrm>
          </p:grpSpPr>
          <p:sp>
            <p:nvSpPr>
              <p:cNvPr id="45" name="object 38"/>
              <p:cNvSpPr/>
              <p:nvPr/>
            </p:nvSpPr>
            <p:spPr>
              <a:xfrm>
                <a:off x="6743535" y="3705891"/>
                <a:ext cx="317657" cy="322254"/>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accent1">
                  <a:lumMod val="50000"/>
                </a:schemeClr>
              </a:solidFill>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rPr>
                  <a:t>G</a:t>
                </a:r>
                <a:endParaRPr kumimoji="0"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3" name="TextBox 72"/>
              <p:cNvSpPr txBox="1"/>
              <p:nvPr/>
            </p:nvSpPr>
            <p:spPr>
              <a:xfrm>
                <a:off x="7168114" y="3743908"/>
                <a:ext cx="1889124" cy="223090"/>
              </a:xfrm>
              <a:prstGeom prst="rect">
                <a:avLst/>
              </a:prstGeom>
              <a:noFill/>
            </p:spPr>
            <p:txBody>
              <a:bodyPr wrap="square" rtlCol="0">
                <a:spAutoFit/>
              </a:bodyPr>
              <a:lstStyle/>
              <a:p>
                <a:pPr marL="0" marR="0" lvl="0" indent="0" algn="l" defTabSz="60888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41414"/>
                    </a:solidFill>
                    <a:effectLst/>
                    <a:uLnTx/>
                    <a:uFillTx/>
                    <a:latin typeface="Calibri" panose="020F0502020204030204" pitchFamily="34" charset="0"/>
                    <a:ea typeface="+mn-ea"/>
                    <a:cs typeface="+mn-cs"/>
                  </a:rPr>
                  <a:t>Dedicated focus on Automation</a:t>
                </a:r>
              </a:p>
            </p:txBody>
          </p:sp>
        </p:grpSp>
        <p:sp>
          <p:nvSpPr>
            <p:cNvPr id="51" name="Rectangle 50"/>
            <p:cNvSpPr/>
            <p:nvPr/>
          </p:nvSpPr>
          <p:spPr>
            <a:xfrm>
              <a:off x="380123" y="2052664"/>
              <a:ext cx="6530348" cy="463117"/>
            </a:xfrm>
            <a:prstGeom prst="rect">
              <a:avLst/>
            </a:prstGeom>
            <a:solidFill>
              <a:srgbClr val="C7925D"/>
            </a:solidFill>
            <a:ln w="9525" cap="flat" cmpd="sng" algn="ctr">
              <a:no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Industrialize – Reorganize | Unified L1.5 Team | Standardize</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1" name="Rectangle 20"/>
            <p:cNvSpPr/>
            <p:nvPr/>
          </p:nvSpPr>
          <p:spPr>
            <a:xfrm>
              <a:off x="380119" y="1431989"/>
              <a:ext cx="6530352" cy="463117"/>
            </a:xfrm>
            <a:prstGeom prst="rect">
              <a:avLst/>
            </a:prstGeom>
            <a:solidFill>
              <a:srgbClr val="3A0E0F"/>
            </a:solidFill>
            <a:ln w="9525" cap="flat" cmpd="sng" algn="ctr">
              <a:solidFill>
                <a:schemeClr val="tx1"/>
              </a:solid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AI-based Automation (</a:t>
              </a:r>
              <a:r>
                <a:rPr kumimoji="0" lang="en-US" sz="1400" b="0" i="0" u="none" strike="noStrike" kern="0" cap="none" spc="0" normalizeH="0" baseline="0" noProof="0" dirty="0" err="1">
                  <a:ln>
                    <a:noFill/>
                  </a:ln>
                  <a:solidFill>
                    <a:prstClr val="white"/>
                  </a:solidFill>
                  <a:effectLst/>
                  <a:uLnTx/>
                  <a:uFillTx/>
                  <a:latin typeface="Calibri" panose="020F0502020204030204" pitchFamily="34" charset="0"/>
                  <a:ea typeface="+mn-ea"/>
                  <a:cs typeface="Segoe UI" panose="020B0502040204020203" pitchFamily="34" charset="0"/>
                </a:rPr>
                <a:t>HiveCenter</a:t>
              </a: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 enabled service</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2" name="Rectangle 21"/>
            <p:cNvSpPr/>
            <p:nvPr/>
          </p:nvSpPr>
          <p:spPr>
            <a:xfrm>
              <a:off x="380121" y="2635799"/>
              <a:ext cx="6530352" cy="463117"/>
            </a:xfrm>
            <a:prstGeom prst="rect">
              <a:avLst/>
            </a:prstGeom>
            <a:solidFill>
              <a:srgbClr val="C7925D"/>
            </a:solidFill>
            <a:ln w="9525" cap="flat" cmpd="sng" algn="ctr">
              <a:no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Eliminate | Automate | Synergize Framework for Operations</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3" name="Rectangle 22"/>
            <p:cNvSpPr/>
            <p:nvPr/>
          </p:nvSpPr>
          <p:spPr>
            <a:xfrm>
              <a:off x="380120" y="3267063"/>
              <a:ext cx="6530352" cy="463117"/>
            </a:xfrm>
            <a:prstGeom prst="rect">
              <a:avLst/>
            </a:prstGeom>
            <a:solidFill>
              <a:srgbClr val="3A0E0F"/>
            </a:solidFill>
            <a:ln w="9525" cap="flat" cmpd="sng" algn="ctr">
              <a:solidFill>
                <a:schemeClr val="tx1"/>
              </a:solid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Integrated Event Management, Analytics and Operational Tools</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4" name="Rectangle 23"/>
            <p:cNvSpPr/>
            <p:nvPr/>
          </p:nvSpPr>
          <p:spPr>
            <a:xfrm>
              <a:off x="380119" y="3857218"/>
              <a:ext cx="6530352" cy="463117"/>
            </a:xfrm>
            <a:prstGeom prst="rect">
              <a:avLst/>
            </a:prstGeom>
            <a:solidFill>
              <a:srgbClr val="3A0E0F"/>
            </a:solidFill>
            <a:ln w="9525" cap="flat" cmpd="sng" algn="ctr">
              <a:solidFill>
                <a:schemeClr val="tx1"/>
              </a:solid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Predictive, Preventive and Pro-Active Maintenance Framework for CSI</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5" name="Rectangle 24"/>
            <p:cNvSpPr/>
            <p:nvPr/>
          </p:nvSpPr>
          <p:spPr>
            <a:xfrm rot="16200000">
              <a:off x="5936959" y="2525874"/>
              <a:ext cx="2910535" cy="678383"/>
            </a:xfrm>
            <a:prstGeom prst="rect">
              <a:avLst/>
            </a:prstGeom>
            <a:solidFill>
              <a:srgbClr val="C7925D"/>
            </a:solidFill>
            <a:ln w="9525" cap="flat" cmpd="sng" algn="ctr">
              <a:no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Business Aligned Service Management (Business SLAs and Knowledge Management)</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26" name="Rectangle 25"/>
            <p:cNvSpPr/>
            <p:nvPr/>
          </p:nvSpPr>
          <p:spPr>
            <a:xfrm rot="16200000">
              <a:off x="6581978" y="2630262"/>
              <a:ext cx="2917028" cy="463117"/>
            </a:xfrm>
            <a:prstGeom prst="rect">
              <a:avLst/>
            </a:prstGeom>
            <a:solidFill>
              <a:srgbClr val="3A0E0F"/>
            </a:solidFill>
            <a:ln w="9525" cap="flat" cmpd="sng" algn="ctr">
              <a:solidFill>
                <a:schemeClr val="tx1"/>
              </a:solid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Automation Office</a:t>
              </a:r>
            </a:p>
          </p:txBody>
        </p:sp>
        <p:sp>
          <p:nvSpPr>
            <p:cNvPr id="27" name="Rectangle 26"/>
            <p:cNvSpPr/>
            <p:nvPr/>
          </p:nvSpPr>
          <p:spPr>
            <a:xfrm>
              <a:off x="380119" y="4469470"/>
              <a:ext cx="7891932" cy="463117"/>
            </a:xfrm>
            <a:prstGeom prst="rect">
              <a:avLst/>
            </a:prstGeom>
            <a:solidFill>
              <a:srgbClr val="C7925D"/>
            </a:solidFill>
            <a:ln w="9525" cap="flat" cmpd="sng" algn="ctr">
              <a:no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Standardized Governance Process</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33" name="object 38"/>
            <p:cNvSpPr/>
            <p:nvPr/>
          </p:nvSpPr>
          <p:spPr>
            <a:xfrm>
              <a:off x="258419" y="1203696"/>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A</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4" name="object 38"/>
            <p:cNvSpPr/>
            <p:nvPr/>
          </p:nvSpPr>
          <p:spPr>
            <a:xfrm>
              <a:off x="258419" y="1961997"/>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B</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6" name="object 38"/>
            <p:cNvSpPr/>
            <p:nvPr/>
          </p:nvSpPr>
          <p:spPr>
            <a:xfrm>
              <a:off x="258419" y="2587535"/>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C</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7" name="object 38"/>
            <p:cNvSpPr/>
            <p:nvPr/>
          </p:nvSpPr>
          <p:spPr>
            <a:xfrm>
              <a:off x="258419" y="3191839"/>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D</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8" name="object 38"/>
            <p:cNvSpPr/>
            <p:nvPr/>
          </p:nvSpPr>
          <p:spPr>
            <a:xfrm>
              <a:off x="258419" y="3770645"/>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E</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49" name="object 38"/>
            <p:cNvSpPr/>
            <p:nvPr/>
          </p:nvSpPr>
          <p:spPr>
            <a:xfrm>
              <a:off x="258419" y="4406907"/>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H</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0" name="object 38"/>
            <p:cNvSpPr/>
            <p:nvPr/>
          </p:nvSpPr>
          <p:spPr>
            <a:xfrm>
              <a:off x="7307875" y="1183384"/>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F</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3" name="object 38"/>
            <p:cNvSpPr/>
            <p:nvPr/>
          </p:nvSpPr>
          <p:spPr>
            <a:xfrm>
              <a:off x="7957043" y="1196639"/>
              <a:ext cx="423543" cy="429672"/>
            </a:xfrm>
            <a:custGeom>
              <a:avLst/>
              <a:gdLst/>
              <a:ahLst/>
              <a:cxnLst/>
              <a:rect l="l" t="t" r="r" b="b"/>
              <a:pathLst>
                <a:path w="350520" h="350519">
                  <a:moveTo>
                    <a:pt x="174993" y="0"/>
                  </a:moveTo>
                  <a:lnTo>
                    <a:pt x="128472" y="6250"/>
                  </a:lnTo>
                  <a:lnTo>
                    <a:pt x="86670" y="23891"/>
                  </a:lnTo>
                  <a:lnTo>
                    <a:pt x="51254" y="51254"/>
                  </a:lnTo>
                  <a:lnTo>
                    <a:pt x="23891" y="86670"/>
                  </a:lnTo>
                  <a:lnTo>
                    <a:pt x="6250" y="128472"/>
                  </a:lnTo>
                  <a:lnTo>
                    <a:pt x="0" y="174993"/>
                  </a:lnTo>
                  <a:lnTo>
                    <a:pt x="6250" y="221513"/>
                  </a:lnTo>
                  <a:lnTo>
                    <a:pt x="23891" y="263316"/>
                  </a:lnTo>
                  <a:lnTo>
                    <a:pt x="51254" y="298732"/>
                  </a:lnTo>
                  <a:lnTo>
                    <a:pt x="86670" y="326095"/>
                  </a:lnTo>
                  <a:lnTo>
                    <a:pt x="128472" y="343735"/>
                  </a:lnTo>
                  <a:lnTo>
                    <a:pt x="174993" y="349986"/>
                  </a:lnTo>
                  <a:lnTo>
                    <a:pt x="221513" y="343735"/>
                  </a:lnTo>
                  <a:lnTo>
                    <a:pt x="263316" y="326095"/>
                  </a:lnTo>
                  <a:lnTo>
                    <a:pt x="298732" y="298732"/>
                  </a:lnTo>
                  <a:lnTo>
                    <a:pt x="326095" y="263316"/>
                  </a:lnTo>
                  <a:lnTo>
                    <a:pt x="343735" y="221513"/>
                  </a:lnTo>
                  <a:lnTo>
                    <a:pt x="349986" y="174993"/>
                  </a:lnTo>
                  <a:lnTo>
                    <a:pt x="343735" y="128472"/>
                  </a:lnTo>
                  <a:lnTo>
                    <a:pt x="326095" y="86670"/>
                  </a:lnTo>
                  <a:lnTo>
                    <a:pt x="298732" y="51254"/>
                  </a:lnTo>
                  <a:lnTo>
                    <a:pt x="263316" y="23891"/>
                  </a:lnTo>
                  <a:lnTo>
                    <a:pt x="221513" y="6250"/>
                  </a:lnTo>
                  <a:lnTo>
                    <a:pt x="174993" y="0"/>
                  </a:lnTo>
                  <a:close/>
                </a:path>
              </a:pathLst>
            </a:custGeom>
            <a:solidFill>
              <a:schemeClr val="bg1"/>
            </a:solidFill>
            <a:ln>
              <a:solidFill>
                <a:schemeClr val="tx1">
                  <a:lumMod val="75000"/>
                  <a:lumOff val="25000"/>
                </a:schemeClr>
              </a:solidFill>
            </a:ln>
          </p:spPr>
          <p:txBody>
            <a:bodyPr wrap="square" lIns="0" tIns="0" rIns="0" bIns="0"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rPr>
                <a:t>G</a:t>
              </a:r>
              <a:endParaRPr kumimoji="0" sz="1400" b="1"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4" name="Rectangle 53"/>
            <p:cNvSpPr/>
            <p:nvPr/>
          </p:nvSpPr>
          <p:spPr>
            <a:xfrm>
              <a:off x="380119" y="5270740"/>
              <a:ext cx="1902693" cy="463117"/>
            </a:xfrm>
            <a:prstGeom prst="rect">
              <a:avLst/>
            </a:prstGeom>
            <a:solidFill>
              <a:srgbClr val="3A0E0F"/>
            </a:solidFill>
            <a:ln w="9525" cap="flat" cmpd="sng" algn="ctr">
              <a:solidFill>
                <a:schemeClr val="tx1"/>
              </a:solid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Intelligent Operation</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sp>
          <p:nvSpPr>
            <p:cNvPr id="55" name="Rectangle 54"/>
            <p:cNvSpPr/>
            <p:nvPr/>
          </p:nvSpPr>
          <p:spPr>
            <a:xfrm>
              <a:off x="6369358" y="5184926"/>
              <a:ext cx="1902693" cy="463117"/>
            </a:xfrm>
            <a:prstGeom prst="rect">
              <a:avLst/>
            </a:prstGeom>
            <a:solidFill>
              <a:srgbClr val="C7925D"/>
            </a:solidFill>
            <a:ln w="9525" cap="flat" cmpd="sng" algn="ctr">
              <a:noFill/>
              <a:prstDash val="sysDot"/>
            </a:ln>
            <a:effectLst/>
          </p:spPr>
          <p:txBody>
            <a:bodyPr rtlCol="0" anchor="ctr"/>
            <a:lstStyle/>
            <a:p>
              <a:pPr marL="0" marR="0" lvl="0" indent="0" algn="ctr" defTabSz="1219140" rtl="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rPr>
                <a:t>Customer Focus</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Segoe UI" panose="020B0502040204020203" pitchFamily="34" charset="0"/>
              </a:endParaRPr>
            </a:p>
          </p:txBody>
        </p:sp>
        <p:cxnSp>
          <p:nvCxnSpPr>
            <p:cNvPr id="11" name="Straight Connector 10"/>
            <p:cNvCxnSpPr/>
            <p:nvPr/>
          </p:nvCxnSpPr>
          <p:spPr>
            <a:xfrm>
              <a:off x="8598310" y="899657"/>
              <a:ext cx="0" cy="5027781"/>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8001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313" y="71014"/>
            <a:ext cx="11780463" cy="618385"/>
          </a:xfrm>
        </p:spPr>
        <p:txBody>
          <a:bodyPr>
            <a:normAutofit/>
          </a:bodyPr>
          <a:lstStyle/>
          <a:p>
            <a:r>
              <a:rPr lang="en-US" dirty="0" smtClean="0">
                <a:latin typeface="Calibri" panose="020F0502020204030204" pitchFamily="34" charset="0"/>
              </a:rPr>
              <a:t>Automating the Delivery Pipeline</a:t>
            </a:r>
            <a:endParaRPr lang="en-US" dirty="0">
              <a:latin typeface="Calibri" panose="020F0502020204030204" pitchFamily="34" charset="0"/>
            </a:endParaRPr>
          </a:p>
        </p:txBody>
      </p:sp>
      <p:cxnSp>
        <p:nvCxnSpPr>
          <p:cNvPr id="5" name="Straight Arrow Connector 4"/>
          <p:cNvCxnSpPr/>
          <p:nvPr/>
        </p:nvCxnSpPr>
        <p:spPr>
          <a:xfrm>
            <a:off x="4008713" y="2741195"/>
            <a:ext cx="0" cy="751047"/>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4096229" y="1029879"/>
            <a:ext cx="3187093" cy="630911"/>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sz="1600" dirty="0">
              <a:solidFill>
                <a:prstClr val="black"/>
              </a:solidFill>
            </a:endParaRPr>
          </a:p>
        </p:txBody>
      </p:sp>
      <p:sp>
        <p:nvSpPr>
          <p:cNvPr id="7" name="Rectangle 189"/>
          <p:cNvSpPr>
            <a:spLocks noChangeArrowheads="1"/>
          </p:cNvSpPr>
          <p:nvPr/>
        </p:nvSpPr>
        <p:spPr bwMode="auto">
          <a:xfrm>
            <a:off x="3719476" y="2253617"/>
            <a:ext cx="661504" cy="524576"/>
          </a:xfrm>
          <a:prstGeom prst="rect">
            <a:avLst/>
          </a:pr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 name="Rectangle 188"/>
          <p:cNvSpPr>
            <a:spLocks noChangeArrowheads="1"/>
          </p:cNvSpPr>
          <p:nvPr/>
        </p:nvSpPr>
        <p:spPr bwMode="auto">
          <a:xfrm>
            <a:off x="6637922" y="3565789"/>
            <a:ext cx="702957" cy="701623"/>
          </a:xfrm>
          <a:prstGeom prst="rect">
            <a:avLst/>
          </a:prstGeom>
          <a:solidFill>
            <a:srgbClr val="000000"/>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grpSp>
        <p:nvGrpSpPr>
          <p:cNvPr id="9" name="Group 8"/>
          <p:cNvGrpSpPr/>
          <p:nvPr/>
        </p:nvGrpSpPr>
        <p:grpSpPr>
          <a:xfrm rot="312052">
            <a:off x="8923463" y="2910720"/>
            <a:ext cx="1291487" cy="1311747"/>
            <a:chOff x="8588894" y="2255520"/>
            <a:chExt cx="3013174" cy="3225446"/>
          </a:xfrm>
        </p:grpSpPr>
        <p:sp>
          <p:nvSpPr>
            <p:cNvPr id="10" name="Freeform 9"/>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1" name="Freeform 10"/>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2" name="Freeform 11"/>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3" name="Freeform 12"/>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4" name="Freeform 13"/>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5" name="Freeform 14"/>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6" name="Freeform 15"/>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17" name="Freeform 16"/>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grpSp>
      <p:grpSp>
        <p:nvGrpSpPr>
          <p:cNvPr id="18" name="Group 17"/>
          <p:cNvGrpSpPr/>
          <p:nvPr/>
        </p:nvGrpSpPr>
        <p:grpSpPr>
          <a:xfrm rot="312052">
            <a:off x="8788870" y="2091739"/>
            <a:ext cx="867503" cy="850943"/>
            <a:chOff x="8588894" y="2255520"/>
            <a:chExt cx="3013174" cy="3225446"/>
          </a:xfrm>
        </p:grpSpPr>
        <p:sp>
          <p:nvSpPr>
            <p:cNvPr id="19" name="Freeform 18"/>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0" name="Freeform 19"/>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1" name="Freeform 20"/>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2" name="Freeform 21"/>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3" name="Freeform 22"/>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4" name="Freeform 23"/>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5" name="Freeform 24"/>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6" name="Freeform 25"/>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grpSp>
      <p:grpSp>
        <p:nvGrpSpPr>
          <p:cNvPr id="27" name="Group 26"/>
          <p:cNvGrpSpPr/>
          <p:nvPr/>
        </p:nvGrpSpPr>
        <p:grpSpPr>
          <a:xfrm>
            <a:off x="3200002" y="3117889"/>
            <a:ext cx="2213644" cy="2303732"/>
            <a:chOff x="11643278" y="4174693"/>
            <a:chExt cx="3547895" cy="3793424"/>
          </a:xfrm>
        </p:grpSpPr>
        <p:sp>
          <p:nvSpPr>
            <p:cNvPr id="28" name="Freeform 27"/>
            <p:cNvSpPr>
              <a:spLocks noEditPoints="1"/>
            </p:cNvSpPr>
            <p:nvPr/>
          </p:nvSpPr>
          <p:spPr bwMode="auto">
            <a:xfrm rot="14718710">
              <a:off x="12456513" y="6400764"/>
              <a:ext cx="970121" cy="850870"/>
            </a:xfrm>
            <a:custGeom>
              <a:avLst/>
              <a:gdLst>
                <a:gd name="T0" fmla="*/ 27 w 41"/>
                <a:gd name="T1" fmla="*/ 38 h 38"/>
                <a:gd name="T2" fmla="*/ 38 w 41"/>
                <a:gd name="T3" fmla="*/ 32 h 38"/>
                <a:gd name="T4" fmla="*/ 39 w 41"/>
                <a:gd name="T5" fmla="*/ 32 h 38"/>
                <a:gd name="T6" fmla="*/ 41 w 41"/>
                <a:gd name="T7" fmla="*/ 0 h 38"/>
                <a:gd name="T8" fmla="*/ 41 w 41"/>
                <a:gd name="T9" fmla="*/ 0 h 38"/>
                <a:gd name="T10" fmla="*/ 1 w 41"/>
                <a:gd name="T11" fmla="*/ 19 h 38"/>
                <a:gd name="T12" fmla="*/ 0 w 41"/>
                <a:gd name="T13" fmla="*/ 20 h 38"/>
                <a:gd name="T14" fmla="*/ 27 w 41"/>
                <a:gd name="T15" fmla="*/ 38 h 38"/>
                <a:gd name="T16" fmla="*/ 2 w 41"/>
                <a:gd name="T17" fmla="*/ 20 h 38"/>
                <a:gd name="T18" fmla="*/ 40 w 41"/>
                <a:gd name="T19" fmla="*/ 2 h 38"/>
                <a:gd name="T20" fmla="*/ 38 w 41"/>
                <a:gd name="T21" fmla="*/ 31 h 38"/>
                <a:gd name="T22" fmla="*/ 27 w 41"/>
                <a:gd name="T23" fmla="*/ 37 h 38"/>
                <a:gd name="T24" fmla="*/ 2 w 41"/>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8">
                  <a:moveTo>
                    <a:pt x="27" y="38"/>
                  </a:moveTo>
                  <a:cubicBezTo>
                    <a:pt x="30" y="35"/>
                    <a:pt x="34" y="33"/>
                    <a:pt x="38" y="32"/>
                  </a:cubicBezTo>
                  <a:cubicBezTo>
                    <a:pt x="39" y="32"/>
                    <a:pt x="39" y="32"/>
                    <a:pt x="39" y="32"/>
                  </a:cubicBezTo>
                  <a:cubicBezTo>
                    <a:pt x="41" y="0"/>
                    <a:pt x="41" y="0"/>
                    <a:pt x="41" y="0"/>
                  </a:cubicBezTo>
                  <a:cubicBezTo>
                    <a:pt x="41" y="0"/>
                    <a:pt x="41" y="0"/>
                    <a:pt x="41" y="0"/>
                  </a:cubicBezTo>
                  <a:cubicBezTo>
                    <a:pt x="25" y="0"/>
                    <a:pt x="11" y="7"/>
                    <a:pt x="1" y="19"/>
                  </a:cubicBezTo>
                  <a:cubicBezTo>
                    <a:pt x="0" y="20"/>
                    <a:pt x="0" y="20"/>
                    <a:pt x="0" y="20"/>
                  </a:cubicBezTo>
                  <a:cubicBezTo>
                    <a:pt x="27" y="38"/>
                    <a:pt x="27" y="38"/>
                    <a:pt x="27" y="38"/>
                  </a:cubicBezTo>
                  <a:close/>
                  <a:moveTo>
                    <a:pt x="2" y="20"/>
                  </a:moveTo>
                  <a:cubicBezTo>
                    <a:pt x="12" y="8"/>
                    <a:pt x="26" y="2"/>
                    <a:pt x="40" y="2"/>
                  </a:cubicBezTo>
                  <a:cubicBezTo>
                    <a:pt x="38" y="31"/>
                    <a:pt x="38" y="31"/>
                    <a:pt x="38" y="31"/>
                  </a:cubicBezTo>
                  <a:cubicBezTo>
                    <a:pt x="34" y="32"/>
                    <a:pt x="30" y="34"/>
                    <a:pt x="27" y="37"/>
                  </a:cubicBezTo>
                  <a:lnTo>
                    <a:pt x="2" y="20"/>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29" name="Freeform 28"/>
            <p:cNvSpPr>
              <a:spLocks noEditPoints="1"/>
            </p:cNvSpPr>
            <p:nvPr/>
          </p:nvSpPr>
          <p:spPr bwMode="auto">
            <a:xfrm rot="14718710">
              <a:off x="13406609" y="4893055"/>
              <a:ext cx="974268" cy="850870"/>
            </a:xfrm>
            <a:custGeom>
              <a:avLst/>
              <a:gdLst>
                <a:gd name="T0" fmla="*/ 14 w 41"/>
                <a:gd name="T1" fmla="*/ 1 h 38"/>
                <a:gd name="T2" fmla="*/ 3 w 41"/>
                <a:gd name="T3" fmla="*/ 6 h 38"/>
                <a:gd name="T4" fmla="*/ 2 w 41"/>
                <a:gd name="T5" fmla="*/ 6 h 38"/>
                <a:gd name="T6" fmla="*/ 0 w 41"/>
                <a:gd name="T7" fmla="*/ 38 h 38"/>
                <a:gd name="T8" fmla="*/ 0 w 41"/>
                <a:gd name="T9" fmla="*/ 38 h 38"/>
                <a:gd name="T10" fmla="*/ 40 w 41"/>
                <a:gd name="T11" fmla="*/ 19 h 38"/>
                <a:gd name="T12" fmla="*/ 41 w 41"/>
                <a:gd name="T13" fmla="*/ 19 h 38"/>
                <a:gd name="T14" fmla="*/ 14 w 41"/>
                <a:gd name="T15" fmla="*/ 0 h 38"/>
                <a:gd name="T16" fmla="*/ 14 w 41"/>
                <a:gd name="T17" fmla="*/ 1 h 38"/>
                <a:gd name="T18" fmla="*/ 39 w 41"/>
                <a:gd name="T19" fmla="*/ 19 h 38"/>
                <a:gd name="T20" fmla="*/ 1 w 41"/>
                <a:gd name="T21" fmla="*/ 37 h 38"/>
                <a:gd name="T22" fmla="*/ 3 w 41"/>
                <a:gd name="T23" fmla="*/ 7 h 38"/>
                <a:gd name="T24" fmla="*/ 14 w 41"/>
                <a:gd name="T25" fmla="*/ 2 h 38"/>
                <a:gd name="T26" fmla="*/ 39 w 41"/>
                <a:gd name="T2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14" y="1"/>
                  </a:moveTo>
                  <a:cubicBezTo>
                    <a:pt x="11" y="4"/>
                    <a:pt x="7" y="5"/>
                    <a:pt x="3" y="6"/>
                  </a:cubicBezTo>
                  <a:cubicBezTo>
                    <a:pt x="2" y="6"/>
                    <a:pt x="2" y="6"/>
                    <a:pt x="2" y="6"/>
                  </a:cubicBezTo>
                  <a:cubicBezTo>
                    <a:pt x="0" y="38"/>
                    <a:pt x="0" y="38"/>
                    <a:pt x="0" y="38"/>
                  </a:cubicBezTo>
                  <a:cubicBezTo>
                    <a:pt x="0" y="38"/>
                    <a:pt x="0" y="38"/>
                    <a:pt x="0" y="38"/>
                  </a:cubicBezTo>
                  <a:cubicBezTo>
                    <a:pt x="16" y="38"/>
                    <a:pt x="30" y="31"/>
                    <a:pt x="40" y="19"/>
                  </a:cubicBezTo>
                  <a:cubicBezTo>
                    <a:pt x="41" y="19"/>
                    <a:pt x="41" y="19"/>
                    <a:pt x="41" y="19"/>
                  </a:cubicBezTo>
                  <a:cubicBezTo>
                    <a:pt x="14" y="0"/>
                    <a:pt x="14" y="0"/>
                    <a:pt x="14" y="0"/>
                  </a:cubicBezTo>
                  <a:lnTo>
                    <a:pt x="14" y="1"/>
                  </a:lnTo>
                  <a:close/>
                  <a:moveTo>
                    <a:pt x="39" y="19"/>
                  </a:moveTo>
                  <a:cubicBezTo>
                    <a:pt x="29" y="30"/>
                    <a:pt x="15" y="37"/>
                    <a:pt x="1" y="37"/>
                  </a:cubicBezTo>
                  <a:cubicBezTo>
                    <a:pt x="3" y="7"/>
                    <a:pt x="3" y="7"/>
                    <a:pt x="3" y="7"/>
                  </a:cubicBezTo>
                  <a:cubicBezTo>
                    <a:pt x="7" y="6"/>
                    <a:pt x="11" y="5"/>
                    <a:pt x="14" y="2"/>
                  </a:cubicBezTo>
                  <a:lnTo>
                    <a:pt x="39" y="19"/>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0" name="Freeform 29"/>
            <p:cNvSpPr>
              <a:spLocks noEditPoints="1"/>
            </p:cNvSpPr>
            <p:nvPr/>
          </p:nvSpPr>
          <p:spPr bwMode="auto">
            <a:xfrm rot="14718710">
              <a:off x="11520514" y="4297457"/>
              <a:ext cx="3793424" cy="3547895"/>
            </a:xfrm>
            <a:custGeom>
              <a:avLst/>
              <a:gdLst>
                <a:gd name="T0" fmla="*/ 154 w 160"/>
                <a:gd name="T1" fmla="*/ 67 h 159"/>
                <a:gd name="T2" fmla="*/ 151 w 160"/>
                <a:gd name="T3" fmla="*/ 43 h 159"/>
                <a:gd name="T4" fmla="*/ 137 w 160"/>
                <a:gd name="T5" fmla="*/ 30 h 159"/>
                <a:gd name="T6" fmla="*/ 119 w 160"/>
                <a:gd name="T7" fmla="*/ 30 h 159"/>
                <a:gd name="T8" fmla="*/ 110 w 160"/>
                <a:gd name="T9" fmla="*/ 6 h 159"/>
                <a:gd name="T10" fmla="*/ 89 w 160"/>
                <a:gd name="T11" fmla="*/ 1 h 159"/>
                <a:gd name="T12" fmla="*/ 71 w 160"/>
                <a:gd name="T13" fmla="*/ 17 h 159"/>
                <a:gd name="T14" fmla="*/ 54 w 160"/>
                <a:gd name="T15" fmla="*/ 9 h 159"/>
                <a:gd name="T16" fmla="*/ 36 w 160"/>
                <a:gd name="T17" fmla="*/ 13 h 159"/>
                <a:gd name="T18" fmla="*/ 22 w 160"/>
                <a:gd name="T19" fmla="*/ 32 h 159"/>
                <a:gd name="T20" fmla="*/ 25 w 160"/>
                <a:gd name="T21" fmla="*/ 50 h 159"/>
                <a:gd name="T22" fmla="*/ 2 w 160"/>
                <a:gd name="T23" fmla="*/ 62 h 159"/>
                <a:gd name="T24" fmla="*/ 4 w 160"/>
                <a:gd name="T25" fmla="*/ 81 h 159"/>
                <a:gd name="T26" fmla="*/ 20 w 160"/>
                <a:gd name="T27" fmla="*/ 100 h 159"/>
                <a:gd name="T28" fmla="*/ 14 w 160"/>
                <a:gd name="T29" fmla="*/ 117 h 159"/>
                <a:gd name="T30" fmla="*/ 26 w 160"/>
                <a:gd name="T31" fmla="*/ 138 h 159"/>
                <a:gd name="T32" fmla="*/ 43 w 160"/>
                <a:gd name="T33" fmla="*/ 146 h 159"/>
                <a:gd name="T34" fmla="*/ 60 w 160"/>
                <a:gd name="T35" fmla="*/ 139 h 159"/>
                <a:gd name="T36" fmla="*/ 76 w 160"/>
                <a:gd name="T37" fmla="*/ 159 h 159"/>
                <a:gd name="T38" fmla="*/ 98 w 160"/>
                <a:gd name="T39" fmla="*/ 157 h 159"/>
                <a:gd name="T40" fmla="*/ 110 w 160"/>
                <a:gd name="T41" fmla="*/ 135 h 159"/>
                <a:gd name="T42" fmla="*/ 128 w 160"/>
                <a:gd name="T43" fmla="*/ 138 h 159"/>
                <a:gd name="T44" fmla="*/ 144 w 160"/>
                <a:gd name="T45" fmla="*/ 127 h 159"/>
                <a:gd name="T46" fmla="*/ 151 w 160"/>
                <a:gd name="T47" fmla="*/ 105 h 159"/>
                <a:gd name="T48" fmla="*/ 142 w 160"/>
                <a:gd name="T49" fmla="*/ 89 h 159"/>
                <a:gd name="T50" fmla="*/ 142 w 160"/>
                <a:gd name="T51" fmla="*/ 85 h 159"/>
                <a:gd name="T52" fmla="*/ 155 w 160"/>
                <a:gd name="T53" fmla="*/ 102 h 159"/>
                <a:gd name="T54" fmla="*/ 134 w 160"/>
                <a:gd name="T55" fmla="*/ 109 h 159"/>
                <a:gd name="T56" fmla="*/ 141 w 160"/>
                <a:gd name="T57" fmla="*/ 127 h 159"/>
                <a:gd name="T58" fmla="*/ 120 w 160"/>
                <a:gd name="T59" fmla="*/ 126 h 159"/>
                <a:gd name="T60" fmla="*/ 119 w 160"/>
                <a:gd name="T61" fmla="*/ 144 h 159"/>
                <a:gd name="T62" fmla="*/ 104 w 160"/>
                <a:gd name="T63" fmla="*/ 151 h 159"/>
                <a:gd name="T64" fmla="*/ 90 w 160"/>
                <a:gd name="T65" fmla="*/ 141 h 159"/>
                <a:gd name="T66" fmla="*/ 76 w 160"/>
                <a:gd name="T67" fmla="*/ 158 h 159"/>
                <a:gd name="T68" fmla="*/ 60 w 160"/>
                <a:gd name="T69" fmla="*/ 138 h 159"/>
                <a:gd name="T70" fmla="*/ 45 w 160"/>
                <a:gd name="T71" fmla="*/ 150 h 159"/>
                <a:gd name="T72" fmla="*/ 41 w 160"/>
                <a:gd name="T73" fmla="*/ 128 h 159"/>
                <a:gd name="T74" fmla="*/ 24 w 160"/>
                <a:gd name="T75" fmla="*/ 130 h 159"/>
                <a:gd name="T76" fmla="*/ 14 w 160"/>
                <a:gd name="T77" fmla="*/ 116 h 159"/>
                <a:gd name="T78" fmla="*/ 22 w 160"/>
                <a:gd name="T79" fmla="*/ 100 h 159"/>
                <a:gd name="T80" fmla="*/ 2 w 160"/>
                <a:gd name="T81" fmla="*/ 89 h 159"/>
                <a:gd name="T82" fmla="*/ 18 w 160"/>
                <a:gd name="T83" fmla="*/ 75 h 159"/>
                <a:gd name="T84" fmla="*/ 5 w 160"/>
                <a:gd name="T85" fmla="*/ 57 h 159"/>
                <a:gd name="T86" fmla="*/ 26 w 160"/>
                <a:gd name="T87" fmla="*/ 50 h 159"/>
                <a:gd name="T88" fmla="*/ 19 w 160"/>
                <a:gd name="T89" fmla="*/ 32 h 159"/>
                <a:gd name="T90" fmla="*/ 40 w 160"/>
                <a:gd name="T91" fmla="*/ 33 h 159"/>
                <a:gd name="T92" fmla="*/ 41 w 160"/>
                <a:gd name="T93" fmla="*/ 16 h 159"/>
                <a:gd name="T94" fmla="*/ 56 w 160"/>
                <a:gd name="T95" fmla="*/ 8 h 159"/>
                <a:gd name="T96" fmla="*/ 70 w 160"/>
                <a:gd name="T97" fmla="*/ 19 h 159"/>
                <a:gd name="T98" fmla="*/ 84 w 160"/>
                <a:gd name="T99" fmla="*/ 1 h 159"/>
                <a:gd name="T100" fmla="*/ 100 w 160"/>
                <a:gd name="T101" fmla="*/ 21 h 159"/>
                <a:gd name="T102" fmla="*/ 115 w 160"/>
                <a:gd name="T103" fmla="*/ 10 h 159"/>
                <a:gd name="T104" fmla="*/ 119 w 160"/>
                <a:gd name="T105" fmla="*/ 32 h 159"/>
                <a:gd name="T106" fmla="*/ 136 w 160"/>
                <a:gd name="T107" fmla="*/ 30 h 159"/>
                <a:gd name="T108" fmla="*/ 146 w 160"/>
                <a:gd name="T109" fmla="*/ 43 h 159"/>
                <a:gd name="T110" fmla="*/ 138 w 160"/>
                <a:gd name="T111" fmla="*/ 59 h 159"/>
                <a:gd name="T112" fmla="*/ 158 w 160"/>
                <a:gd name="T113"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9">
                  <a:moveTo>
                    <a:pt x="143" y="81"/>
                  </a:moveTo>
                  <a:cubicBezTo>
                    <a:pt x="156" y="79"/>
                    <a:pt x="156" y="79"/>
                    <a:pt x="156" y="79"/>
                  </a:cubicBezTo>
                  <a:cubicBezTo>
                    <a:pt x="158" y="78"/>
                    <a:pt x="160" y="77"/>
                    <a:pt x="159" y="75"/>
                  </a:cubicBezTo>
                  <a:cubicBezTo>
                    <a:pt x="159" y="70"/>
                    <a:pt x="159" y="70"/>
                    <a:pt x="159" y="70"/>
                  </a:cubicBezTo>
                  <a:cubicBezTo>
                    <a:pt x="159" y="68"/>
                    <a:pt x="157" y="67"/>
                    <a:pt x="154" y="67"/>
                  </a:cubicBezTo>
                  <a:cubicBezTo>
                    <a:pt x="142" y="67"/>
                    <a:pt x="142" y="67"/>
                    <a:pt x="142" y="67"/>
                  </a:cubicBezTo>
                  <a:cubicBezTo>
                    <a:pt x="141" y="64"/>
                    <a:pt x="140" y="62"/>
                    <a:pt x="140" y="60"/>
                  </a:cubicBezTo>
                  <a:cubicBezTo>
                    <a:pt x="151" y="53"/>
                    <a:pt x="151" y="53"/>
                    <a:pt x="151" y="53"/>
                  </a:cubicBezTo>
                  <a:cubicBezTo>
                    <a:pt x="153" y="52"/>
                    <a:pt x="154" y="50"/>
                    <a:pt x="153" y="48"/>
                  </a:cubicBezTo>
                  <a:cubicBezTo>
                    <a:pt x="151" y="43"/>
                    <a:pt x="151" y="43"/>
                    <a:pt x="151" y="43"/>
                  </a:cubicBezTo>
                  <a:cubicBezTo>
                    <a:pt x="150" y="42"/>
                    <a:pt x="149" y="42"/>
                    <a:pt x="148" y="42"/>
                  </a:cubicBezTo>
                  <a:cubicBezTo>
                    <a:pt x="147" y="42"/>
                    <a:pt x="146" y="42"/>
                    <a:pt x="146" y="42"/>
                  </a:cubicBezTo>
                  <a:cubicBezTo>
                    <a:pt x="133" y="46"/>
                    <a:pt x="133" y="46"/>
                    <a:pt x="133" y="46"/>
                  </a:cubicBezTo>
                  <a:cubicBezTo>
                    <a:pt x="132" y="44"/>
                    <a:pt x="131" y="42"/>
                    <a:pt x="129" y="40"/>
                  </a:cubicBezTo>
                  <a:cubicBezTo>
                    <a:pt x="137" y="30"/>
                    <a:pt x="137" y="30"/>
                    <a:pt x="137" y="30"/>
                  </a:cubicBezTo>
                  <a:cubicBezTo>
                    <a:pt x="139" y="29"/>
                    <a:pt x="139" y="26"/>
                    <a:pt x="138" y="25"/>
                  </a:cubicBezTo>
                  <a:cubicBezTo>
                    <a:pt x="137" y="24"/>
                    <a:pt x="135" y="22"/>
                    <a:pt x="134" y="21"/>
                  </a:cubicBezTo>
                  <a:cubicBezTo>
                    <a:pt x="134" y="21"/>
                    <a:pt x="133" y="21"/>
                    <a:pt x="132" y="21"/>
                  </a:cubicBezTo>
                  <a:cubicBezTo>
                    <a:pt x="131" y="21"/>
                    <a:pt x="130" y="21"/>
                    <a:pt x="129" y="22"/>
                  </a:cubicBezTo>
                  <a:cubicBezTo>
                    <a:pt x="119" y="30"/>
                    <a:pt x="119" y="30"/>
                    <a:pt x="119" y="30"/>
                  </a:cubicBezTo>
                  <a:cubicBezTo>
                    <a:pt x="117" y="29"/>
                    <a:pt x="115" y="27"/>
                    <a:pt x="113" y="26"/>
                  </a:cubicBezTo>
                  <a:cubicBezTo>
                    <a:pt x="117" y="14"/>
                    <a:pt x="117" y="14"/>
                    <a:pt x="117" y="14"/>
                  </a:cubicBezTo>
                  <a:cubicBezTo>
                    <a:pt x="118" y="12"/>
                    <a:pt x="117" y="9"/>
                    <a:pt x="116" y="8"/>
                  </a:cubicBezTo>
                  <a:cubicBezTo>
                    <a:pt x="114" y="8"/>
                    <a:pt x="112" y="7"/>
                    <a:pt x="111" y="6"/>
                  </a:cubicBezTo>
                  <a:cubicBezTo>
                    <a:pt x="111" y="6"/>
                    <a:pt x="110" y="6"/>
                    <a:pt x="110" y="6"/>
                  </a:cubicBezTo>
                  <a:cubicBezTo>
                    <a:pt x="109" y="6"/>
                    <a:pt x="107" y="7"/>
                    <a:pt x="106" y="9"/>
                  </a:cubicBezTo>
                  <a:cubicBezTo>
                    <a:pt x="100" y="20"/>
                    <a:pt x="100" y="20"/>
                    <a:pt x="100" y="20"/>
                  </a:cubicBezTo>
                  <a:cubicBezTo>
                    <a:pt x="97" y="19"/>
                    <a:pt x="95" y="18"/>
                    <a:pt x="92" y="18"/>
                  </a:cubicBezTo>
                  <a:cubicBezTo>
                    <a:pt x="92" y="5"/>
                    <a:pt x="92" y="5"/>
                    <a:pt x="92" y="5"/>
                  </a:cubicBezTo>
                  <a:cubicBezTo>
                    <a:pt x="92" y="3"/>
                    <a:pt x="91" y="1"/>
                    <a:pt x="89" y="1"/>
                  </a:cubicBezTo>
                  <a:cubicBezTo>
                    <a:pt x="84" y="0"/>
                    <a:pt x="84" y="0"/>
                    <a:pt x="84" y="0"/>
                  </a:cubicBezTo>
                  <a:cubicBezTo>
                    <a:pt x="84" y="0"/>
                    <a:pt x="84" y="0"/>
                    <a:pt x="84" y="0"/>
                  </a:cubicBezTo>
                  <a:cubicBezTo>
                    <a:pt x="82" y="0"/>
                    <a:pt x="81" y="2"/>
                    <a:pt x="80" y="4"/>
                  </a:cubicBezTo>
                  <a:cubicBezTo>
                    <a:pt x="78" y="17"/>
                    <a:pt x="78" y="17"/>
                    <a:pt x="78" y="17"/>
                  </a:cubicBezTo>
                  <a:cubicBezTo>
                    <a:pt x="75" y="17"/>
                    <a:pt x="73" y="17"/>
                    <a:pt x="71" y="17"/>
                  </a:cubicBezTo>
                  <a:cubicBezTo>
                    <a:pt x="66" y="5"/>
                    <a:pt x="66" y="5"/>
                    <a:pt x="66" y="5"/>
                  </a:cubicBezTo>
                  <a:cubicBezTo>
                    <a:pt x="65" y="4"/>
                    <a:pt x="64" y="2"/>
                    <a:pt x="62" y="2"/>
                  </a:cubicBezTo>
                  <a:cubicBezTo>
                    <a:pt x="62" y="2"/>
                    <a:pt x="62" y="2"/>
                    <a:pt x="61" y="2"/>
                  </a:cubicBezTo>
                  <a:cubicBezTo>
                    <a:pt x="57" y="4"/>
                    <a:pt x="57" y="4"/>
                    <a:pt x="57" y="4"/>
                  </a:cubicBezTo>
                  <a:cubicBezTo>
                    <a:pt x="55" y="4"/>
                    <a:pt x="54" y="6"/>
                    <a:pt x="54" y="9"/>
                  </a:cubicBezTo>
                  <a:cubicBezTo>
                    <a:pt x="57" y="21"/>
                    <a:pt x="57" y="21"/>
                    <a:pt x="57" y="21"/>
                  </a:cubicBezTo>
                  <a:cubicBezTo>
                    <a:pt x="54" y="22"/>
                    <a:pt x="52" y="23"/>
                    <a:pt x="50" y="24"/>
                  </a:cubicBezTo>
                  <a:cubicBezTo>
                    <a:pt x="41" y="15"/>
                    <a:pt x="41" y="15"/>
                    <a:pt x="41" y="15"/>
                  </a:cubicBezTo>
                  <a:cubicBezTo>
                    <a:pt x="40" y="14"/>
                    <a:pt x="39" y="13"/>
                    <a:pt x="38" y="13"/>
                  </a:cubicBezTo>
                  <a:cubicBezTo>
                    <a:pt x="37" y="13"/>
                    <a:pt x="37" y="13"/>
                    <a:pt x="36" y="13"/>
                  </a:cubicBezTo>
                  <a:cubicBezTo>
                    <a:pt x="32" y="16"/>
                    <a:pt x="32" y="16"/>
                    <a:pt x="32" y="16"/>
                  </a:cubicBezTo>
                  <a:cubicBezTo>
                    <a:pt x="31" y="17"/>
                    <a:pt x="31" y="20"/>
                    <a:pt x="32" y="22"/>
                  </a:cubicBezTo>
                  <a:cubicBezTo>
                    <a:pt x="38" y="33"/>
                    <a:pt x="38" y="33"/>
                    <a:pt x="38" y="33"/>
                  </a:cubicBezTo>
                  <a:cubicBezTo>
                    <a:pt x="36" y="34"/>
                    <a:pt x="34" y="36"/>
                    <a:pt x="33" y="38"/>
                  </a:cubicBezTo>
                  <a:cubicBezTo>
                    <a:pt x="22" y="32"/>
                    <a:pt x="22" y="32"/>
                    <a:pt x="22" y="32"/>
                  </a:cubicBezTo>
                  <a:cubicBezTo>
                    <a:pt x="21" y="31"/>
                    <a:pt x="20" y="31"/>
                    <a:pt x="19" y="31"/>
                  </a:cubicBezTo>
                  <a:cubicBezTo>
                    <a:pt x="18" y="31"/>
                    <a:pt x="17" y="32"/>
                    <a:pt x="16" y="32"/>
                  </a:cubicBezTo>
                  <a:cubicBezTo>
                    <a:pt x="13" y="36"/>
                    <a:pt x="13" y="36"/>
                    <a:pt x="13" y="36"/>
                  </a:cubicBezTo>
                  <a:cubicBezTo>
                    <a:pt x="12" y="38"/>
                    <a:pt x="13" y="40"/>
                    <a:pt x="15" y="42"/>
                  </a:cubicBezTo>
                  <a:cubicBezTo>
                    <a:pt x="25" y="50"/>
                    <a:pt x="25" y="50"/>
                    <a:pt x="25" y="50"/>
                  </a:cubicBezTo>
                  <a:cubicBezTo>
                    <a:pt x="23" y="52"/>
                    <a:pt x="22" y="55"/>
                    <a:pt x="21" y="57"/>
                  </a:cubicBezTo>
                  <a:cubicBezTo>
                    <a:pt x="9" y="55"/>
                    <a:pt x="9" y="55"/>
                    <a:pt x="9" y="55"/>
                  </a:cubicBezTo>
                  <a:cubicBezTo>
                    <a:pt x="8" y="55"/>
                    <a:pt x="8" y="55"/>
                    <a:pt x="8" y="55"/>
                  </a:cubicBezTo>
                  <a:cubicBezTo>
                    <a:pt x="6" y="55"/>
                    <a:pt x="4" y="56"/>
                    <a:pt x="4" y="57"/>
                  </a:cubicBezTo>
                  <a:cubicBezTo>
                    <a:pt x="2" y="62"/>
                    <a:pt x="2" y="62"/>
                    <a:pt x="2" y="62"/>
                  </a:cubicBezTo>
                  <a:cubicBezTo>
                    <a:pt x="2" y="63"/>
                    <a:pt x="3" y="65"/>
                    <a:pt x="6" y="66"/>
                  </a:cubicBezTo>
                  <a:cubicBezTo>
                    <a:pt x="18" y="71"/>
                    <a:pt x="18" y="71"/>
                    <a:pt x="18" y="71"/>
                  </a:cubicBezTo>
                  <a:cubicBezTo>
                    <a:pt x="18" y="72"/>
                    <a:pt x="17" y="73"/>
                    <a:pt x="17" y="74"/>
                  </a:cubicBezTo>
                  <a:cubicBezTo>
                    <a:pt x="17" y="76"/>
                    <a:pt x="17" y="77"/>
                    <a:pt x="17" y="78"/>
                  </a:cubicBezTo>
                  <a:cubicBezTo>
                    <a:pt x="4" y="81"/>
                    <a:pt x="4" y="81"/>
                    <a:pt x="4" y="81"/>
                  </a:cubicBezTo>
                  <a:cubicBezTo>
                    <a:pt x="2" y="81"/>
                    <a:pt x="0" y="83"/>
                    <a:pt x="1" y="84"/>
                  </a:cubicBezTo>
                  <a:cubicBezTo>
                    <a:pt x="1" y="86"/>
                    <a:pt x="1" y="88"/>
                    <a:pt x="1" y="89"/>
                  </a:cubicBezTo>
                  <a:cubicBezTo>
                    <a:pt x="1" y="91"/>
                    <a:pt x="3" y="92"/>
                    <a:pt x="6" y="92"/>
                  </a:cubicBezTo>
                  <a:cubicBezTo>
                    <a:pt x="18" y="93"/>
                    <a:pt x="18" y="93"/>
                    <a:pt x="18" y="93"/>
                  </a:cubicBezTo>
                  <a:cubicBezTo>
                    <a:pt x="19" y="95"/>
                    <a:pt x="20" y="98"/>
                    <a:pt x="20" y="100"/>
                  </a:cubicBezTo>
                  <a:cubicBezTo>
                    <a:pt x="9" y="106"/>
                    <a:pt x="9" y="106"/>
                    <a:pt x="9" y="106"/>
                  </a:cubicBezTo>
                  <a:cubicBezTo>
                    <a:pt x="7" y="108"/>
                    <a:pt x="6" y="110"/>
                    <a:pt x="7" y="111"/>
                  </a:cubicBezTo>
                  <a:cubicBezTo>
                    <a:pt x="9" y="116"/>
                    <a:pt x="9" y="116"/>
                    <a:pt x="9" y="116"/>
                  </a:cubicBezTo>
                  <a:cubicBezTo>
                    <a:pt x="10" y="117"/>
                    <a:pt x="11" y="118"/>
                    <a:pt x="12" y="118"/>
                  </a:cubicBezTo>
                  <a:cubicBezTo>
                    <a:pt x="13" y="118"/>
                    <a:pt x="14" y="117"/>
                    <a:pt x="14" y="117"/>
                  </a:cubicBezTo>
                  <a:cubicBezTo>
                    <a:pt x="27" y="113"/>
                    <a:pt x="27" y="113"/>
                    <a:pt x="27" y="113"/>
                  </a:cubicBezTo>
                  <a:cubicBezTo>
                    <a:pt x="28" y="115"/>
                    <a:pt x="29" y="117"/>
                    <a:pt x="31" y="119"/>
                  </a:cubicBezTo>
                  <a:cubicBezTo>
                    <a:pt x="23" y="129"/>
                    <a:pt x="23" y="129"/>
                    <a:pt x="23" y="129"/>
                  </a:cubicBezTo>
                  <a:cubicBezTo>
                    <a:pt x="21" y="131"/>
                    <a:pt x="21" y="133"/>
                    <a:pt x="22" y="134"/>
                  </a:cubicBezTo>
                  <a:cubicBezTo>
                    <a:pt x="26" y="138"/>
                    <a:pt x="26" y="138"/>
                    <a:pt x="26" y="138"/>
                  </a:cubicBezTo>
                  <a:cubicBezTo>
                    <a:pt x="26" y="138"/>
                    <a:pt x="27" y="139"/>
                    <a:pt x="28" y="139"/>
                  </a:cubicBezTo>
                  <a:cubicBezTo>
                    <a:pt x="29" y="139"/>
                    <a:pt x="30" y="138"/>
                    <a:pt x="31" y="137"/>
                  </a:cubicBezTo>
                  <a:cubicBezTo>
                    <a:pt x="41" y="129"/>
                    <a:pt x="41" y="129"/>
                    <a:pt x="41" y="129"/>
                  </a:cubicBezTo>
                  <a:cubicBezTo>
                    <a:pt x="43" y="131"/>
                    <a:pt x="45" y="132"/>
                    <a:pt x="47" y="133"/>
                  </a:cubicBezTo>
                  <a:cubicBezTo>
                    <a:pt x="43" y="146"/>
                    <a:pt x="43" y="146"/>
                    <a:pt x="43" y="146"/>
                  </a:cubicBezTo>
                  <a:cubicBezTo>
                    <a:pt x="42" y="148"/>
                    <a:pt x="43" y="150"/>
                    <a:pt x="44" y="151"/>
                  </a:cubicBezTo>
                  <a:cubicBezTo>
                    <a:pt x="49" y="153"/>
                    <a:pt x="49" y="153"/>
                    <a:pt x="49" y="153"/>
                  </a:cubicBezTo>
                  <a:cubicBezTo>
                    <a:pt x="49" y="153"/>
                    <a:pt x="50" y="153"/>
                    <a:pt x="50" y="153"/>
                  </a:cubicBezTo>
                  <a:cubicBezTo>
                    <a:pt x="51" y="153"/>
                    <a:pt x="53" y="152"/>
                    <a:pt x="54" y="151"/>
                  </a:cubicBezTo>
                  <a:cubicBezTo>
                    <a:pt x="60" y="139"/>
                    <a:pt x="60" y="139"/>
                    <a:pt x="60" y="139"/>
                  </a:cubicBezTo>
                  <a:cubicBezTo>
                    <a:pt x="63" y="140"/>
                    <a:pt x="65" y="141"/>
                    <a:pt x="68" y="141"/>
                  </a:cubicBezTo>
                  <a:cubicBezTo>
                    <a:pt x="68" y="154"/>
                    <a:pt x="68" y="154"/>
                    <a:pt x="68" y="154"/>
                  </a:cubicBezTo>
                  <a:cubicBezTo>
                    <a:pt x="68" y="157"/>
                    <a:pt x="69" y="159"/>
                    <a:pt x="71" y="159"/>
                  </a:cubicBezTo>
                  <a:cubicBezTo>
                    <a:pt x="76" y="159"/>
                    <a:pt x="76" y="159"/>
                    <a:pt x="76" y="159"/>
                  </a:cubicBezTo>
                  <a:cubicBezTo>
                    <a:pt x="76" y="159"/>
                    <a:pt x="76" y="159"/>
                    <a:pt x="76" y="159"/>
                  </a:cubicBezTo>
                  <a:cubicBezTo>
                    <a:pt x="78" y="159"/>
                    <a:pt x="79" y="157"/>
                    <a:pt x="80" y="155"/>
                  </a:cubicBezTo>
                  <a:cubicBezTo>
                    <a:pt x="82" y="143"/>
                    <a:pt x="82" y="143"/>
                    <a:pt x="82" y="143"/>
                  </a:cubicBezTo>
                  <a:cubicBezTo>
                    <a:pt x="85" y="142"/>
                    <a:pt x="87" y="142"/>
                    <a:pt x="89" y="142"/>
                  </a:cubicBezTo>
                  <a:cubicBezTo>
                    <a:pt x="94" y="154"/>
                    <a:pt x="94" y="154"/>
                    <a:pt x="94" y="154"/>
                  </a:cubicBezTo>
                  <a:cubicBezTo>
                    <a:pt x="95" y="156"/>
                    <a:pt x="96" y="157"/>
                    <a:pt x="98" y="157"/>
                  </a:cubicBezTo>
                  <a:cubicBezTo>
                    <a:pt x="98" y="157"/>
                    <a:pt x="98" y="157"/>
                    <a:pt x="99" y="157"/>
                  </a:cubicBezTo>
                  <a:cubicBezTo>
                    <a:pt x="103" y="156"/>
                    <a:pt x="103" y="156"/>
                    <a:pt x="103" y="156"/>
                  </a:cubicBezTo>
                  <a:cubicBezTo>
                    <a:pt x="105" y="155"/>
                    <a:pt x="106" y="153"/>
                    <a:pt x="106" y="151"/>
                  </a:cubicBezTo>
                  <a:cubicBezTo>
                    <a:pt x="103" y="138"/>
                    <a:pt x="103" y="138"/>
                    <a:pt x="103" y="138"/>
                  </a:cubicBezTo>
                  <a:cubicBezTo>
                    <a:pt x="106" y="137"/>
                    <a:pt x="108" y="136"/>
                    <a:pt x="110" y="135"/>
                  </a:cubicBezTo>
                  <a:cubicBezTo>
                    <a:pt x="119" y="145"/>
                    <a:pt x="119" y="145"/>
                    <a:pt x="119" y="145"/>
                  </a:cubicBezTo>
                  <a:cubicBezTo>
                    <a:pt x="120" y="146"/>
                    <a:pt x="121" y="147"/>
                    <a:pt x="122" y="147"/>
                  </a:cubicBezTo>
                  <a:cubicBezTo>
                    <a:pt x="123" y="147"/>
                    <a:pt x="123" y="146"/>
                    <a:pt x="124" y="146"/>
                  </a:cubicBezTo>
                  <a:cubicBezTo>
                    <a:pt x="128" y="143"/>
                    <a:pt x="128" y="143"/>
                    <a:pt x="128" y="143"/>
                  </a:cubicBezTo>
                  <a:cubicBezTo>
                    <a:pt x="129" y="142"/>
                    <a:pt x="129" y="140"/>
                    <a:pt x="128" y="138"/>
                  </a:cubicBezTo>
                  <a:cubicBezTo>
                    <a:pt x="122" y="127"/>
                    <a:pt x="122" y="127"/>
                    <a:pt x="122" y="127"/>
                  </a:cubicBezTo>
                  <a:cubicBezTo>
                    <a:pt x="124" y="125"/>
                    <a:pt x="126" y="123"/>
                    <a:pt x="127" y="121"/>
                  </a:cubicBezTo>
                  <a:cubicBezTo>
                    <a:pt x="138" y="127"/>
                    <a:pt x="138" y="127"/>
                    <a:pt x="138" y="127"/>
                  </a:cubicBezTo>
                  <a:cubicBezTo>
                    <a:pt x="139" y="128"/>
                    <a:pt x="140" y="128"/>
                    <a:pt x="141" y="128"/>
                  </a:cubicBezTo>
                  <a:cubicBezTo>
                    <a:pt x="142" y="128"/>
                    <a:pt x="143" y="128"/>
                    <a:pt x="144" y="127"/>
                  </a:cubicBezTo>
                  <a:cubicBezTo>
                    <a:pt x="147" y="123"/>
                    <a:pt x="147" y="123"/>
                    <a:pt x="147" y="123"/>
                  </a:cubicBezTo>
                  <a:cubicBezTo>
                    <a:pt x="148" y="122"/>
                    <a:pt x="147" y="119"/>
                    <a:pt x="145" y="118"/>
                  </a:cubicBezTo>
                  <a:cubicBezTo>
                    <a:pt x="135" y="109"/>
                    <a:pt x="135" y="109"/>
                    <a:pt x="135" y="109"/>
                  </a:cubicBezTo>
                  <a:cubicBezTo>
                    <a:pt x="137" y="107"/>
                    <a:pt x="138" y="105"/>
                    <a:pt x="139" y="103"/>
                  </a:cubicBezTo>
                  <a:cubicBezTo>
                    <a:pt x="151" y="105"/>
                    <a:pt x="151" y="105"/>
                    <a:pt x="151" y="105"/>
                  </a:cubicBezTo>
                  <a:cubicBezTo>
                    <a:pt x="152" y="105"/>
                    <a:pt x="152" y="105"/>
                    <a:pt x="152" y="105"/>
                  </a:cubicBezTo>
                  <a:cubicBezTo>
                    <a:pt x="154" y="105"/>
                    <a:pt x="156" y="104"/>
                    <a:pt x="156" y="102"/>
                  </a:cubicBezTo>
                  <a:cubicBezTo>
                    <a:pt x="158" y="98"/>
                    <a:pt x="158" y="98"/>
                    <a:pt x="158" y="98"/>
                  </a:cubicBezTo>
                  <a:cubicBezTo>
                    <a:pt x="158" y="96"/>
                    <a:pt x="157" y="94"/>
                    <a:pt x="154" y="93"/>
                  </a:cubicBezTo>
                  <a:cubicBezTo>
                    <a:pt x="142" y="89"/>
                    <a:pt x="142" y="89"/>
                    <a:pt x="142" y="89"/>
                  </a:cubicBezTo>
                  <a:cubicBezTo>
                    <a:pt x="142" y="87"/>
                    <a:pt x="143" y="86"/>
                    <a:pt x="143" y="85"/>
                  </a:cubicBezTo>
                  <a:cubicBezTo>
                    <a:pt x="143" y="84"/>
                    <a:pt x="143" y="83"/>
                    <a:pt x="143" y="81"/>
                  </a:cubicBezTo>
                  <a:close/>
                  <a:moveTo>
                    <a:pt x="142" y="80"/>
                  </a:moveTo>
                  <a:cubicBezTo>
                    <a:pt x="142" y="81"/>
                    <a:pt x="142" y="81"/>
                    <a:pt x="142" y="81"/>
                  </a:cubicBezTo>
                  <a:cubicBezTo>
                    <a:pt x="142" y="82"/>
                    <a:pt x="142" y="84"/>
                    <a:pt x="142" y="85"/>
                  </a:cubicBezTo>
                  <a:cubicBezTo>
                    <a:pt x="141" y="86"/>
                    <a:pt x="141" y="87"/>
                    <a:pt x="141" y="89"/>
                  </a:cubicBezTo>
                  <a:cubicBezTo>
                    <a:pt x="141" y="89"/>
                    <a:pt x="141" y="89"/>
                    <a:pt x="141" y="89"/>
                  </a:cubicBezTo>
                  <a:cubicBezTo>
                    <a:pt x="154" y="94"/>
                    <a:pt x="154" y="94"/>
                    <a:pt x="154" y="94"/>
                  </a:cubicBezTo>
                  <a:cubicBezTo>
                    <a:pt x="156" y="95"/>
                    <a:pt x="157" y="96"/>
                    <a:pt x="156" y="97"/>
                  </a:cubicBezTo>
                  <a:cubicBezTo>
                    <a:pt x="155" y="102"/>
                    <a:pt x="155" y="102"/>
                    <a:pt x="155" y="102"/>
                  </a:cubicBezTo>
                  <a:cubicBezTo>
                    <a:pt x="155" y="103"/>
                    <a:pt x="154" y="104"/>
                    <a:pt x="152" y="104"/>
                  </a:cubicBezTo>
                  <a:cubicBezTo>
                    <a:pt x="152" y="104"/>
                    <a:pt x="152" y="103"/>
                    <a:pt x="151" y="103"/>
                  </a:cubicBezTo>
                  <a:cubicBezTo>
                    <a:pt x="138" y="101"/>
                    <a:pt x="138" y="101"/>
                    <a:pt x="138" y="101"/>
                  </a:cubicBezTo>
                  <a:cubicBezTo>
                    <a:pt x="138" y="102"/>
                    <a:pt x="138" y="102"/>
                    <a:pt x="138" y="102"/>
                  </a:cubicBezTo>
                  <a:cubicBezTo>
                    <a:pt x="137" y="104"/>
                    <a:pt x="136" y="107"/>
                    <a:pt x="134" y="109"/>
                  </a:cubicBezTo>
                  <a:cubicBezTo>
                    <a:pt x="134" y="110"/>
                    <a:pt x="134" y="110"/>
                    <a:pt x="134" y="110"/>
                  </a:cubicBezTo>
                  <a:cubicBezTo>
                    <a:pt x="144" y="119"/>
                    <a:pt x="144" y="119"/>
                    <a:pt x="144" y="119"/>
                  </a:cubicBezTo>
                  <a:cubicBezTo>
                    <a:pt x="146" y="120"/>
                    <a:pt x="146" y="121"/>
                    <a:pt x="146" y="122"/>
                  </a:cubicBezTo>
                  <a:cubicBezTo>
                    <a:pt x="143" y="126"/>
                    <a:pt x="143" y="126"/>
                    <a:pt x="143" y="126"/>
                  </a:cubicBezTo>
                  <a:cubicBezTo>
                    <a:pt x="143" y="127"/>
                    <a:pt x="142" y="127"/>
                    <a:pt x="141" y="127"/>
                  </a:cubicBezTo>
                  <a:cubicBezTo>
                    <a:pt x="141" y="127"/>
                    <a:pt x="140" y="127"/>
                    <a:pt x="139" y="126"/>
                  </a:cubicBezTo>
                  <a:cubicBezTo>
                    <a:pt x="127" y="120"/>
                    <a:pt x="127" y="120"/>
                    <a:pt x="127" y="120"/>
                  </a:cubicBezTo>
                  <a:cubicBezTo>
                    <a:pt x="127" y="120"/>
                    <a:pt x="127" y="120"/>
                    <a:pt x="127" y="120"/>
                  </a:cubicBezTo>
                  <a:cubicBezTo>
                    <a:pt x="125" y="122"/>
                    <a:pt x="123" y="124"/>
                    <a:pt x="121" y="126"/>
                  </a:cubicBezTo>
                  <a:cubicBezTo>
                    <a:pt x="120" y="126"/>
                    <a:pt x="120" y="126"/>
                    <a:pt x="120" y="126"/>
                  </a:cubicBezTo>
                  <a:cubicBezTo>
                    <a:pt x="127" y="138"/>
                    <a:pt x="127" y="138"/>
                    <a:pt x="127" y="138"/>
                  </a:cubicBezTo>
                  <a:cubicBezTo>
                    <a:pt x="128" y="140"/>
                    <a:pt x="128" y="142"/>
                    <a:pt x="127" y="142"/>
                  </a:cubicBezTo>
                  <a:cubicBezTo>
                    <a:pt x="123" y="145"/>
                    <a:pt x="123" y="145"/>
                    <a:pt x="123" y="145"/>
                  </a:cubicBezTo>
                  <a:cubicBezTo>
                    <a:pt x="123" y="145"/>
                    <a:pt x="123" y="145"/>
                    <a:pt x="122" y="145"/>
                  </a:cubicBezTo>
                  <a:cubicBezTo>
                    <a:pt x="121" y="145"/>
                    <a:pt x="120" y="145"/>
                    <a:pt x="119" y="144"/>
                  </a:cubicBezTo>
                  <a:cubicBezTo>
                    <a:pt x="110" y="133"/>
                    <a:pt x="110" y="133"/>
                    <a:pt x="110" y="133"/>
                  </a:cubicBezTo>
                  <a:cubicBezTo>
                    <a:pt x="110" y="134"/>
                    <a:pt x="110" y="134"/>
                    <a:pt x="110" y="134"/>
                  </a:cubicBezTo>
                  <a:cubicBezTo>
                    <a:pt x="108" y="135"/>
                    <a:pt x="105" y="136"/>
                    <a:pt x="103" y="137"/>
                  </a:cubicBezTo>
                  <a:cubicBezTo>
                    <a:pt x="102" y="137"/>
                    <a:pt x="102" y="137"/>
                    <a:pt x="102" y="137"/>
                  </a:cubicBezTo>
                  <a:cubicBezTo>
                    <a:pt x="104" y="151"/>
                    <a:pt x="104" y="151"/>
                    <a:pt x="104" y="151"/>
                  </a:cubicBezTo>
                  <a:cubicBezTo>
                    <a:pt x="105" y="153"/>
                    <a:pt x="104" y="154"/>
                    <a:pt x="103" y="155"/>
                  </a:cubicBezTo>
                  <a:cubicBezTo>
                    <a:pt x="98" y="156"/>
                    <a:pt x="98" y="156"/>
                    <a:pt x="98" y="156"/>
                  </a:cubicBezTo>
                  <a:cubicBezTo>
                    <a:pt x="98" y="156"/>
                    <a:pt x="98" y="156"/>
                    <a:pt x="98" y="156"/>
                  </a:cubicBezTo>
                  <a:cubicBezTo>
                    <a:pt x="97" y="156"/>
                    <a:pt x="96" y="155"/>
                    <a:pt x="95" y="153"/>
                  </a:cubicBezTo>
                  <a:cubicBezTo>
                    <a:pt x="90" y="141"/>
                    <a:pt x="90" y="141"/>
                    <a:pt x="90" y="141"/>
                  </a:cubicBezTo>
                  <a:cubicBezTo>
                    <a:pt x="90" y="141"/>
                    <a:pt x="90" y="141"/>
                    <a:pt x="90" y="141"/>
                  </a:cubicBezTo>
                  <a:cubicBezTo>
                    <a:pt x="87" y="141"/>
                    <a:pt x="84" y="141"/>
                    <a:pt x="82" y="141"/>
                  </a:cubicBezTo>
                  <a:cubicBezTo>
                    <a:pt x="81" y="141"/>
                    <a:pt x="81" y="141"/>
                    <a:pt x="81" y="141"/>
                  </a:cubicBezTo>
                  <a:cubicBezTo>
                    <a:pt x="79" y="155"/>
                    <a:pt x="79" y="155"/>
                    <a:pt x="79" y="155"/>
                  </a:cubicBezTo>
                  <a:cubicBezTo>
                    <a:pt x="78" y="157"/>
                    <a:pt x="77" y="158"/>
                    <a:pt x="76" y="158"/>
                  </a:cubicBezTo>
                  <a:cubicBezTo>
                    <a:pt x="71" y="158"/>
                    <a:pt x="71" y="158"/>
                    <a:pt x="71" y="158"/>
                  </a:cubicBezTo>
                  <a:cubicBezTo>
                    <a:pt x="70" y="158"/>
                    <a:pt x="69" y="156"/>
                    <a:pt x="69" y="154"/>
                  </a:cubicBezTo>
                  <a:cubicBezTo>
                    <a:pt x="69" y="140"/>
                    <a:pt x="69" y="140"/>
                    <a:pt x="69" y="140"/>
                  </a:cubicBezTo>
                  <a:cubicBezTo>
                    <a:pt x="68" y="140"/>
                    <a:pt x="68" y="140"/>
                    <a:pt x="68" y="140"/>
                  </a:cubicBezTo>
                  <a:cubicBezTo>
                    <a:pt x="66" y="140"/>
                    <a:pt x="63" y="139"/>
                    <a:pt x="60" y="138"/>
                  </a:cubicBezTo>
                  <a:cubicBezTo>
                    <a:pt x="60" y="138"/>
                    <a:pt x="60" y="138"/>
                    <a:pt x="60" y="138"/>
                  </a:cubicBezTo>
                  <a:cubicBezTo>
                    <a:pt x="53" y="150"/>
                    <a:pt x="53" y="150"/>
                    <a:pt x="53" y="150"/>
                  </a:cubicBezTo>
                  <a:cubicBezTo>
                    <a:pt x="52" y="151"/>
                    <a:pt x="51" y="152"/>
                    <a:pt x="50" y="152"/>
                  </a:cubicBezTo>
                  <a:cubicBezTo>
                    <a:pt x="50" y="152"/>
                    <a:pt x="50" y="152"/>
                    <a:pt x="49" y="152"/>
                  </a:cubicBezTo>
                  <a:cubicBezTo>
                    <a:pt x="45" y="150"/>
                    <a:pt x="45" y="150"/>
                    <a:pt x="45" y="150"/>
                  </a:cubicBezTo>
                  <a:cubicBezTo>
                    <a:pt x="44" y="149"/>
                    <a:pt x="44" y="148"/>
                    <a:pt x="44" y="146"/>
                  </a:cubicBezTo>
                  <a:cubicBezTo>
                    <a:pt x="49" y="133"/>
                    <a:pt x="49" y="133"/>
                    <a:pt x="49" y="133"/>
                  </a:cubicBezTo>
                  <a:cubicBezTo>
                    <a:pt x="48" y="133"/>
                    <a:pt x="48" y="133"/>
                    <a:pt x="48" y="133"/>
                  </a:cubicBezTo>
                  <a:cubicBezTo>
                    <a:pt x="46" y="131"/>
                    <a:pt x="44" y="130"/>
                    <a:pt x="41" y="128"/>
                  </a:cubicBezTo>
                  <a:cubicBezTo>
                    <a:pt x="41" y="128"/>
                    <a:pt x="41" y="128"/>
                    <a:pt x="41" y="128"/>
                  </a:cubicBezTo>
                  <a:cubicBezTo>
                    <a:pt x="30" y="136"/>
                    <a:pt x="30" y="136"/>
                    <a:pt x="30" y="136"/>
                  </a:cubicBezTo>
                  <a:cubicBezTo>
                    <a:pt x="30" y="137"/>
                    <a:pt x="29" y="137"/>
                    <a:pt x="28" y="137"/>
                  </a:cubicBezTo>
                  <a:cubicBezTo>
                    <a:pt x="27" y="137"/>
                    <a:pt x="27" y="137"/>
                    <a:pt x="27" y="137"/>
                  </a:cubicBezTo>
                  <a:cubicBezTo>
                    <a:pt x="23" y="134"/>
                    <a:pt x="23" y="134"/>
                    <a:pt x="23" y="134"/>
                  </a:cubicBezTo>
                  <a:cubicBezTo>
                    <a:pt x="22" y="133"/>
                    <a:pt x="23" y="131"/>
                    <a:pt x="24" y="130"/>
                  </a:cubicBezTo>
                  <a:cubicBezTo>
                    <a:pt x="32" y="119"/>
                    <a:pt x="32" y="119"/>
                    <a:pt x="32" y="119"/>
                  </a:cubicBezTo>
                  <a:cubicBezTo>
                    <a:pt x="32" y="119"/>
                    <a:pt x="32" y="119"/>
                    <a:pt x="32" y="119"/>
                  </a:cubicBezTo>
                  <a:cubicBezTo>
                    <a:pt x="30" y="116"/>
                    <a:pt x="29" y="114"/>
                    <a:pt x="27" y="112"/>
                  </a:cubicBezTo>
                  <a:cubicBezTo>
                    <a:pt x="27" y="111"/>
                    <a:pt x="27" y="111"/>
                    <a:pt x="27" y="111"/>
                  </a:cubicBezTo>
                  <a:cubicBezTo>
                    <a:pt x="14" y="116"/>
                    <a:pt x="14" y="116"/>
                    <a:pt x="14" y="116"/>
                  </a:cubicBezTo>
                  <a:cubicBezTo>
                    <a:pt x="14" y="116"/>
                    <a:pt x="13" y="116"/>
                    <a:pt x="12" y="116"/>
                  </a:cubicBezTo>
                  <a:cubicBezTo>
                    <a:pt x="11" y="116"/>
                    <a:pt x="10" y="116"/>
                    <a:pt x="10" y="115"/>
                  </a:cubicBezTo>
                  <a:cubicBezTo>
                    <a:pt x="8" y="111"/>
                    <a:pt x="8" y="111"/>
                    <a:pt x="8" y="111"/>
                  </a:cubicBezTo>
                  <a:cubicBezTo>
                    <a:pt x="8" y="110"/>
                    <a:pt x="8" y="108"/>
                    <a:pt x="10" y="107"/>
                  </a:cubicBezTo>
                  <a:cubicBezTo>
                    <a:pt x="22" y="100"/>
                    <a:pt x="22" y="100"/>
                    <a:pt x="22" y="100"/>
                  </a:cubicBezTo>
                  <a:cubicBezTo>
                    <a:pt x="22" y="100"/>
                    <a:pt x="22" y="100"/>
                    <a:pt x="22" y="100"/>
                  </a:cubicBezTo>
                  <a:cubicBezTo>
                    <a:pt x="21" y="97"/>
                    <a:pt x="20" y="95"/>
                    <a:pt x="19" y="92"/>
                  </a:cubicBezTo>
                  <a:cubicBezTo>
                    <a:pt x="19" y="91"/>
                    <a:pt x="19" y="91"/>
                    <a:pt x="19" y="91"/>
                  </a:cubicBezTo>
                  <a:cubicBezTo>
                    <a:pt x="6" y="91"/>
                    <a:pt x="6" y="91"/>
                    <a:pt x="6" y="91"/>
                  </a:cubicBezTo>
                  <a:cubicBezTo>
                    <a:pt x="4" y="91"/>
                    <a:pt x="2" y="90"/>
                    <a:pt x="2" y="89"/>
                  </a:cubicBezTo>
                  <a:cubicBezTo>
                    <a:pt x="2" y="88"/>
                    <a:pt x="2" y="86"/>
                    <a:pt x="2" y="84"/>
                  </a:cubicBezTo>
                  <a:cubicBezTo>
                    <a:pt x="2" y="83"/>
                    <a:pt x="3" y="82"/>
                    <a:pt x="5" y="82"/>
                  </a:cubicBezTo>
                  <a:cubicBezTo>
                    <a:pt x="18" y="79"/>
                    <a:pt x="18" y="79"/>
                    <a:pt x="18" y="79"/>
                  </a:cubicBezTo>
                  <a:cubicBezTo>
                    <a:pt x="18" y="79"/>
                    <a:pt x="18" y="79"/>
                    <a:pt x="18" y="79"/>
                  </a:cubicBezTo>
                  <a:cubicBezTo>
                    <a:pt x="18" y="77"/>
                    <a:pt x="18" y="76"/>
                    <a:pt x="18" y="75"/>
                  </a:cubicBezTo>
                  <a:cubicBezTo>
                    <a:pt x="19" y="73"/>
                    <a:pt x="19" y="72"/>
                    <a:pt x="19" y="70"/>
                  </a:cubicBezTo>
                  <a:cubicBezTo>
                    <a:pt x="19" y="70"/>
                    <a:pt x="19" y="70"/>
                    <a:pt x="19" y="70"/>
                  </a:cubicBezTo>
                  <a:cubicBezTo>
                    <a:pt x="6" y="65"/>
                    <a:pt x="6" y="65"/>
                    <a:pt x="6" y="65"/>
                  </a:cubicBezTo>
                  <a:cubicBezTo>
                    <a:pt x="4" y="65"/>
                    <a:pt x="3" y="63"/>
                    <a:pt x="4" y="62"/>
                  </a:cubicBezTo>
                  <a:cubicBezTo>
                    <a:pt x="5" y="57"/>
                    <a:pt x="5" y="57"/>
                    <a:pt x="5" y="57"/>
                  </a:cubicBezTo>
                  <a:cubicBezTo>
                    <a:pt x="5" y="56"/>
                    <a:pt x="6" y="56"/>
                    <a:pt x="8" y="56"/>
                  </a:cubicBezTo>
                  <a:cubicBezTo>
                    <a:pt x="8" y="56"/>
                    <a:pt x="8" y="56"/>
                    <a:pt x="9" y="56"/>
                  </a:cubicBezTo>
                  <a:cubicBezTo>
                    <a:pt x="22" y="58"/>
                    <a:pt x="22" y="58"/>
                    <a:pt x="22" y="58"/>
                  </a:cubicBezTo>
                  <a:cubicBezTo>
                    <a:pt x="22" y="58"/>
                    <a:pt x="22" y="58"/>
                    <a:pt x="22" y="58"/>
                  </a:cubicBezTo>
                  <a:cubicBezTo>
                    <a:pt x="23" y="55"/>
                    <a:pt x="24" y="53"/>
                    <a:pt x="26" y="50"/>
                  </a:cubicBezTo>
                  <a:cubicBezTo>
                    <a:pt x="26" y="50"/>
                    <a:pt x="26" y="50"/>
                    <a:pt x="26" y="50"/>
                  </a:cubicBezTo>
                  <a:cubicBezTo>
                    <a:pt x="16" y="41"/>
                    <a:pt x="16" y="41"/>
                    <a:pt x="16" y="41"/>
                  </a:cubicBezTo>
                  <a:cubicBezTo>
                    <a:pt x="14" y="40"/>
                    <a:pt x="14" y="38"/>
                    <a:pt x="14" y="37"/>
                  </a:cubicBezTo>
                  <a:cubicBezTo>
                    <a:pt x="17" y="33"/>
                    <a:pt x="17" y="33"/>
                    <a:pt x="17" y="33"/>
                  </a:cubicBezTo>
                  <a:cubicBezTo>
                    <a:pt x="17" y="33"/>
                    <a:pt x="18" y="32"/>
                    <a:pt x="19" y="32"/>
                  </a:cubicBezTo>
                  <a:cubicBezTo>
                    <a:pt x="19" y="32"/>
                    <a:pt x="20" y="32"/>
                    <a:pt x="21" y="33"/>
                  </a:cubicBezTo>
                  <a:cubicBezTo>
                    <a:pt x="33" y="40"/>
                    <a:pt x="33" y="40"/>
                    <a:pt x="33" y="40"/>
                  </a:cubicBezTo>
                  <a:cubicBezTo>
                    <a:pt x="33" y="39"/>
                    <a:pt x="33" y="39"/>
                    <a:pt x="33" y="39"/>
                  </a:cubicBezTo>
                  <a:cubicBezTo>
                    <a:pt x="35" y="37"/>
                    <a:pt x="37" y="35"/>
                    <a:pt x="39" y="33"/>
                  </a:cubicBezTo>
                  <a:cubicBezTo>
                    <a:pt x="40" y="33"/>
                    <a:pt x="40" y="33"/>
                    <a:pt x="40" y="33"/>
                  </a:cubicBezTo>
                  <a:cubicBezTo>
                    <a:pt x="33" y="21"/>
                    <a:pt x="33" y="21"/>
                    <a:pt x="33" y="21"/>
                  </a:cubicBezTo>
                  <a:cubicBezTo>
                    <a:pt x="32" y="20"/>
                    <a:pt x="32" y="18"/>
                    <a:pt x="33" y="17"/>
                  </a:cubicBezTo>
                  <a:cubicBezTo>
                    <a:pt x="37" y="14"/>
                    <a:pt x="37" y="14"/>
                    <a:pt x="37" y="14"/>
                  </a:cubicBezTo>
                  <a:cubicBezTo>
                    <a:pt x="37" y="14"/>
                    <a:pt x="37" y="14"/>
                    <a:pt x="38" y="14"/>
                  </a:cubicBezTo>
                  <a:cubicBezTo>
                    <a:pt x="39" y="14"/>
                    <a:pt x="40" y="15"/>
                    <a:pt x="41" y="16"/>
                  </a:cubicBezTo>
                  <a:cubicBezTo>
                    <a:pt x="50" y="26"/>
                    <a:pt x="50" y="26"/>
                    <a:pt x="50" y="26"/>
                  </a:cubicBezTo>
                  <a:cubicBezTo>
                    <a:pt x="50" y="26"/>
                    <a:pt x="50" y="26"/>
                    <a:pt x="50" y="26"/>
                  </a:cubicBezTo>
                  <a:cubicBezTo>
                    <a:pt x="52" y="24"/>
                    <a:pt x="55" y="23"/>
                    <a:pt x="57" y="22"/>
                  </a:cubicBezTo>
                  <a:cubicBezTo>
                    <a:pt x="58" y="22"/>
                    <a:pt x="58" y="22"/>
                    <a:pt x="58" y="22"/>
                  </a:cubicBezTo>
                  <a:cubicBezTo>
                    <a:pt x="56" y="8"/>
                    <a:pt x="56" y="8"/>
                    <a:pt x="56" y="8"/>
                  </a:cubicBezTo>
                  <a:cubicBezTo>
                    <a:pt x="55" y="7"/>
                    <a:pt x="56" y="5"/>
                    <a:pt x="57" y="5"/>
                  </a:cubicBezTo>
                  <a:cubicBezTo>
                    <a:pt x="62" y="3"/>
                    <a:pt x="62" y="3"/>
                    <a:pt x="62" y="3"/>
                  </a:cubicBezTo>
                  <a:cubicBezTo>
                    <a:pt x="62" y="3"/>
                    <a:pt x="62" y="3"/>
                    <a:pt x="62" y="3"/>
                  </a:cubicBezTo>
                  <a:cubicBezTo>
                    <a:pt x="63" y="3"/>
                    <a:pt x="64" y="4"/>
                    <a:pt x="65" y="6"/>
                  </a:cubicBezTo>
                  <a:cubicBezTo>
                    <a:pt x="70" y="19"/>
                    <a:pt x="70" y="19"/>
                    <a:pt x="70" y="19"/>
                  </a:cubicBezTo>
                  <a:cubicBezTo>
                    <a:pt x="70" y="19"/>
                    <a:pt x="70" y="19"/>
                    <a:pt x="70" y="19"/>
                  </a:cubicBezTo>
                  <a:cubicBezTo>
                    <a:pt x="73" y="18"/>
                    <a:pt x="76" y="18"/>
                    <a:pt x="79" y="18"/>
                  </a:cubicBezTo>
                  <a:cubicBezTo>
                    <a:pt x="79" y="18"/>
                    <a:pt x="79" y="18"/>
                    <a:pt x="79" y="18"/>
                  </a:cubicBezTo>
                  <a:cubicBezTo>
                    <a:pt x="81" y="4"/>
                    <a:pt x="81" y="4"/>
                    <a:pt x="81" y="4"/>
                  </a:cubicBezTo>
                  <a:cubicBezTo>
                    <a:pt x="82" y="3"/>
                    <a:pt x="83" y="1"/>
                    <a:pt x="84" y="1"/>
                  </a:cubicBezTo>
                  <a:cubicBezTo>
                    <a:pt x="89" y="2"/>
                    <a:pt x="89" y="2"/>
                    <a:pt x="89" y="2"/>
                  </a:cubicBezTo>
                  <a:cubicBezTo>
                    <a:pt x="90" y="2"/>
                    <a:pt x="91" y="3"/>
                    <a:pt x="91" y="5"/>
                  </a:cubicBezTo>
                  <a:cubicBezTo>
                    <a:pt x="91" y="19"/>
                    <a:pt x="91" y="19"/>
                    <a:pt x="91" y="19"/>
                  </a:cubicBezTo>
                  <a:cubicBezTo>
                    <a:pt x="92" y="19"/>
                    <a:pt x="92" y="19"/>
                    <a:pt x="92" y="19"/>
                  </a:cubicBezTo>
                  <a:cubicBezTo>
                    <a:pt x="94" y="20"/>
                    <a:pt x="97" y="20"/>
                    <a:pt x="100" y="21"/>
                  </a:cubicBezTo>
                  <a:cubicBezTo>
                    <a:pt x="100" y="21"/>
                    <a:pt x="100" y="21"/>
                    <a:pt x="100" y="21"/>
                  </a:cubicBezTo>
                  <a:cubicBezTo>
                    <a:pt x="107" y="9"/>
                    <a:pt x="107" y="9"/>
                    <a:pt x="107" y="9"/>
                  </a:cubicBezTo>
                  <a:cubicBezTo>
                    <a:pt x="108" y="8"/>
                    <a:pt x="109" y="7"/>
                    <a:pt x="110" y="7"/>
                  </a:cubicBezTo>
                  <a:cubicBezTo>
                    <a:pt x="110" y="7"/>
                    <a:pt x="110" y="7"/>
                    <a:pt x="111" y="7"/>
                  </a:cubicBezTo>
                  <a:cubicBezTo>
                    <a:pt x="115" y="10"/>
                    <a:pt x="115" y="10"/>
                    <a:pt x="115" y="10"/>
                  </a:cubicBezTo>
                  <a:cubicBezTo>
                    <a:pt x="116" y="10"/>
                    <a:pt x="116" y="12"/>
                    <a:pt x="116" y="13"/>
                  </a:cubicBezTo>
                  <a:cubicBezTo>
                    <a:pt x="111" y="26"/>
                    <a:pt x="111" y="26"/>
                    <a:pt x="111" y="26"/>
                  </a:cubicBezTo>
                  <a:cubicBezTo>
                    <a:pt x="112" y="27"/>
                    <a:pt x="112" y="27"/>
                    <a:pt x="112" y="27"/>
                  </a:cubicBezTo>
                  <a:cubicBezTo>
                    <a:pt x="114" y="28"/>
                    <a:pt x="116" y="30"/>
                    <a:pt x="119" y="31"/>
                  </a:cubicBezTo>
                  <a:cubicBezTo>
                    <a:pt x="119" y="32"/>
                    <a:pt x="119" y="32"/>
                    <a:pt x="119" y="32"/>
                  </a:cubicBezTo>
                  <a:cubicBezTo>
                    <a:pt x="130" y="23"/>
                    <a:pt x="130" y="23"/>
                    <a:pt x="130" y="23"/>
                  </a:cubicBezTo>
                  <a:cubicBezTo>
                    <a:pt x="130" y="22"/>
                    <a:pt x="131" y="22"/>
                    <a:pt x="132" y="22"/>
                  </a:cubicBezTo>
                  <a:cubicBezTo>
                    <a:pt x="133" y="22"/>
                    <a:pt x="133" y="22"/>
                    <a:pt x="133" y="22"/>
                  </a:cubicBezTo>
                  <a:cubicBezTo>
                    <a:pt x="134" y="23"/>
                    <a:pt x="136" y="25"/>
                    <a:pt x="137" y="26"/>
                  </a:cubicBezTo>
                  <a:cubicBezTo>
                    <a:pt x="138" y="27"/>
                    <a:pt x="137" y="28"/>
                    <a:pt x="136" y="30"/>
                  </a:cubicBezTo>
                  <a:cubicBezTo>
                    <a:pt x="128" y="40"/>
                    <a:pt x="128" y="40"/>
                    <a:pt x="128" y="40"/>
                  </a:cubicBezTo>
                  <a:cubicBezTo>
                    <a:pt x="128" y="41"/>
                    <a:pt x="128" y="41"/>
                    <a:pt x="128" y="41"/>
                  </a:cubicBezTo>
                  <a:cubicBezTo>
                    <a:pt x="130" y="43"/>
                    <a:pt x="131" y="45"/>
                    <a:pt x="133" y="48"/>
                  </a:cubicBezTo>
                  <a:cubicBezTo>
                    <a:pt x="133" y="48"/>
                    <a:pt x="133" y="48"/>
                    <a:pt x="133" y="48"/>
                  </a:cubicBezTo>
                  <a:cubicBezTo>
                    <a:pt x="146" y="43"/>
                    <a:pt x="146" y="43"/>
                    <a:pt x="146" y="43"/>
                  </a:cubicBezTo>
                  <a:cubicBezTo>
                    <a:pt x="146" y="43"/>
                    <a:pt x="147" y="43"/>
                    <a:pt x="148" y="43"/>
                  </a:cubicBezTo>
                  <a:cubicBezTo>
                    <a:pt x="149" y="43"/>
                    <a:pt x="150" y="43"/>
                    <a:pt x="150" y="44"/>
                  </a:cubicBezTo>
                  <a:cubicBezTo>
                    <a:pt x="152" y="49"/>
                    <a:pt x="152" y="49"/>
                    <a:pt x="152" y="49"/>
                  </a:cubicBezTo>
                  <a:cubicBezTo>
                    <a:pt x="152" y="49"/>
                    <a:pt x="152" y="51"/>
                    <a:pt x="150" y="52"/>
                  </a:cubicBezTo>
                  <a:cubicBezTo>
                    <a:pt x="138" y="59"/>
                    <a:pt x="138" y="59"/>
                    <a:pt x="138" y="59"/>
                  </a:cubicBezTo>
                  <a:cubicBezTo>
                    <a:pt x="138" y="59"/>
                    <a:pt x="138" y="59"/>
                    <a:pt x="138" y="59"/>
                  </a:cubicBezTo>
                  <a:cubicBezTo>
                    <a:pt x="139" y="62"/>
                    <a:pt x="140" y="65"/>
                    <a:pt x="141" y="67"/>
                  </a:cubicBezTo>
                  <a:cubicBezTo>
                    <a:pt x="141" y="68"/>
                    <a:pt x="141" y="68"/>
                    <a:pt x="141" y="68"/>
                  </a:cubicBezTo>
                  <a:cubicBezTo>
                    <a:pt x="154" y="68"/>
                    <a:pt x="154" y="68"/>
                    <a:pt x="154" y="68"/>
                  </a:cubicBezTo>
                  <a:cubicBezTo>
                    <a:pt x="156" y="68"/>
                    <a:pt x="158" y="69"/>
                    <a:pt x="158" y="70"/>
                  </a:cubicBezTo>
                  <a:cubicBezTo>
                    <a:pt x="158" y="75"/>
                    <a:pt x="158" y="75"/>
                    <a:pt x="158" y="75"/>
                  </a:cubicBezTo>
                  <a:cubicBezTo>
                    <a:pt x="158" y="76"/>
                    <a:pt x="157" y="77"/>
                    <a:pt x="155" y="78"/>
                  </a:cubicBezTo>
                  <a:lnTo>
                    <a:pt x="142" y="80"/>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1" name="Freeform 30"/>
            <p:cNvSpPr>
              <a:spLocks noEditPoints="1"/>
            </p:cNvSpPr>
            <p:nvPr/>
          </p:nvSpPr>
          <p:spPr bwMode="auto">
            <a:xfrm rot="14718710">
              <a:off x="12049120" y="5358566"/>
              <a:ext cx="945245" cy="893805"/>
            </a:xfrm>
            <a:custGeom>
              <a:avLst/>
              <a:gdLst>
                <a:gd name="T0" fmla="*/ 10 w 40"/>
                <a:gd name="T1" fmla="*/ 39 h 40"/>
                <a:gd name="T2" fmla="*/ 10 w 40"/>
                <a:gd name="T3" fmla="*/ 40 h 40"/>
                <a:gd name="T4" fmla="*/ 40 w 40"/>
                <a:gd name="T5" fmla="*/ 26 h 40"/>
                <a:gd name="T6" fmla="*/ 39 w 40"/>
                <a:gd name="T7" fmla="*/ 25 h 40"/>
                <a:gd name="T8" fmla="*/ 3 w 40"/>
                <a:gd name="T9" fmla="*/ 0 h 40"/>
                <a:gd name="T10" fmla="*/ 2 w 40"/>
                <a:gd name="T11" fmla="*/ 0 h 40"/>
                <a:gd name="T12" fmla="*/ 0 w 40"/>
                <a:gd name="T13" fmla="*/ 32 h 40"/>
                <a:gd name="T14" fmla="*/ 0 w 40"/>
                <a:gd name="T15" fmla="*/ 32 h 40"/>
                <a:gd name="T16" fmla="*/ 10 w 40"/>
                <a:gd name="T17" fmla="*/ 39 h 40"/>
                <a:gd name="T18" fmla="*/ 38 w 40"/>
                <a:gd name="T19" fmla="*/ 25 h 40"/>
                <a:gd name="T20" fmla="*/ 11 w 40"/>
                <a:gd name="T21" fmla="*/ 38 h 40"/>
                <a:gd name="T22" fmla="*/ 1 w 40"/>
                <a:gd name="T23" fmla="*/ 31 h 40"/>
                <a:gd name="T24" fmla="*/ 3 w 40"/>
                <a:gd name="T25" fmla="*/ 1 h 40"/>
                <a:gd name="T26" fmla="*/ 38 w 40"/>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10" y="39"/>
                  </a:moveTo>
                  <a:cubicBezTo>
                    <a:pt x="10" y="40"/>
                    <a:pt x="10" y="40"/>
                    <a:pt x="10" y="40"/>
                  </a:cubicBezTo>
                  <a:cubicBezTo>
                    <a:pt x="40" y="26"/>
                    <a:pt x="40" y="26"/>
                    <a:pt x="40" y="26"/>
                  </a:cubicBezTo>
                  <a:cubicBezTo>
                    <a:pt x="39" y="25"/>
                    <a:pt x="39" y="25"/>
                    <a:pt x="39" y="25"/>
                  </a:cubicBezTo>
                  <a:cubicBezTo>
                    <a:pt x="31" y="12"/>
                    <a:pt x="18" y="3"/>
                    <a:pt x="3" y="0"/>
                  </a:cubicBezTo>
                  <a:cubicBezTo>
                    <a:pt x="2" y="0"/>
                    <a:pt x="2" y="0"/>
                    <a:pt x="2" y="0"/>
                  </a:cubicBezTo>
                  <a:cubicBezTo>
                    <a:pt x="0" y="32"/>
                    <a:pt x="0" y="32"/>
                    <a:pt x="0" y="32"/>
                  </a:cubicBezTo>
                  <a:cubicBezTo>
                    <a:pt x="0" y="32"/>
                    <a:pt x="0" y="32"/>
                    <a:pt x="0" y="32"/>
                  </a:cubicBezTo>
                  <a:cubicBezTo>
                    <a:pt x="4" y="33"/>
                    <a:pt x="8" y="36"/>
                    <a:pt x="10" y="39"/>
                  </a:cubicBezTo>
                  <a:close/>
                  <a:moveTo>
                    <a:pt x="38" y="25"/>
                  </a:moveTo>
                  <a:cubicBezTo>
                    <a:pt x="11" y="38"/>
                    <a:pt x="11" y="38"/>
                    <a:pt x="11" y="38"/>
                  </a:cubicBezTo>
                  <a:cubicBezTo>
                    <a:pt x="8" y="35"/>
                    <a:pt x="5" y="32"/>
                    <a:pt x="1" y="31"/>
                  </a:cubicBezTo>
                  <a:cubicBezTo>
                    <a:pt x="3" y="1"/>
                    <a:pt x="3" y="1"/>
                    <a:pt x="3" y="1"/>
                  </a:cubicBezTo>
                  <a:cubicBezTo>
                    <a:pt x="18" y="4"/>
                    <a:pt x="30" y="13"/>
                    <a:pt x="38" y="25"/>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2" name="Freeform 31"/>
            <p:cNvSpPr>
              <a:spLocks noEditPoints="1"/>
            </p:cNvSpPr>
            <p:nvPr/>
          </p:nvSpPr>
          <p:spPr bwMode="auto">
            <a:xfrm rot="14718710">
              <a:off x="13108360" y="5792334"/>
              <a:ext cx="617729" cy="558139"/>
            </a:xfrm>
            <a:custGeom>
              <a:avLst/>
              <a:gdLst>
                <a:gd name="T0" fmla="*/ 26 w 26"/>
                <a:gd name="T1" fmla="*/ 14 h 25"/>
                <a:gd name="T2" fmla="*/ 14 w 26"/>
                <a:gd name="T3" fmla="*/ 0 h 25"/>
                <a:gd name="T4" fmla="*/ 13 w 26"/>
                <a:gd name="T5" fmla="*/ 0 h 25"/>
                <a:gd name="T6" fmla="*/ 0 w 26"/>
                <a:gd name="T7" fmla="*/ 12 h 25"/>
                <a:gd name="T8" fmla="*/ 3 w 26"/>
                <a:gd name="T9" fmla="*/ 21 h 25"/>
                <a:gd name="T10" fmla="*/ 12 w 26"/>
                <a:gd name="T11" fmla="*/ 25 h 25"/>
                <a:gd name="T12" fmla="*/ 13 w 26"/>
                <a:gd name="T13" fmla="*/ 25 h 25"/>
                <a:gd name="T14" fmla="*/ 26 w 26"/>
                <a:gd name="T15" fmla="*/ 14 h 25"/>
                <a:gd name="T16" fmla="*/ 12 w 26"/>
                <a:gd name="T17" fmla="*/ 24 h 25"/>
                <a:gd name="T18" fmla="*/ 4 w 26"/>
                <a:gd name="T19" fmla="*/ 20 h 25"/>
                <a:gd name="T20" fmla="*/ 2 w 26"/>
                <a:gd name="T21" fmla="*/ 12 h 25"/>
                <a:gd name="T22" fmla="*/ 13 w 26"/>
                <a:gd name="T23" fmla="*/ 1 h 25"/>
                <a:gd name="T24" fmla="*/ 14 w 26"/>
                <a:gd name="T25" fmla="*/ 1 h 25"/>
                <a:gd name="T26" fmla="*/ 24 w 26"/>
                <a:gd name="T27" fmla="*/ 14 h 25"/>
                <a:gd name="T28" fmla="*/ 13 w 26"/>
                <a:gd name="T29" fmla="*/ 24 h 25"/>
                <a:gd name="T30" fmla="*/ 12 w 26"/>
                <a:gd name="T3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5">
                  <a:moveTo>
                    <a:pt x="26" y="14"/>
                  </a:moveTo>
                  <a:cubicBezTo>
                    <a:pt x="26" y="7"/>
                    <a:pt x="21" y="1"/>
                    <a:pt x="14" y="0"/>
                  </a:cubicBezTo>
                  <a:cubicBezTo>
                    <a:pt x="14" y="0"/>
                    <a:pt x="13" y="0"/>
                    <a:pt x="13" y="0"/>
                  </a:cubicBezTo>
                  <a:cubicBezTo>
                    <a:pt x="6" y="0"/>
                    <a:pt x="1" y="5"/>
                    <a:pt x="0" y="12"/>
                  </a:cubicBezTo>
                  <a:cubicBezTo>
                    <a:pt x="0" y="15"/>
                    <a:pt x="1" y="18"/>
                    <a:pt x="3" y="21"/>
                  </a:cubicBezTo>
                  <a:cubicBezTo>
                    <a:pt x="6" y="23"/>
                    <a:pt x="9" y="25"/>
                    <a:pt x="12" y="25"/>
                  </a:cubicBezTo>
                  <a:cubicBezTo>
                    <a:pt x="12" y="25"/>
                    <a:pt x="13" y="25"/>
                    <a:pt x="13" y="25"/>
                  </a:cubicBezTo>
                  <a:cubicBezTo>
                    <a:pt x="20" y="25"/>
                    <a:pt x="25" y="20"/>
                    <a:pt x="26" y="14"/>
                  </a:cubicBezTo>
                  <a:close/>
                  <a:moveTo>
                    <a:pt x="12" y="24"/>
                  </a:moveTo>
                  <a:cubicBezTo>
                    <a:pt x="9" y="24"/>
                    <a:pt x="6" y="22"/>
                    <a:pt x="4" y="20"/>
                  </a:cubicBezTo>
                  <a:cubicBezTo>
                    <a:pt x="2" y="18"/>
                    <a:pt x="1" y="15"/>
                    <a:pt x="2" y="12"/>
                  </a:cubicBezTo>
                  <a:cubicBezTo>
                    <a:pt x="2" y="6"/>
                    <a:pt x="7" y="1"/>
                    <a:pt x="13" y="1"/>
                  </a:cubicBezTo>
                  <a:cubicBezTo>
                    <a:pt x="13" y="1"/>
                    <a:pt x="14" y="1"/>
                    <a:pt x="14" y="1"/>
                  </a:cubicBezTo>
                  <a:cubicBezTo>
                    <a:pt x="20" y="2"/>
                    <a:pt x="25" y="7"/>
                    <a:pt x="24" y="14"/>
                  </a:cubicBezTo>
                  <a:cubicBezTo>
                    <a:pt x="24" y="20"/>
                    <a:pt x="19" y="24"/>
                    <a:pt x="13" y="24"/>
                  </a:cubicBezTo>
                  <a:cubicBezTo>
                    <a:pt x="13" y="24"/>
                    <a:pt x="12" y="24"/>
                    <a:pt x="12" y="24"/>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3" name="Freeform 32"/>
            <p:cNvSpPr>
              <a:spLocks noEditPoints="1"/>
            </p:cNvSpPr>
            <p:nvPr/>
          </p:nvSpPr>
          <p:spPr bwMode="auto">
            <a:xfrm rot="14718710">
              <a:off x="13849515" y="5899142"/>
              <a:ext cx="949393" cy="870384"/>
            </a:xfrm>
            <a:custGeom>
              <a:avLst/>
              <a:gdLst>
                <a:gd name="T0" fmla="*/ 30 w 40"/>
                <a:gd name="T1" fmla="*/ 0 h 39"/>
                <a:gd name="T2" fmla="*/ 30 w 40"/>
                <a:gd name="T3" fmla="*/ 0 h 39"/>
                <a:gd name="T4" fmla="*/ 0 w 40"/>
                <a:gd name="T5" fmla="*/ 13 h 39"/>
                <a:gd name="T6" fmla="*/ 1 w 40"/>
                <a:gd name="T7" fmla="*/ 14 h 39"/>
                <a:gd name="T8" fmla="*/ 37 w 40"/>
                <a:gd name="T9" fmla="*/ 39 h 39"/>
                <a:gd name="T10" fmla="*/ 38 w 40"/>
                <a:gd name="T11" fmla="*/ 39 h 39"/>
                <a:gd name="T12" fmla="*/ 40 w 40"/>
                <a:gd name="T13" fmla="*/ 7 h 39"/>
                <a:gd name="T14" fmla="*/ 40 w 40"/>
                <a:gd name="T15" fmla="*/ 7 h 39"/>
                <a:gd name="T16" fmla="*/ 30 w 40"/>
                <a:gd name="T17" fmla="*/ 0 h 39"/>
                <a:gd name="T18" fmla="*/ 2 w 40"/>
                <a:gd name="T19" fmla="*/ 14 h 39"/>
                <a:gd name="T20" fmla="*/ 29 w 40"/>
                <a:gd name="T21" fmla="*/ 1 h 39"/>
                <a:gd name="T22" fmla="*/ 39 w 40"/>
                <a:gd name="T23" fmla="*/ 8 h 39"/>
                <a:gd name="T24" fmla="*/ 37 w 40"/>
                <a:gd name="T25" fmla="*/ 38 h 39"/>
                <a:gd name="T26" fmla="*/ 2 w 40"/>
                <a:gd name="T27"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9">
                  <a:moveTo>
                    <a:pt x="30" y="0"/>
                  </a:moveTo>
                  <a:cubicBezTo>
                    <a:pt x="30" y="0"/>
                    <a:pt x="30" y="0"/>
                    <a:pt x="30" y="0"/>
                  </a:cubicBezTo>
                  <a:cubicBezTo>
                    <a:pt x="0" y="13"/>
                    <a:pt x="0" y="13"/>
                    <a:pt x="0" y="13"/>
                  </a:cubicBezTo>
                  <a:cubicBezTo>
                    <a:pt x="1" y="14"/>
                    <a:pt x="1" y="14"/>
                    <a:pt x="1" y="14"/>
                  </a:cubicBezTo>
                  <a:cubicBezTo>
                    <a:pt x="9" y="27"/>
                    <a:pt x="22" y="37"/>
                    <a:pt x="37" y="39"/>
                  </a:cubicBezTo>
                  <a:cubicBezTo>
                    <a:pt x="38" y="39"/>
                    <a:pt x="38" y="39"/>
                    <a:pt x="38" y="39"/>
                  </a:cubicBezTo>
                  <a:cubicBezTo>
                    <a:pt x="40" y="7"/>
                    <a:pt x="40" y="7"/>
                    <a:pt x="40" y="7"/>
                  </a:cubicBezTo>
                  <a:cubicBezTo>
                    <a:pt x="40" y="7"/>
                    <a:pt x="40" y="7"/>
                    <a:pt x="40" y="7"/>
                  </a:cubicBezTo>
                  <a:cubicBezTo>
                    <a:pt x="36" y="6"/>
                    <a:pt x="32" y="4"/>
                    <a:pt x="30" y="0"/>
                  </a:cubicBezTo>
                  <a:close/>
                  <a:moveTo>
                    <a:pt x="2" y="14"/>
                  </a:moveTo>
                  <a:cubicBezTo>
                    <a:pt x="29" y="1"/>
                    <a:pt x="29" y="1"/>
                    <a:pt x="29" y="1"/>
                  </a:cubicBezTo>
                  <a:cubicBezTo>
                    <a:pt x="32" y="4"/>
                    <a:pt x="35" y="7"/>
                    <a:pt x="39" y="8"/>
                  </a:cubicBezTo>
                  <a:cubicBezTo>
                    <a:pt x="37" y="38"/>
                    <a:pt x="37" y="38"/>
                    <a:pt x="37" y="38"/>
                  </a:cubicBezTo>
                  <a:cubicBezTo>
                    <a:pt x="22" y="35"/>
                    <a:pt x="10" y="27"/>
                    <a:pt x="2" y="14"/>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4" name="Freeform 33"/>
            <p:cNvSpPr>
              <a:spLocks noEditPoints="1"/>
            </p:cNvSpPr>
            <p:nvPr/>
          </p:nvSpPr>
          <p:spPr bwMode="auto">
            <a:xfrm rot="14718710">
              <a:off x="12740798" y="4758274"/>
              <a:ext cx="804289" cy="1003089"/>
            </a:xfrm>
            <a:custGeom>
              <a:avLst/>
              <a:gdLst>
                <a:gd name="T0" fmla="*/ 30 w 34"/>
                <a:gd name="T1" fmla="*/ 0 h 45"/>
                <a:gd name="T2" fmla="*/ 1 w 34"/>
                <a:gd name="T3" fmla="*/ 14 h 45"/>
                <a:gd name="T4" fmla="*/ 1 w 34"/>
                <a:gd name="T5" fmla="*/ 14 h 45"/>
                <a:gd name="T6" fmla="*/ 1 w 34"/>
                <a:gd name="T7" fmla="*/ 20 h 45"/>
                <a:gd name="T8" fmla="*/ 0 w 34"/>
                <a:gd name="T9" fmla="*/ 27 h 45"/>
                <a:gd name="T10" fmla="*/ 0 w 34"/>
                <a:gd name="T11" fmla="*/ 27 h 45"/>
                <a:gd name="T12" fmla="*/ 26 w 34"/>
                <a:gd name="T13" fmla="*/ 45 h 45"/>
                <a:gd name="T14" fmla="*/ 26 w 34"/>
                <a:gd name="T15" fmla="*/ 45 h 45"/>
                <a:gd name="T16" fmla="*/ 33 w 34"/>
                <a:gd name="T17" fmla="*/ 23 h 45"/>
                <a:gd name="T18" fmla="*/ 30 w 34"/>
                <a:gd name="T19" fmla="*/ 1 h 45"/>
                <a:gd name="T20" fmla="*/ 30 w 34"/>
                <a:gd name="T21" fmla="*/ 0 h 45"/>
                <a:gd name="T22" fmla="*/ 1 w 34"/>
                <a:gd name="T23" fmla="*/ 27 h 45"/>
                <a:gd name="T24" fmla="*/ 3 w 34"/>
                <a:gd name="T25" fmla="*/ 20 h 45"/>
                <a:gd name="T26" fmla="*/ 2 w 34"/>
                <a:gd name="T27" fmla="*/ 14 h 45"/>
                <a:gd name="T28" fmla="*/ 29 w 34"/>
                <a:gd name="T29" fmla="*/ 2 h 45"/>
                <a:gd name="T30" fmla="*/ 32 w 34"/>
                <a:gd name="T31" fmla="*/ 23 h 45"/>
                <a:gd name="T32" fmla="*/ 26 w 34"/>
                <a:gd name="T33" fmla="*/ 44 h 45"/>
                <a:gd name="T34" fmla="*/ 1 w 34"/>
                <a:gd name="T3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0" y="0"/>
                  </a:moveTo>
                  <a:cubicBezTo>
                    <a:pt x="1" y="14"/>
                    <a:pt x="1" y="14"/>
                    <a:pt x="1" y="14"/>
                  </a:cubicBezTo>
                  <a:cubicBezTo>
                    <a:pt x="1" y="14"/>
                    <a:pt x="1" y="14"/>
                    <a:pt x="1" y="14"/>
                  </a:cubicBezTo>
                  <a:cubicBezTo>
                    <a:pt x="1" y="16"/>
                    <a:pt x="2" y="18"/>
                    <a:pt x="1" y="20"/>
                  </a:cubicBezTo>
                  <a:cubicBezTo>
                    <a:pt x="1" y="22"/>
                    <a:pt x="1" y="25"/>
                    <a:pt x="0" y="27"/>
                  </a:cubicBezTo>
                  <a:cubicBezTo>
                    <a:pt x="0" y="27"/>
                    <a:pt x="0" y="27"/>
                    <a:pt x="0" y="27"/>
                  </a:cubicBezTo>
                  <a:cubicBezTo>
                    <a:pt x="26" y="45"/>
                    <a:pt x="26" y="45"/>
                    <a:pt x="26" y="45"/>
                  </a:cubicBezTo>
                  <a:cubicBezTo>
                    <a:pt x="26" y="45"/>
                    <a:pt x="26" y="45"/>
                    <a:pt x="26" y="45"/>
                  </a:cubicBezTo>
                  <a:cubicBezTo>
                    <a:pt x="30" y="38"/>
                    <a:pt x="32" y="31"/>
                    <a:pt x="33" y="23"/>
                  </a:cubicBezTo>
                  <a:cubicBezTo>
                    <a:pt x="34" y="15"/>
                    <a:pt x="33" y="8"/>
                    <a:pt x="30" y="1"/>
                  </a:cubicBezTo>
                  <a:lnTo>
                    <a:pt x="30" y="0"/>
                  </a:lnTo>
                  <a:close/>
                  <a:moveTo>
                    <a:pt x="1" y="27"/>
                  </a:moveTo>
                  <a:cubicBezTo>
                    <a:pt x="2" y="25"/>
                    <a:pt x="2" y="23"/>
                    <a:pt x="3" y="20"/>
                  </a:cubicBezTo>
                  <a:cubicBezTo>
                    <a:pt x="3" y="18"/>
                    <a:pt x="3" y="16"/>
                    <a:pt x="2" y="14"/>
                  </a:cubicBezTo>
                  <a:cubicBezTo>
                    <a:pt x="29" y="2"/>
                    <a:pt x="29" y="2"/>
                    <a:pt x="29" y="2"/>
                  </a:cubicBezTo>
                  <a:cubicBezTo>
                    <a:pt x="32" y="8"/>
                    <a:pt x="33" y="16"/>
                    <a:pt x="32" y="23"/>
                  </a:cubicBezTo>
                  <a:cubicBezTo>
                    <a:pt x="31" y="30"/>
                    <a:pt x="29" y="37"/>
                    <a:pt x="26" y="44"/>
                  </a:cubicBezTo>
                  <a:lnTo>
                    <a:pt x="1" y="27"/>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5" name="Freeform 34"/>
            <p:cNvSpPr>
              <a:spLocks noEditPoints="1"/>
            </p:cNvSpPr>
            <p:nvPr/>
          </p:nvSpPr>
          <p:spPr bwMode="auto">
            <a:xfrm rot="14718710">
              <a:off x="13288156" y="6383331"/>
              <a:ext cx="808436" cy="1003089"/>
            </a:xfrm>
            <a:custGeom>
              <a:avLst/>
              <a:gdLst>
                <a:gd name="T0" fmla="*/ 33 w 34"/>
                <a:gd name="T1" fmla="*/ 31 h 45"/>
                <a:gd name="T2" fmla="*/ 33 w 34"/>
                <a:gd name="T3" fmla="*/ 25 h 45"/>
                <a:gd name="T4" fmla="*/ 34 w 34"/>
                <a:gd name="T5" fmla="*/ 19 h 45"/>
                <a:gd name="T6" fmla="*/ 34 w 34"/>
                <a:gd name="T7" fmla="*/ 18 h 45"/>
                <a:gd name="T8" fmla="*/ 8 w 34"/>
                <a:gd name="T9" fmla="*/ 0 h 45"/>
                <a:gd name="T10" fmla="*/ 8 w 34"/>
                <a:gd name="T11" fmla="*/ 1 h 45"/>
                <a:gd name="T12" fmla="*/ 1 w 34"/>
                <a:gd name="T13" fmla="*/ 22 h 45"/>
                <a:gd name="T14" fmla="*/ 4 w 34"/>
                <a:gd name="T15" fmla="*/ 45 h 45"/>
                <a:gd name="T16" fmla="*/ 4 w 34"/>
                <a:gd name="T17" fmla="*/ 45 h 45"/>
                <a:gd name="T18" fmla="*/ 33 w 34"/>
                <a:gd name="T19" fmla="*/ 32 h 45"/>
                <a:gd name="T20" fmla="*/ 33 w 34"/>
                <a:gd name="T21" fmla="*/ 31 h 45"/>
                <a:gd name="T22" fmla="*/ 33 w 34"/>
                <a:gd name="T23" fmla="*/ 19 h 45"/>
                <a:gd name="T24" fmla="*/ 31 w 34"/>
                <a:gd name="T25" fmla="*/ 25 h 45"/>
                <a:gd name="T26" fmla="*/ 32 w 34"/>
                <a:gd name="T27" fmla="*/ 31 h 45"/>
                <a:gd name="T28" fmla="*/ 5 w 34"/>
                <a:gd name="T29" fmla="*/ 44 h 45"/>
                <a:gd name="T30" fmla="*/ 2 w 34"/>
                <a:gd name="T31" fmla="*/ 22 h 45"/>
                <a:gd name="T32" fmla="*/ 8 w 34"/>
                <a:gd name="T33" fmla="*/ 2 h 45"/>
                <a:gd name="T34" fmla="*/ 33 w 34"/>
                <a:gd name="T35"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5">
                  <a:moveTo>
                    <a:pt x="33" y="31"/>
                  </a:moveTo>
                  <a:cubicBezTo>
                    <a:pt x="33" y="29"/>
                    <a:pt x="32" y="27"/>
                    <a:pt x="33" y="25"/>
                  </a:cubicBezTo>
                  <a:cubicBezTo>
                    <a:pt x="33" y="23"/>
                    <a:pt x="33" y="21"/>
                    <a:pt x="34" y="19"/>
                  </a:cubicBezTo>
                  <a:cubicBezTo>
                    <a:pt x="34" y="18"/>
                    <a:pt x="34" y="18"/>
                    <a:pt x="34" y="18"/>
                  </a:cubicBezTo>
                  <a:cubicBezTo>
                    <a:pt x="8" y="0"/>
                    <a:pt x="8" y="0"/>
                    <a:pt x="8" y="0"/>
                  </a:cubicBezTo>
                  <a:cubicBezTo>
                    <a:pt x="8" y="1"/>
                    <a:pt x="8" y="1"/>
                    <a:pt x="8" y="1"/>
                  </a:cubicBezTo>
                  <a:cubicBezTo>
                    <a:pt x="4" y="7"/>
                    <a:pt x="2" y="15"/>
                    <a:pt x="1" y="22"/>
                  </a:cubicBezTo>
                  <a:cubicBezTo>
                    <a:pt x="0" y="30"/>
                    <a:pt x="1" y="38"/>
                    <a:pt x="4" y="45"/>
                  </a:cubicBezTo>
                  <a:cubicBezTo>
                    <a:pt x="4" y="45"/>
                    <a:pt x="4" y="45"/>
                    <a:pt x="4" y="45"/>
                  </a:cubicBezTo>
                  <a:cubicBezTo>
                    <a:pt x="33" y="32"/>
                    <a:pt x="33" y="32"/>
                    <a:pt x="33" y="32"/>
                  </a:cubicBezTo>
                  <a:lnTo>
                    <a:pt x="33" y="31"/>
                  </a:lnTo>
                  <a:close/>
                  <a:moveTo>
                    <a:pt x="33" y="19"/>
                  </a:moveTo>
                  <a:cubicBezTo>
                    <a:pt x="32" y="21"/>
                    <a:pt x="32" y="23"/>
                    <a:pt x="31" y="25"/>
                  </a:cubicBezTo>
                  <a:cubicBezTo>
                    <a:pt x="31" y="27"/>
                    <a:pt x="31" y="29"/>
                    <a:pt x="32" y="31"/>
                  </a:cubicBezTo>
                  <a:cubicBezTo>
                    <a:pt x="5" y="44"/>
                    <a:pt x="5" y="44"/>
                    <a:pt x="5" y="44"/>
                  </a:cubicBezTo>
                  <a:cubicBezTo>
                    <a:pt x="2" y="37"/>
                    <a:pt x="1" y="30"/>
                    <a:pt x="2" y="22"/>
                  </a:cubicBezTo>
                  <a:cubicBezTo>
                    <a:pt x="3" y="15"/>
                    <a:pt x="5" y="8"/>
                    <a:pt x="8" y="2"/>
                  </a:cubicBezTo>
                  <a:lnTo>
                    <a:pt x="33" y="19"/>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grpSp>
      <p:grpSp>
        <p:nvGrpSpPr>
          <p:cNvPr id="36" name="Group 35"/>
          <p:cNvGrpSpPr/>
          <p:nvPr/>
        </p:nvGrpSpPr>
        <p:grpSpPr>
          <a:xfrm rot="20341649">
            <a:off x="3614814" y="1423074"/>
            <a:ext cx="1684773" cy="1711204"/>
            <a:chOff x="8588894" y="2255520"/>
            <a:chExt cx="3013174" cy="3225446"/>
          </a:xfrm>
        </p:grpSpPr>
        <p:sp>
          <p:nvSpPr>
            <p:cNvPr id="37" name="Freeform 36"/>
            <p:cNvSpPr>
              <a:spLocks noEditPoints="1"/>
            </p:cNvSpPr>
            <p:nvPr/>
          </p:nvSpPr>
          <p:spPr bwMode="auto">
            <a:xfrm rot="14718710">
              <a:off x="8999214" y="3835436"/>
              <a:ext cx="924517" cy="671327"/>
            </a:xfrm>
            <a:custGeom>
              <a:avLst/>
              <a:gdLst>
                <a:gd name="T0" fmla="*/ 15 w 39"/>
                <a:gd name="T1" fmla="*/ 30 h 30"/>
                <a:gd name="T2" fmla="*/ 25 w 39"/>
                <a:gd name="T3" fmla="*/ 30 h 30"/>
                <a:gd name="T4" fmla="*/ 26 w 39"/>
                <a:gd name="T5" fmla="*/ 30 h 30"/>
                <a:gd name="T6" fmla="*/ 39 w 39"/>
                <a:gd name="T7" fmla="*/ 6 h 30"/>
                <a:gd name="T8" fmla="*/ 38 w 39"/>
                <a:gd name="T9" fmla="*/ 6 h 30"/>
                <a:gd name="T10" fmla="*/ 1 w 39"/>
                <a:gd name="T11" fmla="*/ 6 h 30"/>
                <a:gd name="T12" fmla="*/ 0 w 39"/>
                <a:gd name="T13" fmla="*/ 7 h 30"/>
                <a:gd name="T14" fmla="*/ 14 w 39"/>
                <a:gd name="T15" fmla="*/ 30 h 30"/>
                <a:gd name="T16" fmla="*/ 15 w 39"/>
                <a:gd name="T17" fmla="*/ 30 h 30"/>
                <a:gd name="T18" fmla="*/ 2 w 39"/>
                <a:gd name="T19" fmla="*/ 7 h 30"/>
                <a:gd name="T20" fmla="*/ 38 w 39"/>
                <a:gd name="T21" fmla="*/ 7 h 30"/>
                <a:gd name="T22" fmla="*/ 25 w 39"/>
                <a:gd name="T23" fmla="*/ 29 h 30"/>
                <a:gd name="T24" fmla="*/ 15 w 39"/>
                <a:gd name="T25" fmla="*/ 29 h 30"/>
                <a:gd name="T26" fmla="*/ 2 w 39"/>
                <a:gd name="T27"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0">
                  <a:moveTo>
                    <a:pt x="15" y="30"/>
                  </a:moveTo>
                  <a:cubicBezTo>
                    <a:pt x="18" y="29"/>
                    <a:pt x="22" y="29"/>
                    <a:pt x="25" y="30"/>
                  </a:cubicBezTo>
                  <a:cubicBezTo>
                    <a:pt x="26" y="30"/>
                    <a:pt x="26" y="30"/>
                    <a:pt x="26" y="30"/>
                  </a:cubicBezTo>
                  <a:cubicBezTo>
                    <a:pt x="39" y="6"/>
                    <a:pt x="39" y="6"/>
                    <a:pt x="39" y="6"/>
                  </a:cubicBezTo>
                  <a:cubicBezTo>
                    <a:pt x="38" y="6"/>
                    <a:pt x="38" y="6"/>
                    <a:pt x="38" y="6"/>
                  </a:cubicBezTo>
                  <a:cubicBezTo>
                    <a:pt x="26" y="0"/>
                    <a:pt x="13" y="1"/>
                    <a:pt x="1" y="6"/>
                  </a:cubicBezTo>
                  <a:cubicBezTo>
                    <a:pt x="0" y="7"/>
                    <a:pt x="0" y="7"/>
                    <a:pt x="0" y="7"/>
                  </a:cubicBezTo>
                  <a:cubicBezTo>
                    <a:pt x="14" y="30"/>
                    <a:pt x="14" y="30"/>
                    <a:pt x="14" y="30"/>
                  </a:cubicBezTo>
                  <a:lnTo>
                    <a:pt x="15" y="30"/>
                  </a:lnTo>
                  <a:close/>
                  <a:moveTo>
                    <a:pt x="2" y="7"/>
                  </a:moveTo>
                  <a:cubicBezTo>
                    <a:pt x="13" y="2"/>
                    <a:pt x="26" y="2"/>
                    <a:pt x="38" y="7"/>
                  </a:cubicBezTo>
                  <a:cubicBezTo>
                    <a:pt x="25" y="29"/>
                    <a:pt x="25" y="29"/>
                    <a:pt x="25" y="29"/>
                  </a:cubicBezTo>
                  <a:cubicBezTo>
                    <a:pt x="22" y="28"/>
                    <a:pt x="18" y="28"/>
                    <a:pt x="15" y="29"/>
                  </a:cubicBezTo>
                  <a:lnTo>
                    <a:pt x="2" y="7"/>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8" name="Freeform 37"/>
            <p:cNvSpPr>
              <a:spLocks noEditPoints="1"/>
            </p:cNvSpPr>
            <p:nvPr/>
          </p:nvSpPr>
          <p:spPr bwMode="auto">
            <a:xfrm rot="14718710">
              <a:off x="10273306" y="3217674"/>
              <a:ext cx="903787" cy="667424"/>
            </a:xfrm>
            <a:custGeom>
              <a:avLst/>
              <a:gdLst>
                <a:gd name="T0" fmla="*/ 24 w 38"/>
                <a:gd name="T1" fmla="*/ 0 h 30"/>
                <a:gd name="T2" fmla="*/ 13 w 38"/>
                <a:gd name="T3" fmla="*/ 0 h 30"/>
                <a:gd name="T4" fmla="*/ 13 w 38"/>
                <a:gd name="T5" fmla="*/ 0 h 30"/>
                <a:gd name="T6" fmla="*/ 0 w 38"/>
                <a:gd name="T7" fmla="*/ 24 h 30"/>
                <a:gd name="T8" fmla="*/ 0 w 38"/>
                <a:gd name="T9" fmla="*/ 24 h 30"/>
                <a:gd name="T10" fmla="*/ 38 w 38"/>
                <a:gd name="T11" fmla="*/ 24 h 30"/>
                <a:gd name="T12" fmla="*/ 38 w 38"/>
                <a:gd name="T13" fmla="*/ 24 h 30"/>
                <a:gd name="T14" fmla="*/ 24 w 38"/>
                <a:gd name="T15" fmla="*/ 0 h 30"/>
                <a:gd name="T16" fmla="*/ 37 w 38"/>
                <a:gd name="T17" fmla="*/ 23 h 30"/>
                <a:gd name="T18" fmla="*/ 1 w 38"/>
                <a:gd name="T19" fmla="*/ 24 h 30"/>
                <a:gd name="T20" fmla="*/ 13 w 38"/>
                <a:gd name="T21" fmla="*/ 1 h 30"/>
                <a:gd name="T22" fmla="*/ 24 w 38"/>
                <a:gd name="T23" fmla="*/ 1 h 30"/>
                <a:gd name="T24" fmla="*/ 37 w 38"/>
                <a:gd name="T25"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24" y="0"/>
                  </a:moveTo>
                  <a:cubicBezTo>
                    <a:pt x="20" y="1"/>
                    <a:pt x="17" y="1"/>
                    <a:pt x="13" y="0"/>
                  </a:cubicBezTo>
                  <a:cubicBezTo>
                    <a:pt x="13" y="0"/>
                    <a:pt x="13" y="0"/>
                    <a:pt x="13" y="0"/>
                  </a:cubicBezTo>
                  <a:cubicBezTo>
                    <a:pt x="0" y="24"/>
                    <a:pt x="0" y="24"/>
                    <a:pt x="0" y="24"/>
                  </a:cubicBezTo>
                  <a:cubicBezTo>
                    <a:pt x="0" y="24"/>
                    <a:pt x="0" y="24"/>
                    <a:pt x="0" y="24"/>
                  </a:cubicBezTo>
                  <a:cubicBezTo>
                    <a:pt x="12" y="30"/>
                    <a:pt x="26" y="30"/>
                    <a:pt x="38" y="24"/>
                  </a:cubicBezTo>
                  <a:cubicBezTo>
                    <a:pt x="38" y="24"/>
                    <a:pt x="38" y="24"/>
                    <a:pt x="38" y="24"/>
                  </a:cubicBezTo>
                  <a:cubicBezTo>
                    <a:pt x="24" y="0"/>
                    <a:pt x="24" y="0"/>
                    <a:pt x="24" y="0"/>
                  </a:cubicBezTo>
                  <a:close/>
                  <a:moveTo>
                    <a:pt x="37" y="23"/>
                  </a:moveTo>
                  <a:cubicBezTo>
                    <a:pt x="26" y="28"/>
                    <a:pt x="12" y="29"/>
                    <a:pt x="1" y="24"/>
                  </a:cubicBezTo>
                  <a:cubicBezTo>
                    <a:pt x="13" y="1"/>
                    <a:pt x="13" y="1"/>
                    <a:pt x="13" y="1"/>
                  </a:cubicBezTo>
                  <a:cubicBezTo>
                    <a:pt x="17" y="2"/>
                    <a:pt x="20" y="2"/>
                    <a:pt x="24" y="1"/>
                  </a:cubicBezTo>
                  <a:lnTo>
                    <a:pt x="37"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39" name="Freeform 38"/>
            <p:cNvSpPr>
              <a:spLocks noEditPoints="1"/>
            </p:cNvSpPr>
            <p:nvPr/>
          </p:nvSpPr>
          <p:spPr bwMode="auto">
            <a:xfrm rot="14718710">
              <a:off x="8482758" y="2361656"/>
              <a:ext cx="3225446" cy="3013174"/>
            </a:xfrm>
            <a:custGeom>
              <a:avLst/>
              <a:gdLst>
                <a:gd name="T0" fmla="*/ 131 w 136"/>
                <a:gd name="T1" fmla="*/ 84 h 135"/>
                <a:gd name="T2" fmla="*/ 136 w 136"/>
                <a:gd name="T3" fmla="*/ 64 h 135"/>
                <a:gd name="T4" fmla="*/ 130 w 136"/>
                <a:gd name="T5" fmla="*/ 49 h 135"/>
                <a:gd name="T6" fmla="*/ 116 w 136"/>
                <a:gd name="T7" fmla="*/ 43 h 135"/>
                <a:gd name="T8" fmla="*/ 117 w 136"/>
                <a:gd name="T9" fmla="*/ 21 h 135"/>
                <a:gd name="T10" fmla="*/ 103 w 136"/>
                <a:gd name="T11" fmla="*/ 9 h 135"/>
                <a:gd name="T12" fmla="*/ 83 w 136"/>
                <a:gd name="T13" fmla="*/ 16 h 135"/>
                <a:gd name="T14" fmla="*/ 73 w 136"/>
                <a:gd name="T15" fmla="*/ 3 h 135"/>
                <a:gd name="T16" fmla="*/ 57 w 136"/>
                <a:gd name="T17" fmla="*/ 0 h 135"/>
                <a:gd name="T18" fmla="*/ 39 w 136"/>
                <a:gd name="T19" fmla="*/ 10 h 135"/>
                <a:gd name="T20" fmla="*/ 35 w 136"/>
                <a:gd name="T21" fmla="*/ 25 h 135"/>
                <a:gd name="T22" fmla="*/ 14 w 136"/>
                <a:gd name="T23" fmla="*/ 26 h 135"/>
                <a:gd name="T24" fmla="*/ 9 w 136"/>
                <a:gd name="T25" fmla="*/ 42 h 135"/>
                <a:gd name="T26" fmla="*/ 15 w 136"/>
                <a:gd name="T27" fmla="*/ 62 h 135"/>
                <a:gd name="T28" fmla="*/ 4 w 136"/>
                <a:gd name="T29" fmla="*/ 74 h 135"/>
                <a:gd name="T30" fmla="*/ 6 w 136"/>
                <a:gd name="T31" fmla="*/ 94 h 135"/>
                <a:gd name="T32" fmla="*/ 16 w 136"/>
                <a:gd name="T33" fmla="*/ 106 h 135"/>
                <a:gd name="T34" fmla="*/ 32 w 136"/>
                <a:gd name="T35" fmla="*/ 107 h 135"/>
                <a:gd name="T36" fmla="*/ 37 w 136"/>
                <a:gd name="T37" fmla="*/ 128 h 135"/>
                <a:gd name="T38" fmla="*/ 55 w 136"/>
                <a:gd name="T39" fmla="*/ 134 h 135"/>
                <a:gd name="T40" fmla="*/ 72 w 136"/>
                <a:gd name="T41" fmla="*/ 121 h 135"/>
                <a:gd name="T42" fmla="*/ 85 w 136"/>
                <a:gd name="T43" fmla="*/ 130 h 135"/>
                <a:gd name="T44" fmla="*/ 101 w 136"/>
                <a:gd name="T45" fmla="*/ 127 h 135"/>
                <a:gd name="T46" fmla="*/ 115 w 136"/>
                <a:gd name="T47" fmla="*/ 112 h 135"/>
                <a:gd name="T48" fmla="*/ 114 w 136"/>
                <a:gd name="T49" fmla="*/ 96 h 135"/>
                <a:gd name="T50" fmla="*/ 114 w 136"/>
                <a:gd name="T51" fmla="*/ 93 h 135"/>
                <a:gd name="T52" fmla="*/ 119 w 136"/>
                <a:gd name="T53" fmla="*/ 111 h 135"/>
                <a:gd name="T54" fmla="*/ 100 w 136"/>
                <a:gd name="T55" fmla="*/ 110 h 135"/>
                <a:gd name="T56" fmla="*/ 99 w 136"/>
                <a:gd name="T57" fmla="*/ 126 h 135"/>
                <a:gd name="T58" fmla="*/ 83 w 136"/>
                <a:gd name="T59" fmla="*/ 118 h 135"/>
                <a:gd name="T60" fmla="*/ 76 w 136"/>
                <a:gd name="T61" fmla="*/ 131 h 135"/>
                <a:gd name="T62" fmla="*/ 62 w 136"/>
                <a:gd name="T63" fmla="*/ 132 h 135"/>
                <a:gd name="T64" fmla="*/ 55 w 136"/>
                <a:gd name="T65" fmla="*/ 119 h 135"/>
                <a:gd name="T66" fmla="*/ 38 w 136"/>
                <a:gd name="T67" fmla="*/ 127 h 135"/>
                <a:gd name="T68" fmla="*/ 32 w 136"/>
                <a:gd name="T69" fmla="*/ 106 h 135"/>
                <a:gd name="T70" fmla="*/ 16 w 136"/>
                <a:gd name="T71" fmla="*/ 110 h 135"/>
                <a:gd name="T72" fmla="*/ 21 w 136"/>
                <a:gd name="T73" fmla="*/ 91 h 135"/>
                <a:gd name="T74" fmla="*/ 7 w 136"/>
                <a:gd name="T75" fmla="*/ 87 h 135"/>
                <a:gd name="T76" fmla="*/ 4 w 136"/>
                <a:gd name="T77" fmla="*/ 73 h 135"/>
                <a:gd name="T78" fmla="*/ 16 w 136"/>
                <a:gd name="T79" fmla="*/ 63 h 135"/>
                <a:gd name="T80" fmla="*/ 4 w 136"/>
                <a:gd name="T81" fmla="*/ 48 h 135"/>
                <a:gd name="T82" fmla="*/ 22 w 136"/>
                <a:gd name="T83" fmla="*/ 42 h 135"/>
                <a:gd name="T84" fmla="*/ 18 w 136"/>
                <a:gd name="T85" fmla="*/ 24 h 135"/>
                <a:gd name="T86" fmla="*/ 36 w 136"/>
                <a:gd name="T87" fmla="*/ 26 h 135"/>
                <a:gd name="T88" fmla="*/ 37 w 136"/>
                <a:gd name="T89" fmla="*/ 9 h 135"/>
                <a:gd name="T90" fmla="*/ 53 w 136"/>
                <a:gd name="T91" fmla="*/ 17 h 135"/>
                <a:gd name="T92" fmla="*/ 60 w 136"/>
                <a:gd name="T93" fmla="*/ 4 h 135"/>
                <a:gd name="T94" fmla="*/ 74 w 136"/>
                <a:gd name="T95" fmla="*/ 4 h 135"/>
                <a:gd name="T96" fmla="*/ 82 w 136"/>
                <a:gd name="T97" fmla="*/ 17 h 135"/>
                <a:gd name="T98" fmla="*/ 99 w 136"/>
                <a:gd name="T99" fmla="*/ 8 h 135"/>
                <a:gd name="T100" fmla="*/ 104 w 136"/>
                <a:gd name="T101" fmla="*/ 29 h 135"/>
                <a:gd name="T102" fmla="*/ 120 w 136"/>
                <a:gd name="T103" fmla="*/ 25 h 135"/>
                <a:gd name="T104" fmla="*/ 115 w 136"/>
                <a:gd name="T105" fmla="*/ 44 h 135"/>
                <a:gd name="T106" fmla="*/ 130 w 136"/>
                <a:gd name="T107" fmla="*/ 48 h 135"/>
                <a:gd name="T108" fmla="*/ 132 w 136"/>
                <a:gd name="T109" fmla="*/ 62 h 135"/>
                <a:gd name="T110" fmla="*/ 121 w 136"/>
                <a:gd name="T111" fmla="*/ 72 h 135"/>
                <a:gd name="T112" fmla="*/ 132 w 136"/>
                <a:gd name="T11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 h="135">
                  <a:moveTo>
                    <a:pt x="117" y="91"/>
                  </a:moveTo>
                  <a:cubicBezTo>
                    <a:pt x="127" y="93"/>
                    <a:pt x="127" y="93"/>
                    <a:pt x="127" y="93"/>
                  </a:cubicBezTo>
                  <a:cubicBezTo>
                    <a:pt x="129" y="94"/>
                    <a:pt x="131" y="93"/>
                    <a:pt x="132" y="92"/>
                  </a:cubicBezTo>
                  <a:cubicBezTo>
                    <a:pt x="133" y="88"/>
                    <a:pt x="133" y="88"/>
                    <a:pt x="133" y="88"/>
                  </a:cubicBezTo>
                  <a:cubicBezTo>
                    <a:pt x="134" y="86"/>
                    <a:pt x="133" y="85"/>
                    <a:pt x="131" y="84"/>
                  </a:cubicBezTo>
                  <a:cubicBezTo>
                    <a:pt x="121" y="79"/>
                    <a:pt x="121" y="79"/>
                    <a:pt x="121" y="79"/>
                  </a:cubicBezTo>
                  <a:cubicBezTo>
                    <a:pt x="121" y="77"/>
                    <a:pt x="122" y="75"/>
                    <a:pt x="122" y="73"/>
                  </a:cubicBezTo>
                  <a:cubicBezTo>
                    <a:pt x="133" y="72"/>
                    <a:pt x="133" y="72"/>
                    <a:pt x="133" y="72"/>
                  </a:cubicBezTo>
                  <a:cubicBezTo>
                    <a:pt x="135" y="71"/>
                    <a:pt x="136" y="70"/>
                    <a:pt x="136" y="69"/>
                  </a:cubicBezTo>
                  <a:cubicBezTo>
                    <a:pt x="136" y="64"/>
                    <a:pt x="136" y="64"/>
                    <a:pt x="136" y="64"/>
                  </a:cubicBezTo>
                  <a:cubicBezTo>
                    <a:pt x="136" y="63"/>
                    <a:pt x="135" y="62"/>
                    <a:pt x="134" y="62"/>
                  </a:cubicBezTo>
                  <a:cubicBezTo>
                    <a:pt x="134" y="62"/>
                    <a:pt x="133" y="61"/>
                    <a:pt x="132" y="61"/>
                  </a:cubicBezTo>
                  <a:cubicBezTo>
                    <a:pt x="122" y="61"/>
                    <a:pt x="122" y="61"/>
                    <a:pt x="122" y="61"/>
                  </a:cubicBezTo>
                  <a:cubicBezTo>
                    <a:pt x="121" y="58"/>
                    <a:pt x="121" y="56"/>
                    <a:pt x="120" y="54"/>
                  </a:cubicBezTo>
                  <a:cubicBezTo>
                    <a:pt x="130" y="49"/>
                    <a:pt x="130" y="49"/>
                    <a:pt x="130" y="49"/>
                  </a:cubicBezTo>
                  <a:cubicBezTo>
                    <a:pt x="132" y="48"/>
                    <a:pt x="133" y="47"/>
                    <a:pt x="132" y="45"/>
                  </a:cubicBezTo>
                  <a:cubicBezTo>
                    <a:pt x="132" y="44"/>
                    <a:pt x="131" y="42"/>
                    <a:pt x="131" y="41"/>
                  </a:cubicBezTo>
                  <a:cubicBezTo>
                    <a:pt x="131" y="41"/>
                    <a:pt x="130" y="40"/>
                    <a:pt x="130" y="40"/>
                  </a:cubicBezTo>
                  <a:cubicBezTo>
                    <a:pt x="129" y="40"/>
                    <a:pt x="128" y="40"/>
                    <a:pt x="126" y="40"/>
                  </a:cubicBezTo>
                  <a:cubicBezTo>
                    <a:pt x="116" y="43"/>
                    <a:pt x="116" y="43"/>
                    <a:pt x="116" y="43"/>
                  </a:cubicBezTo>
                  <a:cubicBezTo>
                    <a:pt x="115" y="41"/>
                    <a:pt x="114" y="39"/>
                    <a:pt x="113" y="37"/>
                  </a:cubicBezTo>
                  <a:cubicBezTo>
                    <a:pt x="120" y="29"/>
                    <a:pt x="120" y="29"/>
                    <a:pt x="120" y="29"/>
                  </a:cubicBezTo>
                  <a:cubicBezTo>
                    <a:pt x="122" y="28"/>
                    <a:pt x="122" y="26"/>
                    <a:pt x="121" y="25"/>
                  </a:cubicBezTo>
                  <a:cubicBezTo>
                    <a:pt x="120" y="24"/>
                    <a:pt x="119" y="22"/>
                    <a:pt x="118" y="21"/>
                  </a:cubicBezTo>
                  <a:cubicBezTo>
                    <a:pt x="118" y="21"/>
                    <a:pt x="118" y="21"/>
                    <a:pt x="117" y="21"/>
                  </a:cubicBezTo>
                  <a:cubicBezTo>
                    <a:pt x="116" y="20"/>
                    <a:pt x="115" y="21"/>
                    <a:pt x="113" y="22"/>
                  </a:cubicBezTo>
                  <a:cubicBezTo>
                    <a:pt x="105" y="28"/>
                    <a:pt x="105" y="28"/>
                    <a:pt x="105" y="28"/>
                  </a:cubicBezTo>
                  <a:cubicBezTo>
                    <a:pt x="103" y="26"/>
                    <a:pt x="101" y="25"/>
                    <a:pt x="100" y="24"/>
                  </a:cubicBezTo>
                  <a:cubicBezTo>
                    <a:pt x="104" y="14"/>
                    <a:pt x="104" y="14"/>
                    <a:pt x="104" y="14"/>
                  </a:cubicBezTo>
                  <a:cubicBezTo>
                    <a:pt x="105" y="12"/>
                    <a:pt x="104" y="10"/>
                    <a:pt x="103" y="9"/>
                  </a:cubicBezTo>
                  <a:cubicBezTo>
                    <a:pt x="99" y="7"/>
                    <a:pt x="99" y="7"/>
                    <a:pt x="99" y="7"/>
                  </a:cubicBezTo>
                  <a:cubicBezTo>
                    <a:pt x="99" y="7"/>
                    <a:pt x="99" y="7"/>
                    <a:pt x="99" y="7"/>
                  </a:cubicBezTo>
                  <a:cubicBezTo>
                    <a:pt x="98" y="6"/>
                    <a:pt x="96" y="7"/>
                    <a:pt x="95" y="9"/>
                  </a:cubicBezTo>
                  <a:cubicBezTo>
                    <a:pt x="89" y="18"/>
                    <a:pt x="89" y="18"/>
                    <a:pt x="89" y="18"/>
                  </a:cubicBezTo>
                  <a:cubicBezTo>
                    <a:pt x="87" y="17"/>
                    <a:pt x="85" y="16"/>
                    <a:pt x="83" y="16"/>
                  </a:cubicBezTo>
                  <a:cubicBezTo>
                    <a:pt x="83" y="5"/>
                    <a:pt x="83" y="5"/>
                    <a:pt x="83" y="5"/>
                  </a:cubicBezTo>
                  <a:cubicBezTo>
                    <a:pt x="83" y="3"/>
                    <a:pt x="83" y="1"/>
                    <a:pt x="82" y="1"/>
                  </a:cubicBezTo>
                  <a:cubicBezTo>
                    <a:pt x="81" y="1"/>
                    <a:pt x="81" y="1"/>
                    <a:pt x="81" y="1"/>
                  </a:cubicBezTo>
                  <a:cubicBezTo>
                    <a:pt x="77" y="0"/>
                    <a:pt x="77" y="0"/>
                    <a:pt x="77" y="0"/>
                  </a:cubicBezTo>
                  <a:cubicBezTo>
                    <a:pt x="75" y="0"/>
                    <a:pt x="74" y="1"/>
                    <a:pt x="73" y="3"/>
                  </a:cubicBezTo>
                  <a:cubicBezTo>
                    <a:pt x="71" y="14"/>
                    <a:pt x="71" y="14"/>
                    <a:pt x="71" y="14"/>
                  </a:cubicBezTo>
                  <a:cubicBezTo>
                    <a:pt x="68" y="14"/>
                    <a:pt x="66" y="14"/>
                    <a:pt x="64" y="14"/>
                  </a:cubicBezTo>
                  <a:cubicBezTo>
                    <a:pt x="61" y="4"/>
                    <a:pt x="61" y="4"/>
                    <a:pt x="61" y="4"/>
                  </a:cubicBezTo>
                  <a:cubicBezTo>
                    <a:pt x="61" y="2"/>
                    <a:pt x="60" y="1"/>
                    <a:pt x="59" y="1"/>
                  </a:cubicBezTo>
                  <a:cubicBezTo>
                    <a:pt x="58" y="0"/>
                    <a:pt x="58" y="0"/>
                    <a:pt x="57" y="0"/>
                  </a:cubicBezTo>
                  <a:cubicBezTo>
                    <a:pt x="53" y="1"/>
                    <a:pt x="53" y="1"/>
                    <a:pt x="53" y="1"/>
                  </a:cubicBezTo>
                  <a:cubicBezTo>
                    <a:pt x="52" y="2"/>
                    <a:pt x="51" y="3"/>
                    <a:pt x="51" y="5"/>
                  </a:cubicBezTo>
                  <a:cubicBezTo>
                    <a:pt x="52" y="16"/>
                    <a:pt x="52" y="16"/>
                    <a:pt x="52" y="16"/>
                  </a:cubicBezTo>
                  <a:cubicBezTo>
                    <a:pt x="50" y="17"/>
                    <a:pt x="48" y="18"/>
                    <a:pt x="46" y="19"/>
                  </a:cubicBezTo>
                  <a:cubicBezTo>
                    <a:pt x="39" y="10"/>
                    <a:pt x="39" y="10"/>
                    <a:pt x="39" y="10"/>
                  </a:cubicBezTo>
                  <a:cubicBezTo>
                    <a:pt x="39" y="9"/>
                    <a:pt x="38" y="9"/>
                    <a:pt x="38" y="8"/>
                  </a:cubicBezTo>
                  <a:cubicBezTo>
                    <a:pt x="37" y="8"/>
                    <a:pt x="36" y="8"/>
                    <a:pt x="35" y="8"/>
                  </a:cubicBezTo>
                  <a:cubicBezTo>
                    <a:pt x="31" y="10"/>
                    <a:pt x="31" y="10"/>
                    <a:pt x="31" y="10"/>
                  </a:cubicBezTo>
                  <a:cubicBezTo>
                    <a:pt x="30" y="11"/>
                    <a:pt x="30" y="13"/>
                    <a:pt x="31" y="15"/>
                  </a:cubicBezTo>
                  <a:cubicBezTo>
                    <a:pt x="35" y="25"/>
                    <a:pt x="35" y="25"/>
                    <a:pt x="35" y="25"/>
                  </a:cubicBezTo>
                  <a:cubicBezTo>
                    <a:pt x="34" y="26"/>
                    <a:pt x="32" y="28"/>
                    <a:pt x="31" y="29"/>
                  </a:cubicBezTo>
                  <a:cubicBezTo>
                    <a:pt x="21" y="23"/>
                    <a:pt x="21" y="23"/>
                    <a:pt x="21" y="23"/>
                  </a:cubicBezTo>
                  <a:cubicBezTo>
                    <a:pt x="21" y="23"/>
                    <a:pt x="21" y="23"/>
                    <a:pt x="21" y="23"/>
                  </a:cubicBezTo>
                  <a:cubicBezTo>
                    <a:pt x="19" y="22"/>
                    <a:pt x="18" y="22"/>
                    <a:pt x="17" y="23"/>
                  </a:cubicBezTo>
                  <a:cubicBezTo>
                    <a:pt x="14" y="26"/>
                    <a:pt x="14" y="26"/>
                    <a:pt x="14" y="26"/>
                  </a:cubicBezTo>
                  <a:cubicBezTo>
                    <a:pt x="13" y="28"/>
                    <a:pt x="14" y="30"/>
                    <a:pt x="15" y="31"/>
                  </a:cubicBezTo>
                  <a:cubicBezTo>
                    <a:pt x="23" y="39"/>
                    <a:pt x="23" y="39"/>
                    <a:pt x="23" y="39"/>
                  </a:cubicBezTo>
                  <a:cubicBezTo>
                    <a:pt x="22" y="40"/>
                    <a:pt x="22" y="41"/>
                    <a:pt x="21" y="42"/>
                  </a:cubicBezTo>
                  <a:cubicBezTo>
                    <a:pt x="21" y="42"/>
                    <a:pt x="20" y="43"/>
                    <a:pt x="20" y="44"/>
                  </a:cubicBezTo>
                  <a:cubicBezTo>
                    <a:pt x="9" y="42"/>
                    <a:pt x="9" y="42"/>
                    <a:pt x="9" y="42"/>
                  </a:cubicBezTo>
                  <a:cubicBezTo>
                    <a:pt x="7" y="41"/>
                    <a:pt x="5" y="42"/>
                    <a:pt x="5" y="43"/>
                  </a:cubicBezTo>
                  <a:cubicBezTo>
                    <a:pt x="4" y="45"/>
                    <a:pt x="4" y="46"/>
                    <a:pt x="3" y="47"/>
                  </a:cubicBezTo>
                  <a:cubicBezTo>
                    <a:pt x="3" y="49"/>
                    <a:pt x="4" y="51"/>
                    <a:pt x="6" y="51"/>
                  </a:cubicBezTo>
                  <a:cubicBezTo>
                    <a:pt x="16" y="56"/>
                    <a:pt x="16" y="56"/>
                    <a:pt x="16" y="56"/>
                  </a:cubicBezTo>
                  <a:cubicBezTo>
                    <a:pt x="15" y="58"/>
                    <a:pt x="15" y="60"/>
                    <a:pt x="15" y="62"/>
                  </a:cubicBezTo>
                  <a:cubicBezTo>
                    <a:pt x="4" y="64"/>
                    <a:pt x="4" y="64"/>
                    <a:pt x="4" y="64"/>
                  </a:cubicBezTo>
                  <a:cubicBezTo>
                    <a:pt x="2" y="64"/>
                    <a:pt x="0" y="65"/>
                    <a:pt x="0" y="67"/>
                  </a:cubicBezTo>
                  <a:cubicBezTo>
                    <a:pt x="0" y="71"/>
                    <a:pt x="0" y="71"/>
                    <a:pt x="0" y="71"/>
                  </a:cubicBezTo>
                  <a:cubicBezTo>
                    <a:pt x="0" y="72"/>
                    <a:pt x="1" y="73"/>
                    <a:pt x="2" y="73"/>
                  </a:cubicBezTo>
                  <a:cubicBezTo>
                    <a:pt x="3" y="74"/>
                    <a:pt x="3" y="74"/>
                    <a:pt x="4" y="74"/>
                  </a:cubicBezTo>
                  <a:cubicBezTo>
                    <a:pt x="15" y="75"/>
                    <a:pt x="15" y="75"/>
                    <a:pt x="15" y="75"/>
                  </a:cubicBezTo>
                  <a:cubicBezTo>
                    <a:pt x="15" y="77"/>
                    <a:pt x="16" y="79"/>
                    <a:pt x="16" y="81"/>
                  </a:cubicBezTo>
                  <a:cubicBezTo>
                    <a:pt x="6" y="86"/>
                    <a:pt x="6" y="86"/>
                    <a:pt x="6" y="86"/>
                  </a:cubicBezTo>
                  <a:cubicBezTo>
                    <a:pt x="5" y="87"/>
                    <a:pt x="4" y="89"/>
                    <a:pt x="4" y="90"/>
                  </a:cubicBezTo>
                  <a:cubicBezTo>
                    <a:pt x="6" y="94"/>
                    <a:pt x="6" y="94"/>
                    <a:pt x="6" y="94"/>
                  </a:cubicBezTo>
                  <a:cubicBezTo>
                    <a:pt x="6" y="95"/>
                    <a:pt x="6" y="95"/>
                    <a:pt x="7" y="95"/>
                  </a:cubicBezTo>
                  <a:cubicBezTo>
                    <a:pt x="8" y="96"/>
                    <a:pt x="9" y="96"/>
                    <a:pt x="10" y="95"/>
                  </a:cubicBezTo>
                  <a:cubicBezTo>
                    <a:pt x="21" y="93"/>
                    <a:pt x="21" y="93"/>
                    <a:pt x="21" y="93"/>
                  </a:cubicBezTo>
                  <a:cubicBezTo>
                    <a:pt x="22" y="94"/>
                    <a:pt x="23" y="96"/>
                    <a:pt x="24" y="98"/>
                  </a:cubicBezTo>
                  <a:cubicBezTo>
                    <a:pt x="16" y="106"/>
                    <a:pt x="16" y="106"/>
                    <a:pt x="16" y="106"/>
                  </a:cubicBezTo>
                  <a:cubicBezTo>
                    <a:pt x="15" y="107"/>
                    <a:pt x="15" y="110"/>
                    <a:pt x="16" y="111"/>
                  </a:cubicBezTo>
                  <a:cubicBezTo>
                    <a:pt x="18" y="114"/>
                    <a:pt x="18" y="114"/>
                    <a:pt x="18" y="114"/>
                  </a:cubicBezTo>
                  <a:cubicBezTo>
                    <a:pt x="19" y="114"/>
                    <a:pt x="19" y="114"/>
                    <a:pt x="19" y="114"/>
                  </a:cubicBezTo>
                  <a:cubicBezTo>
                    <a:pt x="20" y="115"/>
                    <a:pt x="22" y="115"/>
                    <a:pt x="23" y="114"/>
                  </a:cubicBezTo>
                  <a:cubicBezTo>
                    <a:pt x="32" y="107"/>
                    <a:pt x="32" y="107"/>
                    <a:pt x="32" y="107"/>
                  </a:cubicBezTo>
                  <a:cubicBezTo>
                    <a:pt x="34" y="109"/>
                    <a:pt x="35" y="110"/>
                    <a:pt x="37" y="111"/>
                  </a:cubicBezTo>
                  <a:cubicBezTo>
                    <a:pt x="33" y="121"/>
                    <a:pt x="33" y="121"/>
                    <a:pt x="33" y="121"/>
                  </a:cubicBezTo>
                  <a:cubicBezTo>
                    <a:pt x="32" y="123"/>
                    <a:pt x="32" y="125"/>
                    <a:pt x="33" y="126"/>
                  </a:cubicBezTo>
                  <a:cubicBezTo>
                    <a:pt x="37" y="128"/>
                    <a:pt x="37" y="128"/>
                    <a:pt x="37" y="128"/>
                  </a:cubicBezTo>
                  <a:cubicBezTo>
                    <a:pt x="37" y="128"/>
                    <a:pt x="37" y="128"/>
                    <a:pt x="37" y="128"/>
                  </a:cubicBezTo>
                  <a:cubicBezTo>
                    <a:pt x="39" y="129"/>
                    <a:pt x="40" y="128"/>
                    <a:pt x="42" y="126"/>
                  </a:cubicBezTo>
                  <a:cubicBezTo>
                    <a:pt x="48" y="117"/>
                    <a:pt x="48" y="117"/>
                    <a:pt x="48" y="117"/>
                  </a:cubicBezTo>
                  <a:cubicBezTo>
                    <a:pt x="50" y="118"/>
                    <a:pt x="52" y="119"/>
                    <a:pt x="54" y="119"/>
                  </a:cubicBezTo>
                  <a:cubicBezTo>
                    <a:pt x="53" y="130"/>
                    <a:pt x="53" y="130"/>
                    <a:pt x="53" y="130"/>
                  </a:cubicBezTo>
                  <a:cubicBezTo>
                    <a:pt x="53" y="132"/>
                    <a:pt x="54" y="134"/>
                    <a:pt x="55" y="134"/>
                  </a:cubicBezTo>
                  <a:cubicBezTo>
                    <a:pt x="55" y="134"/>
                    <a:pt x="55" y="134"/>
                    <a:pt x="55" y="134"/>
                  </a:cubicBezTo>
                  <a:cubicBezTo>
                    <a:pt x="60" y="135"/>
                    <a:pt x="60" y="135"/>
                    <a:pt x="60" y="135"/>
                  </a:cubicBezTo>
                  <a:cubicBezTo>
                    <a:pt x="61" y="135"/>
                    <a:pt x="63" y="134"/>
                    <a:pt x="63" y="132"/>
                  </a:cubicBezTo>
                  <a:cubicBezTo>
                    <a:pt x="66" y="121"/>
                    <a:pt x="66" y="121"/>
                    <a:pt x="66" y="121"/>
                  </a:cubicBezTo>
                  <a:cubicBezTo>
                    <a:pt x="68" y="121"/>
                    <a:pt x="70" y="121"/>
                    <a:pt x="72" y="121"/>
                  </a:cubicBezTo>
                  <a:cubicBezTo>
                    <a:pt x="76" y="132"/>
                    <a:pt x="76" y="132"/>
                    <a:pt x="76" y="132"/>
                  </a:cubicBezTo>
                  <a:cubicBezTo>
                    <a:pt x="76" y="133"/>
                    <a:pt x="77" y="134"/>
                    <a:pt x="78" y="135"/>
                  </a:cubicBezTo>
                  <a:cubicBezTo>
                    <a:pt x="78" y="135"/>
                    <a:pt x="79" y="135"/>
                    <a:pt x="79" y="135"/>
                  </a:cubicBezTo>
                  <a:cubicBezTo>
                    <a:pt x="83" y="134"/>
                    <a:pt x="83" y="134"/>
                    <a:pt x="83" y="134"/>
                  </a:cubicBezTo>
                  <a:cubicBezTo>
                    <a:pt x="85" y="134"/>
                    <a:pt x="86" y="132"/>
                    <a:pt x="85" y="130"/>
                  </a:cubicBezTo>
                  <a:cubicBezTo>
                    <a:pt x="84" y="119"/>
                    <a:pt x="84" y="119"/>
                    <a:pt x="84" y="119"/>
                  </a:cubicBezTo>
                  <a:cubicBezTo>
                    <a:pt x="87" y="118"/>
                    <a:pt x="89" y="117"/>
                    <a:pt x="90" y="117"/>
                  </a:cubicBezTo>
                  <a:cubicBezTo>
                    <a:pt x="97" y="125"/>
                    <a:pt x="97" y="125"/>
                    <a:pt x="97" y="125"/>
                  </a:cubicBezTo>
                  <a:cubicBezTo>
                    <a:pt x="98" y="126"/>
                    <a:pt x="98" y="127"/>
                    <a:pt x="99" y="127"/>
                  </a:cubicBezTo>
                  <a:cubicBezTo>
                    <a:pt x="100" y="127"/>
                    <a:pt x="101" y="127"/>
                    <a:pt x="101" y="127"/>
                  </a:cubicBezTo>
                  <a:cubicBezTo>
                    <a:pt x="105" y="125"/>
                    <a:pt x="105" y="125"/>
                    <a:pt x="105" y="125"/>
                  </a:cubicBezTo>
                  <a:cubicBezTo>
                    <a:pt x="106" y="124"/>
                    <a:pt x="107" y="122"/>
                    <a:pt x="106" y="120"/>
                  </a:cubicBezTo>
                  <a:cubicBezTo>
                    <a:pt x="101" y="110"/>
                    <a:pt x="101" y="110"/>
                    <a:pt x="101" y="110"/>
                  </a:cubicBezTo>
                  <a:cubicBezTo>
                    <a:pt x="103" y="109"/>
                    <a:pt x="104" y="108"/>
                    <a:pt x="106" y="106"/>
                  </a:cubicBezTo>
                  <a:cubicBezTo>
                    <a:pt x="115" y="112"/>
                    <a:pt x="115" y="112"/>
                    <a:pt x="115" y="112"/>
                  </a:cubicBezTo>
                  <a:cubicBezTo>
                    <a:pt x="115" y="112"/>
                    <a:pt x="116" y="112"/>
                    <a:pt x="116" y="112"/>
                  </a:cubicBezTo>
                  <a:cubicBezTo>
                    <a:pt x="117" y="113"/>
                    <a:pt x="119" y="113"/>
                    <a:pt x="120" y="112"/>
                  </a:cubicBezTo>
                  <a:cubicBezTo>
                    <a:pt x="122" y="109"/>
                    <a:pt x="122" y="109"/>
                    <a:pt x="122" y="109"/>
                  </a:cubicBezTo>
                  <a:cubicBezTo>
                    <a:pt x="123" y="108"/>
                    <a:pt x="123" y="106"/>
                    <a:pt x="121" y="104"/>
                  </a:cubicBezTo>
                  <a:cubicBezTo>
                    <a:pt x="114" y="96"/>
                    <a:pt x="114" y="96"/>
                    <a:pt x="114" y="96"/>
                  </a:cubicBezTo>
                  <a:cubicBezTo>
                    <a:pt x="114" y="95"/>
                    <a:pt x="115" y="95"/>
                    <a:pt x="115" y="94"/>
                  </a:cubicBezTo>
                  <a:cubicBezTo>
                    <a:pt x="116" y="93"/>
                    <a:pt x="116" y="92"/>
                    <a:pt x="117" y="91"/>
                  </a:cubicBezTo>
                  <a:close/>
                  <a:moveTo>
                    <a:pt x="116" y="90"/>
                  </a:moveTo>
                  <a:cubicBezTo>
                    <a:pt x="116" y="90"/>
                    <a:pt x="116" y="90"/>
                    <a:pt x="116" y="90"/>
                  </a:cubicBezTo>
                  <a:cubicBezTo>
                    <a:pt x="115" y="91"/>
                    <a:pt x="115" y="92"/>
                    <a:pt x="114" y="93"/>
                  </a:cubicBezTo>
                  <a:cubicBezTo>
                    <a:pt x="114" y="94"/>
                    <a:pt x="113" y="95"/>
                    <a:pt x="113" y="96"/>
                  </a:cubicBezTo>
                  <a:cubicBezTo>
                    <a:pt x="112" y="97"/>
                    <a:pt x="112" y="97"/>
                    <a:pt x="112" y="97"/>
                  </a:cubicBezTo>
                  <a:cubicBezTo>
                    <a:pt x="121" y="105"/>
                    <a:pt x="121" y="105"/>
                    <a:pt x="121" y="105"/>
                  </a:cubicBezTo>
                  <a:cubicBezTo>
                    <a:pt x="122" y="106"/>
                    <a:pt x="122" y="107"/>
                    <a:pt x="122" y="108"/>
                  </a:cubicBezTo>
                  <a:cubicBezTo>
                    <a:pt x="119" y="111"/>
                    <a:pt x="119" y="111"/>
                    <a:pt x="119" y="111"/>
                  </a:cubicBezTo>
                  <a:cubicBezTo>
                    <a:pt x="118" y="112"/>
                    <a:pt x="117" y="112"/>
                    <a:pt x="116" y="112"/>
                  </a:cubicBezTo>
                  <a:cubicBezTo>
                    <a:pt x="116" y="111"/>
                    <a:pt x="116" y="111"/>
                    <a:pt x="116" y="111"/>
                  </a:cubicBezTo>
                  <a:cubicBezTo>
                    <a:pt x="106" y="105"/>
                    <a:pt x="106" y="105"/>
                    <a:pt x="106" y="105"/>
                  </a:cubicBezTo>
                  <a:cubicBezTo>
                    <a:pt x="105" y="105"/>
                    <a:pt x="105" y="105"/>
                    <a:pt x="105" y="105"/>
                  </a:cubicBezTo>
                  <a:cubicBezTo>
                    <a:pt x="104" y="107"/>
                    <a:pt x="102" y="108"/>
                    <a:pt x="100" y="110"/>
                  </a:cubicBezTo>
                  <a:cubicBezTo>
                    <a:pt x="100" y="110"/>
                    <a:pt x="100" y="110"/>
                    <a:pt x="100" y="110"/>
                  </a:cubicBezTo>
                  <a:cubicBezTo>
                    <a:pt x="105" y="121"/>
                    <a:pt x="105" y="121"/>
                    <a:pt x="105" y="121"/>
                  </a:cubicBezTo>
                  <a:cubicBezTo>
                    <a:pt x="105" y="122"/>
                    <a:pt x="105" y="123"/>
                    <a:pt x="105" y="124"/>
                  </a:cubicBezTo>
                  <a:cubicBezTo>
                    <a:pt x="101" y="126"/>
                    <a:pt x="101" y="126"/>
                    <a:pt x="101" y="126"/>
                  </a:cubicBezTo>
                  <a:cubicBezTo>
                    <a:pt x="101" y="126"/>
                    <a:pt x="100" y="126"/>
                    <a:pt x="99" y="126"/>
                  </a:cubicBezTo>
                  <a:cubicBezTo>
                    <a:pt x="99" y="126"/>
                    <a:pt x="98" y="125"/>
                    <a:pt x="98" y="125"/>
                  </a:cubicBezTo>
                  <a:cubicBezTo>
                    <a:pt x="91" y="115"/>
                    <a:pt x="91" y="115"/>
                    <a:pt x="91" y="115"/>
                  </a:cubicBezTo>
                  <a:cubicBezTo>
                    <a:pt x="90" y="115"/>
                    <a:pt x="90" y="115"/>
                    <a:pt x="90" y="115"/>
                  </a:cubicBezTo>
                  <a:cubicBezTo>
                    <a:pt x="88" y="116"/>
                    <a:pt x="86" y="117"/>
                    <a:pt x="84" y="118"/>
                  </a:cubicBezTo>
                  <a:cubicBezTo>
                    <a:pt x="83" y="118"/>
                    <a:pt x="83" y="118"/>
                    <a:pt x="83" y="118"/>
                  </a:cubicBezTo>
                  <a:cubicBezTo>
                    <a:pt x="84" y="130"/>
                    <a:pt x="84" y="130"/>
                    <a:pt x="84" y="130"/>
                  </a:cubicBezTo>
                  <a:cubicBezTo>
                    <a:pt x="85" y="131"/>
                    <a:pt x="84" y="133"/>
                    <a:pt x="83" y="133"/>
                  </a:cubicBezTo>
                  <a:cubicBezTo>
                    <a:pt x="79" y="134"/>
                    <a:pt x="79" y="134"/>
                    <a:pt x="79" y="134"/>
                  </a:cubicBezTo>
                  <a:cubicBezTo>
                    <a:pt x="79" y="134"/>
                    <a:pt x="78" y="134"/>
                    <a:pt x="78" y="134"/>
                  </a:cubicBezTo>
                  <a:cubicBezTo>
                    <a:pt x="77" y="133"/>
                    <a:pt x="77" y="132"/>
                    <a:pt x="76" y="131"/>
                  </a:cubicBezTo>
                  <a:cubicBezTo>
                    <a:pt x="73" y="120"/>
                    <a:pt x="73" y="120"/>
                    <a:pt x="73" y="120"/>
                  </a:cubicBezTo>
                  <a:cubicBezTo>
                    <a:pt x="73" y="120"/>
                    <a:pt x="73" y="120"/>
                    <a:pt x="73" y="120"/>
                  </a:cubicBezTo>
                  <a:cubicBezTo>
                    <a:pt x="70" y="120"/>
                    <a:pt x="68" y="120"/>
                    <a:pt x="66" y="120"/>
                  </a:cubicBezTo>
                  <a:cubicBezTo>
                    <a:pt x="65" y="120"/>
                    <a:pt x="65" y="120"/>
                    <a:pt x="65" y="120"/>
                  </a:cubicBezTo>
                  <a:cubicBezTo>
                    <a:pt x="62" y="132"/>
                    <a:pt x="62" y="132"/>
                    <a:pt x="62" y="132"/>
                  </a:cubicBezTo>
                  <a:cubicBezTo>
                    <a:pt x="62" y="133"/>
                    <a:pt x="61" y="134"/>
                    <a:pt x="60" y="134"/>
                  </a:cubicBezTo>
                  <a:cubicBezTo>
                    <a:pt x="56" y="133"/>
                    <a:pt x="56" y="133"/>
                    <a:pt x="56" y="133"/>
                  </a:cubicBezTo>
                  <a:cubicBezTo>
                    <a:pt x="56" y="133"/>
                    <a:pt x="55" y="133"/>
                    <a:pt x="55" y="133"/>
                  </a:cubicBezTo>
                  <a:cubicBezTo>
                    <a:pt x="55" y="133"/>
                    <a:pt x="54" y="132"/>
                    <a:pt x="54" y="130"/>
                  </a:cubicBezTo>
                  <a:cubicBezTo>
                    <a:pt x="55" y="119"/>
                    <a:pt x="55" y="119"/>
                    <a:pt x="55" y="119"/>
                  </a:cubicBezTo>
                  <a:cubicBezTo>
                    <a:pt x="54" y="119"/>
                    <a:pt x="54" y="119"/>
                    <a:pt x="54" y="119"/>
                  </a:cubicBezTo>
                  <a:cubicBezTo>
                    <a:pt x="52" y="118"/>
                    <a:pt x="50" y="117"/>
                    <a:pt x="48" y="116"/>
                  </a:cubicBezTo>
                  <a:cubicBezTo>
                    <a:pt x="47" y="116"/>
                    <a:pt x="47" y="116"/>
                    <a:pt x="47" y="116"/>
                  </a:cubicBezTo>
                  <a:cubicBezTo>
                    <a:pt x="41" y="126"/>
                    <a:pt x="41" y="126"/>
                    <a:pt x="41" y="126"/>
                  </a:cubicBezTo>
                  <a:cubicBezTo>
                    <a:pt x="40" y="127"/>
                    <a:pt x="39" y="128"/>
                    <a:pt x="38" y="127"/>
                  </a:cubicBezTo>
                  <a:cubicBezTo>
                    <a:pt x="34" y="125"/>
                    <a:pt x="34" y="125"/>
                    <a:pt x="34" y="125"/>
                  </a:cubicBezTo>
                  <a:cubicBezTo>
                    <a:pt x="33" y="125"/>
                    <a:pt x="33" y="123"/>
                    <a:pt x="34" y="122"/>
                  </a:cubicBezTo>
                  <a:cubicBezTo>
                    <a:pt x="38" y="111"/>
                    <a:pt x="38" y="111"/>
                    <a:pt x="38" y="111"/>
                  </a:cubicBezTo>
                  <a:cubicBezTo>
                    <a:pt x="38" y="111"/>
                    <a:pt x="38" y="111"/>
                    <a:pt x="38" y="111"/>
                  </a:cubicBezTo>
                  <a:cubicBezTo>
                    <a:pt x="36" y="109"/>
                    <a:pt x="34" y="108"/>
                    <a:pt x="32" y="106"/>
                  </a:cubicBezTo>
                  <a:cubicBezTo>
                    <a:pt x="32" y="106"/>
                    <a:pt x="32" y="106"/>
                    <a:pt x="32" y="106"/>
                  </a:cubicBezTo>
                  <a:cubicBezTo>
                    <a:pt x="22" y="113"/>
                    <a:pt x="22" y="113"/>
                    <a:pt x="22" y="113"/>
                  </a:cubicBezTo>
                  <a:cubicBezTo>
                    <a:pt x="21" y="114"/>
                    <a:pt x="20" y="114"/>
                    <a:pt x="19" y="113"/>
                  </a:cubicBezTo>
                  <a:cubicBezTo>
                    <a:pt x="19" y="113"/>
                    <a:pt x="19" y="113"/>
                    <a:pt x="19" y="113"/>
                  </a:cubicBezTo>
                  <a:cubicBezTo>
                    <a:pt x="16" y="110"/>
                    <a:pt x="16" y="110"/>
                    <a:pt x="16" y="110"/>
                  </a:cubicBezTo>
                  <a:cubicBezTo>
                    <a:pt x="16" y="109"/>
                    <a:pt x="16" y="108"/>
                    <a:pt x="17" y="107"/>
                  </a:cubicBezTo>
                  <a:cubicBezTo>
                    <a:pt x="25" y="98"/>
                    <a:pt x="25" y="98"/>
                    <a:pt x="25" y="98"/>
                  </a:cubicBezTo>
                  <a:cubicBezTo>
                    <a:pt x="25" y="98"/>
                    <a:pt x="25" y="98"/>
                    <a:pt x="25" y="98"/>
                  </a:cubicBezTo>
                  <a:cubicBezTo>
                    <a:pt x="24" y="96"/>
                    <a:pt x="22" y="94"/>
                    <a:pt x="21" y="92"/>
                  </a:cubicBezTo>
                  <a:cubicBezTo>
                    <a:pt x="21" y="91"/>
                    <a:pt x="21" y="91"/>
                    <a:pt x="21" y="91"/>
                  </a:cubicBezTo>
                  <a:cubicBezTo>
                    <a:pt x="10" y="94"/>
                    <a:pt x="10" y="94"/>
                    <a:pt x="10" y="94"/>
                  </a:cubicBezTo>
                  <a:cubicBezTo>
                    <a:pt x="9" y="95"/>
                    <a:pt x="8" y="95"/>
                    <a:pt x="7" y="94"/>
                  </a:cubicBezTo>
                  <a:cubicBezTo>
                    <a:pt x="7" y="94"/>
                    <a:pt x="7" y="94"/>
                    <a:pt x="6" y="94"/>
                  </a:cubicBezTo>
                  <a:cubicBezTo>
                    <a:pt x="5" y="90"/>
                    <a:pt x="5" y="90"/>
                    <a:pt x="5" y="90"/>
                  </a:cubicBezTo>
                  <a:cubicBezTo>
                    <a:pt x="5" y="89"/>
                    <a:pt x="6" y="87"/>
                    <a:pt x="7" y="87"/>
                  </a:cubicBezTo>
                  <a:cubicBezTo>
                    <a:pt x="17" y="82"/>
                    <a:pt x="17" y="82"/>
                    <a:pt x="17" y="82"/>
                  </a:cubicBezTo>
                  <a:cubicBezTo>
                    <a:pt x="17" y="81"/>
                    <a:pt x="17" y="81"/>
                    <a:pt x="17" y="81"/>
                  </a:cubicBezTo>
                  <a:cubicBezTo>
                    <a:pt x="17" y="79"/>
                    <a:pt x="16" y="77"/>
                    <a:pt x="16" y="74"/>
                  </a:cubicBezTo>
                  <a:cubicBezTo>
                    <a:pt x="16" y="74"/>
                    <a:pt x="16" y="74"/>
                    <a:pt x="16" y="74"/>
                  </a:cubicBezTo>
                  <a:cubicBezTo>
                    <a:pt x="4" y="73"/>
                    <a:pt x="4" y="73"/>
                    <a:pt x="4" y="73"/>
                  </a:cubicBezTo>
                  <a:cubicBezTo>
                    <a:pt x="4" y="73"/>
                    <a:pt x="3" y="73"/>
                    <a:pt x="3" y="72"/>
                  </a:cubicBezTo>
                  <a:cubicBezTo>
                    <a:pt x="2" y="72"/>
                    <a:pt x="1" y="71"/>
                    <a:pt x="1" y="71"/>
                  </a:cubicBezTo>
                  <a:cubicBezTo>
                    <a:pt x="1" y="67"/>
                    <a:pt x="1" y="67"/>
                    <a:pt x="1" y="67"/>
                  </a:cubicBezTo>
                  <a:cubicBezTo>
                    <a:pt x="1" y="66"/>
                    <a:pt x="3" y="65"/>
                    <a:pt x="4" y="65"/>
                  </a:cubicBezTo>
                  <a:cubicBezTo>
                    <a:pt x="16" y="63"/>
                    <a:pt x="16" y="63"/>
                    <a:pt x="16" y="63"/>
                  </a:cubicBezTo>
                  <a:cubicBezTo>
                    <a:pt x="16" y="63"/>
                    <a:pt x="16" y="63"/>
                    <a:pt x="16" y="63"/>
                  </a:cubicBezTo>
                  <a:cubicBezTo>
                    <a:pt x="16" y="61"/>
                    <a:pt x="16" y="58"/>
                    <a:pt x="17" y="56"/>
                  </a:cubicBezTo>
                  <a:cubicBezTo>
                    <a:pt x="17" y="55"/>
                    <a:pt x="17" y="55"/>
                    <a:pt x="17" y="55"/>
                  </a:cubicBezTo>
                  <a:cubicBezTo>
                    <a:pt x="6" y="51"/>
                    <a:pt x="6" y="51"/>
                    <a:pt x="6" y="51"/>
                  </a:cubicBezTo>
                  <a:cubicBezTo>
                    <a:pt x="5" y="50"/>
                    <a:pt x="4" y="49"/>
                    <a:pt x="4" y="48"/>
                  </a:cubicBezTo>
                  <a:cubicBezTo>
                    <a:pt x="5" y="47"/>
                    <a:pt x="5" y="45"/>
                    <a:pt x="6" y="44"/>
                  </a:cubicBezTo>
                  <a:cubicBezTo>
                    <a:pt x="6" y="43"/>
                    <a:pt x="7" y="43"/>
                    <a:pt x="9" y="43"/>
                  </a:cubicBezTo>
                  <a:cubicBezTo>
                    <a:pt x="20" y="46"/>
                    <a:pt x="20" y="46"/>
                    <a:pt x="20" y="46"/>
                  </a:cubicBezTo>
                  <a:cubicBezTo>
                    <a:pt x="20" y="45"/>
                    <a:pt x="20" y="45"/>
                    <a:pt x="20" y="45"/>
                  </a:cubicBezTo>
                  <a:cubicBezTo>
                    <a:pt x="21" y="44"/>
                    <a:pt x="22" y="43"/>
                    <a:pt x="22" y="42"/>
                  </a:cubicBezTo>
                  <a:cubicBezTo>
                    <a:pt x="23" y="41"/>
                    <a:pt x="23" y="40"/>
                    <a:pt x="24" y="39"/>
                  </a:cubicBezTo>
                  <a:cubicBezTo>
                    <a:pt x="24" y="39"/>
                    <a:pt x="24" y="39"/>
                    <a:pt x="24" y="39"/>
                  </a:cubicBezTo>
                  <a:cubicBezTo>
                    <a:pt x="16" y="30"/>
                    <a:pt x="16" y="30"/>
                    <a:pt x="16" y="30"/>
                  </a:cubicBezTo>
                  <a:cubicBezTo>
                    <a:pt x="15" y="29"/>
                    <a:pt x="14" y="28"/>
                    <a:pt x="15" y="27"/>
                  </a:cubicBezTo>
                  <a:cubicBezTo>
                    <a:pt x="18" y="24"/>
                    <a:pt x="18" y="24"/>
                    <a:pt x="18" y="24"/>
                  </a:cubicBezTo>
                  <a:cubicBezTo>
                    <a:pt x="18" y="23"/>
                    <a:pt x="19" y="23"/>
                    <a:pt x="20" y="24"/>
                  </a:cubicBezTo>
                  <a:cubicBezTo>
                    <a:pt x="21" y="24"/>
                    <a:pt x="21" y="24"/>
                    <a:pt x="21" y="24"/>
                  </a:cubicBezTo>
                  <a:cubicBezTo>
                    <a:pt x="31" y="31"/>
                    <a:pt x="31" y="31"/>
                    <a:pt x="31" y="31"/>
                  </a:cubicBezTo>
                  <a:cubicBezTo>
                    <a:pt x="31" y="30"/>
                    <a:pt x="31" y="30"/>
                    <a:pt x="31" y="30"/>
                  </a:cubicBezTo>
                  <a:cubicBezTo>
                    <a:pt x="33" y="29"/>
                    <a:pt x="34" y="27"/>
                    <a:pt x="36" y="26"/>
                  </a:cubicBezTo>
                  <a:cubicBezTo>
                    <a:pt x="37" y="25"/>
                    <a:pt x="37" y="25"/>
                    <a:pt x="37" y="25"/>
                  </a:cubicBezTo>
                  <a:cubicBezTo>
                    <a:pt x="32" y="15"/>
                    <a:pt x="32" y="15"/>
                    <a:pt x="32" y="15"/>
                  </a:cubicBezTo>
                  <a:cubicBezTo>
                    <a:pt x="31" y="13"/>
                    <a:pt x="31" y="12"/>
                    <a:pt x="32" y="11"/>
                  </a:cubicBezTo>
                  <a:cubicBezTo>
                    <a:pt x="36" y="9"/>
                    <a:pt x="36" y="9"/>
                    <a:pt x="36" y="9"/>
                  </a:cubicBezTo>
                  <a:cubicBezTo>
                    <a:pt x="36" y="9"/>
                    <a:pt x="37" y="9"/>
                    <a:pt x="37" y="9"/>
                  </a:cubicBezTo>
                  <a:cubicBezTo>
                    <a:pt x="38" y="9"/>
                    <a:pt x="38" y="10"/>
                    <a:pt x="39" y="10"/>
                  </a:cubicBezTo>
                  <a:cubicBezTo>
                    <a:pt x="46" y="20"/>
                    <a:pt x="46" y="20"/>
                    <a:pt x="46" y="20"/>
                  </a:cubicBezTo>
                  <a:cubicBezTo>
                    <a:pt x="46" y="20"/>
                    <a:pt x="46" y="20"/>
                    <a:pt x="46" y="20"/>
                  </a:cubicBezTo>
                  <a:cubicBezTo>
                    <a:pt x="48" y="19"/>
                    <a:pt x="51" y="18"/>
                    <a:pt x="53" y="17"/>
                  </a:cubicBezTo>
                  <a:cubicBezTo>
                    <a:pt x="53" y="17"/>
                    <a:pt x="53" y="17"/>
                    <a:pt x="53" y="17"/>
                  </a:cubicBezTo>
                  <a:cubicBezTo>
                    <a:pt x="52" y="5"/>
                    <a:pt x="52" y="5"/>
                    <a:pt x="52" y="5"/>
                  </a:cubicBezTo>
                  <a:cubicBezTo>
                    <a:pt x="52" y="4"/>
                    <a:pt x="53" y="2"/>
                    <a:pt x="53" y="2"/>
                  </a:cubicBezTo>
                  <a:cubicBezTo>
                    <a:pt x="58" y="1"/>
                    <a:pt x="58" y="1"/>
                    <a:pt x="58" y="1"/>
                  </a:cubicBezTo>
                  <a:cubicBezTo>
                    <a:pt x="58" y="1"/>
                    <a:pt x="58" y="1"/>
                    <a:pt x="58" y="2"/>
                  </a:cubicBezTo>
                  <a:cubicBezTo>
                    <a:pt x="59" y="2"/>
                    <a:pt x="60" y="3"/>
                    <a:pt x="60" y="4"/>
                  </a:cubicBezTo>
                  <a:cubicBezTo>
                    <a:pt x="63" y="15"/>
                    <a:pt x="63" y="15"/>
                    <a:pt x="63" y="15"/>
                  </a:cubicBezTo>
                  <a:cubicBezTo>
                    <a:pt x="64" y="15"/>
                    <a:pt x="64" y="15"/>
                    <a:pt x="64" y="15"/>
                  </a:cubicBezTo>
                  <a:cubicBezTo>
                    <a:pt x="66" y="15"/>
                    <a:pt x="68" y="15"/>
                    <a:pt x="71" y="15"/>
                  </a:cubicBezTo>
                  <a:cubicBezTo>
                    <a:pt x="71" y="15"/>
                    <a:pt x="71" y="15"/>
                    <a:pt x="71" y="15"/>
                  </a:cubicBezTo>
                  <a:cubicBezTo>
                    <a:pt x="74" y="4"/>
                    <a:pt x="74" y="4"/>
                    <a:pt x="74" y="4"/>
                  </a:cubicBezTo>
                  <a:cubicBezTo>
                    <a:pt x="75" y="2"/>
                    <a:pt x="76" y="1"/>
                    <a:pt x="77" y="1"/>
                  </a:cubicBezTo>
                  <a:cubicBezTo>
                    <a:pt x="81" y="2"/>
                    <a:pt x="81" y="2"/>
                    <a:pt x="81" y="2"/>
                  </a:cubicBezTo>
                  <a:cubicBezTo>
                    <a:pt x="81" y="2"/>
                    <a:pt x="81" y="2"/>
                    <a:pt x="81" y="2"/>
                  </a:cubicBezTo>
                  <a:cubicBezTo>
                    <a:pt x="82" y="2"/>
                    <a:pt x="82" y="4"/>
                    <a:pt x="82" y="5"/>
                  </a:cubicBezTo>
                  <a:cubicBezTo>
                    <a:pt x="82" y="17"/>
                    <a:pt x="82" y="17"/>
                    <a:pt x="82" y="17"/>
                  </a:cubicBezTo>
                  <a:cubicBezTo>
                    <a:pt x="82" y="17"/>
                    <a:pt x="82" y="17"/>
                    <a:pt x="82" y="17"/>
                  </a:cubicBezTo>
                  <a:cubicBezTo>
                    <a:pt x="84" y="17"/>
                    <a:pt x="86" y="18"/>
                    <a:pt x="89" y="19"/>
                  </a:cubicBezTo>
                  <a:cubicBezTo>
                    <a:pt x="89" y="19"/>
                    <a:pt x="89" y="19"/>
                    <a:pt x="89" y="19"/>
                  </a:cubicBezTo>
                  <a:cubicBezTo>
                    <a:pt x="96" y="9"/>
                    <a:pt x="96" y="9"/>
                    <a:pt x="96" y="9"/>
                  </a:cubicBezTo>
                  <a:cubicBezTo>
                    <a:pt x="97" y="8"/>
                    <a:pt x="98" y="8"/>
                    <a:pt x="99" y="8"/>
                  </a:cubicBezTo>
                  <a:cubicBezTo>
                    <a:pt x="103" y="10"/>
                    <a:pt x="103" y="10"/>
                    <a:pt x="103" y="10"/>
                  </a:cubicBezTo>
                  <a:cubicBezTo>
                    <a:pt x="103" y="11"/>
                    <a:pt x="104" y="12"/>
                    <a:pt x="103" y="13"/>
                  </a:cubicBezTo>
                  <a:cubicBezTo>
                    <a:pt x="98" y="24"/>
                    <a:pt x="98" y="24"/>
                    <a:pt x="98" y="24"/>
                  </a:cubicBezTo>
                  <a:cubicBezTo>
                    <a:pt x="99" y="24"/>
                    <a:pt x="99" y="24"/>
                    <a:pt x="99" y="24"/>
                  </a:cubicBezTo>
                  <a:cubicBezTo>
                    <a:pt x="101" y="26"/>
                    <a:pt x="102" y="27"/>
                    <a:pt x="104" y="29"/>
                  </a:cubicBezTo>
                  <a:cubicBezTo>
                    <a:pt x="104" y="29"/>
                    <a:pt x="104" y="29"/>
                    <a:pt x="104" y="29"/>
                  </a:cubicBezTo>
                  <a:cubicBezTo>
                    <a:pt x="114" y="22"/>
                    <a:pt x="114" y="22"/>
                    <a:pt x="114" y="22"/>
                  </a:cubicBezTo>
                  <a:cubicBezTo>
                    <a:pt x="115" y="22"/>
                    <a:pt x="116" y="21"/>
                    <a:pt x="117" y="22"/>
                  </a:cubicBezTo>
                  <a:cubicBezTo>
                    <a:pt x="117" y="22"/>
                    <a:pt x="117" y="22"/>
                    <a:pt x="117" y="22"/>
                  </a:cubicBezTo>
                  <a:cubicBezTo>
                    <a:pt x="120" y="25"/>
                    <a:pt x="120" y="25"/>
                    <a:pt x="120" y="25"/>
                  </a:cubicBezTo>
                  <a:cubicBezTo>
                    <a:pt x="121" y="26"/>
                    <a:pt x="120" y="28"/>
                    <a:pt x="119" y="29"/>
                  </a:cubicBezTo>
                  <a:cubicBezTo>
                    <a:pt x="111" y="37"/>
                    <a:pt x="111" y="37"/>
                    <a:pt x="111" y="37"/>
                  </a:cubicBezTo>
                  <a:cubicBezTo>
                    <a:pt x="112" y="37"/>
                    <a:pt x="112" y="37"/>
                    <a:pt x="112" y="37"/>
                  </a:cubicBezTo>
                  <a:cubicBezTo>
                    <a:pt x="113" y="39"/>
                    <a:pt x="114" y="41"/>
                    <a:pt x="115" y="44"/>
                  </a:cubicBezTo>
                  <a:cubicBezTo>
                    <a:pt x="115" y="44"/>
                    <a:pt x="115" y="44"/>
                    <a:pt x="115" y="44"/>
                  </a:cubicBezTo>
                  <a:cubicBezTo>
                    <a:pt x="127" y="41"/>
                    <a:pt x="127" y="41"/>
                    <a:pt x="127" y="41"/>
                  </a:cubicBezTo>
                  <a:cubicBezTo>
                    <a:pt x="128" y="41"/>
                    <a:pt x="129" y="41"/>
                    <a:pt x="129" y="41"/>
                  </a:cubicBezTo>
                  <a:cubicBezTo>
                    <a:pt x="130" y="41"/>
                    <a:pt x="130" y="41"/>
                    <a:pt x="130" y="42"/>
                  </a:cubicBezTo>
                  <a:cubicBezTo>
                    <a:pt x="130" y="43"/>
                    <a:pt x="131" y="45"/>
                    <a:pt x="132" y="46"/>
                  </a:cubicBezTo>
                  <a:cubicBezTo>
                    <a:pt x="132" y="46"/>
                    <a:pt x="131" y="48"/>
                    <a:pt x="130" y="48"/>
                  </a:cubicBezTo>
                  <a:cubicBezTo>
                    <a:pt x="119" y="54"/>
                    <a:pt x="119" y="54"/>
                    <a:pt x="119" y="54"/>
                  </a:cubicBezTo>
                  <a:cubicBezTo>
                    <a:pt x="119" y="54"/>
                    <a:pt x="119" y="54"/>
                    <a:pt x="119" y="54"/>
                  </a:cubicBezTo>
                  <a:cubicBezTo>
                    <a:pt x="120" y="56"/>
                    <a:pt x="120" y="59"/>
                    <a:pt x="121" y="61"/>
                  </a:cubicBezTo>
                  <a:cubicBezTo>
                    <a:pt x="121" y="61"/>
                    <a:pt x="121" y="61"/>
                    <a:pt x="121" y="61"/>
                  </a:cubicBezTo>
                  <a:cubicBezTo>
                    <a:pt x="132" y="62"/>
                    <a:pt x="132" y="62"/>
                    <a:pt x="132" y="62"/>
                  </a:cubicBezTo>
                  <a:cubicBezTo>
                    <a:pt x="133" y="62"/>
                    <a:pt x="133" y="63"/>
                    <a:pt x="134" y="63"/>
                  </a:cubicBezTo>
                  <a:cubicBezTo>
                    <a:pt x="135" y="63"/>
                    <a:pt x="135" y="64"/>
                    <a:pt x="135" y="64"/>
                  </a:cubicBezTo>
                  <a:cubicBezTo>
                    <a:pt x="135" y="69"/>
                    <a:pt x="135" y="69"/>
                    <a:pt x="135" y="69"/>
                  </a:cubicBezTo>
                  <a:cubicBezTo>
                    <a:pt x="135" y="69"/>
                    <a:pt x="134" y="70"/>
                    <a:pt x="133" y="71"/>
                  </a:cubicBezTo>
                  <a:cubicBezTo>
                    <a:pt x="121" y="72"/>
                    <a:pt x="121" y="72"/>
                    <a:pt x="121" y="72"/>
                  </a:cubicBezTo>
                  <a:cubicBezTo>
                    <a:pt x="121" y="72"/>
                    <a:pt x="121" y="72"/>
                    <a:pt x="121" y="72"/>
                  </a:cubicBezTo>
                  <a:cubicBezTo>
                    <a:pt x="121" y="75"/>
                    <a:pt x="120" y="77"/>
                    <a:pt x="120" y="79"/>
                  </a:cubicBezTo>
                  <a:cubicBezTo>
                    <a:pt x="120" y="80"/>
                    <a:pt x="120" y="80"/>
                    <a:pt x="120" y="80"/>
                  </a:cubicBezTo>
                  <a:cubicBezTo>
                    <a:pt x="130" y="85"/>
                    <a:pt x="130" y="85"/>
                    <a:pt x="130" y="85"/>
                  </a:cubicBezTo>
                  <a:cubicBezTo>
                    <a:pt x="132" y="85"/>
                    <a:pt x="133" y="87"/>
                    <a:pt x="132" y="87"/>
                  </a:cubicBezTo>
                  <a:cubicBezTo>
                    <a:pt x="131" y="91"/>
                    <a:pt x="131" y="91"/>
                    <a:pt x="131" y="91"/>
                  </a:cubicBezTo>
                  <a:cubicBezTo>
                    <a:pt x="131" y="92"/>
                    <a:pt x="129" y="93"/>
                    <a:pt x="128" y="92"/>
                  </a:cubicBezTo>
                  <a:lnTo>
                    <a:pt x="116" y="90"/>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40" name="Freeform 39"/>
            <p:cNvSpPr>
              <a:spLocks noEditPoints="1"/>
            </p:cNvSpPr>
            <p:nvPr/>
          </p:nvSpPr>
          <p:spPr bwMode="auto">
            <a:xfrm rot="14718710">
              <a:off x="8998418" y="3075800"/>
              <a:ext cx="808436" cy="757198"/>
            </a:xfrm>
            <a:custGeom>
              <a:avLst/>
              <a:gdLst>
                <a:gd name="T0" fmla="*/ 6 w 34"/>
                <a:gd name="T1" fmla="*/ 34 h 34"/>
                <a:gd name="T2" fmla="*/ 6 w 34"/>
                <a:gd name="T3" fmla="*/ 34 h 34"/>
                <a:gd name="T4" fmla="*/ 34 w 34"/>
                <a:gd name="T5" fmla="*/ 34 h 34"/>
                <a:gd name="T6" fmla="*/ 34 w 34"/>
                <a:gd name="T7" fmla="*/ 33 h 34"/>
                <a:gd name="T8" fmla="*/ 14 w 34"/>
                <a:gd name="T9" fmla="*/ 1 h 34"/>
                <a:gd name="T10" fmla="*/ 14 w 34"/>
                <a:gd name="T11" fmla="*/ 0 h 34"/>
                <a:gd name="T12" fmla="*/ 0 w 34"/>
                <a:gd name="T13" fmla="*/ 24 h 34"/>
                <a:gd name="T14" fmla="*/ 1 w 34"/>
                <a:gd name="T15" fmla="*/ 24 h 34"/>
                <a:gd name="T16" fmla="*/ 6 w 34"/>
                <a:gd name="T17" fmla="*/ 34 h 34"/>
                <a:gd name="T18" fmla="*/ 33 w 34"/>
                <a:gd name="T19" fmla="*/ 33 h 34"/>
                <a:gd name="T20" fmla="*/ 7 w 34"/>
                <a:gd name="T21" fmla="*/ 33 h 34"/>
                <a:gd name="T22" fmla="*/ 2 w 34"/>
                <a:gd name="T23" fmla="*/ 24 h 34"/>
                <a:gd name="T24" fmla="*/ 14 w 34"/>
                <a:gd name="T25" fmla="*/ 2 h 34"/>
                <a:gd name="T26" fmla="*/ 33 w 34"/>
                <a:gd name="T2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34"/>
                  </a:moveTo>
                  <a:cubicBezTo>
                    <a:pt x="6" y="34"/>
                    <a:pt x="6" y="34"/>
                    <a:pt x="6" y="34"/>
                  </a:cubicBezTo>
                  <a:cubicBezTo>
                    <a:pt x="34" y="34"/>
                    <a:pt x="34" y="34"/>
                    <a:pt x="34" y="34"/>
                  </a:cubicBezTo>
                  <a:cubicBezTo>
                    <a:pt x="34" y="33"/>
                    <a:pt x="34" y="33"/>
                    <a:pt x="34" y="33"/>
                  </a:cubicBezTo>
                  <a:cubicBezTo>
                    <a:pt x="32" y="20"/>
                    <a:pt x="25" y="8"/>
                    <a:pt x="14" y="1"/>
                  </a:cubicBezTo>
                  <a:cubicBezTo>
                    <a:pt x="14" y="0"/>
                    <a:pt x="14" y="0"/>
                    <a:pt x="14" y="0"/>
                  </a:cubicBezTo>
                  <a:cubicBezTo>
                    <a:pt x="0" y="24"/>
                    <a:pt x="0" y="24"/>
                    <a:pt x="0" y="24"/>
                  </a:cubicBezTo>
                  <a:cubicBezTo>
                    <a:pt x="1" y="24"/>
                    <a:pt x="1" y="24"/>
                    <a:pt x="1" y="24"/>
                  </a:cubicBezTo>
                  <a:cubicBezTo>
                    <a:pt x="3" y="27"/>
                    <a:pt x="5" y="30"/>
                    <a:pt x="6" y="34"/>
                  </a:cubicBezTo>
                  <a:close/>
                  <a:moveTo>
                    <a:pt x="33" y="33"/>
                  </a:moveTo>
                  <a:cubicBezTo>
                    <a:pt x="7" y="33"/>
                    <a:pt x="7" y="33"/>
                    <a:pt x="7" y="33"/>
                  </a:cubicBezTo>
                  <a:cubicBezTo>
                    <a:pt x="6" y="30"/>
                    <a:pt x="4" y="26"/>
                    <a:pt x="2" y="24"/>
                  </a:cubicBezTo>
                  <a:cubicBezTo>
                    <a:pt x="14" y="2"/>
                    <a:pt x="14" y="2"/>
                    <a:pt x="14" y="2"/>
                  </a:cubicBezTo>
                  <a:cubicBezTo>
                    <a:pt x="24" y="9"/>
                    <a:pt x="31" y="20"/>
                    <a:pt x="33" y="33"/>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41" name="Freeform 40"/>
            <p:cNvSpPr>
              <a:spLocks noEditPoints="1"/>
            </p:cNvSpPr>
            <p:nvPr/>
          </p:nvSpPr>
          <p:spPr bwMode="auto">
            <a:xfrm rot="14718710">
              <a:off x="9800804" y="3565758"/>
              <a:ext cx="572123" cy="558139"/>
            </a:xfrm>
            <a:custGeom>
              <a:avLst/>
              <a:gdLst>
                <a:gd name="T0" fmla="*/ 21 w 24"/>
                <a:gd name="T1" fmla="*/ 18 h 25"/>
                <a:gd name="T2" fmla="*/ 16 w 24"/>
                <a:gd name="T3" fmla="*/ 3 h 25"/>
                <a:gd name="T4" fmla="*/ 16 w 24"/>
                <a:gd name="T5" fmla="*/ 3 h 25"/>
                <a:gd name="T6" fmla="*/ 2 w 24"/>
                <a:gd name="T7" fmla="*/ 7 h 25"/>
                <a:gd name="T8" fmla="*/ 1 w 24"/>
                <a:gd name="T9" fmla="*/ 16 h 25"/>
                <a:gd name="T10" fmla="*/ 6 w 24"/>
                <a:gd name="T11" fmla="*/ 22 h 25"/>
                <a:gd name="T12" fmla="*/ 7 w 24"/>
                <a:gd name="T13" fmla="*/ 22 h 25"/>
                <a:gd name="T14" fmla="*/ 21 w 24"/>
                <a:gd name="T15" fmla="*/ 18 h 25"/>
                <a:gd name="T16" fmla="*/ 6 w 24"/>
                <a:gd name="T17" fmla="*/ 21 h 25"/>
                <a:gd name="T18" fmla="*/ 2 w 24"/>
                <a:gd name="T19" fmla="*/ 15 h 25"/>
                <a:gd name="T20" fmla="*/ 3 w 24"/>
                <a:gd name="T21" fmla="*/ 8 h 25"/>
                <a:gd name="T22" fmla="*/ 15 w 24"/>
                <a:gd name="T23" fmla="*/ 4 h 25"/>
                <a:gd name="T24" fmla="*/ 16 w 24"/>
                <a:gd name="T25" fmla="*/ 4 h 25"/>
                <a:gd name="T26" fmla="*/ 20 w 24"/>
                <a:gd name="T27" fmla="*/ 17 h 25"/>
                <a:gd name="T28" fmla="*/ 7 w 24"/>
                <a:gd name="T29" fmla="*/ 22 h 25"/>
                <a:gd name="T30" fmla="*/ 6 w 24"/>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1" y="18"/>
                  </a:moveTo>
                  <a:cubicBezTo>
                    <a:pt x="24" y="13"/>
                    <a:pt x="22" y="6"/>
                    <a:pt x="16" y="3"/>
                  </a:cubicBezTo>
                  <a:cubicBezTo>
                    <a:pt x="16" y="3"/>
                    <a:pt x="16" y="3"/>
                    <a:pt x="16" y="3"/>
                  </a:cubicBezTo>
                  <a:cubicBezTo>
                    <a:pt x="11" y="0"/>
                    <a:pt x="4" y="2"/>
                    <a:pt x="2" y="7"/>
                  </a:cubicBezTo>
                  <a:cubicBezTo>
                    <a:pt x="0" y="10"/>
                    <a:pt x="0" y="13"/>
                    <a:pt x="1" y="16"/>
                  </a:cubicBezTo>
                  <a:cubicBezTo>
                    <a:pt x="2" y="18"/>
                    <a:pt x="3" y="21"/>
                    <a:pt x="6" y="22"/>
                  </a:cubicBezTo>
                  <a:cubicBezTo>
                    <a:pt x="6" y="22"/>
                    <a:pt x="7" y="22"/>
                    <a:pt x="7" y="22"/>
                  </a:cubicBezTo>
                  <a:cubicBezTo>
                    <a:pt x="12" y="25"/>
                    <a:pt x="18" y="23"/>
                    <a:pt x="21" y="18"/>
                  </a:cubicBezTo>
                  <a:close/>
                  <a:moveTo>
                    <a:pt x="6" y="21"/>
                  </a:moveTo>
                  <a:cubicBezTo>
                    <a:pt x="4" y="20"/>
                    <a:pt x="3" y="18"/>
                    <a:pt x="2" y="15"/>
                  </a:cubicBezTo>
                  <a:cubicBezTo>
                    <a:pt x="1" y="13"/>
                    <a:pt x="1" y="10"/>
                    <a:pt x="3" y="8"/>
                  </a:cubicBezTo>
                  <a:cubicBezTo>
                    <a:pt x="5" y="3"/>
                    <a:pt x="11" y="2"/>
                    <a:pt x="15" y="4"/>
                  </a:cubicBezTo>
                  <a:cubicBezTo>
                    <a:pt x="16" y="4"/>
                    <a:pt x="16" y="4"/>
                    <a:pt x="16" y="4"/>
                  </a:cubicBezTo>
                  <a:cubicBezTo>
                    <a:pt x="21" y="7"/>
                    <a:pt x="22" y="13"/>
                    <a:pt x="20" y="17"/>
                  </a:cubicBezTo>
                  <a:cubicBezTo>
                    <a:pt x="17" y="22"/>
                    <a:pt x="12" y="24"/>
                    <a:pt x="7" y="22"/>
                  </a:cubicBezTo>
                  <a:cubicBezTo>
                    <a:pt x="7" y="21"/>
                    <a:pt x="7" y="21"/>
                    <a:pt x="6" y="21"/>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42" name="Freeform 41"/>
            <p:cNvSpPr>
              <a:spLocks noEditPoints="1"/>
            </p:cNvSpPr>
            <p:nvPr/>
          </p:nvSpPr>
          <p:spPr bwMode="auto">
            <a:xfrm rot="14718710">
              <a:off x="10394330" y="3887539"/>
              <a:ext cx="779413" cy="761098"/>
            </a:xfrm>
            <a:custGeom>
              <a:avLst/>
              <a:gdLst>
                <a:gd name="T0" fmla="*/ 27 w 33"/>
                <a:gd name="T1" fmla="*/ 1 h 34"/>
                <a:gd name="T2" fmla="*/ 27 w 33"/>
                <a:gd name="T3" fmla="*/ 0 h 34"/>
                <a:gd name="T4" fmla="*/ 0 w 33"/>
                <a:gd name="T5" fmla="*/ 1 h 34"/>
                <a:gd name="T6" fmla="*/ 0 w 33"/>
                <a:gd name="T7" fmla="*/ 1 h 34"/>
                <a:gd name="T8" fmla="*/ 19 w 33"/>
                <a:gd name="T9" fmla="*/ 34 h 34"/>
                <a:gd name="T10" fmla="*/ 20 w 33"/>
                <a:gd name="T11" fmla="*/ 34 h 34"/>
                <a:gd name="T12" fmla="*/ 33 w 33"/>
                <a:gd name="T13" fmla="*/ 10 h 34"/>
                <a:gd name="T14" fmla="*/ 33 w 33"/>
                <a:gd name="T15" fmla="*/ 10 h 34"/>
                <a:gd name="T16" fmla="*/ 27 w 33"/>
                <a:gd name="T17" fmla="*/ 1 h 34"/>
                <a:gd name="T18" fmla="*/ 1 w 33"/>
                <a:gd name="T19" fmla="*/ 2 h 34"/>
                <a:gd name="T20" fmla="*/ 26 w 33"/>
                <a:gd name="T21" fmla="*/ 1 h 34"/>
                <a:gd name="T22" fmla="*/ 32 w 33"/>
                <a:gd name="T23" fmla="*/ 10 h 34"/>
                <a:gd name="T24" fmla="*/ 19 w 33"/>
                <a:gd name="T25" fmla="*/ 33 h 34"/>
                <a:gd name="T26" fmla="*/ 1 w 33"/>
                <a:gd name="T2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4">
                  <a:moveTo>
                    <a:pt x="27" y="1"/>
                  </a:moveTo>
                  <a:cubicBezTo>
                    <a:pt x="27" y="0"/>
                    <a:pt x="27" y="0"/>
                    <a:pt x="27" y="0"/>
                  </a:cubicBezTo>
                  <a:cubicBezTo>
                    <a:pt x="0" y="1"/>
                    <a:pt x="0" y="1"/>
                    <a:pt x="0" y="1"/>
                  </a:cubicBezTo>
                  <a:cubicBezTo>
                    <a:pt x="0" y="1"/>
                    <a:pt x="0" y="1"/>
                    <a:pt x="0" y="1"/>
                  </a:cubicBezTo>
                  <a:cubicBezTo>
                    <a:pt x="1" y="14"/>
                    <a:pt x="8" y="26"/>
                    <a:pt x="19" y="34"/>
                  </a:cubicBezTo>
                  <a:cubicBezTo>
                    <a:pt x="20" y="34"/>
                    <a:pt x="20" y="34"/>
                    <a:pt x="20" y="34"/>
                  </a:cubicBezTo>
                  <a:cubicBezTo>
                    <a:pt x="33" y="10"/>
                    <a:pt x="33" y="10"/>
                    <a:pt x="33" y="10"/>
                  </a:cubicBezTo>
                  <a:cubicBezTo>
                    <a:pt x="33" y="10"/>
                    <a:pt x="33" y="10"/>
                    <a:pt x="33" y="10"/>
                  </a:cubicBezTo>
                  <a:cubicBezTo>
                    <a:pt x="30" y="7"/>
                    <a:pt x="28" y="4"/>
                    <a:pt x="27" y="1"/>
                  </a:cubicBezTo>
                  <a:close/>
                  <a:moveTo>
                    <a:pt x="1" y="2"/>
                  </a:moveTo>
                  <a:cubicBezTo>
                    <a:pt x="26" y="1"/>
                    <a:pt x="26" y="1"/>
                    <a:pt x="26" y="1"/>
                  </a:cubicBezTo>
                  <a:cubicBezTo>
                    <a:pt x="27" y="5"/>
                    <a:pt x="29" y="8"/>
                    <a:pt x="32" y="10"/>
                  </a:cubicBezTo>
                  <a:cubicBezTo>
                    <a:pt x="19" y="33"/>
                    <a:pt x="19" y="33"/>
                    <a:pt x="19" y="33"/>
                  </a:cubicBezTo>
                  <a:cubicBezTo>
                    <a:pt x="9" y="25"/>
                    <a:pt x="2" y="14"/>
                    <a:pt x="1" y="2"/>
                  </a:cubicBez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43" name="Freeform 42"/>
            <p:cNvSpPr>
              <a:spLocks noEditPoints="1"/>
            </p:cNvSpPr>
            <p:nvPr/>
          </p:nvSpPr>
          <p:spPr bwMode="auto">
            <a:xfrm rot="14718710">
              <a:off x="9815993" y="2690040"/>
              <a:ext cx="783561" cy="761098"/>
            </a:xfrm>
            <a:custGeom>
              <a:avLst/>
              <a:gdLst>
                <a:gd name="T0" fmla="*/ 33 w 33"/>
                <a:gd name="T1" fmla="*/ 0 h 34"/>
                <a:gd name="T2" fmla="*/ 5 w 33"/>
                <a:gd name="T3" fmla="*/ 1 h 34"/>
                <a:gd name="T4" fmla="*/ 5 w 33"/>
                <a:gd name="T5" fmla="*/ 1 h 34"/>
                <a:gd name="T6" fmla="*/ 4 w 33"/>
                <a:gd name="T7" fmla="*/ 6 h 34"/>
                <a:gd name="T8" fmla="*/ 0 w 33"/>
                <a:gd name="T9" fmla="*/ 10 h 34"/>
                <a:gd name="T10" fmla="*/ 0 w 33"/>
                <a:gd name="T11" fmla="*/ 11 h 34"/>
                <a:gd name="T12" fmla="*/ 14 w 33"/>
                <a:gd name="T13" fmla="*/ 34 h 34"/>
                <a:gd name="T14" fmla="*/ 14 w 33"/>
                <a:gd name="T15" fmla="*/ 34 h 34"/>
                <a:gd name="T16" fmla="*/ 27 w 33"/>
                <a:gd name="T17" fmla="*/ 19 h 34"/>
                <a:gd name="T18" fmla="*/ 33 w 33"/>
                <a:gd name="T19" fmla="*/ 1 h 34"/>
                <a:gd name="T20" fmla="*/ 33 w 33"/>
                <a:gd name="T21" fmla="*/ 0 h 34"/>
                <a:gd name="T22" fmla="*/ 1 w 33"/>
                <a:gd name="T23" fmla="*/ 11 h 34"/>
                <a:gd name="T24" fmla="*/ 4 w 33"/>
                <a:gd name="T25" fmla="*/ 7 h 34"/>
                <a:gd name="T26" fmla="*/ 6 w 33"/>
                <a:gd name="T27" fmla="*/ 2 h 34"/>
                <a:gd name="T28" fmla="*/ 32 w 33"/>
                <a:gd name="T29" fmla="*/ 1 h 34"/>
                <a:gd name="T30" fmla="*/ 26 w 33"/>
                <a:gd name="T31" fmla="*/ 19 h 34"/>
                <a:gd name="T32" fmla="*/ 14 w 33"/>
                <a:gd name="T33" fmla="*/ 33 h 34"/>
                <a:gd name="T34" fmla="*/ 1 w 33"/>
                <a:gd name="T3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33" y="0"/>
                  </a:moveTo>
                  <a:cubicBezTo>
                    <a:pt x="5" y="1"/>
                    <a:pt x="5" y="1"/>
                    <a:pt x="5" y="1"/>
                  </a:cubicBezTo>
                  <a:cubicBezTo>
                    <a:pt x="5" y="1"/>
                    <a:pt x="5" y="1"/>
                    <a:pt x="5" y="1"/>
                  </a:cubicBezTo>
                  <a:cubicBezTo>
                    <a:pt x="5" y="3"/>
                    <a:pt x="4" y="5"/>
                    <a:pt x="4" y="6"/>
                  </a:cubicBezTo>
                  <a:cubicBezTo>
                    <a:pt x="3" y="8"/>
                    <a:pt x="2" y="9"/>
                    <a:pt x="0" y="10"/>
                  </a:cubicBezTo>
                  <a:cubicBezTo>
                    <a:pt x="0" y="11"/>
                    <a:pt x="0" y="11"/>
                    <a:pt x="0" y="11"/>
                  </a:cubicBezTo>
                  <a:cubicBezTo>
                    <a:pt x="14" y="34"/>
                    <a:pt x="14" y="34"/>
                    <a:pt x="14" y="34"/>
                  </a:cubicBezTo>
                  <a:cubicBezTo>
                    <a:pt x="14" y="34"/>
                    <a:pt x="14" y="34"/>
                    <a:pt x="14" y="34"/>
                  </a:cubicBezTo>
                  <a:cubicBezTo>
                    <a:pt x="20" y="30"/>
                    <a:pt x="24" y="25"/>
                    <a:pt x="27" y="19"/>
                  </a:cubicBezTo>
                  <a:cubicBezTo>
                    <a:pt x="31" y="14"/>
                    <a:pt x="32" y="7"/>
                    <a:pt x="33" y="1"/>
                  </a:cubicBezTo>
                  <a:lnTo>
                    <a:pt x="33" y="0"/>
                  </a:lnTo>
                  <a:close/>
                  <a:moveTo>
                    <a:pt x="1" y="11"/>
                  </a:moveTo>
                  <a:cubicBezTo>
                    <a:pt x="2" y="10"/>
                    <a:pt x="4" y="8"/>
                    <a:pt x="4" y="7"/>
                  </a:cubicBezTo>
                  <a:cubicBezTo>
                    <a:pt x="5" y="5"/>
                    <a:pt x="6" y="3"/>
                    <a:pt x="6" y="2"/>
                  </a:cubicBezTo>
                  <a:cubicBezTo>
                    <a:pt x="32" y="1"/>
                    <a:pt x="32" y="1"/>
                    <a:pt x="32" y="1"/>
                  </a:cubicBezTo>
                  <a:cubicBezTo>
                    <a:pt x="31" y="7"/>
                    <a:pt x="29" y="13"/>
                    <a:pt x="26" y="19"/>
                  </a:cubicBezTo>
                  <a:cubicBezTo>
                    <a:pt x="23" y="24"/>
                    <a:pt x="19" y="29"/>
                    <a:pt x="14" y="33"/>
                  </a:cubicBezTo>
                  <a:lnTo>
                    <a:pt x="1" y="11"/>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sp>
          <p:nvSpPr>
            <p:cNvPr id="44" name="Freeform 43"/>
            <p:cNvSpPr>
              <a:spLocks noEditPoints="1"/>
            </p:cNvSpPr>
            <p:nvPr/>
          </p:nvSpPr>
          <p:spPr bwMode="auto">
            <a:xfrm rot="14718710">
              <a:off x="9583999" y="4262000"/>
              <a:ext cx="779413" cy="757198"/>
            </a:xfrm>
            <a:custGeom>
              <a:avLst/>
              <a:gdLst>
                <a:gd name="T0" fmla="*/ 27 w 33"/>
                <a:gd name="T1" fmla="*/ 33 h 34"/>
                <a:gd name="T2" fmla="*/ 29 w 33"/>
                <a:gd name="T3" fmla="*/ 28 h 34"/>
                <a:gd name="T4" fmla="*/ 32 w 33"/>
                <a:gd name="T5" fmla="*/ 24 h 34"/>
                <a:gd name="T6" fmla="*/ 33 w 33"/>
                <a:gd name="T7" fmla="*/ 24 h 34"/>
                <a:gd name="T8" fmla="*/ 18 w 33"/>
                <a:gd name="T9" fmla="*/ 0 h 34"/>
                <a:gd name="T10" fmla="*/ 18 w 33"/>
                <a:gd name="T11" fmla="*/ 0 h 34"/>
                <a:gd name="T12" fmla="*/ 5 w 33"/>
                <a:gd name="T13" fmla="*/ 15 h 34"/>
                <a:gd name="T14" fmla="*/ 0 w 33"/>
                <a:gd name="T15" fmla="*/ 34 h 34"/>
                <a:gd name="T16" fmla="*/ 0 w 33"/>
                <a:gd name="T17" fmla="*/ 34 h 34"/>
                <a:gd name="T18" fmla="*/ 27 w 33"/>
                <a:gd name="T19" fmla="*/ 34 h 34"/>
                <a:gd name="T20" fmla="*/ 27 w 33"/>
                <a:gd name="T21" fmla="*/ 33 h 34"/>
                <a:gd name="T22" fmla="*/ 31 w 33"/>
                <a:gd name="T23" fmla="*/ 23 h 34"/>
                <a:gd name="T24" fmla="*/ 28 w 33"/>
                <a:gd name="T25" fmla="*/ 28 h 34"/>
                <a:gd name="T26" fmla="*/ 26 w 33"/>
                <a:gd name="T27" fmla="*/ 33 h 34"/>
                <a:gd name="T28" fmla="*/ 1 w 33"/>
                <a:gd name="T29" fmla="*/ 33 h 34"/>
                <a:gd name="T30" fmla="*/ 6 w 33"/>
                <a:gd name="T31" fmla="*/ 15 h 34"/>
                <a:gd name="T32" fmla="*/ 18 w 33"/>
                <a:gd name="T33" fmla="*/ 2 h 34"/>
                <a:gd name="T34" fmla="*/ 31 w 33"/>
                <a:gd name="T3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34">
                  <a:moveTo>
                    <a:pt x="27" y="33"/>
                  </a:moveTo>
                  <a:cubicBezTo>
                    <a:pt x="27" y="31"/>
                    <a:pt x="28" y="30"/>
                    <a:pt x="29" y="28"/>
                  </a:cubicBezTo>
                  <a:cubicBezTo>
                    <a:pt x="30" y="27"/>
                    <a:pt x="31" y="25"/>
                    <a:pt x="32" y="24"/>
                  </a:cubicBezTo>
                  <a:cubicBezTo>
                    <a:pt x="33" y="24"/>
                    <a:pt x="33" y="24"/>
                    <a:pt x="33" y="24"/>
                  </a:cubicBezTo>
                  <a:cubicBezTo>
                    <a:pt x="18" y="0"/>
                    <a:pt x="18" y="0"/>
                    <a:pt x="18" y="0"/>
                  </a:cubicBezTo>
                  <a:cubicBezTo>
                    <a:pt x="18" y="0"/>
                    <a:pt x="18" y="0"/>
                    <a:pt x="18" y="0"/>
                  </a:cubicBezTo>
                  <a:cubicBezTo>
                    <a:pt x="13" y="4"/>
                    <a:pt x="8" y="9"/>
                    <a:pt x="5" y="15"/>
                  </a:cubicBezTo>
                  <a:cubicBezTo>
                    <a:pt x="2" y="21"/>
                    <a:pt x="0" y="27"/>
                    <a:pt x="0" y="34"/>
                  </a:cubicBezTo>
                  <a:cubicBezTo>
                    <a:pt x="0" y="34"/>
                    <a:pt x="0" y="34"/>
                    <a:pt x="0" y="34"/>
                  </a:cubicBezTo>
                  <a:cubicBezTo>
                    <a:pt x="27" y="34"/>
                    <a:pt x="27" y="34"/>
                    <a:pt x="27" y="34"/>
                  </a:cubicBezTo>
                  <a:lnTo>
                    <a:pt x="27" y="33"/>
                  </a:lnTo>
                  <a:close/>
                  <a:moveTo>
                    <a:pt x="31" y="23"/>
                  </a:moveTo>
                  <a:cubicBezTo>
                    <a:pt x="30" y="25"/>
                    <a:pt x="29" y="26"/>
                    <a:pt x="28" y="28"/>
                  </a:cubicBezTo>
                  <a:cubicBezTo>
                    <a:pt x="27" y="29"/>
                    <a:pt x="27" y="31"/>
                    <a:pt x="26" y="33"/>
                  </a:cubicBezTo>
                  <a:cubicBezTo>
                    <a:pt x="1" y="33"/>
                    <a:pt x="1" y="33"/>
                    <a:pt x="1" y="33"/>
                  </a:cubicBezTo>
                  <a:cubicBezTo>
                    <a:pt x="1" y="27"/>
                    <a:pt x="3" y="21"/>
                    <a:pt x="6" y="15"/>
                  </a:cubicBezTo>
                  <a:cubicBezTo>
                    <a:pt x="9" y="10"/>
                    <a:pt x="13" y="5"/>
                    <a:pt x="18" y="2"/>
                  </a:cubicBezTo>
                  <a:lnTo>
                    <a:pt x="31" y="23"/>
                  </a:lnTo>
                  <a:close/>
                </a:path>
              </a:pathLst>
            </a:custGeom>
            <a:solidFill>
              <a:srgbClr val="F2F2F2">
                <a:alpha val="7059"/>
              </a:srgbClr>
            </a:solidFill>
            <a:ln w="9525">
              <a:solidFill>
                <a:srgbClr val="F2F2F2">
                  <a:alpha val="7059"/>
                </a:srgbClr>
              </a:solidFill>
              <a:round/>
              <a:headEnd/>
              <a:tailEnd/>
            </a:ln>
            <a:extLst/>
          </p:spPr>
          <p:txBody>
            <a:bodyPr vert="horz" wrap="square" lIns="90311" tIns="45157" rIns="90311" bIns="45157" numCol="1" anchor="t" anchorCtr="0" compatLnSpc="1">
              <a:prstTxWarp prst="textNoShape">
                <a:avLst/>
              </a:prstTxWarp>
            </a:bodyPr>
            <a:lstStyle/>
            <a:p>
              <a:endParaRPr lang="en-US" sz="1467" dirty="0">
                <a:solidFill>
                  <a:prstClr val="black"/>
                </a:solidFill>
              </a:endParaRPr>
            </a:p>
          </p:txBody>
        </p:sp>
      </p:grpSp>
      <p:sp>
        <p:nvSpPr>
          <p:cNvPr id="45" name="Rectangle 187"/>
          <p:cNvSpPr>
            <a:spLocks noChangeArrowheads="1"/>
          </p:cNvSpPr>
          <p:nvPr/>
        </p:nvSpPr>
        <p:spPr bwMode="auto">
          <a:xfrm>
            <a:off x="1079698" y="1191129"/>
            <a:ext cx="702957" cy="633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46" name="Rectangle 186"/>
          <p:cNvSpPr>
            <a:spLocks noChangeArrowheads="1"/>
          </p:cNvSpPr>
          <p:nvPr/>
        </p:nvSpPr>
        <p:spPr bwMode="auto">
          <a:xfrm>
            <a:off x="1000458" y="1276165"/>
            <a:ext cx="702957" cy="201091"/>
          </a:xfrm>
          <a:prstGeom prst="rect">
            <a:avLst/>
          </a:prstGeom>
          <a:solidFill>
            <a:schemeClr val="bg1">
              <a:lumMod val="50000"/>
            </a:schemeClr>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47" name="Rectangle 188"/>
          <p:cNvSpPr>
            <a:spLocks noChangeArrowheads="1"/>
          </p:cNvSpPr>
          <p:nvPr/>
        </p:nvSpPr>
        <p:spPr bwMode="auto">
          <a:xfrm>
            <a:off x="1000458" y="1503891"/>
            <a:ext cx="702957" cy="545743"/>
          </a:xfrm>
          <a:prstGeom prst="rect">
            <a:avLst/>
          </a:prstGeom>
          <a:solidFill>
            <a:schemeClr val="tx1"/>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48" name="Rectangle 192"/>
          <p:cNvSpPr>
            <a:spLocks noChangeArrowheads="1"/>
          </p:cNvSpPr>
          <p:nvPr/>
        </p:nvSpPr>
        <p:spPr bwMode="auto">
          <a:xfrm>
            <a:off x="3536574" y="4477537"/>
            <a:ext cx="637477" cy="519817"/>
          </a:xfrm>
          <a:prstGeom prst="rect">
            <a:avLst/>
          </a:prstGeom>
          <a:solidFill>
            <a:srgbClr val="2D8F3B"/>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49" name="Rectangle 193"/>
          <p:cNvSpPr>
            <a:spLocks noChangeArrowheads="1"/>
          </p:cNvSpPr>
          <p:nvPr/>
        </p:nvSpPr>
        <p:spPr bwMode="auto">
          <a:xfrm>
            <a:off x="5304905" y="4466044"/>
            <a:ext cx="1069217" cy="524576"/>
          </a:xfrm>
          <a:prstGeom prst="rect">
            <a:avLst/>
          </a:prstGeom>
          <a:solidFill>
            <a:srgbClr val="2D8F3B"/>
          </a:solidFill>
          <a:ln>
            <a:noFill/>
          </a:ln>
        </p:spPr>
        <p:txBody>
          <a:bodyPr vert="horz" wrap="square" lIns="67733" tIns="33868" rIns="67733" bIns="33868" numCol="1" anchor="t" anchorCtr="0" compatLnSpc="1">
            <a:prstTxWarp prst="textNoShape">
              <a:avLst/>
            </a:prstTxWarp>
          </a:bodyPr>
          <a:lstStyle/>
          <a:p>
            <a:pPr algn="ctr"/>
            <a:endParaRPr lang="en-US" sz="1467" dirty="0">
              <a:solidFill>
                <a:prstClr val="black"/>
              </a:solidFill>
            </a:endParaRPr>
          </a:p>
        </p:txBody>
      </p:sp>
      <p:sp>
        <p:nvSpPr>
          <p:cNvPr id="50" name="Rectangle 195"/>
          <p:cNvSpPr>
            <a:spLocks noChangeArrowheads="1"/>
          </p:cNvSpPr>
          <p:nvPr/>
        </p:nvSpPr>
        <p:spPr bwMode="auto">
          <a:xfrm>
            <a:off x="3551397" y="3492840"/>
            <a:ext cx="814632" cy="575224"/>
          </a:xfrm>
          <a:prstGeom prst="rect">
            <a:avLst/>
          </a:prstGeom>
          <a:solidFill>
            <a:srgbClr val="000000"/>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1" name="Freeform 196"/>
          <p:cNvSpPr>
            <a:spLocks/>
          </p:cNvSpPr>
          <p:nvPr/>
        </p:nvSpPr>
        <p:spPr bwMode="auto">
          <a:xfrm>
            <a:off x="1000463" y="2084259"/>
            <a:ext cx="924368" cy="699435"/>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2" name="Freeform 197"/>
          <p:cNvSpPr>
            <a:spLocks/>
          </p:cNvSpPr>
          <p:nvPr/>
        </p:nvSpPr>
        <p:spPr bwMode="auto">
          <a:xfrm>
            <a:off x="4410993" y="2261767"/>
            <a:ext cx="947497" cy="701200"/>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Lst>
            <a:ahLst/>
            <a:cxnLst>
              <a:cxn ang="0">
                <a:pos x="T0" y="T1"/>
              </a:cxn>
              <a:cxn ang="0">
                <a:pos x="T2" y="T3"/>
              </a:cxn>
              <a:cxn ang="0">
                <a:pos x="T4" y="T5"/>
              </a:cxn>
              <a:cxn ang="0">
                <a:pos x="T6" y="T7"/>
              </a:cxn>
              <a:cxn ang="0">
                <a:pos x="T8" y="T9"/>
              </a:cxn>
              <a:cxn ang="0">
                <a:pos x="T10" y="T11"/>
              </a:cxn>
              <a:cxn ang="0">
                <a:pos x="T12" y="T13"/>
              </a:cxn>
            </a:cxnLst>
            <a:rect l="0" t="0" r="r" b="b"/>
            <a:pathLst>
              <a:path w="481" h="489">
                <a:moveTo>
                  <a:pt x="0" y="366"/>
                </a:moveTo>
                <a:cubicBezTo>
                  <a:pt x="64" y="368"/>
                  <a:pt x="115" y="420"/>
                  <a:pt x="115" y="485"/>
                </a:cubicBezTo>
                <a:cubicBezTo>
                  <a:pt x="115" y="486"/>
                  <a:pt x="115" y="487"/>
                  <a:pt x="115" y="489"/>
                </a:cubicBezTo>
                <a:cubicBezTo>
                  <a:pt x="481" y="489"/>
                  <a:pt x="481" y="489"/>
                  <a:pt x="481" y="489"/>
                </a:cubicBezTo>
                <a:cubicBezTo>
                  <a:pt x="481" y="487"/>
                  <a:pt x="481" y="486"/>
                  <a:pt x="481" y="485"/>
                </a:cubicBezTo>
                <a:cubicBezTo>
                  <a:pt x="481" y="218"/>
                  <a:pt x="266" y="2"/>
                  <a:pt x="0" y="0"/>
                </a:cubicBezTo>
                <a:lnTo>
                  <a:pt x="0" y="366"/>
                </a:lnTo>
                <a:close/>
              </a:path>
            </a:pathLst>
          </a:cu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3" name="Freeform 198"/>
          <p:cNvSpPr>
            <a:spLocks/>
          </p:cNvSpPr>
          <p:nvPr/>
        </p:nvSpPr>
        <p:spPr bwMode="auto">
          <a:xfrm>
            <a:off x="4401071" y="3311941"/>
            <a:ext cx="957420" cy="752065"/>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489" h="481">
                <a:moveTo>
                  <a:pt x="123" y="0"/>
                </a:moveTo>
                <a:cubicBezTo>
                  <a:pt x="121" y="64"/>
                  <a:pt x="69" y="115"/>
                  <a:pt x="4" y="115"/>
                </a:cubicBezTo>
                <a:cubicBezTo>
                  <a:pt x="3" y="115"/>
                  <a:pt x="2" y="115"/>
                  <a:pt x="0" y="115"/>
                </a:cubicBezTo>
                <a:cubicBezTo>
                  <a:pt x="0" y="481"/>
                  <a:pt x="0" y="481"/>
                  <a:pt x="0" y="481"/>
                </a:cubicBezTo>
                <a:cubicBezTo>
                  <a:pt x="2" y="481"/>
                  <a:pt x="3" y="481"/>
                  <a:pt x="4" y="481"/>
                </a:cubicBezTo>
                <a:cubicBezTo>
                  <a:pt x="271" y="481"/>
                  <a:pt x="487" y="266"/>
                  <a:pt x="489" y="0"/>
                </a:cubicBezTo>
                <a:lnTo>
                  <a:pt x="123" y="0"/>
                </a:lnTo>
                <a:close/>
              </a:path>
            </a:pathLst>
          </a:cu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4" name="Freeform 199"/>
          <p:cNvSpPr>
            <a:spLocks/>
          </p:cNvSpPr>
          <p:nvPr/>
        </p:nvSpPr>
        <p:spPr bwMode="auto">
          <a:xfrm>
            <a:off x="2705293" y="4290303"/>
            <a:ext cx="831224" cy="700317"/>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Lst>
            <a:ahLst/>
            <a:cxnLst>
              <a:cxn ang="0">
                <a:pos x="T0" y="T1"/>
              </a:cxn>
              <a:cxn ang="0">
                <a:pos x="T2" y="T3"/>
              </a:cxn>
              <a:cxn ang="0">
                <a:pos x="T4" y="T5"/>
              </a:cxn>
              <a:cxn ang="0">
                <a:pos x="T6" y="T7"/>
              </a:cxn>
              <a:cxn ang="0">
                <a:pos x="T8" y="T9"/>
              </a:cxn>
              <a:cxn ang="0">
                <a:pos x="T10" y="T11"/>
              </a:cxn>
              <a:cxn ang="0">
                <a:pos x="T12" y="T13"/>
              </a:cxn>
            </a:cxnLst>
            <a:rect l="0" t="0" r="r" b="b"/>
            <a:pathLst>
              <a:path w="480" h="489">
                <a:moveTo>
                  <a:pt x="480" y="123"/>
                </a:moveTo>
                <a:cubicBezTo>
                  <a:pt x="417" y="121"/>
                  <a:pt x="366" y="68"/>
                  <a:pt x="366" y="4"/>
                </a:cubicBezTo>
                <a:cubicBezTo>
                  <a:pt x="366" y="3"/>
                  <a:pt x="366" y="1"/>
                  <a:pt x="366" y="0"/>
                </a:cubicBezTo>
                <a:cubicBezTo>
                  <a:pt x="0" y="0"/>
                  <a:pt x="0" y="0"/>
                  <a:pt x="0" y="0"/>
                </a:cubicBezTo>
                <a:cubicBezTo>
                  <a:pt x="0" y="1"/>
                  <a:pt x="0" y="3"/>
                  <a:pt x="0" y="4"/>
                </a:cubicBezTo>
                <a:cubicBezTo>
                  <a:pt x="0" y="270"/>
                  <a:pt x="215" y="487"/>
                  <a:pt x="480" y="489"/>
                </a:cubicBezTo>
                <a:lnTo>
                  <a:pt x="480" y="123"/>
                </a:lnTo>
                <a:close/>
              </a:path>
            </a:pathLst>
          </a:custGeom>
          <a:solidFill>
            <a:srgbClr val="2D8F3B"/>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5" name="Freeform 200"/>
          <p:cNvSpPr>
            <a:spLocks/>
          </p:cNvSpPr>
          <p:nvPr/>
        </p:nvSpPr>
        <p:spPr bwMode="auto">
          <a:xfrm>
            <a:off x="2705293" y="3492843"/>
            <a:ext cx="809132" cy="756840"/>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rgbClr val="2D8F3B"/>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56" name="Rectangle 235"/>
          <p:cNvSpPr>
            <a:spLocks noChangeArrowheads="1"/>
          </p:cNvSpPr>
          <p:nvPr/>
        </p:nvSpPr>
        <p:spPr bwMode="auto">
          <a:xfrm>
            <a:off x="1232199" y="2373190"/>
            <a:ext cx="598983"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Create User Stories</a:t>
            </a:r>
          </a:p>
        </p:txBody>
      </p:sp>
      <p:sp>
        <p:nvSpPr>
          <p:cNvPr id="57" name="Rectangle 235"/>
          <p:cNvSpPr>
            <a:spLocks noChangeArrowheads="1"/>
          </p:cNvSpPr>
          <p:nvPr/>
        </p:nvSpPr>
        <p:spPr bwMode="auto">
          <a:xfrm>
            <a:off x="4517292" y="2563186"/>
            <a:ext cx="686952"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Automated Test Scripts</a:t>
            </a:r>
          </a:p>
        </p:txBody>
      </p:sp>
      <p:sp>
        <p:nvSpPr>
          <p:cNvPr id="60" name="Rectangle 235"/>
          <p:cNvSpPr>
            <a:spLocks noChangeArrowheads="1"/>
          </p:cNvSpPr>
          <p:nvPr/>
        </p:nvSpPr>
        <p:spPr bwMode="auto">
          <a:xfrm>
            <a:off x="4555157" y="3438009"/>
            <a:ext cx="685319"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Test Data &amp; Service Virtualization</a:t>
            </a:r>
          </a:p>
        </p:txBody>
      </p:sp>
      <p:sp>
        <p:nvSpPr>
          <p:cNvPr id="61" name="Rectangle 235"/>
          <p:cNvSpPr>
            <a:spLocks noChangeArrowheads="1"/>
          </p:cNvSpPr>
          <p:nvPr/>
        </p:nvSpPr>
        <p:spPr bwMode="auto">
          <a:xfrm>
            <a:off x="2742289" y="3954186"/>
            <a:ext cx="786091"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cs typeface="Arial" panose="020B0604020202020204" pitchFamily="34" charset="0"/>
              </a:rPr>
              <a:t>Service Development </a:t>
            </a:r>
          </a:p>
        </p:txBody>
      </p:sp>
      <p:grpSp>
        <p:nvGrpSpPr>
          <p:cNvPr id="62" name="Group 61"/>
          <p:cNvGrpSpPr/>
          <p:nvPr/>
        </p:nvGrpSpPr>
        <p:grpSpPr>
          <a:xfrm>
            <a:off x="1232435" y="1588904"/>
            <a:ext cx="233723" cy="225755"/>
            <a:chOff x="1761659" y="2098289"/>
            <a:chExt cx="668337" cy="712543"/>
          </a:xfrm>
        </p:grpSpPr>
        <p:sp>
          <p:nvSpPr>
            <p:cNvPr id="63" name="Oval 62"/>
            <p:cNvSpPr/>
            <p:nvPr/>
          </p:nvSpPr>
          <p:spPr>
            <a:xfrm>
              <a:off x="1761659" y="2098289"/>
              <a:ext cx="668337" cy="668341"/>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prstClr val="white"/>
                </a:solidFill>
              </a:endParaRPr>
            </a:p>
          </p:txBody>
        </p:sp>
        <p:sp>
          <p:nvSpPr>
            <p:cNvPr id="64" name="Rectangle 222"/>
            <p:cNvSpPr>
              <a:spLocks noChangeArrowheads="1"/>
            </p:cNvSpPr>
            <p:nvPr/>
          </p:nvSpPr>
          <p:spPr bwMode="auto">
            <a:xfrm>
              <a:off x="1965635" y="2130833"/>
              <a:ext cx="261278" cy="6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1400" b="1" dirty="0">
                  <a:solidFill>
                    <a:srgbClr val="FFFFFF"/>
                  </a:solidFill>
                  <a:latin typeface="Calibri" panose="020F0502020204030204"/>
                  <a:ea typeface="Roboto Cn" pitchFamily="2" charset="0"/>
                </a:rPr>
                <a:t>1</a:t>
              </a:r>
              <a:endParaRPr lang="en-US" altLang="en-US" sz="933" b="1" dirty="0">
                <a:solidFill>
                  <a:prstClr val="black"/>
                </a:solidFill>
                <a:latin typeface="Calibri" panose="020F0502020204030204"/>
                <a:ea typeface="Roboto Cn" pitchFamily="2" charset="0"/>
              </a:endParaRPr>
            </a:p>
          </p:txBody>
        </p:sp>
      </p:grpSp>
      <p:sp>
        <p:nvSpPr>
          <p:cNvPr id="65" name="Rectangle 235"/>
          <p:cNvSpPr>
            <a:spLocks noChangeArrowheads="1"/>
          </p:cNvSpPr>
          <p:nvPr/>
        </p:nvSpPr>
        <p:spPr bwMode="auto">
          <a:xfrm>
            <a:off x="1005541" y="1840830"/>
            <a:ext cx="682879"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933" dirty="0">
                <a:solidFill>
                  <a:prstClr val="white"/>
                </a:solidFill>
                <a:latin typeface="Calibri" panose="020F0502020204030204"/>
              </a:rPr>
              <a:t>Requirements</a:t>
            </a:r>
            <a:endParaRPr lang="en-US" altLang="en-US" sz="1200" dirty="0">
              <a:solidFill>
                <a:prstClr val="white"/>
              </a:solidFill>
              <a:latin typeface="Calibri" panose="020F0502020204030204"/>
            </a:endParaRPr>
          </a:p>
        </p:txBody>
      </p:sp>
      <p:grpSp>
        <p:nvGrpSpPr>
          <p:cNvPr id="66" name="Group 65"/>
          <p:cNvGrpSpPr/>
          <p:nvPr/>
        </p:nvGrpSpPr>
        <p:grpSpPr>
          <a:xfrm>
            <a:off x="3858284" y="3537479"/>
            <a:ext cx="233723" cy="215444"/>
            <a:chOff x="1744663" y="2023106"/>
            <a:chExt cx="668337" cy="680000"/>
          </a:xfrm>
        </p:grpSpPr>
        <p:sp>
          <p:nvSpPr>
            <p:cNvPr id="67" name="Oval 66"/>
            <p:cNvSpPr/>
            <p:nvPr/>
          </p:nvSpPr>
          <p:spPr>
            <a:xfrm>
              <a:off x="1744663" y="2034383"/>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prstClr val="white"/>
                </a:solidFill>
              </a:endParaRPr>
            </a:p>
          </p:txBody>
        </p:sp>
        <p:sp>
          <p:nvSpPr>
            <p:cNvPr id="68" name="Rectangle 222"/>
            <p:cNvSpPr>
              <a:spLocks noChangeArrowheads="1"/>
            </p:cNvSpPr>
            <p:nvPr/>
          </p:nvSpPr>
          <p:spPr bwMode="auto">
            <a:xfrm>
              <a:off x="1948639" y="2023106"/>
              <a:ext cx="261278" cy="6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1400" b="1" dirty="0">
                  <a:solidFill>
                    <a:srgbClr val="FFFFFF"/>
                  </a:solidFill>
                  <a:latin typeface="Calibri" panose="020F0502020204030204"/>
                  <a:ea typeface="Roboto Cn" pitchFamily="2" charset="0"/>
                </a:rPr>
                <a:t>2</a:t>
              </a:r>
              <a:endParaRPr lang="en-US" altLang="en-US" sz="933" b="1" dirty="0">
                <a:solidFill>
                  <a:prstClr val="black"/>
                </a:solidFill>
                <a:latin typeface="Calibri" panose="020F0502020204030204"/>
                <a:ea typeface="Roboto Cn" pitchFamily="2" charset="0"/>
              </a:endParaRPr>
            </a:p>
          </p:txBody>
        </p:sp>
      </p:grpSp>
      <p:sp>
        <p:nvSpPr>
          <p:cNvPr id="69" name="Rectangle 235"/>
          <p:cNvSpPr>
            <a:spLocks noChangeArrowheads="1"/>
          </p:cNvSpPr>
          <p:nvPr/>
        </p:nvSpPr>
        <p:spPr bwMode="auto">
          <a:xfrm>
            <a:off x="3672020" y="3786113"/>
            <a:ext cx="626773"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933" dirty="0">
                <a:solidFill>
                  <a:prstClr val="white"/>
                </a:solidFill>
                <a:latin typeface="Calibri" panose="020F0502020204030204"/>
              </a:rPr>
              <a:t>Code</a:t>
            </a:r>
            <a:endParaRPr lang="en-US" altLang="en-US" sz="1200" dirty="0">
              <a:solidFill>
                <a:prstClr val="white"/>
              </a:solidFill>
              <a:latin typeface="Calibri" panose="020F0502020204030204"/>
            </a:endParaRPr>
          </a:p>
        </p:txBody>
      </p:sp>
      <p:sp>
        <p:nvSpPr>
          <p:cNvPr id="70" name="Rectangle 235"/>
          <p:cNvSpPr>
            <a:spLocks noChangeArrowheads="1"/>
          </p:cNvSpPr>
          <p:nvPr/>
        </p:nvSpPr>
        <p:spPr bwMode="auto">
          <a:xfrm>
            <a:off x="5306816" y="4588453"/>
            <a:ext cx="635721" cy="30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Promotion to  Staging Environment</a:t>
            </a:r>
          </a:p>
        </p:txBody>
      </p:sp>
      <p:sp>
        <p:nvSpPr>
          <p:cNvPr id="71" name="Freeform 199"/>
          <p:cNvSpPr>
            <a:spLocks/>
          </p:cNvSpPr>
          <p:nvPr/>
        </p:nvSpPr>
        <p:spPr bwMode="auto">
          <a:xfrm flipH="1">
            <a:off x="6421072" y="4290302"/>
            <a:ext cx="917672" cy="700597"/>
          </a:xfrm>
          <a:custGeom>
            <a:avLst/>
            <a:gdLst>
              <a:gd name="T0" fmla="*/ 480 w 480"/>
              <a:gd name="T1" fmla="*/ 123 h 489"/>
              <a:gd name="T2" fmla="*/ 366 w 480"/>
              <a:gd name="T3" fmla="*/ 4 h 489"/>
              <a:gd name="T4" fmla="*/ 366 w 480"/>
              <a:gd name="T5" fmla="*/ 0 h 489"/>
              <a:gd name="T6" fmla="*/ 0 w 480"/>
              <a:gd name="T7" fmla="*/ 0 h 489"/>
              <a:gd name="T8" fmla="*/ 0 w 480"/>
              <a:gd name="T9" fmla="*/ 4 h 489"/>
              <a:gd name="T10" fmla="*/ 480 w 480"/>
              <a:gd name="T11" fmla="*/ 489 h 489"/>
              <a:gd name="T12" fmla="*/ 480 w 480"/>
              <a:gd name="T13" fmla="*/ 123 h 489"/>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0"/>
              <a:gd name="connsiteX1" fmla="*/ 7625 w 10000"/>
              <a:gd name="connsiteY1" fmla="*/ 82 h 10000"/>
              <a:gd name="connsiteX2" fmla="*/ 7625 w 10000"/>
              <a:gd name="connsiteY2" fmla="*/ 0 h 10000"/>
              <a:gd name="connsiteX3" fmla="*/ 0 w 10000"/>
              <a:gd name="connsiteY3" fmla="*/ 0 h 10000"/>
              <a:gd name="connsiteX4" fmla="*/ 0 w 10000"/>
              <a:gd name="connsiteY4" fmla="*/ 82 h 10000"/>
              <a:gd name="connsiteX5" fmla="*/ 10000 w 10000"/>
              <a:gd name="connsiteY5" fmla="*/ 10000 h 10000"/>
              <a:gd name="connsiteX6" fmla="*/ 10000 w 10000"/>
              <a:gd name="connsiteY6" fmla="*/ 2515 h 10000"/>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 name="connsiteX0" fmla="*/ 10000 w 10000"/>
              <a:gd name="connsiteY0" fmla="*/ 2515 h 10004"/>
              <a:gd name="connsiteX1" fmla="*/ 7625 w 10000"/>
              <a:gd name="connsiteY1" fmla="*/ 82 h 10004"/>
              <a:gd name="connsiteX2" fmla="*/ 7625 w 10000"/>
              <a:gd name="connsiteY2" fmla="*/ 0 h 10004"/>
              <a:gd name="connsiteX3" fmla="*/ 0 w 10000"/>
              <a:gd name="connsiteY3" fmla="*/ 0 h 10004"/>
              <a:gd name="connsiteX4" fmla="*/ 0 w 10000"/>
              <a:gd name="connsiteY4" fmla="*/ 82 h 10004"/>
              <a:gd name="connsiteX5" fmla="*/ 10000 w 10000"/>
              <a:gd name="connsiteY5" fmla="*/ 10000 h 10004"/>
              <a:gd name="connsiteX6" fmla="*/ 10000 w 10000"/>
              <a:gd name="connsiteY6" fmla="*/ 2515 h 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4">
                <a:moveTo>
                  <a:pt x="10000" y="2515"/>
                </a:moveTo>
                <a:cubicBezTo>
                  <a:pt x="8688" y="2474"/>
                  <a:pt x="7625" y="1391"/>
                  <a:pt x="7625" y="82"/>
                </a:cubicBezTo>
                <a:lnTo>
                  <a:pt x="7625" y="0"/>
                </a:lnTo>
                <a:lnTo>
                  <a:pt x="0" y="0"/>
                </a:lnTo>
                <a:lnTo>
                  <a:pt x="0" y="82"/>
                </a:lnTo>
                <a:cubicBezTo>
                  <a:pt x="291" y="6099"/>
                  <a:pt x="2125" y="10165"/>
                  <a:pt x="10000" y="10000"/>
                </a:cubicBezTo>
                <a:lnTo>
                  <a:pt x="10000" y="2515"/>
                </a:lnTo>
                <a:close/>
              </a:path>
            </a:pathLst>
          </a:custGeom>
          <a:solidFill>
            <a:srgbClr val="2D8F3B"/>
          </a:solidFill>
          <a:ln>
            <a:noFill/>
          </a:ln>
        </p:spPr>
        <p:txBody>
          <a:bodyPr vert="horz" wrap="square" lIns="67733" tIns="33868" rIns="67733" bIns="33868" numCol="1" anchor="t" anchorCtr="0" compatLnSpc="1">
            <a:prstTxWarp prst="textNoShape">
              <a:avLst/>
            </a:prstTxWarp>
          </a:bodyPr>
          <a:lstStyle/>
          <a:p>
            <a:pPr algn="ctr"/>
            <a:endParaRPr lang="en-US" sz="1467" dirty="0">
              <a:solidFill>
                <a:prstClr val="black"/>
              </a:solidFill>
            </a:endParaRPr>
          </a:p>
        </p:txBody>
      </p:sp>
      <p:grpSp>
        <p:nvGrpSpPr>
          <p:cNvPr id="72" name="Group 71"/>
          <p:cNvGrpSpPr/>
          <p:nvPr/>
        </p:nvGrpSpPr>
        <p:grpSpPr>
          <a:xfrm>
            <a:off x="6828863" y="3712111"/>
            <a:ext cx="233723" cy="219949"/>
            <a:chOff x="2118595" y="-122200"/>
            <a:chExt cx="668337" cy="694220"/>
          </a:xfrm>
        </p:grpSpPr>
        <p:sp>
          <p:nvSpPr>
            <p:cNvPr id="73" name="Oval 72"/>
            <p:cNvSpPr/>
            <p:nvPr/>
          </p:nvSpPr>
          <p:spPr>
            <a:xfrm>
              <a:off x="2118595" y="-96317"/>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prstClr val="white"/>
                </a:solidFill>
              </a:endParaRPr>
            </a:p>
          </p:txBody>
        </p:sp>
        <p:sp>
          <p:nvSpPr>
            <p:cNvPr id="74" name="Rectangle 222"/>
            <p:cNvSpPr>
              <a:spLocks noChangeArrowheads="1"/>
            </p:cNvSpPr>
            <p:nvPr/>
          </p:nvSpPr>
          <p:spPr bwMode="auto">
            <a:xfrm>
              <a:off x="2322571" y="-122200"/>
              <a:ext cx="261278" cy="6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1400" b="1" dirty="0">
                  <a:solidFill>
                    <a:srgbClr val="FFFFFF"/>
                  </a:solidFill>
                  <a:latin typeface="Calibri" panose="020F0502020204030204"/>
                  <a:ea typeface="Roboto Cn" pitchFamily="2" charset="0"/>
                </a:rPr>
                <a:t>3</a:t>
              </a:r>
              <a:endParaRPr lang="en-US" altLang="en-US" sz="933" b="1" dirty="0">
                <a:solidFill>
                  <a:prstClr val="black"/>
                </a:solidFill>
                <a:latin typeface="Calibri" panose="020F0502020204030204"/>
                <a:ea typeface="Roboto Cn" pitchFamily="2" charset="0"/>
              </a:endParaRPr>
            </a:p>
          </p:txBody>
        </p:sp>
      </p:grpSp>
      <p:sp>
        <p:nvSpPr>
          <p:cNvPr id="75" name="Rectangle 235"/>
          <p:cNvSpPr>
            <a:spLocks noChangeArrowheads="1"/>
          </p:cNvSpPr>
          <p:nvPr/>
        </p:nvSpPr>
        <p:spPr bwMode="auto">
          <a:xfrm>
            <a:off x="6862527" y="3993789"/>
            <a:ext cx="203582"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933" dirty="0">
                <a:solidFill>
                  <a:prstClr val="white"/>
                </a:solidFill>
                <a:latin typeface="Calibri" panose="020F0502020204030204"/>
              </a:rPr>
              <a:t>Test</a:t>
            </a:r>
            <a:endParaRPr lang="en-US" altLang="en-US" sz="1200" dirty="0">
              <a:solidFill>
                <a:prstClr val="white"/>
              </a:solidFill>
              <a:latin typeface="Calibri" panose="020F0502020204030204"/>
            </a:endParaRPr>
          </a:p>
        </p:txBody>
      </p:sp>
      <p:sp>
        <p:nvSpPr>
          <p:cNvPr id="76" name="Rectangle 186"/>
          <p:cNvSpPr>
            <a:spLocks noChangeArrowheads="1"/>
          </p:cNvSpPr>
          <p:nvPr/>
        </p:nvSpPr>
        <p:spPr bwMode="auto">
          <a:xfrm>
            <a:off x="6637923" y="2802088"/>
            <a:ext cx="702957" cy="737496"/>
          </a:xfrm>
          <a:prstGeom prst="rect">
            <a:avLst/>
          </a:prstGeom>
          <a:solidFill>
            <a:srgbClr val="F7B30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77" name="Rectangle 235"/>
          <p:cNvSpPr>
            <a:spLocks noChangeArrowheads="1"/>
          </p:cNvSpPr>
          <p:nvPr/>
        </p:nvSpPr>
        <p:spPr bwMode="auto">
          <a:xfrm>
            <a:off x="6613897" y="3106049"/>
            <a:ext cx="756076"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black"/>
                </a:solidFill>
                <a:latin typeface="Calibri" panose="020F0502020204030204"/>
              </a:rPr>
              <a:t>SIT, Regression </a:t>
            </a:r>
          </a:p>
          <a:p>
            <a:pPr algn="ctr" defTabSz="677400"/>
            <a:r>
              <a:rPr lang="en-US" altLang="en-US" sz="667" b="1" dirty="0">
                <a:solidFill>
                  <a:prstClr val="black"/>
                </a:solidFill>
                <a:latin typeface="Calibri" panose="020F0502020204030204"/>
              </a:rPr>
              <a:t>E2E Tests</a:t>
            </a:r>
          </a:p>
        </p:txBody>
      </p:sp>
      <p:sp>
        <p:nvSpPr>
          <p:cNvPr id="78" name="Freeform 196"/>
          <p:cNvSpPr>
            <a:spLocks/>
          </p:cNvSpPr>
          <p:nvPr/>
        </p:nvSpPr>
        <p:spPr bwMode="auto">
          <a:xfrm flipV="1">
            <a:off x="6638416" y="1988897"/>
            <a:ext cx="924368" cy="796840"/>
          </a:xfrm>
          <a:custGeom>
            <a:avLst/>
            <a:gdLst>
              <a:gd name="T0" fmla="*/ 481 w 481"/>
              <a:gd name="T1" fmla="*/ 122 h 488"/>
              <a:gd name="T2" fmla="*/ 366 w 481"/>
              <a:gd name="T3" fmla="*/ 4 h 488"/>
              <a:gd name="T4" fmla="*/ 366 w 481"/>
              <a:gd name="T5" fmla="*/ 0 h 488"/>
              <a:gd name="T6" fmla="*/ 0 w 481"/>
              <a:gd name="T7" fmla="*/ 0 h 488"/>
              <a:gd name="T8" fmla="*/ 0 w 481"/>
              <a:gd name="T9" fmla="*/ 4 h 488"/>
              <a:gd name="T10" fmla="*/ 481 w 481"/>
              <a:gd name="T11" fmla="*/ 488 h 488"/>
              <a:gd name="T12" fmla="*/ 481 w 481"/>
              <a:gd name="T13" fmla="*/ 122 h 488"/>
            </a:gdLst>
            <a:ahLst/>
            <a:cxnLst>
              <a:cxn ang="0">
                <a:pos x="T0" y="T1"/>
              </a:cxn>
              <a:cxn ang="0">
                <a:pos x="T2" y="T3"/>
              </a:cxn>
              <a:cxn ang="0">
                <a:pos x="T4" y="T5"/>
              </a:cxn>
              <a:cxn ang="0">
                <a:pos x="T6" y="T7"/>
              </a:cxn>
              <a:cxn ang="0">
                <a:pos x="T8" y="T9"/>
              </a:cxn>
              <a:cxn ang="0">
                <a:pos x="T10" y="T11"/>
              </a:cxn>
              <a:cxn ang="0">
                <a:pos x="T12" y="T13"/>
              </a:cxn>
            </a:cxnLst>
            <a:rect l="0" t="0" r="r" b="b"/>
            <a:pathLst>
              <a:path w="481" h="488">
                <a:moveTo>
                  <a:pt x="481" y="122"/>
                </a:moveTo>
                <a:cubicBezTo>
                  <a:pt x="417" y="120"/>
                  <a:pt x="366" y="68"/>
                  <a:pt x="366" y="4"/>
                </a:cubicBezTo>
                <a:cubicBezTo>
                  <a:pt x="366" y="2"/>
                  <a:pt x="366" y="1"/>
                  <a:pt x="366" y="0"/>
                </a:cubicBezTo>
                <a:cubicBezTo>
                  <a:pt x="0" y="0"/>
                  <a:pt x="0" y="0"/>
                  <a:pt x="0" y="0"/>
                </a:cubicBezTo>
                <a:cubicBezTo>
                  <a:pt x="0" y="1"/>
                  <a:pt x="0" y="2"/>
                  <a:pt x="0" y="4"/>
                </a:cubicBezTo>
                <a:cubicBezTo>
                  <a:pt x="0" y="270"/>
                  <a:pt x="215" y="486"/>
                  <a:pt x="481" y="488"/>
                </a:cubicBezTo>
                <a:lnTo>
                  <a:pt x="481" y="122"/>
                </a:lnTo>
                <a:close/>
              </a:path>
            </a:pathLst>
          </a:custGeom>
          <a:solidFill>
            <a:srgbClr val="F7B30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79" name="Rectangle 189"/>
          <p:cNvSpPr>
            <a:spLocks noChangeArrowheads="1"/>
          </p:cNvSpPr>
          <p:nvPr/>
        </p:nvSpPr>
        <p:spPr bwMode="auto">
          <a:xfrm>
            <a:off x="8331914" y="1975301"/>
            <a:ext cx="979351" cy="553416"/>
          </a:xfrm>
          <a:prstGeom prst="rect">
            <a:avLst/>
          </a:prstGeom>
          <a:solidFill>
            <a:srgbClr val="F7B30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0" name="Rectangle 191"/>
          <p:cNvSpPr>
            <a:spLocks noChangeArrowheads="1"/>
          </p:cNvSpPr>
          <p:nvPr/>
        </p:nvSpPr>
        <p:spPr bwMode="auto">
          <a:xfrm>
            <a:off x="9368724" y="1990649"/>
            <a:ext cx="967531" cy="523508"/>
          </a:xfrm>
          <a:prstGeom prst="rect">
            <a:avLst/>
          </a:prstGeom>
          <a:solidFill>
            <a:srgbClr val="F7B30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1" name="Rectangle 235"/>
          <p:cNvSpPr>
            <a:spLocks noChangeArrowheads="1"/>
          </p:cNvSpPr>
          <p:nvPr/>
        </p:nvSpPr>
        <p:spPr bwMode="auto">
          <a:xfrm>
            <a:off x="8401448" y="2138676"/>
            <a:ext cx="758901"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black"/>
                </a:solidFill>
                <a:latin typeface="Calibri" panose="020F0502020204030204"/>
              </a:rPr>
              <a:t>Customer Experience Testing</a:t>
            </a:r>
          </a:p>
        </p:txBody>
      </p:sp>
      <p:sp>
        <p:nvSpPr>
          <p:cNvPr id="82" name="Rectangle 235"/>
          <p:cNvSpPr>
            <a:spLocks noChangeArrowheads="1"/>
          </p:cNvSpPr>
          <p:nvPr/>
        </p:nvSpPr>
        <p:spPr bwMode="auto">
          <a:xfrm>
            <a:off x="9471671" y="2171641"/>
            <a:ext cx="713533"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black"/>
                </a:solidFill>
                <a:latin typeface="Calibri" panose="020F0502020204030204"/>
              </a:rPr>
              <a:t>User Acceptance Testing</a:t>
            </a:r>
          </a:p>
        </p:txBody>
      </p:sp>
      <p:sp>
        <p:nvSpPr>
          <p:cNvPr id="83" name="Freeform 197"/>
          <p:cNvSpPr>
            <a:spLocks/>
          </p:cNvSpPr>
          <p:nvPr/>
        </p:nvSpPr>
        <p:spPr bwMode="auto">
          <a:xfrm>
            <a:off x="10350967" y="1990449"/>
            <a:ext cx="1109799" cy="701200"/>
          </a:xfrm>
          <a:custGeom>
            <a:avLst/>
            <a:gdLst>
              <a:gd name="T0" fmla="*/ 0 w 481"/>
              <a:gd name="T1" fmla="*/ 366 h 489"/>
              <a:gd name="T2" fmla="*/ 115 w 481"/>
              <a:gd name="T3" fmla="*/ 485 h 489"/>
              <a:gd name="T4" fmla="*/ 115 w 481"/>
              <a:gd name="T5" fmla="*/ 489 h 489"/>
              <a:gd name="T6" fmla="*/ 481 w 481"/>
              <a:gd name="T7" fmla="*/ 489 h 489"/>
              <a:gd name="T8" fmla="*/ 481 w 481"/>
              <a:gd name="T9" fmla="*/ 485 h 489"/>
              <a:gd name="T10" fmla="*/ 0 w 481"/>
              <a:gd name="T11" fmla="*/ 0 h 489"/>
              <a:gd name="T12" fmla="*/ 0 w 481"/>
              <a:gd name="T13" fmla="*/ 366 h 489"/>
              <a:gd name="connsiteX0" fmla="*/ 0 w 10000"/>
              <a:gd name="connsiteY0" fmla="*/ 7485 h 10000"/>
              <a:gd name="connsiteX1" fmla="*/ 2391 w 10000"/>
              <a:gd name="connsiteY1" fmla="*/ 9918 h 10000"/>
              <a:gd name="connsiteX2" fmla="*/ 2391 w 10000"/>
              <a:gd name="connsiteY2" fmla="*/ 10000 h 10000"/>
              <a:gd name="connsiteX3" fmla="*/ 10000 w 10000"/>
              <a:gd name="connsiteY3" fmla="*/ 10000 h 10000"/>
              <a:gd name="connsiteX4" fmla="*/ 10000 w 10000"/>
              <a:gd name="connsiteY4" fmla="*/ 9918 h 10000"/>
              <a:gd name="connsiteX5" fmla="*/ 0 w 10000"/>
              <a:gd name="connsiteY5" fmla="*/ 0 h 10000"/>
              <a:gd name="connsiteX6" fmla="*/ 0 w 10000"/>
              <a:gd name="connsiteY6" fmla="*/ 74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7485"/>
                </a:moveTo>
                <a:cubicBezTo>
                  <a:pt x="1331" y="7526"/>
                  <a:pt x="2391" y="8589"/>
                  <a:pt x="2391" y="9918"/>
                </a:cubicBezTo>
                <a:lnTo>
                  <a:pt x="2391" y="10000"/>
                </a:lnTo>
                <a:lnTo>
                  <a:pt x="10000" y="10000"/>
                </a:lnTo>
                <a:lnTo>
                  <a:pt x="10000" y="9918"/>
                </a:lnTo>
                <a:cubicBezTo>
                  <a:pt x="9958" y="1752"/>
                  <a:pt x="5530" y="41"/>
                  <a:pt x="0" y="0"/>
                </a:cubicBezTo>
                <a:lnTo>
                  <a:pt x="0" y="7485"/>
                </a:lnTo>
                <a:close/>
              </a:path>
            </a:pathLst>
          </a:custGeom>
          <a:solidFill>
            <a:srgbClr val="F7B30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4" name="Freeform 198"/>
          <p:cNvSpPr>
            <a:spLocks/>
          </p:cNvSpPr>
          <p:nvPr/>
        </p:nvSpPr>
        <p:spPr bwMode="auto">
          <a:xfrm>
            <a:off x="10321687" y="2741196"/>
            <a:ext cx="1139079" cy="743353"/>
          </a:xfrm>
          <a:custGeom>
            <a:avLst/>
            <a:gdLst>
              <a:gd name="T0" fmla="*/ 123 w 489"/>
              <a:gd name="T1" fmla="*/ 0 h 481"/>
              <a:gd name="T2" fmla="*/ 4 w 489"/>
              <a:gd name="T3" fmla="*/ 115 h 481"/>
              <a:gd name="T4" fmla="*/ 0 w 489"/>
              <a:gd name="T5" fmla="*/ 115 h 481"/>
              <a:gd name="T6" fmla="*/ 0 w 489"/>
              <a:gd name="T7" fmla="*/ 481 h 481"/>
              <a:gd name="T8" fmla="*/ 4 w 489"/>
              <a:gd name="T9" fmla="*/ 481 h 481"/>
              <a:gd name="T10" fmla="*/ 489 w 489"/>
              <a:gd name="T11" fmla="*/ 0 h 481"/>
              <a:gd name="T12" fmla="*/ 123 w 489"/>
              <a:gd name="T13" fmla="*/ 0 h 481"/>
              <a:gd name="connsiteX0" fmla="*/ 2515 w 10000"/>
              <a:gd name="connsiteY0" fmla="*/ 0 h 10000"/>
              <a:gd name="connsiteX1" fmla="*/ 82 w 10000"/>
              <a:gd name="connsiteY1" fmla="*/ 2391 h 10000"/>
              <a:gd name="connsiteX2" fmla="*/ 0 w 10000"/>
              <a:gd name="connsiteY2" fmla="*/ 2391 h 10000"/>
              <a:gd name="connsiteX3" fmla="*/ 0 w 10000"/>
              <a:gd name="connsiteY3" fmla="*/ 10000 h 10000"/>
              <a:gd name="connsiteX4" fmla="*/ 82 w 10000"/>
              <a:gd name="connsiteY4" fmla="*/ 10000 h 10000"/>
              <a:gd name="connsiteX5" fmla="*/ 10000 w 10000"/>
              <a:gd name="connsiteY5" fmla="*/ 0 h 10000"/>
              <a:gd name="connsiteX6" fmla="*/ 2515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2515" y="0"/>
                </a:moveTo>
                <a:cubicBezTo>
                  <a:pt x="2474" y="1331"/>
                  <a:pt x="1411" y="2391"/>
                  <a:pt x="82" y="2391"/>
                </a:cubicBezTo>
                <a:lnTo>
                  <a:pt x="0" y="2391"/>
                </a:lnTo>
                <a:lnTo>
                  <a:pt x="0" y="10000"/>
                </a:lnTo>
                <a:lnTo>
                  <a:pt x="82" y="10000"/>
                </a:lnTo>
                <a:cubicBezTo>
                  <a:pt x="5542" y="10000"/>
                  <a:pt x="10054" y="8292"/>
                  <a:pt x="10000" y="0"/>
                </a:cubicBezTo>
                <a:lnTo>
                  <a:pt x="2515" y="0"/>
                </a:lnTo>
                <a:close/>
              </a:path>
            </a:pathLst>
          </a:custGeom>
          <a:solidFill>
            <a:srgbClr val="000000"/>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5" name="Rectangle 195"/>
          <p:cNvSpPr>
            <a:spLocks noChangeArrowheads="1"/>
          </p:cNvSpPr>
          <p:nvPr/>
        </p:nvSpPr>
        <p:spPr bwMode="auto">
          <a:xfrm>
            <a:off x="9541244" y="2919557"/>
            <a:ext cx="744737" cy="563291"/>
          </a:xfrm>
          <a:prstGeom prst="rect">
            <a:avLst/>
          </a:prstGeom>
          <a:solidFill>
            <a:srgbClr val="000000"/>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6" name="Freeform 200"/>
          <p:cNvSpPr>
            <a:spLocks/>
          </p:cNvSpPr>
          <p:nvPr/>
        </p:nvSpPr>
        <p:spPr bwMode="auto">
          <a:xfrm>
            <a:off x="8572148" y="2919558"/>
            <a:ext cx="935157" cy="738457"/>
          </a:xfrm>
          <a:custGeom>
            <a:avLst/>
            <a:gdLst>
              <a:gd name="T0" fmla="*/ 366 w 488"/>
              <a:gd name="T1" fmla="*/ 481 h 481"/>
              <a:gd name="T2" fmla="*/ 484 w 488"/>
              <a:gd name="T3" fmla="*/ 366 h 481"/>
              <a:gd name="T4" fmla="*/ 488 w 488"/>
              <a:gd name="T5" fmla="*/ 366 h 481"/>
              <a:gd name="T6" fmla="*/ 488 w 488"/>
              <a:gd name="T7" fmla="*/ 0 h 481"/>
              <a:gd name="T8" fmla="*/ 484 w 488"/>
              <a:gd name="T9" fmla="*/ 0 h 481"/>
              <a:gd name="T10" fmla="*/ 0 w 488"/>
              <a:gd name="T11" fmla="*/ 481 h 481"/>
              <a:gd name="T12" fmla="*/ 366 w 488"/>
              <a:gd name="T13" fmla="*/ 481 h 481"/>
            </a:gdLst>
            <a:ahLst/>
            <a:cxnLst>
              <a:cxn ang="0">
                <a:pos x="T0" y="T1"/>
              </a:cxn>
              <a:cxn ang="0">
                <a:pos x="T2" y="T3"/>
              </a:cxn>
              <a:cxn ang="0">
                <a:pos x="T4" y="T5"/>
              </a:cxn>
              <a:cxn ang="0">
                <a:pos x="T6" y="T7"/>
              </a:cxn>
              <a:cxn ang="0">
                <a:pos x="T8" y="T9"/>
              </a:cxn>
              <a:cxn ang="0">
                <a:pos x="T10" y="T11"/>
              </a:cxn>
              <a:cxn ang="0">
                <a:pos x="T12" y="T13"/>
              </a:cxn>
            </a:cxnLst>
            <a:rect l="0" t="0" r="r" b="b"/>
            <a:pathLst>
              <a:path w="488" h="481">
                <a:moveTo>
                  <a:pt x="366" y="481"/>
                </a:moveTo>
                <a:cubicBezTo>
                  <a:pt x="368" y="417"/>
                  <a:pt x="420" y="366"/>
                  <a:pt x="484" y="366"/>
                </a:cubicBezTo>
                <a:cubicBezTo>
                  <a:pt x="486" y="366"/>
                  <a:pt x="487" y="366"/>
                  <a:pt x="488" y="366"/>
                </a:cubicBezTo>
                <a:cubicBezTo>
                  <a:pt x="488" y="0"/>
                  <a:pt x="488" y="0"/>
                  <a:pt x="488" y="0"/>
                </a:cubicBezTo>
                <a:cubicBezTo>
                  <a:pt x="487" y="0"/>
                  <a:pt x="486" y="0"/>
                  <a:pt x="484" y="0"/>
                </a:cubicBezTo>
                <a:cubicBezTo>
                  <a:pt x="218" y="0"/>
                  <a:pt x="2" y="215"/>
                  <a:pt x="0" y="481"/>
                </a:cubicBezTo>
                <a:lnTo>
                  <a:pt x="366" y="481"/>
                </a:lnTo>
                <a:close/>
              </a:path>
            </a:pathLst>
          </a:custGeom>
          <a:solidFill>
            <a:srgbClr val="046B76"/>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87" name="Rectangle 235"/>
          <p:cNvSpPr>
            <a:spLocks noChangeArrowheads="1"/>
          </p:cNvSpPr>
          <p:nvPr/>
        </p:nvSpPr>
        <p:spPr bwMode="auto">
          <a:xfrm>
            <a:off x="9587821" y="3034429"/>
            <a:ext cx="621785"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Deploy the code to production</a:t>
            </a:r>
          </a:p>
        </p:txBody>
      </p:sp>
      <p:sp>
        <p:nvSpPr>
          <p:cNvPr id="88" name="Rectangle 235"/>
          <p:cNvSpPr>
            <a:spLocks noChangeArrowheads="1"/>
          </p:cNvSpPr>
          <p:nvPr/>
        </p:nvSpPr>
        <p:spPr bwMode="auto">
          <a:xfrm>
            <a:off x="8706273" y="3358774"/>
            <a:ext cx="790267"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Production Validation</a:t>
            </a:r>
          </a:p>
        </p:txBody>
      </p:sp>
      <p:sp>
        <p:nvSpPr>
          <p:cNvPr id="89" name="Rounded Rectangle 88"/>
          <p:cNvSpPr/>
          <p:nvPr/>
        </p:nvSpPr>
        <p:spPr bwMode="auto">
          <a:xfrm>
            <a:off x="2002153" y="1708451"/>
            <a:ext cx="1022267" cy="356909"/>
          </a:xfrm>
          <a:prstGeom prst="roundRect">
            <a:avLst/>
          </a:prstGeom>
          <a:solidFill>
            <a:schemeClr val="bg1">
              <a:lumMod val="85000"/>
            </a:schemeClr>
          </a:solidFill>
          <a:ln>
            <a:no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117404" tIns="117404" rIns="117404" bIns="117404" rtlCol="0" anchor="ctr"/>
          <a:lstStyle/>
          <a:p>
            <a:pPr marL="220150" indent="-220150" algn="ctr" defTabSz="1174139" eaLnBrk="0" hangingPunct="0">
              <a:buFont typeface="Arial" panose="020B0604020202020204" pitchFamily="34" charset="0"/>
              <a:buChar char="•"/>
            </a:pPr>
            <a:endParaRPr lang="en-US" sz="1200" dirty="0">
              <a:solidFill>
                <a:srgbClr val="000000"/>
              </a:solidFill>
              <a:cs typeface="Arial" panose="020B0604020202020204" pitchFamily="34" charset="0"/>
            </a:endParaRPr>
          </a:p>
        </p:txBody>
      </p:sp>
      <p:sp>
        <p:nvSpPr>
          <p:cNvPr id="90" name="TextBox 89"/>
          <p:cNvSpPr txBox="1"/>
          <p:nvPr/>
        </p:nvSpPr>
        <p:spPr bwMode="auto">
          <a:xfrm>
            <a:off x="2090908" y="1749185"/>
            <a:ext cx="783837" cy="328423"/>
          </a:xfrm>
          <a:prstGeom prst="rect">
            <a:avLst/>
          </a:prstGeom>
          <a:noFill/>
          <a:ln w="9525">
            <a:noFill/>
            <a:miter lim="800000"/>
            <a:headEnd/>
            <a:tailEnd/>
          </a:ln>
        </p:spPr>
        <p:txBody>
          <a:bodyPr wrap="square" lIns="121920" tIns="60960" rIns="121920" bIns="60960" rtlCol="0">
            <a:prstTxWarp prst="textNoShape">
              <a:avLst/>
            </a:prstTxWarp>
            <a:spAutoFit/>
          </a:bodyPr>
          <a:lstStyle/>
          <a:p>
            <a:pPr algn="ctr" defTabSz="1174139" eaLnBrk="0" hangingPunct="0"/>
            <a:r>
              <a:rPr lang="en-US" sz="667" b="1" dirty="0">
                <a:solidFill>
                  <a:prstClr val="black"/>
                </a:solidFill>
                <a:ea typeface="Roboto" pitchFamily="2" charset="0"/>
                <a:cs typeface="Arial" panose="020B0604020202020204" pitchFamily="34" charset="0"/>
              </a:rPr>
              <a:t>Review User Stories</a:t>
            </a:r>
          </a:p>
        </p:txBody>
      </p:sp>
      <p:sp>
        <p:nvSpPr>
          <p:cNvPr id="91" name="TextBox 90"/>
          <p:cNvSpPr txBox="1"/>
          <p:nvPr/>
        </p:nvSpPr>
        <p:spPr bwMode="auto">
          <a:xfrm>
            <a:off x="3274864" y="3000328"/>
            <a:ext cx="1310464" cy="476940"/>
          </a:xfrm>
          <a:prstGeom prst="roundRect">
            <a:avLst/>
          </a:prstGeom>
          <a:solidFill>
            <a:schemeClr val="bg1">
              <a:lumMod val="85000"/>
            </a:schemeClr>
          </a:solidFill>
          <a:ln w="9525">
            <a:noFill/>
            <a:miter lim="800000"/>
            <a:headEnd/>
            <a:tailEnd/>
          </a:ln>
        </p:spPr>
        <p:txBody>
          <a:bodyPr wrap="square" lIns="365760" tIns="60960" rIns="121920" bIns="60960" rtlCol="0">
            <a:prstTxWarp prst="textNoShape">
              <a:avLst/>
            </a:prstTxWarp>
            <a:spAutoFit/>
          </a:bodyPr>
          <a:lstStyle/>
          <a:p>
            <a:pPr algn="ctr" defTabSz="1174139" eaLnBrk="0" hangingPunct="0"/>
            <a:r>
              <a:rPr lang="en-US" sz="667" b="1" dirty="0">
                <a:solidFill>
                  <a:prstClr val="black"/>
                </a:solidFill>
                <a:ea typeface="Roboto" pitchFamily="2" charset="0"/>
                <a:cs typeface="Arial" panose="020B0604020202020204" pitchFamily="34" charset="0"/>
              </a:rPr>
              <a:t>Generate System, Integration Test cases</a:t>
            </a:r>
          </a:p>
        </p:txBody>
      </p:sp>
      <p:sp>
        <p:nvSpPr>
          <p:cNvPr id="92" name="Rectangle 188"/>
          <p:cNvSpPr>
            <a:spLocks noChangeArrowheads="1"/>
          </p:cNvSpPr>
          <p:nvPr/>
        </p:nvSpPr>
        <p:spPr bwMode="auto">
          <a:xfrm>
            <a:off x="4638433" y="2992066"/>
            <a:ext cx="720056" cy="344612"/>
          </a:xfrm>
          <a:prstGeom prst="rect">
            <a:avLst/>
          </a:pr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93" name="Rectangle 191"/>
          <p:cNvSpPr>
            <a:spLocks noChangeArrowheads="1"/>
          </p:cNvSpPr>
          <p:nvPr/>
        </p:nvSpPr>
        <p:spPr bwMode="auto">
          <a:xfrm>
            <a:off x="2737016" y="2261769"/>
            <a:ext cx="951681" cy="524576"/>
          </a:xfrm>
          <a:prstGeom prst="rect">
            <a:avLst/>
          </a:pr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94" name="Freeform 494"/>
          <p:cNvSpPr>
            <a:spLocks/>
          </p:cNvSpPr>
          <p:nvPr/>
        </p:nvSpPr>
        <p:spPr bwMode="auto">
          <a:xfrm rot="5400000">
            <a:off x="1268426" y="1296631"/>
            <a:ext cx="143383" cy="170044"/>
          </a:xfrm>
          <a:custGeom>
            <a:avLst/>
            <a:gdLst>
              <a:gd name="T0" fmla="*/ 201 w 394"/>
              <a:gd name="T1" fmla="*/ 0 h 391"/>
              <a:gd name="T2" fmla="*/ 145 w 394"/>
              <a:gd name="T3" fmla="*/ 58 h 391"/>
              <a:gd name="T4" fmla="*/ 226 w 394"/>
              <a:gd name="T5" fmla="*/ 141 h 391"/>
              <a:gd name="T6" fmla="*/ 0 w 394"/>
              <a:gd name="T7" fmla="*/ 141 h 391"/>
              <a:gd name="T8" fmla="*/ 0 w 394"/>
              <a:gd name="T9" fmla="*/ 250 h 391"/>
              <a:gd name="T10" fmla="*/ 226 w 394"/>
              <a:gd name="T11" fmla="*/ 250 h 391"/>
              <a:gd name="T12" fmla="*/ 145 w 394"/>
              <a:gd name="T13" fmla="*/ 333 h 391"/>
              <a:gd name="T14" fmla="*/ 201 w 394"/>
              <a:gd name="T15" fmla="*/ 391 h 391"/>
              <a:gd name="T16" fmla="*/ 394 w 394"/>
              <a:gd name="T17" fmla="*/ 195 h 391"/>
              <a:gd name="T18" fmla="*/ 201 w 394"/>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1">
                <a:moveTo>
                  <a:pt x="201" y="0"/>
                </a:moveTo>
                <a:lnTo>
                  <a:pt x="145" y="58"/>
                </a:lnTo>
                <a:lnTo>
                  <a:pt x="226" y="141"/>
                </a:lnTo>
                <a:lnTo>
                  <a:pt x="0" y="141"/>
                </a:lnTo>
                <a:lnTo>
                  <a:pt x="0" y="250"/>
                </a:lnTo>
                <a:lnTo>
                  <a:pt x="226" y="250"/>
                </a:lnTo>
                <a:lnTo>
                  <a:pt x="145" y="333"/>
                </a:lnTo>
                <a:lnTo>
                  <a:pt x="201" y="391"/>
                </a:lnTo>
                <a:lnTo>
                  <a:pt x="394" y="195"/>
                </a:lnTo>
                <a:lnTo>
                  <a:pt x="201" y="0"/>
                </a:lnTo>
                <a:close/>
              </a:path>
            </a:pathLst>
          </a:custGeom>
          <a:solidFill>
            <a:schemeClr val="bg1">
              <a:lumMod val="85000"/>
            </a:schemeClr>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95" name="Freeform 94"/>
          <p:cNvSpPr/>
          <p:nvPr/>
        </p:nvSpPr>
        <p:spPr>
          <a:xfrm>
            <a:off x="6879387" y="2822881"/>
            <a:ext cx="180267" cy="189953"/>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sp>
        <p:nvSpPr>
          <p:cNvPr id="96" name="Freeform 95"/>
          <p:cNvSpPr/>
          <p:nvPr/>
        </p:nvSpPr>
        <p:spPr>
          <a:xfrm>
            <a:off x="7254576" y="2080741"/>
            <a:ext cx="180267" cy="189953"/>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97"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7247405" y="2070493"/>
            <a:ext cx="268475" cy="249947"/>
          </a:xfrm>
          <a:prstGeom prst="rect">
            <a:avLst/>
          </a:prstGeom>
          <a:noFill/>
          <a:ln>
            <a:noFill/>
          </a:ln>
        </p:spPr>
      </p:pic>
      <p:sp>
        <p:nvSpPr>
          <p:cNvPr id="98" name="Freeform 97"/>
          <p:cNvSpPr/>
          <p:nvPr/>
        </p:nvSpPr>
        <p:spPr>
          <a:xfrm>
            <a:off x="3168127" y="3653761"/>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99" name="Picture 9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49335" y="3592928"/>
            <a:ext cx="354531" cy="359649"/>
          </a:xfrm>
          <a:prstGeom prst="rect">
            <a:avLst/>
          </a:prstGeom>
        </p:spPr>
      </p:pic>
      <p:sp>
        <p:nvSpPr>
          <p:cNvPr id="100" name="Freeform 99"/>
          <p:cNvSpPr/>
          <p:nvPr/>
        </p:nvSpPr>
        <p:spPr>
          <a:xfrm>
            <a:off x="1791993" y="3878147"/>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sp>
        <p:nvSpPr>
          <p:cNvPr id="101" name="Rectangle 100"/>
          <p:cNvSpPr/>
          <p:nvPr/>
        </p:nvSpPr>
        <p:spPr>
          <a:xfrm>
            <a:off x="3017118" y="1786248"/>
            <a:ext cx="608500" cy="225767"/>
          </a:xfrm>
          <a:prstGeom prst="rect">
            <a:avLst/>
          </a:prstGeom>
        </p:spPr>
        <p:txBody>
          <a:bodyPr wrap="none" lIns="121920" tIns="60960" rIns="121920" bIns="60960">
            <a:spAutoFit/>
          </a:bodyPr>
          <a:lstStyle/>
          <a:p>
            <a:pPr defTabSz="677400"/>
            <a:r>
              <a:rPr lang="en-US" altLang="en-US" sz="667" b="1" dirty="0">
                <a:solidFill>
                  <a:srgbClr val="002060"/>
                </a:solidFill>
              </a:rPr>
              <a:t>Cucumber</a:t>
            </a:r>
          </a:p>
        </p:txBody>
      </p:sp>
      <p:sp>
        <p:nvSpPr>
          <p:cNvPr id="102" name="Rectangle 101"/>
          <p:cNvSpPr/>
          <p:nvPr/>
        </p:nvSpPr>
        <p:spPr>
          <a:xfrm>
            <a:off x="4922326" y="4182705"/>
            <a:ext cx="855588" cy="392515"/>
          </a:xfrm>
          <a:prstGeom prst="rect">
            <a:avLst/>
          </a:prstGeom>
        </p:spPr>
        <p:txBody>
          <a:bodyPr wrap="square" lIns="121920" tIns="60960" rIns="121920" bIns="60960">
            <a:noAutofit/>
          </a:bodyPr>
          <a:lstStyle/>
          <a:p>
            <a:pPr algn="ctr" defTabSz="677400"/>
            <a:r>
              <a:rPr lang="en-US" altLang="en-US" sz="667" b="1" dirty="0">
                <a:solidFill>
                  <a:schemeClr val="accent2">
                    <a:lumMod val="75000"/>
                  </a:schemeClr>
                </a:solidFill>
              </a:rPr>
              <a:t>Jenkins</a:t>
            </a:r>
          </a:p>
        </p:txBody>
      </p:sp>
      <p:sp>
        <p:nvSpPr>
          <p:cNvPr id="103" name="Freeform 102"/>
          <p:cNvSpPr/>
          <p:nvPr/>
        </p:nvSpPr>
        <p:spPr>
          <a:xfrm>
            <a:off x="4044351" y="2323613"/>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104" name="Picture 10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13565" y="2261037"/>
            <a:ext cx="354531" cy="359649"/>
          </a:xfrm>
          <a:prstGeom prst="rect">
            <a:avLst/>
          </a:prstGeom>
        </p:spPr>
      </p:pic>
      <p:sp>
        <p:nvSpPr>
          <p:cNvPr id="105" name="Freeform 104"/>
          <p:cNvSpPr/>
          <p:nvPr/>
        </p:nvSpPr>
        <p:spPr>
          <a:xfrm>
            <a:off x="5001316" y="3137619"/>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106" name="Picture 10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69189" y="3064726"/>
            <a:ext cx="354531" cy="359649"/>
          </a:xfrm>
          <a:prstGeom prst="rect">
            <a:avLst/>
          </a:prstGeom>
        </p:spPr>
      </p:pic>
      <p:pic>
        <p:nvPicPr>
          <p:cNvPr id="107" name="Picture 4" descr="C:\Users\Admin\Desktop\icon-associate.pn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400377" y="2106485"/>
            <a:ext cx="314583" cy="296297"/>
          </a:xfrm>
          <a:prstGeom prst="rect">
            <a:avLst/>
          </a:prstGeom>
          <a:noFill/>
          <a:ln>
            <a:noFill/>
          </a:ln>
        </p:spPr>
      </p:pic>
      <p:sp>
        <p:nvSpPr>
          <p:cNvPr id="108" name="Rectangle 189"/>
          <p:cNvSpPr>
            <a:spLocks noChangeArrowheads="1"/>
          </p:cNvSpPr>
          <p:nvPr/>
        </p:nvSpPr>
        <p:spPr bwMode="auto">
          <a:xfrm rot="5400000">
            <a:off x="8774965" y="3474127"/>
            <a:ext cx="286055" cy="707405"/>
          </a:xfrm>
          <a:prstGeom prst="rect">
            <a:avLst/>
          </a:prstGeom>
          <a:solidFill>
            <a:srgbClr val="7F7F7F"/>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109" name="Freeform 494"/>
          <p:cNvSpPr>
            <a:spLocks/>
          </p:cNvSpPr>
          <p:nvPr/>
        </p:nvSpPr>
        <p:spPr bwMode="auto">
          <a:xfrm rot="5400000">
            <a:off x="8823068" y="3724955"/>
            <a:ext cx="184937" cy="189600"/>
          </a:xfrm>
          <a:custGeom>
            <a:avLst/>
            <a:gdLst>
              <a:gd name="T0" fmla="*/ 201 w 394"/>
              <a:gd name="T1" fmla="*/ 0 h 391"/>
              <a:gd name="T2" fmla="*/ 145 w 394"/>
              <a:gd name="T3" fmla="*/ 58 h 391"/>
              <a:gd name="T4" fmla="*/ 226 w 394"/>
              <a:gd name="T5" fmla="*/ 141 h 391"/>
              <a:gd name="T6" fmla="*/ 0 w 394"/>
              <a:gd name="T7" fmla="*/ 141 h 391"/>
              <a:gd name="T8" fmla="*/ 0 w 394"/>
              <a:gd name="T9" fmla="*/ 250 h 391"/>
              <a:gd name="T10" fmla="*/ 226 w 394"/>
              <a:gd name="T11" fmla="*/ 250 h 391"/>
              <a:gd name="T12" fmla="*/ 145 w 394"/>
              <a:gd name="T13" fmla="*/ 333 h 391"/>
              <a:gd name="T14" fmla="*/ 201 w 394"/>
              <a:gd name="T15" fmla="*/ 391 h 391"/>
              <a:gd name="T16" fmla="*/ 394 w 394"/>
              <a:gd name="T17" fmla="*/ 195 h 391"/>
              <a:gd name="T18" fmla="*/ 201 w 394"/>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1">
                <a:moveTo>
                  <a:pt x="201" y="0"/>
                </a:moveTo>
                <a:lnTo>
                  <a:pt x="145" y="58"/>
                </a:lnTo>
                <a:lnTo>
                  <a:pt x="226" y="141"/>
                </a:lnTo>
                <a:lnTo>
                  <a:pt x="0" y="141"/>
                </a:lnTo>
                <a:lnTo>
                  <a:pt x="0" y="250"/>
                </a:lnTo>
                <a:lnTo>
                  <a:pt x="226" y="250"/>
                </a:lnTo>
                <a:lnTo>
                  <a:pt x="145" y="333"/>
                </a:lnTo>
                <a:lnTo>
                  <a:pt x="201" y="391"/>
                </a:lnTo>
                <a:lnTo>
                  <a:pt x="394" y="195"/>
                </a:lnTo>
                <a:lnTo>
                  <a:pt x="201" y="0"/>
                </a:lnTo>
                <a:close/>
              </a:path>
            </a:pathLst>
          </a:custGeom>
          <a:solidFill>
            <a:schemeClr val="bg1">
              <a:lumMod val="85000"/>
            </a:schemeClr>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110" name="Freeform 109"/>
          <p:cNvSpPr/>
          <p:nvPr/>
        </p:nvSpPr>
        <p:spPr>
          <a:xfrm>
            <a:off x="4471612" y="2323613"/>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111" name="Picture 1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39485" y="2250720"/>
            <a:ext cx="354531" cy="359649"/>
          </a:xfrm>
          <a:prstGeom prst="rect">
            <a:avLst/>
          </a:prstGeom>
        </p:spPr>
      </p:pic>
      <p:cxnSp>
        <p:nvCxnSpPr>
          <p:cNvPr id="112" name="Straight Arrow Connector 111"/>
          <p:cNvCxnSpPr/>
          <p:nvPr/>
        </p:nvCxnSpPr>
        <p:spPr>
          <a:xfrm>
            <a:off x="1824907" y="1863777"/>
            <a:ext cx="174951"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824905" y="1847785"/>
            <a:ext cx="0" cy="380276"/>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14" name="Picture 113"/>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79865" y="1941528"/>
            <a:ext cx="317881" cy="309405"/>
          </a:xfrm>
          <a:prstGeom prst="rect">
            <a:avLst/>
          </a:prstGeom>
        </p:spPr>
      </p:pic>
      <p:pic>
        <p:nvPicPr>
          <p:cNvPr id="115" name="Picture 114"/>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2459710" y="4543460"/>
            <a:ext cx="317881" cy="309405"/>
          </a:xfrm>
          <a:prstGeom prst="rect">
            <a:avLst/>
          </a:prstGeom>
        </p:spPr>
      </p:pic>
      <p:sp>
        <p:nvSpPr>
          <p:cNvPr id="116" name="Rectangle 235"/>
          <p:cNvSpPr>
            <a:spLocks noChangeArrowheads="1"/>
          </p:cNvSpPr>
          <p:nvPr/>
        </p:nvSpPr>
        <p:spPr bwMode="auto">
          <a:xfrm>
            <a:off x="10500176" y="2234090"/>
            <a:ext cx="841209"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
            </a:r>
            <a:br>
              <a:rPr lang="en-US" altLang="en-US" sz="667" b="1" dirty="0">
                <a:solidFill>
                  <a:prstClr val="white"/>
                </a:solidFill>
                <a:latin typeface="Calibri" panose="020F0502020204030204"/>
              </a:rPr>
            </a:br>
            <a:r>
              <a:rPr lang="en-US" altLang="en-US" sz="667" b="1" dirty="0">
                <a:solidFill>
                  <a:prstClr val="black"/>
                </a:solidFill>
                <a:latin typeface="Calibri" panose="020F0502020204030204"/>
              </a:rPr>
              <a:t>Release Sign Off</a:t>
            </a:r>
          </a:p>
        </p:txBody>
      </p:sp>
      <p:grpSp>
        <p:nvGrpSpPr>
          <p:cNvPr id="117" name="Group 116"/>
          <p:cNvGrpSpPr/>
          <p:nvPr/>
        </p:nvGrpSpPr>
        <p:grpSpPr>
          <a:xfrm>
            <a:off x="10729941" y="2872590"/>
            <a:ext cx="233723" cy="225755"/>
            <a:chOff x="1744663" y="2095243"/>
            <a:chExt cx="668337" cy="712552"/>
          </a:xfrm>
        </p:grpSpPr>
        <p:sp>
          <p:nvSpPr>
            <p:cNvPr id="118" name="Oval 117"/>
            <p:cNvSpPr/>
            <p:nvPr/>
          </p:nvSpPr>
          <p:spPr>
            <a:xfrm>
              <a:off x="1744663" y="2095243"/>
              <a:ext cx="668337" cy="668336"/>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prstClr val="white"/>
                </a:solidFill>
              </a:endParaRPr>
            </a:p>
          </p:txBody>
        </p:sp>
        <p:sp>
          <p:nvSpPr>
            <p:cNvPr id="119" name="Rectangle 222"/>
            <p:cNvSpPr>
              <a:spLocks noChangeArrowheads="1"/>
            </p:cNvSpPr>
            <p:nvPr/>
          </p:nvSpPr>
          <p:spPr bwMode="auto">
            <a:xfrm>
              <a:off x="1948642" y="2127788"/>
              <a:ext cx="261278" cy="68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1400" b="1" dirty="0">
                  <a:solidFill>
                    <a:srgbClr val="FFFFFF"/>
                  </a:solidFill>
                  <a:latin typeface="Calibri" panose="020F0502020204030204"/>
                  <a:ea typeface="Roboto Cn" pitchFamily="2" charset="0"/>
                </a:rPr>
                <a:t>5</a:t>
              </a:r>
              <a:endParaRPr lang="en-US" altLang="en-US" sz="933" b="1" dirty="0">
                <a:solidFill>
                  <a:prstClr val="black"/>
                </a:solidFill>
                <a:latin typeface="Calibri" panose="020F0502020204030204"/>
                <a:ea typeface="Roboto Cn" pitchFamily="2" charset="0"/>
              </a:endParaRPr>
            </a:p>
          </p:txBody>
        </p:sp>
      </p:grpSp>
      <p:sp>
        <p:nvSpPr>
          <p:cNvPr id="120" name="Rectangle 235"/>
          <p:cNvSpPr>
            <a:spLocks noChangeArrowheads="1"/>
          </p:cNvSpPr>
          <p:nvPr/>
        </p:nvSpPr>
        <p:spPr bwMode="auto">
          <a:xfrm>
            <a:off x="10646773" y="3153450"/>
            <a:ext cx="339837"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933" dirty="0">
                <a:solidFill>
                  <a:prstClr val="white"/>
                </a:solidFill>
                <a:latin typeface="Calibri" panose="020F0502020204030204"/>
              </a:rPr>
              <a:t>Deploy</a:t>
            </a:r>
          </a:p>
        </p:txBody>
      </p:sp>
      <p:sp>
        <p:nvSpPr>
          <p:cNvPr id="121" name="Rounded Rectangle 120"/>
          <p:cNvSpPr/>
          <p:nvPr/>
        </p:nvSpPr>
        <p:spPr>
          <a:xfrm>
            <a:off x="3028644" y="5820657"/>
            <a:ext cx="4257982" cy="308681"/>
          </a:xfrm>
          <a:prstGeom prst="roundRect">
            <a:avLst>
              <a:gd name="adj" fmla="val 43504"/>
            </a:avLst>
          </a:prstGeom>
          <a:solidFill>
            <a:srgbClr val="E7E6E6"/>
          </a:solidFill>
          <a:ln w="9525" cap="flat" cmpd="sng" algn="ctr">
            <a:noFill/>
            <a:prstDash val="solid"/>
          </a:ln>
          <a:effectLst/>
        </p:spPr>
        <p:txBody>
          <a:bodyPr rtlCol="0" anchor="ctr"/>
          <a:lstStyle/>
          <a:p>
            <a:pPr algn="ctr" defTabSz="903032" fontAlgn="base">
              <a:spcBef>
                <a:spcPct val="0"/>
              </a:spcBef>
              <a:spcAft>
                <a:spcPct val="0"/>
              </a:spcAft>
            </a:pPr>
            <a:endParaRPr lang="en-US" sz="1467" b="1" kern="0" dirty="0">
              <a:solidFill>
                <a:prstClr val="white"/>
              </a:solidFill>
              <a:ea typeface="Roboto" pitchFamily="2" charset="0"/>
            </a:endParaRPr>
          </a:p>
        </p:txBody>
      </p:sp>
      <p:sp>
        <p:nvSpPr>
          <p:cNvPr id="122" name="Rectangle 121"/>
          <p:cNvSpPr/>
          <p:nvPr/>
        </p:nvSpPr>
        <p:spPr>
          <a:xfrm>
            <a:off x="5849971" y="5870586"/>
            <a:ext cx="561703" cy="194990"/>
          </a:xfrm>
          <a:prstGeom prst="rect">
            <a:avLst/>
          </a:prstGeom>
        </p:spPr>
        <p:txBody>
          <a:bodyPr wrap="square">
            <a:spAutoFit/>
          </a:bodyPr>
          <a:lstStyle/>
          <a:p>
            <a:pPr algn="ctr" defTabSz="677400"/>
            <a:r>
              <a:rPr lang="en-US" sz="667" b="1" kern="0" dirty="0">
                <a:solidFill>
                  <a:prstClr val="black"/>
                </a:solidFill>
                <a:ea typeface="Roboto" pitchFamily="2" charset="0"/>
              </a:rPr>
              <a:t>QA</a:t>
            </a:r>
          </a:p>
        </p:txBody>
      </p:sp>
      <p:sp>
        <p:nvSpPr>
          <p:cNvPr id="123" name="Rectangle 122"/>
          <p:cNvSpPr/>
          <p:nvPr/>
        </p:nvSpPr>
        <p:spPr>
          <a:xfrm>
            <a:off x="6532352" y="5818890"/>
            <a:ext cx="561703" cy="297646"/>
          </a:xfrm>
          <a:prstGeom prst="rect">
            <a:avLst/>
          </a:prstGeom>
        </p:spPr>
        <p:txBody>
          <a:bodyPr wrap="square" anchor="ctr">
            <a:spAutoFit/>
          </a:bodyPr>
          <a:lstStyle/>
          <a:p>
            <a:pPr algn="ctr" defTabSz="677400"/>
            <a:r>
              <a:rPr lang="en-US" sz="667" b="1" kern="0" dirty="0">
                <a:solidFill>
                  <a:prstClr val="black"/>
                </a:solidFill>
                <a:ea typeface="Roboto" pitchFamily="2" charset="0"/>
              </a:rPr>
              <a:t>CI/CD Pipeline</a:t>
            </a:r>
          </a:p>
        </p:txBody>
      </p:sp>
      <p:sp>
        <p:nvSpPr>
          <p:cNvPr id="124" name="Rectangle 123"/>
          <p:cNvSpPr/>
          <p:nvPr/>
        </p:nvSpPr>
        <p:spPr>
          <a:xfrm>
            <a:off x="5356965" y="5893118"/>
            <a:ext cx="561703" cy="194990"/>
          </a:xfrm>
          <a:prstGeom prst="rect">
            <a:avLst/>
          </a:prstGeom>
        </p:spPr>
        <p:txBody>
          <a:bodyPr wrap="square">
            <a:spAutoFit/>
          </a:bodyPr>
          <a:lstStyle/>
          <a:p>
            <a:pPr defTabSz="677400"/>
            <a:r>
              <a:rPr lang="en-US" sz="667" b="1" kern="0" dirty="0">
                <a:solidFill>
                  <a:prstClr val="black"/>
                </a:solidFill>
                <a:ea typeface="Roboto" pitchFamily="2" charset="0"/>
              </a:rPr>
              <a:t>Dev</a:t>
            </a:r>
          </a:p>
        </p:txBody>
      </p:sp>
      <p:sp>
        <p:nvSpPr>
          <p:cNvPr id="125" name="Rectangle 124"/>
          <p:cNvSpPr/>
          <p:nvPr/>
        </p:nvSpPr>
        <p:spPr>
          <a:xfrm>
            <a:off x="3914136" y="5893118"/>
            <a:ext cx="561703" cy="194990"/>
          </a:xfrm>
          <a:prstGeom prst="rect">
            <a:avLst/>
          </a:prstGeom>
        </p:spPr>
        <p:txBody>
          <a:bodyPr wrap="square">
            <a:spAutoFit/>
          </a:bodyPr>
          <a:lstStyle/>
          <a:p>
            <a:pPr algn="ctr" defTabSz="677400"/>
            <a:r>
              <a:rPr lang="en-US" sz="667" b="1" kern="0" dirty="0">
                <a:solidFill>
                  <a:prstClr val="black"/>
                </a:solidFill>
                <a:ea typeface="Roboto" pitchFamily="2" charset="0"/>
              </a:rPr>
              <a:t>Tools</a:t>
            </a:r>
          </a:p>
        </p:txBody>
      </p:sp>
      <p:sp>
        <p:nvSpPr>
          <p:cNvPr id="126" name="Rectangle 125"/>
          <p:cNvSpPr/>
          <p:nvPr/>
        </p:nvSpPr>
        <p:spPr>
          <a:xfrm>
            <a:off x="2999211" y="5882988"/>
            <a:ext cx="842529" cy="194990"/>
          </a:xfrm>
          <a:prstGeom prst="rect">
            <a:avLst/>
          </a:prstGeom>
        </p:spPr>
        <p:txBody>
          <a:bodyPr wrap="square">
            <a:spAutoFit/>
          </a:bodyPr>
          <a:lstStyle/>
          <a:p>
            <a:pPr algn="ctr" defTabSz="677400"/>
            <a:r>
              <a:rPr lang="en-US" sz="667" b="1" kern="0" dirty="0">
                <a:solidFill>
                  <a:prstClr val="black"/>
                </a:solidFill>
                <a:ea typeface="Roboto" pitchFamily="2" charset="0"/>
              </a:rPr>
              <a:t>Legends</a:t>
            </a:r>
          </a:p>
        </p:txBody>
      </p:sp>
      <p:grpSp>
        <p:nvGrpSpPr>
          <p:cNvPr id="127" name="Group 126"/>
          <p:cNvGrpSpPr/>
          <p:nvPr/>
        </p:nvGrpSpPr>
        <p:grpSpPr>
          <a:xfrm>
            <a:off x="5764168" y="5878767"/>
            <a:ext cx="223761" cy="202383"/>
            <a:chOff x="6322928" y="5736087"/>
            <a:chExt cx="236532" cy="235885"/>
          </a:xfrm>
        </p:grpSpPr>
        <p:sp>
          <p:nvSpPr>
            <p:cNvPr id="128" name="Freeform 127"/>
            <p:cNvSpPr/>
            <p:nvPr/>
          </p:nvSpPr>
          <p:spPr>
            <a:xfrm>
              <a:off x="6327879" y="5750794"/>
              <a:ext cx="159771" cy="166967"/>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prstClr val="white"/>
                </a:solidFill>
              </a:endParaRPr>
            </a:p>
          </p:txBody>
        </p:sp>
        <p:pic>
          <p:nvPicPr>
            <p:cNvPr id="129" name="Picture 2" descr="C:\Users\Admin\Desktop\email-features-4.png"/>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322928" y="5736087"/>
              <a:ext cx="236532" cy="235885"/>
            </a:xfrm>
            <a:prstGeom prst="rect">
              <a:avLst/>
            </a:prstGeom>
            <a:noFill/>
            <a:ln>
              <a:noFill/>
            </a:ln>
          </p:spPr>
        </p:pic>
      </p:grpSp>
      <p:grpSp>
        <p:nvGrpSpPr>
          <p:cNvPr id="130" name="Group 129"/>
          <p:cNvGrpSpPr/>
          <p:nvPr/>
        </p:nvGrpSpPr>
        <p:grpSpPr>
          <a:xfrm>
            <a:off x="5140642" y="5855171"/>
            <a:ext cx="288627" cy="290284"/>
            <a:chOff x="9522354" y="8001078"/>
            <a:chExt cx="568215" cy="592214"/>
          </a:xfrm>
        </p:grpSpPr>
        <p:sp>
          <p:nvSpPr>
            <p:cNvPr id="131" name="Freeform 130"/>
            <p:cNvSpPr/>
            <p:nvPr/>
          </p:nvSpPr>
          <p:spPr>
            <a:xfrm>
              <a:off x="9603463" y="8121104"/>
              <a:ext cx="395288" cy="271463"/>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prstClr val="white"/>
                </a:solidFill>
              </a:endParaRPr>
            </a:p>
          </p:txBody>
        </p:sp>
        <p:pic>
          <p:nvPicPr>
            <p:cNvPr id="132" name="Picture 1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22354" y="8001078"/>
              <a:ext cx="568215" cy="592214"/>
            </a:xfrm>
            <a:prstGeom prst="rect">
              <a:avLst/>
            </a:prstGeom>
          </p:spPr>
        </p:pic>
      </p:grpSp>
      <p:sp>
        <p:nvSpPr>
          <p:cNvPr id="133" name="Rectangle 132"/>
          <p:cNvSpPr/>
          <p:nvPr/>
        </p:nvSpPr>
        <p:spPr>
          <a:xfrm>
            <a:off x="4562604" y="5841766"/>
            <a:ext cx="561703" cy="297646"/>
          </a:xfrm>
          <a:prstGeom prst="rect">
            <a:avLst/>
          </a:prstGeom>
        </p:spPr>
        <p:txBody>
          <a:bodyPr wrap="square">
            <a:spAutoFit/>
          </a:bodyPr>
          <a:lstStyle/>
          <a:p>
            <a:pPr algn="ctr" defTabSz="677400"/>
            <a:r>
              <a:rPr lang="en-US" sz="667" b="1" kern="0" dirty="0">
                <a:solidFill>
                  <a:prstClr val="black"/>
                </a:solidFill>
                <a:ea typeface="Roboto" pitchFamily="2" charset="0"/>
              </a:rPr>
              <a:t>Product Owner</a:t>
            </a:r>
          </a:p>
        </p:txBody>
      </p:sp>
      <p:pic>
        <p:nvPicPr>
          <p:cNvPr id="134" name="Picture 4" descr="C:\Users\Admin\Desktop\icon-associate.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4424486" y="5872189"/>
            <a:ext cx="222056" cy="209149"/>
          </a:xfrm>
          <a:prstGeom prst="rect">
            <a:avLst/>
          </a:prstGeom>
          <a:noFill/>
          <a:ln>
            <a:noFill/>
          </a:ln>
        </p:spPr>
      </p:pic>
      <p:sp>
        <p:nvSpPr>
          <p:cNvPr id="135" name="Rectangle 189"/>
          <p:cNvSpPr>
            <a:spLocks noChangeArrowheads="1"/>
          </p:cNvSpPr>
          <p:nvPr/>
        </p:nvSpPr>
        <p:spPr bwMode="auto">
          <a:xfrm>
            <a:off x="1957841" y="2263011"/>
            <a:ext cx="758335" cy="524576"/>
          </a:xfrm>
          <a:prstGeom prst="rect">
            <a:avLst/>
          </a:prstGeom>
          <a:solidFill>
            <a:srgbClr val="1E6B9A"/>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sp>
        <p:nvSpPr>
          <p:cNvPr id="136" name="Rectangle 235"/>
          <p:cNvSpPr>
            <a:spLocks noChangeArrowheads="1"/>
          </p:cNvSpPr>
          <p:nvPr/>
        </p:nvSpPr>
        <p:spPr bwMode="auto">
          <a:xfrm>
            <a:off x="2013511" y="2477130"/>
            <a:ext cx="610000"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667" b="1" dirty="0">
                <a:solidFill>
                  <a:prstClr val="white"/>
                </a:solidFill>
                <a:latin typeface="Calibri" panose="020F0502020204030204"/>
              </a:rPr>
              <a:t>Sprint Planning</a:t>
            </a:r>
          </a:p>
        </p:txBody>
      </p:sp>
      <p:sp>
        <p:nvSpPr>
          <p:cNvPr id="137" name="Rectangle 136"/>
          <p:cNvSpPr/>
          <p:nvPr/>
        </p:nvSpPr>
        <p:spPr>
          <a:xfrm>
            <a:off x="2727298" y="5243558"/>
            <a:ext cx="720701" cy="233135"/>
          </a:xfrm>
          <a:prstGeom prst="rect">
            <a:avLst/>
          </a:prstGeom>
          <a:ln>
            <a:noFill/>
          </a:ln>
        </p:spPr>
        <p:txBody>
          <a:bodyPr wrap="square" lIns="121920" tIns="60960" rIns="121920" bIns="60960" anchor="ctr">
            <a:noAutofit/>
          </a:bodyPr>
          <a:lstStyle/>
          <a:p>
            <a:pPr algn="ctr" defTabSz="677400"/>
            <a:r>
              <a:rPr lang="en-US" altLang="en-US" sz="667" b="1" dirty="0">
                <a:solidFill>
                  <a:srgbClr val="002060"/>
                </a:solidFill>
              </a:rPr>
              <a:t>SonarQube/Mockito</a:t>
            </a:r>
          </a:p>
        </p:txBody>
      </p:sp>
      <p:pic>
        <p:nvPicPr>
          <p:cNvPr id="138" name="Picture 137"/>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2937895" y="4930124"/>
            <a:ext cx="318991" cy="310485"/>
          </a:xfrm>
          <a:prstGeom prst="rect">
            <a:avLst/>
          </a:prstGeom>
          <a:noFill/>
          <a:ln>
            <a:noFill/>
          </a:ln>
        </p:spPr>
      </p:pic>
      <p:sp>
        <p:nvSpPr>
          <p:cNvPr id="139" name="Freeform 138"/>
          <p:cNvSpPr/>
          <p:nvPr/>
        </p:nvSpPr>
        <p:spPr>
          <a:xfrm>
            <a:off x="3372873" y="2297321"/>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sp>
        <p:nvSpPr>
          <p:cNvPr id="140" name="Freeform 139"/>
          <p:cNvSpPr/>
          <p:nvPr/>
        </p:nvSpPr>
        <p:spPr>
          <a:xfrm>
            <a:off x="3316251" y="3068188"/>
            <a:ext cx="180267" cy="189953"/>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141"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318153" y="3063519"/>
            <a:ext cx="268475" cy="249947"/>
          </a:xfrm>
          <a:prstGeom prst="rect">
            <a:avLst/>
          </a:prstGeom>
          <a:noFill/>
          <a:ln>
            <a:noFill/>
          </a:ln>
        </p:spPr>
      </p:pic>
      <p:cxnSp>
        <p:nvCxnSpPr>
          <p:cNvPr id="142" name="Straight Arrow Connector 141"/>
          <p:cNvCxnSpPr/>
          <p:nvPr/>
        </p:nvCxnSpPr>
        <p:spPr>
          <a:xfrm rot="16200000">
            <a:off x="2668046" y="2940717"/>
            <a:ext cx="316525" cy="0"/>
          </a:xfrm>
          <a:prstGeom prst="straightConnector1">
            <a:avLst/>
          </a:prstGeom>
          <a:ln w="38100">
            <a:solidFill>
              <a:schemeClr val="tx1">
                <a:lumMod val="50000"/>
                <a:lumOff val="50000"/>
              </a:schemeClr>
            </a:solidFill>
            <a:headE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2826307" y="3098980"/>
            <a:ext cx="440048" cy="0"/>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4" name="Picture 4" descr="C:\Users\Admin\Desktop\icon-associate.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385840" y="2047018"/>
            <a:ext cx="222056" cy="209148"/>
          </a:xfrm>
          <a:prstGeom prst="rect">
            <a:avLst/>
          </a:prstGeom>
          <a:noFill/>
          <a:ln>
            <a:noFill/>
          </a:ln>
        </p:spPr>
      </p:pic>
      <p:sp>
        <p:nvSpPr>
          <p:cNvPr id="145" name="Rounded Rectangle 144"/>
          <p:cNvSpPr/>
          <p:nvPr/>
        </p:nvSpPr>
        <p:spPr bwMode="auto">
          <a:xfrm>
            <a:off x="9375959" y="3691564"/>
            <a:ext cx="1022267" cy="356909"/>
          </a:xfrm>
          <a:prstGeom prst="roundRect">
            <a:avLst/>
          </a:prstGeom>
          <a:solidFill>
            <a:schemeClr val="bg1">
              <a:lumMod val="85000"/>
            </a:schemeClr>
          </a:solidFill>
          <a:ln>
            <a:noFill/>
            <a:headEnd/>
            <a:tailEnd/>
          </a:ln>
          <a:effectLst>
            <a:outerShdw blurRad="50800" dist="25400" algn="l" rotWithShape="0">
              <a:schemeClr val="bg1">
                <a:lumMod val="50000"/>
                <a:alpha val="40000"/>
              </a:schemeClr>
            </a:outerShdw>
          </a:effectLst>
        </p:spPr>
        <p:style>
          <a:lnRef idx="2">
            <a:schemeClr val="accent2"/>
          </a:lnRef>
          <a:fillRef idx="1">
            <a:schemeClr val="lt1"/>
          </a:fillRef>
          <a:effectRef idx="0">
            <a:schemeClr val="accent2"/>
          </a:effectRef>
          <a:fontRef idx="minor">
            <a:schemeClr val="dk1"/>
          </a:fontRef>
        </p:style>
        <p:txBody>
          <a:bodyPr lIns="117404" tIns="117404" rIns="117404" bIns="117404" rtlCol="0" anchor="ctr"/>
          <a:lstStyle/>
          <a:p>
            <a:pPr marL="220150" indent="-220150" algn="ctr" defTabSz="1174139" eaLnBrk="0" hangingPunct="0">
              <a:buFont typeface="Arial" panose="020B0604020202020204" pitchFamily="34" charset="0"/>
              <a:buChar char="•"/>
            </a:pPr>
            <a:endParaRPr lang="en-US" sz="1200" dirty="0">
              <a:solidFill>
                <a:srgbClr val="000000"/>
              </a:solidFill>
              <a:cs typeface="Arial" panose="020B0604020202020204" pitchFamily="34" charset="0"/>
            </a:endParaRPr>
          </a:p>
        </p:txBody>
      </p:sp>
      <p:sp>
        <p:nvSpPr>
          <p:cNvPr id="146" name="TextBox 145"/>
          <p:cNvSpPr txBox="1"/>
          <p:nvPr/>
        </p:nvSpPr>
        <p:spPr bwMode="auto">
          <a:xfrm>
            <a:off x="9506794" y="3748169"/>
            <a:ext cx="783837" cy="205313"/>
          </a:xfrm>
          <a:prstGeom prst="rect">
            <a:avLst/>
          </a:prstGeom>
          <a:noFill/>
          <a:ln w="9525">
            <a:noFill/>
            <a:miter lim="800000"/>
            <a:headEnd/>
            <a:tailEnd/>
          </a:ln>
        </p:spPr>
        <p:txBody>
          <a:bodyPr wrap="square" lIns="0" tIns="0" rIns="0" bIns="0" rtlCol="0">
            <a:prstTxWarp prst="textNoShape">
              <a:avLst/>
            </a:prstTxWarp>
            <a:spAutoFit/>
          </a:bodyPr>
          <a:lstStyle/>
          <a:p>
            <a:pPr algn="ctr" defTabSz="1174139" eaLnBrk="0" hangingPunct="0"/>
            <a:r>
              <a:rPr lang="en-US" sz="667" b="1" dirty="0">
                <a:solidFill>
                  <a:prstClr val="black"/>
                </a:solidFill>
                <a:ea typeface="Roboto" pitchFamily="2" charset="0"/>
                <a:cs typeface="Arial" panose="020B0604020202020204" pitchFamily="34" charset="0"/>
              </a:rPr>
              <a:t>Update System Documentation</a:t>
            </a:r>
          </a:p>
        </p:txBody>
      </p:sp>
      <p:cxnSp>
        <p:nvCxnSpPr>
          <p:cNvPr id="147" name="Straight Arrow Connector 146"/>
          <p:cNvCxnSpPr/>
          <p:nvPr/>
        </p:nvCxnSpPr>
        <p:spPr>
          <a:xfrm>
            <a:off x="9882133" y="3480417"/>
            <a:ext cx="7583" cy="200027"/>
          </a:xfrm>
          <a:prstGeom prst="straightConnector1">
            <a:avLst/>
          </a:prstGeom>
          <a:ln w="38100">
            <a:solidFill>
              <a:schemeClr val="tx1">
                <a:lumMod val="50000"/>
                <a:lumOff val="50000"/>
              </a:schemeClr>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a:xfrm>
            <a:off x="9660075" y="4054088"/>
            <a:ext cx="588636" cy="416705"/>
          </a:xfrm>
          <a:prstGeom prst="rect">
            <a:avLst/>
          </a:prstGeom>
        </p:spPr>
        <p:txBody>
          <a:bodyPr wrap="square" lIns="0" tIns="0" rIns="0" bIns="0" anchor="ctr">
            <a:noAutofit/>
          </a:bodyPr>
          <a:lstStyle/>
          <a:p>
            <a:pPr algn="ctr" defTabSz="677400"/>
            <a:r>
              <a:rPr lang="en-US" altLang="en-US" sz="667" b="1" dirty="0">
                <a:solidFill>
                  <a:schemeClr val="accent2">
                    <a:lumMod val="75000"/>
                  </a:schemeClr>
                </a:solidFill>
              </a:rPr>
              <a:t>Wiki,  </a:t>
            </a:r>
            <a:r>
              <a:rPr lang="en-US" altLang="en-US" sz="667" b="1" dirty="0">
                <a:solidFill>
                  <a:srgbClr val="002060"/>
                </a:solidFill>
              </a:rPr>
              <a:t>Confluence SharePoint</a:t>
            </a:r>
          </a:p>
        </p:txBody>
      </p:sp>
      <p:sp>
        <p:nvSpPr>
          <p:cNvPr id="149" name="Rectangle 148"/>
          <p:cNvSpPr/>
          <p:nvPr/>
        </p:nvSpPr>
        <p:spPr>
          <a:xfrm>
            <a:off x="9816256" y="2542776"/>
            <a:ext cx="594144" cy="316899"/>
          </a:xfrm>
          <a:prstGeom prst="rect">
            <a:avLst/>
          </a:prstGeom>
        </p:spPr>
        <p:txBody>
          <a:bodyPr wrap="square" lIns="0" tIns="0" rIns="0" bIns="0" anchor="ctr" anchorCtr="0">
            <a:noAutofit/>
          </a:bodyPr>
          <a:lstStyle/>
          <a:p>
            <a:pPr defTabSz="677400"/>
            <a:r>
              <a:rPr lang="en-US" altLang="en-US" sz="667" b="1" dirty="0" err="1">
                <a:solidFill>
                  <a:schemeClr val="accent2">
                    <a:lumMod val="75000"/>
                  </a:schemeClr>
                </a:solidFill>
              </a:rPr>
              <a:t>Saltstack</a:t>
            </a:r>
            <a:endParaRPr lang="en-US" altLang="en-US" sz="667" b="1" dirty="0">
              <a:solidFill>
                <a:schemeClr val="accent2">
                  <a:lumMod val="75000"/>
                </a:schemeClr>
              </a:solidFill>
            </a:endParaRPr>
          </a:p>
          <a:p>
            <a:pPr defTabSz="677400"/>
            <a:r>
              <a:rPr lang="en-US" altLang="en-US" sz="667" b="1" dirty="0" err="1">
                <a:solidFill>
                  <a:srgbClr val="002060"/>
                </a:solidFill>
              </a:rPr>
              <a:t>Ansible</a:t>
            </a:r>
            <a:r>
              <a:rPr lang="en-US" altLang="en-US" sz="667" b="1" dirty="0">
                <a:solidFill>
                  <a:srgbClr val="002060"/>
                </a:solidFill>
              </a:rPr>
              <a:t> or Terraform</a:t>
            </a:r>
          </a:p>
        </p:txBody>
      </p:sp>
      <p:pic>
        <p:nvPicPr>
          <p:cNvPr id="150" name="Picture 149"/>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9466572" y="2564847"/>
            <a:ext cx="317881" cy="309405"/>
          </a:xfrm>
          <a:prstGeom prst="rect">
            <a:avLst/>
          </a:prstGeom>
        </p:spPr>
      </p:pic>
      <p:sp>
        <p:nvSpPr>
          <p:cNvPr id="151" name="Rectangle 150"/>
          <p:cNvSpPr/>
          <p:nvPr/>
        </p:nvSpPr>
        <p:spPr>
          <a:xfrm>
            <a:off x="5895393" y="2467650"/>
            <a:ext cx="528608" cy="104340"/>
          </a:xfrm>
          <a:prstGeom prst="rect">
            <a:avLst/>
          </a:prstGeom>
        </p:spPr>
        <p:txBody>
          <a:bodyPr wrap="square" lIns="0" tIns="0" rIns="0" bIns="0" anchor="ctr">
            <a:noAutofit/>
          </a:bodyPr>
          <a:lstStyle/>
          <a:p>
            <a:pPr algn="ctr" defTabSz="677400"/>
            <a:r>
              <a:rPr lang="en-US" altLang="en-US" sz="667" b="1" dirty="0">
                <a:solidFill>
                  <a:srgbClr val="002060"/>
                </a:solidFill>
              </a:rPr>
              <a:t>App Scan</a:t>
            </a:r>
          </a:p>
        </p:txBody>
      </p:sp>
      <p:pic>
        <p:nvPicPr>
          <p:cNvPr id="152" name="Picture 151"/>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327498" y="2369604"/>
            <a:ext cx="317881" cy="309405"/>
          </a:xfrm>
          <a:prstGeom prst="rect">
            <a:avLst/>
          </a:prstGeom>
        </p:spPr>
      </p:pic>
      <p:sp>
        <p:nvSpPr>
          <p:cNvPr id="153" name="Rectangle 152"/>
          <p:cNvSpPr/>
          <p:nvPr/>
        </p:nvSpPr>
        <p:spPr>
          <a:xfrm>
            <a:off x="11077594" y="1895970"/>
            <a:ext cx="809607" cy="356141"/>
          </a:xfrm>
          <a:prstGeom prst="rect">
            <a:avLst/>
          </a:prstGeom>
        </p:spPr>
        <p:txBody>
          <a:bodyPr wrap="square" lIns="0" tIns="0" rIns="0" bIns="0" anchor="ctr" anchorCtr="0">
            <a:noAutofit/>
          </a:bodyPr>
          <a:lstStyle/>
          <a:p>
            <a:pPr algn="ctr" defTabSz="677400"/>
            <a:r>
              <a:rPr lang="en-US" altLang="en-US" sz="667" b="1" dirty="0">
                <a:solidFill>
                  <a:srgbClr val="002060"/>
                </a:solidFill>
              </a:rPr>
              <a:t>Change control &amp; Approvals</a:t>
            </a:r>
          </a:p>
        </p:txBody>
      </p:sp>
      <p:pic>
        <p:nvPicPr>
          <p:cNvPr id="154" name="Picture 153"/>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243272" y="1624560"/>
            <a:ext cx="440041" cy="399089"/>
          </a:xfrm>
          <a:prstGeom prst="rect">
            <a:avLst/>
          </a:prstGeom>
        </p:spPr>
      </p:pic>
      <p:sp>
        <p:nvSpPr>
          <p:cNvPr id="155" name="Rectangle 235"/>
          <p:cNvSpPr>
            <a:spLocks noChangeArrowheads="1"/>
          </p:cNvSpPr>
          <p:nvPr/>
        </p:nvSpPr>
        <p:spPr bwMode="auto">
          <a:xfrm>
            <a:off x="2953752" y="4550742"/>
            <a:ext cx="1054961"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cs typeface="Arial" panose="020B0604020202020204" pitchFamily="34" charset="0"/>
              </a:rPr>
              <a:t>Continuous Deployment</a:t>
            </a:r>
          </a:p>
          <a:p>
            <a:pPr algn="ctr" defTabSz="677400"/>
            <a:r>
              <a:rPr lang="en-US" altLang="en-US" sz="667" b="1" dirty="0">
                <a:solidFill>
                  <a:prstClr val="white"/>
                </a:solidFill>
                <a:latin typeface="Calibri" panose="020F0502020204030204"/>
                <a:cs typeface="Arial" panose="020B0604020202020204" pitchFamily="34" charset="0"/>
              </a:rPr>
              <a:t>Unit Testing &amp; Code Analysis</a:t>
            </a:r>
          </a:p>
        </p:txBody>
      </p:sp>
      <p:sp>
        <p:nvSpPr>
          <p:cNvPr id="156" name="Rectangle 193"/>
          <p:cNvSpPr>
            <a:spLocks noChangeArrowheads="1"/>
          </p:cNvSpPr>
          <p:nvPr/>
        </p:nvSpPr>
        <p:spPr bwMode="auto">
          <a:xfrm>
            <a:off x="4206043" y="4476607"/>
            <a:ext cx="1026243" cy="506068"/>
          </a:xfrm>
          <a:prstGeom prst="rect">
            <a:avLst/>
          </a:prstGeom>
          <a:solidFill>
            <a:srgbClr val="2D8F3B"/>
          </a:solidFill>
          <a:ln>
            <a:noFill/>
          </a:ln>
        </p:spPr>
        <p:txBody>
          <a:bodyPr vert="horz" wrap="square" lIns="67733" tIns="33868" rIns="67733" bIns="33868" numCol="1" anchor="t" anchorCtr="0" compatLnSpc="1">
            <a:prstTxWarp prst="textNoShape">
              <a:avLst/>
            </a:prstTxWarp>
          </a:bodyPr>
          <a:lstStyle/>
          <a:p>
            <a:pPr algn="ctr"/>
            <a:endParaRPr lang="en-US" sz="1467" dirty="0">
              <a:solidFill>
                <a:prstClr val="black"/>
              </a:solidFill>
            </a:endParaRPr>
          </a:p>
        </p:txBody>
      </p:sp>
      <p:sp>
        <p:nvSpPr>
          <p:cNvPr id="157" name="Rectangle 235"/>
          <p:cNvSpPr>
            <a:spLocks noChangeArrowheads="1"/>
          </p:cNvSpPr>
          <p:nvPr/>
        </p:nvSpPr>
        <p:spPr bwMode="auto">
          <a:xfrm>
            <a:off x="4258159" y="4603588"/>
            <a:ext cx="915276" cy="30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cs typeface="Arial" panose="020B0604020202020204" pitchFamily="34" charset="0"/>
              </a:rPr>
              <a:t>Continuous Testing</a:t>
            </a:r>
          </a:p>
          <a:p>
            <a:pPr algn="ctr" defTabSz="677400"/>
            <a:r>
              <a:rPr lang="en-US" altLang="en-US" sz="667" b="1" dirty="0">
                <a:solidFill>
                  <a:prstClr val="white"/>
                </a:solidFill>
                <a:latin typeface="Calibri" panose="020F0502020204030204"/>
                <a:cs typeface="Arial" panose="020B0604020202020204" pitchFamily="34" charset="0"/>
              </a:rPr>
              <a:t>Feature Level, Early performance</a:t>
            </a:r>
          </a:p>
        </p:txBody>
      </p:sp>
      <p:sp>
        <p:nvSpPr>
          <p:cNvPr id="158" name="Rectangle 157"/>
          <p:cNvSpPr/>
          <p:nvPr/>
        </p:nvSpPr>
        <p:spPr>
          <a:xfrm>
            <a:off x="5908379" y="4483880"/>
            <a:ext cx="435643" cy="478049"/>
          </a:xfrm>
          <a:prstGeom prst="rect">
            <a:avLst/>
          </a:prstGeom>
          <a:solidFill>
            <a:schemeClr val="accent6">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33" dirty="0">
                <a:solidFill>
                  <a:prstClr val="black"/>
                </a:solidFill>
              </a:rPr>
              <a:t>Test Data and Env.</a:t>
            </a:r>
          </a:p>
        </p:txBody>
      </p:sp>
      <p:pic>
        <p:nvPicPr>
          <p:cNvPr id="159" name="Picture 2" descr="C:\Users\Admin\Desktop\email-features-4.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869228" y="2822397"/>
            <a:ext cx="268475" cy="249947"/>
          </a:xfrm>
          <a:prstGeom prst="rect">
            <a:avLst/>
          </a:prstGeom>
          <a:noFill/>
          <a:ln>
            <a:noFill/>
          </a:ln>
        </p:spPr>
      </p:pic>
      <p:sp>
        <p:nvSpPr>
          <p:cNvPr id="160" name="Rectangle 235"/>
          <p:cNvSpPr>
            <a:spLocks noChangeArrowheads="1"/>
          </p:cNvSpPr>
          <p:nvPr/>
        </p:nvSpPr>
        <p:spPr bwMode="auto">
          <a:xfrm>
            <a:off x="6726176" y="2292402"/>
            <a:ext cx="762685" cy="30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black"/>
                </a:solidFill>
                <a:latin typeface="Calibri" panose="020F0502020204030204"/>
              </a:rPr>
              <a:t>Performance, Resilience &amp; Security Testing</a:t>
            </a:r>
          </a:p>
        </p:txBody>
      </p:sp>
      <p:sp>
        <p:nvSpPr>
          <p:cNvPr id="161" name="Rectangle 235"/>
          <p:cNvSpPr>
            <a:spLocks noChangeArrowheads="1"/>
          </p:cNvSpPr>
          <p:nvPr/>
        </p:nvSpPr>
        <p:spPr bwMode="auto">
          <a:xfrm>
            <a:off x="2812576" y="2443397"/>
            <a:ext cx="853621" cy="30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667" b="1" dirty="0">
                <a:solidFill>
                  <a:prstClr val="white"/>
                </a:solidFill>
                <a:latin typeface="Calibri" panose="020F0502020204030204"/>
              </a:rPr>
              <a:t>Breakdown User Stories into tasks</a:t>
            </a:r>
          </a:p>
          <a:p>
            <a:pPr defTabSz="677400"/>
            <a:r>
              <a:rPr lang="en-US" altLang="en-US" sz="667" b="1" dirty="0">
                <a:solidFill>
                  <a:prstClr val="white"/>
                </a:solidFill>
                <a:latin typeface="Calibri" panose="020F0502020204030204"/>
              </a:rPr>
              <a:t>BDD</a:t>
            </a:r>
          </a:p>
        </p:txBody>
      </p:sp>
      <p:sp>
        <p:nvSpPr>
          <p:cNvPr id="162" name="Rectangle 235"/>
          <p:cNvSpPr>
            <a:spLocks noChangeArrowheads="1"/>
          </p:cNvSpPr>
          <p:nvPr/>
        </p:nvSpPr>
        <p:spPr bwMode="auto">
          <a:xfrm>
            <a:off x="6546857" y="4507729"/>
            <a:ext cx="635721" cy="20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667" b="1" dirty="0">
                <a:solidFill>
                  <a:prstClr val="white"/>
                </a:solidFill>
                <a:latin typeface="Calibri" panose="020F0502020204030204"/>
              </a:rPr>
              <a:t>Demo &amp; Retrospection</a:t>
            </a:r>
          </a:p>
        </p:txBody>
      </p:sp>
      <p:sp>
        <p:nvSpPr>
          <p:cNvPr id="163" name="Rectangle 188"/>
          <p:cNvSpPr>
            <a:spLocks noChangeArrowheads="1"/>
          </p:cNvSpPr>
          <p:nvPr/>
        </p:nvSpPr>
        <p:spPr bwMode="auto">
          <a:xfrm>
            <a:off x="7584051" y="1979328"/>
            <a:ext cx="715940" cy="546261"/>
          </a:xfrm>
          <a:prstGeom prst="rect">
            <a:avLst/>
          </a:prstGeom>
          <a:solidFill>
            <a:srgbClr val="000000"/>
          </a:solidFill>
          <a:ln>
            <a:noFill/>
          </a:ln>
        </p:spPr>
        <p:txBody>
          <a:bodyPr vert="horz" wrap="square" lIns="67733" tIns="33868" rIns="67733" bIns="33868" numCol="1" anchor="t" anchorCtr="0" compatLnSpc="1">
            <a:prstTxWarp prst="textNoShape">
              <a:avLst/>
            </a:prstTxWarp>
          </a:bodyPr>
          <a:lstStyle/>
          <a:p>
            <a:endParaRPr lang="en-US" sz="1467" dirty="0">
              <a:solidFill>
                <a:prstClr val="black"/>
              </a:solidFill>
            </a:endParaRPr>
          </a:p>
        </p:txBody>
      </p:sp>
      <p:grpSp>
        <p:nvGrpSpPr>
          <p:cNvPr id="164" name="Group 163"/>
          <p:cNvGrpSpPr/>
          <p:nvPr/>
        </p:nvGrpSpPr>
        <p:grpSpPr>
          <a:xfrm>
            <a:off x="7787976" y="2035889"/>
            <a:ext cx="233723" cy="219949"/>
            <a:chOff x="2118595" y="-122200"/>
            <a:chExt cx="668337" cy="694220"/>
          </a:xfrm>
        </p:grpSpPr>
        <p:sp>
          <p:nvSpPr>
            <p:cNvPr id="165" name="Oval 164"/>
            <p:cNvSpPr/>
            <p:nvPr/>
          </p:nvSpPr>
          <p:spPr>
            <a:xfrm>
              <a:off x="2118595" y="-96317"/>
              <a:ext cx="668337" cy="668337"/>
            </a:xfrm>
            <a:prstGeom prst="ellipse">
              <a:avLst/>
            </a:prstGeom>
            <a:solidFill>
              <a:schemeClr val="tx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prstClr val="white"/>
                </a:solidFill>
              </a:endParaRPr>
            </a:p>
          </p:txBody>
        </p:sp>
        <p:sp>
          <p:nvSpPr>
            <p:cNvPr id="166" name="Rectangle 222"/>
            <p:cNvSpPr>
              <a:spLocks noChangeArrowheads="1"/>
            </p:cNvSpPr>
            <p:nvPr/>
          </p:nvSpPr>
          <p:spPr bwMode="auto">
            <a:xfrm>
              <a:off x="2322574" y="-122200"/>
              <a:ext cx="261278" cy="6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677400"/>
              <a:r>
                <a:rPr lang="en-US" altLang="en-US" sz="1400" b="1" dirty="0">
                  <a:solidFill>
                    <a:srgbClr val="FFFFFF"/>
                  </a:solidFill>
                  <a:latin typeface="Calibri" panose="020F0502020204030204"/>
                  <a:ea typeface="Roboto Cn" pitchFamily="2" charset="0"/>
                </a:rPr>
                <a:t>4</a:t>
              </a:r>
              <a:endParaRPr lang="en-US" altLang="en-US" sz="933" b="1" dirty="0">
                <a:solidFill>
                  <a:prstClr val="black"/>
                </a:solidFill>
                <a:latin typeface="Calibri" panose="020F0502020204030204"/>
                <a:ea typeface="Roboto Cn" pitchFamily="2" charset="0"/>
              </a:endParaRPr>
            </a:p>
          </p:txBody>
        </p:sp>
      </p:grpSp>
      <p:sp>
        <p:nvSpPr>
          <p:cNvPr id="167" name="Rectangle 235"/>
          <p:cNvSpPr>
            <a:spLocks noChangeArrowheads="1"/>
          </p:cNvSpPr>
          <p:nvPr/>
        </p:nvSpPr>
        <p:spPr bwMode="auto">
          <a:xfrm>
            <a:off x="7821640" y="2317567"/>
            <a:ext cx="203582"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933" dirty="0">
                <a:solidFill>
                  <a:prstClr val="white"/>
                </a:solidFill>
                <a:latin typeface="Calibri" panose="020F0502020204030204"/>
              </a:rPr>
              <a:t>UAT</a:t>
            </a:r>
            <a:endParaRPr lang="en-US" altLang="en-US" sz="1200" dirty="0">
              <a:solidFill>
                <a:prstClr val="white"/>
              </a:solidFill>
              <a:latin typeface="Calibri" panose="020F0502020204030204"/>
            </a:endParaRPr>
          </a:p>
        </p:txBody>
      </p:sp>
      <p:sp>
        <p:nvSpPr>
          <p:cNvPr id="168" name="Rectangle 167"/>
          <p:cNvSpPr/>
          <p:nvPr/>
        </p:nvSpPr>
        <p:spPr>
          <a:xfrm>
            <a:off x="7897136" y="1675829"/>
            <a:ext cx="627833" cy="225767"/>
          </a:xfrm>
          <a:prstGeom prst="rect">
            <a:avLst/>
          </a:prstGeom>
        </p:spPr>
        <p:txBody>
          <a:bodyPr wrap="square" lIns="121920" tIns="60960" rIns="121920" bIns="60960">
            <a:spAutoFit/>
          </a:bodyPr>
          <a:lstStyle/>
          <a:p>
            <a:pPr defTabSz="677400"/>
            <a:r>
              <a:rPr lang="en-US" altLang="en-US" sz="667" b="1" dirty="0">
                <a:solidFill>
                  <a:schemeClr val="accent2">
                    <a:lumMod val="75000"/>
                  </a:schemeClr>
                </a:solidFill>
              </a:rPr>
              <a:t>Jenkins</a:t>
            </a:r>
          </a:p>
        </p:txBody>
      </p:sp>
      <p:pic>
        <p:nvPicPr>
          <p:cNvPr id="169" name="Picture 168"/>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7611948" y="1662699"/>
            <a:ext cx="317881" cy="309405"/>
          </a:xfrm>
          <a:prstGeom prst="rect">
            <a:avLst/>
          </a:prstGeom>
        </p:spPr>
      </p:pic>
      <p:pic>
        <p:nvPicPr>
          <p:cNvPr id="170" name="Picture 169"/>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2482264" y="3651410"/>
            <a:ext cx="317881" cy="309405"/>
          </a:xfrm>
          <a:prstGeom prst="rect">
            <a:avLst/>
          </a:prstGeom>
        </p:spPr>
      </p:pic>
      <p:sp>
        <p:nvSpPr>
          <p:cNvPr id="171" name="Rectangle 170"/>
          <p:cNvSpPr/>
          <p:nvPr/>
        </p:nvSpPr>
        <p:spPr>
          <a:xfrm>
            <a:off x="1714959" y="3712847"/>
            <a:ext cx="895948" cy="214709"/>
          </a:xfrm>
          <a:prstGeom prst="rect">
            <a:avLst/>
          </a:prstGeom>
          <a:ln>
            <a:noFill/>
          </a:ln>
        </p:spPr>
        <p:txBody>
          <a:bodyPr wrap="square" lIns="121920" tIns="60960" rIns="121920" bIns="60960" anchor="ctr">
            <a:noAutofit/>
          </a:bodyPr>
          <a:lstStyle/>
          <a:p>
            <a:pPr algn="ctr" defTabSz="677400"/>
            <a:r>
              <a:rPr lang="en-US" altLang="en-US" sz="667" b="1" dirty="0">
                <a:solidFill>
                  <a:srgbClr val="002060"/>
                </a:solidFill>
              </a:rPr>
              <a:t>COSMOS/STS</a:t>
            </a:r>
          </a:p>
        </p:txBody>
      </p:sp>
      <p:sp>
        <p:nvSpPr>
          <p:cNvPr id="172" name="Rectangle 171"/>
          <p:cNvSpPr/>
          <p:nvPr/>
        </p:nvSpPr>
        <p:spPr>
          <a:xfrm>
            <a:off x="5287182" y="2482800"/>
            <a:ext cx="608500" cy="328423"/>
          </a:xfrm>
          <a:prstGeom prst="rect">
            <a:avLst/>
          </a:prstGeom>
        </p:spPr>
        <p:txBody>
          <a:bodyPr wrap="none" lIns="121920" tIns="60960" rIns="121920" bIns="60960">
            <a:spAutoFit/>
          </a:bodyPr>
          <a:lstStyle/>
          <a:p>
            <a:pPr algn="r" defTabSz="677400"/>
            <a:r>
              <a:rPr lang="en-US" altLang="en-US" sz="667" b="1" dirty="0">
                <a:solidFill>
                  <a:srgbClr val="002060"/>
                </a:solidFill>
              </a:rPr>
              <a:t>ADPART,</a:t>
            </a:r>
          </a:p>
          <a:p>
            <a:pPr algn="r" defTabSz="677400"/>
            <a:r>
              <a:rPr lang="en-US" altLang="en-US" sz="667" b="1" dirty="0">
                <a:solidFill>
                  <a:srgbClr val="002060"/>
                </a:solidFill>
              </a:rPr>
              <a:t>Cucumber</a:t>
            </a:r>
          </a:p>
        </p:txBody>
      </p:sp>
      <p:pic>
        <p:nvPicPr>
          <p:cNvPr id="173" name="Picture 172"/>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336314" y="2240511"/>
            <a:ext cx="318991" cy="310485"/>
          </a:xfrm>
          <a:prstGeom prst="rect">
            <a:avLst/>
          </a:prstGeom>
          <a:noFill/>
          <a:ln>
            <a:noFill/>
          </a:ln>
        </p:spPr>
      </p:pic>
      <p:sp>
        <p:nvSpPr>
          <p:cNvPr id="174" name="Rectangle 173"/>
          <p:cNvSpPr/>
          <p:nvPr/>
        </p:nvSpPr>
        <p:spPr>
          <a:xfrm>
            <a:off x="5783792" y="1146257"/>
            <a:ext cx="1133041" cy="410433"/>
          </a:xfrm>
          <a:prstGeom prst="rect">
            <a:avLst/>
          </a:prstGeom>
          <a:effectLst>
            <a:outerShdw blurRad="50800" dist="38100" dir="2700000" algn="tl" rotWithShape="0">
              <a:prstClr val="black">
                <a:alpha val="40000"/>
              </a:prstClr>
            </a:outerShdw>
          </a:effectLst>
        </p:spPr>
        <p:txBody>
          <a:bodyPr wrap="square" lIns="121920" tIns="60960" rIns="121920" bIns="60960">
            <a:spAutoFit/>
          </a:bodyPr>
          <a:lstStyle/>
          <a:p>
            <a:pPr algn="ctr" defTabSz="677400"/>
            <a:r>
              <a:rPr lang="en-US" altLang="en-US" sz="1867" b="1" dirty="0">
                <a:solidFill>
                  <a:srgbClr val="002060"/>
                </a:solidFill>
              </a:rPr>
              <a:t>LEAP</a:t>
            </a:r>
          </a:p>
        </p:txBody>
      </p:sp>
      <p:pic>
        <p:nvPicPr>
          <p:cNvPr id="175" name="Picture 17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47077" y="2215666"/>
            <a:ext cx="354531" cy="359649"/>
          </a:xfrm>
          <a:prstGeom prst="rect">
            <a:avLst/>
          </a:prstGeom>
        </p:spPr>
      </p:pic>
      <p:sp>
        <p:nvSpPr>
          <p:cNvPr id="176" name="Rectangle 235"/>
          <p:cNvSpPr>
            <a:spLocks noChangeArrowheads="1"/>
          </p:cNvSpPr>
          <p:nvPr/>
        </p:nvSpPr>
        <p:spPr bwMode="auto">
          <a:xfrm>
            <a:off x="3763512" y="2516846"/>
            <a:ext cx="610000"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77400"/>
            <a:r>
              <a:rPr lang="en-US" altLang="en-US" sz="667" b="1" dirty="0">
                <a:solidFill>
                  <a:prstClr val="white"/>
                </a:solidFill>
                <a:latin typeface="Calibri" panose="020F0502020204030204"/>
              </a:rPr>
              <a:t>Service Design</a:t>
            </a:r>
          </a:p>
        </p:txBody>
      </p:sp>
      <p:pic>
        <p:nvPicPr>
          <p:cNvPr id="177" name="Picture 176"/>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93824" y="1941784"/>
            <a:ext cx="317881" cy="309405"/>
          </a:xfrm>
          <a:prstGeom prst="rect">
            <a:avLst/>
          </a:prstGeom>
        </p:spPr>
      </p:pic>
      <p:sp>
        <p:nvSpPr>
          <p:cNvPr id="178" name="Rectangle 177"/>
          <p:cNvSpPr/>
          <p:nvPr/>
        </p:nvSpPr>
        <p:spPr>
          <a:xfrm>
            <a:off x="3808200" y="1784319"/>
            <a:ext cx="545983" cy="225767"/>
          </a:xfrm>
          <a:prstGeom prst="rect">
            <a:avLst/>
          </a:prstGeom>
        </p:spPr>
        <p:txBody>
          <a:bodyPr wrap="none" lIns="121920" tIns="60960" rIns="121920" bIns="60960">
            <a:spAutoFit/>
          </a:bodyPr>
          <a:lstStyle/>
          <a:p>
            <a:pPr defTabSz="677400"/>
            <a:r>
              <a:rPr lang="en-US" altLang="en-US" sz="667" b="1" dirty="0">
                <a:solidFill>
                  <a:srgbClr val="002060"/>
                </a:solidFill>
              </a:rPr>
              <a:t>Swagger</a:t>
            </a:r>
          </a:p>
        </p:txBody>
      </p:sp>
      <p:pic>
        <p:nvPicPr>
          <p:cNvPr id="179" name="Picture 17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351883" y="5893445"/>
            <a:ext cx="270777" cy="129544"/>
          </a:xfrm>
          <a:prstGeom prst="rect">
            <a:avLst/>
          </a:prstGeom>
        </p:spPr>
      </p:pic>
      <p:pic>
        <p:nvPicPr>
          <p:cNvPr id="180" name="Picture 179"/>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516162" y="2074243"/>
            <a:ext cx="317881" cy="309405"/>
          </a:xfrm>
          <a:prstGeom prst="rect">
            <a:avLst/>
          </a:prstGeom>
        </p:spPr>
      </p:pic>
      <p:sp>
        <p:nvSpPr>
          <p:cNvPr id="181" name="Rectangle 180"/>
          <p:cNvSpPr/>
          <p:nvPr/>
        </p:nvSpPr>
        <p:spPr>
          <a:xfrm>
            <a:off x="6534686" y="1820056"/>
            <a:ext cx="627833" cy="225767"/>
          </a:xfrm>
          <a:prstGeom prst="rect">
            <a:avLst/>
          </a:prstGeom>
        </p:spPr>
        <p:txBody>
          <a:bodyPr wrap="square" lIns="121920" tIns="60960" rIns="121920" bIns="60960">
            <a:spAutoFit/>
          </a:bodyPr>
          <a:lstStyle/>
          <a:p>
            <a:pPr defTabSz="677400"/>
            <a:r>
              <a:rPr lang="en-US" altLang="en-US" sz="667" b="1" dirty="0">
                <a:solidFill>
                  <a:srgbClr val="002060"/>
                </a:solidFill>
              </a:rPr>
              <a:t>CRVP</a:t>
            </a:r>
          </a:p>
        </p:txBody>
      </p:sp>
      <p:sp>
        <p:nvSpPr>
          <p:cNvPr id="182" name="Rectangle 181"/>
          <p:cNvSpPr/>
          <p:nvPr/>
        </p:nvSpPr>
        <p:spPr>
          <a:xfrm>
            <a:off x="6126201" y="2087899"/>
            <a:ext cx="627833" cy="328423"/>
          </a:xfrm>
          <a:prstGeom prst="rect">
            <a:avLst/>
          </a:prstGeom>
        </p:spPr>
        <p:txBody>
          <a:bodyPr wrap="square" lIns="121920" tIns="60960" rIns="121920" bIns="60960">
            <a:spAutoFit/>
          </a:bodyPr>
          <a:lstStyle/>
          <a:p>
            <a:pPr defTabSz="677400"/>
            <a:r>
              <a:rPr lang="en-US" altLang="en-US" sz="667" b="1" dirty="0">
                <a:solidFill>
                  <a:srgbClr val="002060"/>
                </a:solidFill>
              </a:rPr>
              <a:t>Load Runner</a:t>
            </a:r>
          </a:p>
        </p:txBody>
      </p:sp>
      <p:pic>
        <p:nvPicPr>
          <p:cNvPr id="183" name="Picture 182"/>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928224" y="1758835"/>
            <a:ext cx="317881" cy="309405"/>
          </a:xfrm>
          <a:prstGeom prst="rect">
            <a:avLst/>
          </a:prstGeom>
        </p:spPr>
      </p:pic>
      <p:sp>
        <p:nvSpPr>
          <p:cNvPr id="184" name="Freeform 183"/>
          <p:cNvSpPr/>
          <p:nvPr/>
        </p:nvSpPr>
        <p:spPr>
          <a:xfrm>
            <a:off x="2875879" y="4292838"/>
            <a:ext cx="246632" cy="164860"/>
          </a:xfrm>
          <a:custGeom>
            <a:avLst/>
            <a:gdLst>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 name="connsiteX0" fmla="*/ 307181 w 395287"/>
              <a:gd name="connsiteY0" fmla="*/ 271463 h 271463"/>
              <a:gd name="connsiteX1" fmla="*/ 4762 w 395287"/>
              <a:gd name="connsiteY1" fmla="*/ 266700 h 271463"/>
              <a:gd name="connsiteX2" fmla="*/ 0 w 395287"/>
              <a:gd name="connsiteY2" fmla="*/ 2381 h 271463"/>
              <a:gd name="connsiteX3" fmla="*/ 392906 w 395287"/>
              <a:gd name="connsiteY3" fmla="*/ 0 h 271463"/>
              <a:gd name="connsiteX4" fmla="*/ 395287 w 395287"/>
              <a:gd name="connsiteY4" fmla="*/ 178594 h 271463"/>
              <a:gd name="connsiteX5" fmla="*/ 307181 w 395287"/>
              <a:gd name="connsiteY5" fmla="*/ 271463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7" h="271463">
                <a:moveTo>
                  <a:pt x="307181" y="271463"/>
                </a:moveTo>
                <a:lnTo>
                  <a:pt x="4762" y="266700"/>
                </a:lnTo>
                <a:cubicBezTo>
                  <a:pt x="3175" y="178594"/>
                  <a:pt x="1587" y="90487"/>
                  <a:pt x="0" y="2381"/>
                </a:cubicBezTo>
                <a:lnTo>
                  <a:pt x="392906" y="0"/>
                </a:lnTo>
                <a:cubicBezTo>
                  <a:pt x="393700" y="59531"/>
                  <a:pt x="394493" y="119063"/>
                  <a:pt x="395287" y="178594"/>
                </a:cubicBezTo>
                <a:cubicBezTo>
                  <a:pt x="339725" y="192881"/>
                  <a:pt x="312738" y="235745"/>
                  <a:pt x="307181" y="2714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endParaRPr lang="en-US" sz="1467" dirty="0">
              <a:solidFill>
                <a:prstClr val="white"/>
              </a:solidFill>
            </a:endParaRPr>
          </a:p>
        </p:txBody>
      </p:sp>
      <p:pic>
        <p:nvPicPr>
          <p:cNvPr id="185" name="Picture 18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57087" y="4232004"/>
            <a:ext cx="354531" cy="359649"/>
          </a:xfrm>
          <a:prstGeom prst="rect">
            <a:avLst/>
          </a:prstGeom>
        </p:spPr>
      </p:pic>
      <p:pic>
        <p:nvPicPr>
          <p:cNvPr id="186" name="Picture 18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75277" y="4828791"/>
            <a:ext cx="232505" cy="111235"/>
          </a:xfrm>
          <a:prstGeom prst="rect">
            <a:avLst/>
          </a:prstGeom>
        </p:spPr>
      </p:pic>
      <p:grpSp>
        <p:nvGrpSpPr>
          <p:cNvPr id="187" name="Group 186"/>
          <p:cNvGrpSpPr/>
          <p:nvPr/>
        </p:nvGrpSpPr>
        <p:grpSpPr>
          <a:xfrm>
            <a:off x="4246456" y="4471975"/>
            <a:ext cx="223761" cy="202383"/>
            <a:chOff x="6322928" y="5736087"/>
            <a:chExt cx="236532" cy="235885"/>
          </a:xfrm>
        </p:grpSpPr>
        <p:sp>
          <p:nvSpPr>
            <p:cNvPr id="188" name="Freeform 187"/>
            <p:cNvSpPr/>
            <p:nvPr/>
          </p:nvSpPr>
          <p:spPr>
            <a:xfrm>
              <a:off x="6327879" y="5750794"/>
              <a:ext cx="159771" cy="166967"/>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prstClr val="white"/>
                </a:solidFill>
              </a:endParaRPr>
            </a:p>
          </p:txBody>
        </p:sp>
        <p:pic>
          <p:nvPicPr>
            <p:cNvPr id="189" name="Picture 2" descr="C:\Users\Admin\Desktop\email-features-4.png"/>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322928" y="5736087"/>
              <a:ext cx="236532" cy="235885"/>
            </a:xfrm>
            <a:prstGeom prst="rect">
              <a:avLst/>
            </a:prstGeom>
            <a:noFill/>
            <a:ln>
              <a:noFill/>
            </a:ln>
          </p:spPr>
        </p:pic>
      </p:grpSp>
      <p:pic>
        <p:nvPicPr>
          <p:cNvPr id="190" name="Picture 18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971060" y="4476487"/>
            <a:ext cx="201225" cy="96269"/>
          </a:xfrm>
          <a:prstGeom prst="rect">
            <a:avLst/>
          </a:prstGeom>
        </p:spPr>
      </p:pic>
      <p:pic>
        <p:nvPicPr>
          <p:cNvPr id="191" name="Picture 190"/>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532278" y="4135383"/>
            <a:ext cx="317881" cy="309405"/>
          </a:xfrm>
          <a:prstGeom prst="rect">
            <a:avLst/>
          </a:prstGeom>
        </p:spPr>
      </p:pic>
      <p:pic>
        <p:nvPicPr>
          <p:cNvPr id="192" name="Picture 1" descr="image001"/>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451123" y="1175553"/>
            <a:ext cx="1304639" cy="421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 name="Rectangle 192"/>
          <p:cNvSpPr/>
          <p:nvPr/>
        </p:nvSpPr>
        <p:spPr>
          <a:xfrm>
            <a:off x="1916726" y="4610385"/>
            <a:ext cx="720701" cy="23313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Jenkins</a:t>
            </a:r>
          </a:p>
        </p:txBody>
      </p:sp>
      <p:pic>
        <p:nvPicPr>
          <p:cNvPr id="194" name="Picture 193"/>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288894" y="3541004"/>
            <a:ext cx="318991" cy="310485"/>
          </a:xfrm>
          <a:prstGeom prst="rect">
            <a:avLst/>
          </a:prstGeom>
          <a:noFill/>
          <a:ln>
            <a:noFill/>
          </a:ln>
        </p:spPr>
      </p:pic>
      <p:sp>
        <p:nvSpPr>
          <p:cNvPr id="195" name="Rectangle 194"/>
          <p:cNvSpPr/>
          <p:nvPr/>
        </p:nvSpPr>
        <p:spPr>
          <a:xfrm>
            <a:off x="5181600" y="3738661"/>
            <a:ext cx="549392" cy="299940"/>
          </a:xfrm>
          <a:prstGeom prst="rect">
            <a:avLst/>
          </a:prstGeom>
        </p:spPr>
        <p:txBody>
          <a:bodyPr wrap="square" lIns="0" tIns="0" rIns="0" bIns="0" anchor="ctr" anchorCtr="0">
            <a:noAutofit/>
          </a:bodyPr>
          <a:lstStyle/>
          <a:p>
            <a:pPr algn="ctr" defTabSz="677400"/>
            <a:r>
              <a:rPr lang="en-US" altLang="en-US" sz="667" b="1" dirty="0">
                <a:solidFill>
                  <a:srgbClr val="002060"/>
                </a:solidFill>
              </a:rPr>
              <a:t>CA DevTest</a:t>
            </a:r>
          </a:p>
        </p:txBody>
      </p:sp>
      <p:pic>
        <p:nvPicPr>
          <p:cNvPr id="196" name="Picture 195"/>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4532490" y="4992871"/>
            <a:ext cx="318991" cy="310485"/>
          </a:xfrm>
          <a:prstGeom prst="rect">
            <a:avLst/>
          </a:prstGeom>
          <a:noFill/>
          <a:ln>
            <a:noFill/>
          </a:ln>
        </p:spPr>
      </p:pic>
      <p:sp>
        <p:nvSpPr>
          <p:cNvPr id="197" name="Rectangle 196"/>
          <p:cNvSpPr/>
          <p:nvPr/>
        </p:nvSpPr>
        <p:spPr>
          <a:xfrm>
            <a:off x="4152214" y="5415687"/>
            <a:ext cx="1134301" cy="286896"/>
          </a:xfrm>
          <a:prstGeom prst="rect">
            <a:avLst/>
          </a:prstGeom>
          <a:ln>
            <a:noFill/>
          </a:ln>
        </p:spPr>
        <p:txBody>
          <a:bodyPr wrap="square" lIns="121920" tIns="60960" rIns="121920" bIns="60960" anchor="ctr">
            <a:noAutofit/>
          </a:bodyPr>
          <a:lstStyle/>
          <a:p>
            <a:pPr algn="ctr" defTabSz="677400"/>
            <a:r>
              <a:rPr lang="en-US" altLang="en-US" sz="667" b="1" dirty="0">
                <a:solidFill>
                  <a:srgbClr val="002060"/>
                </a:solidFill>
              </a:rPr>
              <a:t>Appium, Selenium, Dynatrace, SAST, CA DevTest</a:t>
            </a:r>
          </a:p>
        </p:txBody>
      </p:sp>
      <p:pic>
        <p:nvPicPr>
          <p:cNvPr id="198" name="Picture 197"/>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6153455" y="2876708"/>
            <a:ext cx="318991" cy="310485"/>
          </a:xfrm>
          <a:prstGeom prst="rect">
            <a:avLst/>
          </a:prstGeom>
          <a:noFill/>
          <a:ln>
            <a:noFill/>
          </a:ln>
        </p:spPr>
      </p:pic>
      <p:sp>
        <p:nvSpPr>
          <p:cNvPr id="199" name="Rectangle 198"/>
          <p:cNvSpPr/>
          <p:nvPr/>
        </p:nvSpPr>
        <p:spPr>
          <a:xfrm>
            <a:off x="5740387" y="3157196"/>
            <a:ext cx="1134301" cy="286896"/>
          </a:xfrm>
          <a:prstGeom prst="rect">
            <a:avLst/>
          </a:prstGeom>
          <a:ln>
            <a:noFill/>
          </a:ln>
        </p:spPr>
        <p:txBody>
          <a:bodyPr wrap="square" lIns="121920" tIns="60960" rIns="121920" bIns="60960" anchor="ctr">
            <a:noAutofit/>
          </a:bodyPr>
          <a:lstStyle/>
          <a:p>
            <a:pPr algn="ctr" defTabSz="677400"/>
            <a:r>
              <a:rPr lang="en-US" altLang="en-US" sz="667" b="1" dirty="0">
                <a:solidFill>
                  <a:srgbClr val="002060"/>
                </a:solidFill>
              </a:rPr>
              <a:t>Appium, Selenium, </a:t>
            </a:r>
          </a:p>
          <a:p>
            <a:pPr algn="ctr" defTabSz="677400"/>
            <a:r>
              <a:rPr lang="en-US" altLang="en-US" sz="667" b="1" dirty="0">
                <a:solidFill>
                  <a:srgbClr val="002060"/>
                </a:solidFill>
              </a:rPr>
              <a:t>CA DevTest</a:t>
            </a:r>
          </a:p>
        </p:txBody>
      </p:sp>
      <p:pic>
        <p:nvPicPr>
          <p:cNvPr id="200" name="Picture 199"/>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8597654" y="1675078"/>
            <a:ext cx="317881" cy="309405"/>
          </a:xfrm>
          <a:prstGeom prst="rect">
            <a:avLst/>
          </a:prstGeom>
        </p:spPr>
      </p:pic>
      <p:sp>
        <p:nvSpPr>
          <p:cNvPr id="201" name="Rectangle 200"/>
          <p:cNvSpPr/>
          <p:nvPr/>
        </p:nvSpPr>
        <p:spPr>
          <a:xfrm>
            <a:off x="8529273" y="1553101"/>
            <a:ext cx="627833" cy="225767"/>
          </a:xfrm>
          <a:prstGeom prst="rect">
            <a:avLst/>
          </a:prstGeom>
        </p:spPr>
        <p:txBody>
          <a:bodyPr wrap="square" lIns="121920" tIns="60960" rIns="121920" bIns="60960">
            <a:spAutoFit/>
          </a:bodyPr>
          <a:lstStyle/>
          <a:p>
            <a:pPr defTabSz="677400"/>
            <a:r>
              <a:rPr lang="en-US" altLang="en-US" sz="667" b="1" dirty="0">
                <a:solidFill>
                  <a:srgbClr val="002060"/>
                </a:solidFill>
              </a:rPr>
              <a:t>Fastest</a:t>
            </a:r>
          </a:p>
        </p:txBody>
      </p:sp>
      <p:pic>
        <p:nvPicPr>
          <p:cNvPr id="202" name="Picture 20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113164" y="2796260"/>
            <a:ext cx="201225" cy="96269"/>
          </a:xfrm>
          <a:prstGeom prst="rect">
            <a:avLst/>
          </a:prstGeom>
        </p:spPr>
      </p:pic>
      <p:pic>
        <p:nvPicPr>
          <p:cNvPr id="203" name="Picture 20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111442" y="2659210"/>
            <a:ext cx="201225" cy="96269"/>
          </a:xfrm>
          <a:prstGeom prst="rect">
            <a:avLst/>
          </a:prstGeom>
        </p:spPr>
      </p:pic>
      <p:sp>
        <p:nvSpPr>
          <p:cNvPr id="204" name="Rectangular Callout 203"/>
          <p:cNvSpPr/>
          <p:nvPr/>
        </p:nvSpPr>
        <p:spPr>
          <a:xfrm>
            <a:off x="10764017" y="4712976"/>
            <a:ext cx="1387025" cy="881165"/>
          </a:xfrm>
          <a:prstGeom prst="wedgeRectCallout">
            <a:avLst>
              <a:gd name="adj1" fmla="val -70330"/>
              <a:gd name="adj2" fmla="val -166622"/>
            </a:avLst>
          </a:prstGeom>
          <a:solidFill>
            <a:schemeClr val="bg1">
              <a:lumMod val="95000"/>
            </a:schemeClr>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dirty="0">
                <a:solidFill>
                  <a:prstClr val="black"/>
                </a:solidFill>
              </a:rPr>
              <a:t>Final Launch to production after the MVP is ready</a:t>
            </a:r>
          </a:p>
        </p:txBody>
      </p:sp>
      <p:sp>
        <p:nvSpPr>
          <p:cNvPr id="205" name="Rectangle 204"/>
          <p:cNvSpPr/>
          <p:nvPr/>
        </p:nvSpPr>
        <p:spPr>
          <a:xfrm>
            <a:off x="665683" y="2411286"/>
            <a:ext cx="447463" cy="23313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JIRA</a:t>
            </a:r>
          </a:p>
        </p:txBody>
      </p:sp>
      <p:pic>
        <p:nvPicPr>
          <p:cNvPr id="206" name="Picture 205"/>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711259" y="5818621"/>
            <a:ext cx="318991" cy="310485"/>
          </a:xfrm>
          <a:prstGeom prst="rect">
            <a:avLst/>
          </a:prstGeom>
          <a:noFill/>
          <a:ln>
            <a:noFill/>
          </a:ln>
        </p:spPr>
      </p:pic>
      <p:pic>
        <p:nvPicPr>
          <p:cNvPr id="207" name="Picture 206"/>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758469" y="2608783"/>
            <a:ext cx="318991" cy="310485"/>
          </a:xfrm>
          <a:prstGeom prst="rect">
            <a:avLst/>
          </a:prstGeom>
          <a:noFill/>
          <a:ln>
            <a:noFill/>
          </a:ln>
        </p:spPr>
      </p:pic>
      <p:pic>
        <p:nvPicPr>
          <p:cNvPr id="208" name="Picture 207"/>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8227314" y="2786295"/>
            <a:ext cx="317881" cy="309405"/>
          </a:xfrm>
          <a:prstGeom prst="rect">
            <a:avLst/>
          </a:prstGeom>
        </p:spPr>
      </p:pic>
      <p:sp>
        <p:nvSpPr>
          <p:cNvPr id="209" name="Rectangle 208"/>
          <p:cNvSpPr/>
          <p:nvPr/>
        </p:nvSpPr>
        <p:spPr>
          <a:xfrm>
            <a:off x="8435719" y="2704457"/>
            <a:ext cx="592316" cy="21238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Splunk</a:t>
            </a:r>
          </a:p>
        </p:txBody>
      </p:sp>
      <p:sp>
        <p:nvSpPr>
          <p:cNvPr id="210" name="Rectangle 209"/>
          <p:cNvSpPr/>
          <p:nvPr/>
        </p:nvSpPr>
        <p:spPr>
          <a:xfrm>
            <a:off x="8368840" y="2881451"/>
            <a:ext cx="720701" cy="23313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New Relic</a:t>
            </a:r>
          </a:p>
        </p:txBody>
      </p:sp>
      <p:sp>
        <p:nvSpPr>
          <p:cNvPr id="211" name="Rectangle 210"/>
          <p:cNvSpPr/>
          <p:nvPr/>
        </p:nvSpPr>
        <p:spPr>
          <a:xfrm>
            <a:off x="3228183" y="4997814"/>
            <a:ext cx="720701" cy="23313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Octopus</a:t>
            </a:r>
          </a:p>
        </p:txBody>
      </p:sp>
      <p:pic>
        <p:nvPicPr>
          <p:cNvPr id="212" name="Picture 211"/>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4035298" y="4015130"/>
            <a:ext cx="317881" cy="309405"/>
          </a:xfrm>
          <a:prstGeom prst="rect">
            <a:avLst/>
          </a:prstGeom>
        </p:spPr>
      </p:pic>
      <p:sp>
        <p:nvSpPr>
          <p:cNvPr id="213" name="Rectangle 212"/>
          <p:cNvSpPr/>
          <p:nvPr/>
        </p:nvSpPr>
        <p:spPr>
          <a:xfrm>
            <a:off x="3415160" y="4081302"/>
            <a:ext cx="720701" cy="233135"/>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GitBucket</a:t>
            </a:r>
          </a:p>
        </p:txBody>
      </p:sp>
      <p:sp>
        <p:nvSpPr>
          <p:cNvPr id="214" name="Rectangle 213"/>
          <p:cNvSpPr/>
          <p:nvPr/>
        </p:nvSpPr>
        <p:spPr>
          <a:xfrm>
            <a:off x="4152213" y="759119"/>
            <a:ext cx="3119392" cy="266676"/>
          </a:xfrm>
          <a:prstGeom prst="rect">
            <a:avLst/>
          </a:prstGeom>
        </p:spPr>
        <p:txBody>
          <a:bodyPr wrap="square" lIns="121920" tIns="60960" rIns="121920" bIns="60960">
            <a:spAutoFit/>
          </a:bodyPr>
          <a:lstStyle/>
          <a:p>
            <a:pPr algn="ctr" defTabSz="677400"/>
            <a:r>
              <a:rPr lang="en-US" altLang="en-US" sz="933" b="1" dirty="0">
                <a:solidFill>
                  <a:srgbClr val="002060"/>
                </a:solidFill>
              </a:rPr>
              <a:t>Cognizant DevOps Accelerators </a:t>
            </a:r>
          </a:p>
        </p:txBody>
      </p:sp>
      <p:pic>
        <p:nvPicPr>
          <p:cNvPr id="215" name="Picture 214"/>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360965" y="3018266"/>
            <a:ext cx="318991" cy="310485"/>
          </a:xfrm>
          <a:prstGeom prst="rect">
            <a:avLst/>
          </a:prstGeom>
          <a:noFill/>
          <a:ln>
            <a:noFill/>
          </a:ln>
        </p:spPr>
      </p:pic>
      <p:sp>
        <p:nvSpPr>
          <p:cNvPr id="216" name="Rectangle 215"/>
          <p:cNvSpPr/>
          <p:nvPr/>
        </p:nvSpPr>
        <p:spPr>
          <a:xfrm>
            <a:off x="5275720" y="3230661"/>
            <a:ext cx="549392" cy="299940"/>
          </a:xfrm>
          <a:prstGeom prst="rect">
            <a:avLst/>
          </a:prstGeom>
        </p:spPr>
        <p:txBody>
          <a:bodyPr wrap="square" lIns="0" tIns="0" rIns="0" bIns="0" anchor="ctr" anchorCtr="0">
            <a:noAutofit/>
          </a:bodyPr>
          <a:lstStyle/>
          <a:p>
            <a:pPr algn="ctr" defTabSz="677400"/>
            <a:r>
              <a:rPr lang="en-US" altLang="en-US" sz="667" b="1" dirty="0">
                <a:solidFill>
                  <a:srgbClr val="002060"/>
                </a:solidFill>
              </a:rPr>
              <a:t>OneTDM</a:t>
            </a:r>
          </a:p>
        </p:txBody>
      </p:sp>
      <p:grpSp>
        <p:nvGrpSpPr>
          <p:cNvPr id="217" name="Group 216"/>
          <p:cNvGrpSpPr/>
          <p:nvPr/>
        </p:nvGrpSpPr>
        <p:grpSpPr>
          <a:xfrm>
            <a:off x="3634258" y="4772241"/>
            <a:ext cx="223761" cy="202383"/>
            <a:chOff x="6322928" y="5736087"/>
            <a:chExt cx="236532" cy="235885"/>
          </a:xfrm>
        </p:grpSpPr>
        <p:sp>
          <p:nvSpPr>
            <p:cNvPr id="218" name="Freeform 217"/>
            <p:cNvSpPr/>
            <p:nvPr/>
          </p:nvSpPr>
          <p:spPr>
            <a:xfrm>
              <a:off x="6327879" y="5750794"/>
              <a:ext cx="159771" cy="166967"/>
            </a:xfrm>
            <a:custGeom>
              <a:avLst/>
              <a:gdLst>
                <a:gd name="connsiteX0" fmla="*/ 0 w 195263"/>
                <a:gd name="connsiteY0" fmla="*/ 0 h 280987"/>
                <a:gd name="connsiteX1" fmla="*/ 0 w 195263"/>
                <a:gd name="connsiteY1" fmla="*/ 280987 h 280987"/>
                <a:gd name="connsiteX2" fmla="*/ 188119 w 195263"/>
                <a:gd name="connsiteY2" fmla="*/ 280987 h 280987"/>
                <a:gd name="connsiteX3" fmla="*/ 195263 w 195263"/>
                <a:gd name="connsiteY3" fmla="*/ 64293 h 280987"/>
                <a:gd name="connsiteX4" fmla="*/ 150019 w 195263"/>
                <a:gd name="connsiteY4" fmla="*/ 0 h 280987"/>
                <a:gd name="connsiteX5" fmla="*/ 0 w 195263"/>
                <a:gd name="connsiteY5"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263" h="280987">
                  <a:moveTo>
                    <a:pt x="0" y="0"/>
                  </a:moveTo>
                  <a:lnTo>
                    <a:pt x="0" y="280987"/>
                  </a:lnTo>
                  <a:lnTo>
                    <a:pt x="188119" y="280987"/>
                  </a:lnTo>
                  <a:lnTo>
                    <a:pt x="195263" y="64293"/>
                  </a:lnTo>
                  <a:lnTo>
                    <a:pt x="150019"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prstClr val="white"/>
                </a:solidFill>
              </a:endParaRPr>
            </a:p>
          </p:txBody>
        </p:sp>
        <p:pic>
          <p:nvPicPr>
            <p:cNvPr id="219" name="Picture 2" descr="C:\Users\Admin\Desktop\email-features-4.png"/>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322928" y="5736087"/>
              <a:ext cx="236532" cy="235885"/>
            </a:xfrm>
            <a:prstGeom prst="rect">
              <a:avLst/>
            </a:prstGeom>
            <a:noFill/>
            <a:ln>
              <a:noFill/>
            </a:ln>
          </p:spPr>
        </p:pic>
      </p:grpSp>
      <p:sp>
        <p:nvSpPr>
          <p:cNvPr id="220" name="Rectangle 219"/>
          <p:cNvSpPr/>
          <p:nvPr/>
        </p:nvSpPr>
        <p:spPr>
          <a:xfrm>
            <a:off x="7642266" y="3328752"/>
            <a:ext cx="722263" cy="242649"/>
          </a:xfrm>
          <a:prstGeom prst="rect">
            <a:avLst/>
          </a:prstGeom>
          <a:ln>
            <a:noFill/>
          </a:ln>
        </p:spPr>
        <p:txBody>
          <a:bodyPr wrap="square" lIns="121920" tIns="60960" rIns="121920" bIns="60960" anchor="ctr">
            <a:noAutofit/>
          </a:bodyPr>
          <a:lstStyle/>
          <a:p>
            <a:pPr algn="ctr" defTabSz="677400"/>
            <a:r>
              <a:rPr lang="en-US" altLang="en-US" sz="667" b="1" dirty="0">
                <a:solidFill>
                  <a:schemeClr val="accent2">
                    <a:lumMod val="75000"/>
                  </a:schemeClr>
                </a:solidFill>
              </a:rPr>
              <a:t>Service now</a:t>
            </a:r>
          </a:p>
        </p:txBody>
      </p:sp>
      <p:pic>
        <p:nvPicPr>
          <p:cNvPr id="221" name="Picture 220"/>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8009851" y="3535763"/>
            <a:ext cx="318991" cy="310485"/>
          </a:xfrm>
          <a:prstGeom prst="rect">
            <a:avLst/>
          </a:prstGeom>
          <a:noFill/>
          <a:ln>
            <a:noFill/>
          </a:ln>
        </p:spPr>
      </p:pic>
      <p:sp>
        <p:nvSpPr>
          <p:cNvPr id="222" name="Rectangle 221"/>
          <p:cNvSpPr/>
          <p:nvPr/>
        </p:nvSpPr>
        <p:spPr>
          <a:xfrm>
            <a:off x="7781456" y="3909541"/>
            <a:ext cx="708848" cy="400302"/>
          </a:xfrm>
          <a:prstGeom prst="rect">
            <a:avLst/>
          </a:prstGeom>
        </p:spPr>
        <p:txBody>
          <a:bodyPr wrap="none">
            <a:spAutoFit/>
          </a:bodyPr>
          <a:lstStyle/>
          <a:p>
            <a:r>
              <a:rPr lang="en-US" sz="667" b="1" dirty="0">
                <a:solidFill>
                  <a:schemeClr val="accent2">
                    <a:lumMod val="75000"/>
                  </a:schemeClr>
                </a:solidFill>
              </a:rPr>
              <a:t>Sumologic</a:t>
            </a:r>
          </a:p>
          <a:p>
            <a:r>
              <a:rPr lang="en-US" sz="667" b="1" dirty="0" err="1">
                <a:solidFill>
                  <a:schemeClr val="accent2">
                    <a:lumMod val="75000"/>
                  </a:schemeClr>
                </a:solidFill>
              </a:rPr>
              <a:t>Dynatrace</a:t>
            </a:r>
            <a:endParaRPr lang="en-US" sz="667" b="1" dirty="0">
              <a:solidFill>
                <a:schemeClr val="accent2">
                  <a:lumMod val="75000"/>
                </a:schemeClr>
              </a:solidFill>
            </a:endParaRPr>
          </a:p>
          <a:p>
            <a:r>
              <a:rPr lang="en-US" sz="667" b="1" dirty="0">
                <a:solidFill>
                  <a:schemeClr val="accent2">
                    <a:lumMod val="75000"/>
                  </a:schemeClr>
                </a:solidFill>
              </a:rPr>
              <a:t>App Dynamics </a:t>
            </a:r>
          </a:p>
        </p:txBody>
      </p:sp>
    </p:spTree>
    <p:extLst>
      <p:ext uri="{BB962C8B-B14F-4D97-AF65-F5344CB8AC3E}">
        <p14:creationId xmlns:p14="http://schemas.microsoft.com/office/powerpoint/2010/main" val="160403184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1696700" cy="618385"/>
          </a:xfrm>
        </p:spPr>
        <p:txBody>
          <a:bodyPr>
            <a:normAutofit/>
          </a:bodyPr>
          <a:lstStyle/>
          <a:p>
            <a:r>
              <a:rPr lang="en-US" dirty="0"/>
              <a:t>The Two Pronged Approach to drive innovation @ Marriott</a:t>
            </a:r>
            <a:endParaRPr lang="en-US" dirty="0">
              <a:latin typeface="Calibri" panose="020F0502020204030204" pitchFamily="34" charset="0"/>
            </a:endParaRPr>
          </a:p>
        </p:txBody>
      </p:sp>
      <p:sp>
        <p:nvSpPr>
          <p:cNvPr id="15" name="Rectangle 14"/>
          <p:cNvSpPr/>
          <p:nvPr/>
        </p:nvSpPr>
        <p:spPr>
          <a:xfrm>
            <a:off x="7829550" y="4872038"/>
            <a:ext cx="4186238" cy="128587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6" name="Rectangle 15"/>
          <p:cNvSpPr/>
          <p:nvPr/>
        </p:nvSpPr>
        <p:spPr>
          <a:xfrm>
            <a:off x="212558" y="2524279"/>
            <a:ext cx="5520585" cy="1477750"/>
          </a:xfrm>
          <a:prstGeom prst="rect">
            <a:avLst/>
          </a:prstGeom>
          <a:ln>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Rectangle 16"/>
          <p:cNvSpPr/>
          <p:nvPr/>
        </p:nvSpPr>
        <p:spPr>
          <a:xfrm>
            <a:off x="5878291" y="2528871"/>
            <a:ext cx="6126944" cy="1473158"/>
          </a:xfrm>
          <a:prstGeom prst="rect">
            <a:avLst/>
          </a:prstGeom>
          <a:ln>
            <a:solidFill>
              <a:schemeClr val="tx1">
                <a:lumMod val="65000"/>
                <a:lumOff val="3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8" name="Rectangle 17"/>
          <p:cNvSpPr/>
          <p:nvPr/>
        </p:nvSpPr>
        <p:spPr>
          <a:xfrm>
            <a:off x="156414" y="694114"/>
            <a:ext cx="11743765" cy="369332"/>
          </a:xfrm>
          <a:prstGeom prst="rect">
            <a:avLst/>
          </a:prstGeom>
        </p:spPr>
        <p:txBody>
          <a:bodyPr wrap="square">
            <a:spAutoFit/>
          </a:bodyPr>
          <a:lstStyle/>
          <a:p>
            <a:r>
              <a:rPr lang="en-US" dirty="0" smtClean="0">
                <a:solidFill>
                  <a:srgbClr val="000000"/>
                </a:solidFill>
                <a:latin typeface="Arial" panose="020B0604020202020204" pitchFamily="34" charset="0"/>
                <a:ea typeface="Times New Roman" panose="02020603050405020304" pitchFamily="18" charset="0"/>
              </a:rPr>
              <a:t>Cognizant offers a </a:t>
            </a:r>
            <a:r>
              <a:rPr lang="en-US" dirty="0">
                <a:solidFill>
                  <a:srgbClr val="000000"/>
                </a:solidFill>
                <a:latin typeface="Arial" panose="020B0604020202020204" pitchFamily="34" charset="0"/>
                <a:ea typeface="Times New Roman" panose="02020603050405020304" pitchFamily="18" charset="0"/>
              </a:rPr>
              <a:t>complete infrastructure for </a:t>
            </a:r>
            <a:r>
              <a:rPr lang="en-US" dirty="0" smtClean="0">
                <a:solidFill>
                  <a:srgbClr val="000000"/>
                </a:solidFill>
                <a:latin typeface="Arial" panose="020B0604020202020204" pitchFamily="34" charset="0"/>
                <a:ea typeface="Times New Roman" panose="02020603050405020304" pitchFamily="18" charset="0"/>
              </a:rPr>
              <a:t>a well-governed</a:t>
            </a:r>
            <a:r>
              <a:rPr lang="en-US" dirty="0">
                <a:solidFill>
                  <a:srgbClr val="000000"/>
                </a:solidFill>
                <a:latin typeface="Arial" panose="020B0604020202020204" pitchFamily="34" charset="0"/>
                <a:ea typeface="Times New Roman" panose="02020603050405020304" pitchFamily="18" charset="0"/>
              </a:rPr>
              <a:t>, measurable </a:t>
            </a:r>
            <a:r>
              <a:rPr lang="en-US" dirty="0" smtClean="0">
                <a:solidFill>
                  <a:srgbClr val="000000"/>
                </a:solidFill>
                <a:latin typeface="Arial" panose="020B0604020202020204" pitchFamily="34" charset="0"/>
                <a:ea typeface="Times New Roman" panose="02020603050405020304" pitchFamily="18" charset="0"/>
              </a:rPr>
              <a:t>and continuous </a:t>
            </a:r>
            <a:r>
              <a:rPr lang="en-US" dirty="0">
                <a:solidFill>
                  <a:srgbClr val="000000"/>
                </a:solidFill>
                <a:latin typeface="Arial" panose="020B0604020202020204" pitchFamily="34" charset="0"/>
                <a:ea typeface="Times New Roman" panose="02020603050405020304" pitchFamily="18" charset="0"/>
              </a:rPr>
              <a:t>innovation program</a:t>
            </a:r>
            <a:endParaRPr lang="en-US" dirty="0"/>
          </a:p>
        </p:txBody>
      </p:sp>
      <p:sp>
        <p:nvSpPr>
          <p:cNvPr id="19" name="Rectangle 18"/>
          <p:cNvSpPr/>
          <p:nvPr/>
        </p:nvSpPr>
        <p:spPr>
          <a:xfrm>
            <a:off x="990600" y="1204556"/>
            <a:ext cx="4495800" cy="660975"/>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0" name="TextBox 19"/>
          <p:cNvSpPr txBox="1"/>
          <p:nvPr/>
        </p:nvSpPr>
        <p:spPr>
          <a:xfrm>
            <a:off x="1046747" y="1204971"/>
            <a:ext cx="4419600" cy="584775"/>
          </a:xfrm>
          <a:prstGeom prst="rect">
            <a:avLst/>
          </a:prstGeom>
          <a:noFill/>
        </p:spPr>
        <p:txBody>
          <a:bodyPr wrap="square" rtlCol="0">
            <a:spAutoFit/>
          </a:bodyPr>
          <a:lstStyle/>
          <a:p>
            <a:pPr algn="ctr"/>
            <a:r>
              <a:rPr lang="en-US" sz="1600" dirty="0" smtClean="0">
                <a:solidFill>
                  <a:schemeClr val="bg1"/>
                </a:solidFill>
              </a:rPr>
              <a:t>Bottom Up Approach</a:t>
            </a:r>
          </a:p>
          <a:p>
            <a:pPr algn="ctr"/>
            <a:r>
              <a:rPr lang="en-US" sz="1600" dirty="0" smtClean="0">
                <a:solidFill>
                  <a:schemeClr val="bg1"/>
                </a:solidFill>
              </a:rPr>
              <a:t>Run Better</a:t>
            </a:r>
          </a:p>
        </p:txBody>
      </p:sp>
      <p:sp>
        <p:nvSpPr>
          <p:cNvPr id="21" name="Rectangle 20"/>
          <p:cNvSpPr/>
          <p:nvPr/>
        </p:nvSpPr>
        <p:spPr>
          <a:xfrm>
            <a:off x="6553200" y="1200405"/>
            <a:ext cx="4533900" cy="660975"/>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2" name="TextBox 21"/>
          <p:cNvSpPr txBox="1"/>
          <p:nvPr/>
        </p:nvSpPr>
        <p:spPr>
          <a:xfrm>
            <a:off x="6629400" y="1216028"/>
            <a:ext cx="4419600" cy="584775"/>
          </a:xfrm>
          <a:prstGeom prst="rect">
            <a:avLst/>
          </a:prstGeom>
          <a:noFill/>
        </p:spPr>
        <p:txBody>
          <a:bodyPr wrap="square" rtlCol="0">
            <a:spAutoFit/>
          </a:bodyPr>
          <a:lstStyle/>
          <a:p>
            <a:pPr algn="ctr"/>
            <a:r>
              <a:rPr lang="en-US" sz="1600" dirty="0" smtClean="0">
                <a:solidFill>
                  <a:schemeClr val="bg1"/>
                </a:solidFill>
              </a:rPr>
              <a:t>Top Down Approach</a:t>
            </a:r>
          </a:p>
          <a:p>
            <a:pPr algn="ctr"/>
            <a:r>
              <a:rPr lang="en-US" sz="1600" dirty="0" smtClean="0">
                <a:solidFill>
                  <a:schemeClr val="bg1"/>
                </a:solidFill>
              </a:rPr>
              <a:t>Run Different</a:t>
            </a:r>
          </a:p>
        </p:txBody>
      </p:sp>
      <p:sp>
        <p:nvSpPr>
          <p:cNvPr id="23" name="Flowchart: Off-page Connector 22"/>
          <p:cNvSpPr/>
          <p:nvPr/>
        </p:nvSpPr>
        <p:spPr>
          <a:xfrm>
            <a:off x="990600" y="1905000"/>
            <a:ext cx="10112266" cy="521284"/>
          </a:xfrm>
          <a:prstGeom prst="flowChartOffpageConnector">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1600" dirty="0" smtClean="0"/>
              <a:t>Managed Innovation Framework</a:t>
            </a:r>
            <a:endParaRPr lang="en-US" sz="1600" dirty="0"/>
          </a:p>
        </p:txBody>
      </p:sp>
      <p:sp>
        <p:nvSpPr>
          <p:cNvPr id="24" name="TextBox 23"/>
          <p:cNvSpPr txBox="1"/>
          <p:nvPr/>
        </p:nvSpPr>
        <p:spPr>
          <a:xfrm>
            <a:off x="315691" y="2708848"/>
            <a:ext cx="5417452" cy="1200329"/>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b="1"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Creating </a:t>
            </a:r>
            <a:r>
              <a:rPr lang="en-US" sz="1400" b="1"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a culture of </a:t>
            </a:r>
            <a:r>
              <a:rPr lang="en-US" sz="1400" b="1"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nnovation</a:t>
            </a:r>
          </a:p>
          <a:p>
            <a:endParaRPr lang="en-US" sz="14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nnovation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Awareness </a:t>
            </a:r>
            <a:endPar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nnovation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Skill Development </a:t>
            </a: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Programs</a:t>
            </a:r>
          </a:p>
          <a:p>
            <a:pPr marL="228600" lvl="1" indent="-228600">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Building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Creative Confidence </a:t>
            </a:r>
            <a:endPar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Rewards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amp; Recognition </a:t>
            </a: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Program</a:t>
            </a:r>
            <a:endPar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TextBox 24"/>
          <p:cNvSpPr txBox="1"/>
          <p:nvPr/>
        </p:nvSpPr>
        <p:spPr>
          <a:xfrm>
            <a:off x="6023429" y="2622418"/>
            <a:ext cx="5981806" cy="1200329"/>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b="1"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Come up with </a:t>
            </a:r>
            <a:r>
              <a:rPr lang="en-US" sz="1400" b="1"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disruptive </a:t>
            </a:r>
            <a:r>
              <a:rPr lang="en-US" sz="1400" b="1"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deas that make a difference to </a:t>
            </a:r>
            <a:r>
              <a:rPr lang="en-US" sz="1400" b="1"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Business/IT</a:t>
            </a:r>
          </a:p>
          <a:p>
            <a:endParaRPr lang="en-US" sz="14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lgn="just">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Monitoring industry trends,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analyzing data, researching user </a:t>
            </a: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behaviors</a:t>
            </a:r>
            <a:endPar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lgn="just">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dentifying essential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areas where </a:t>
            </a: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process </a:t>
            </a:r>
            <a:r>
              <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transformation could have a major </a:t>
            </a: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impact</a:t>
            </a:r>
            <a:endPar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marL="228600" lvl="1" indent="-228600" algn="just">
              <a:buFont typeface="Wingdings" panose="05000000000000000000" pitchFamily="2" charset="2"/>
              <a:buChar char="§"/>
            </a:pPr>
            <a:r>
              <a:rPr lang="en-US" sz="1100" dirty="0" smtClea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rPr>
              <a:t>Discovering, curating, triaging and acting on new ideas for process, product and experience change</a:t>
            </a:r>
            <a:endParaRPr lang="en-US" sz="1100" dirty="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TextBox 25"/>
          <p:cNvSpPr txBox="1"/>
          <p:nvPr/>
        </p:nvSpPr>
        <p:spPr>
          <a:xfrm>
            <a:off x="220579" y="4052931"/>
            <a:ext cx="11784656" cy="369332"/>
          </a:xfrm>
          <a:prstGeom prst="rect">
            <a:avLst/>
          </a:prstGeom>
          <a:ln/>
        </p:spPr>
        <p:style>
          <a:lnRef idx="3">
            <a:schemeClr val="lt1"/>
          </a:lnRef>
          <a:fillRef idx="1">
            <a:schemeClr val="accent2"/>
          </a:fillRef>
          <a:effectRef idx="1">
            <a:schemeClr val="accent2"/>
          </a:effectRef>
          <a:fontRef idx="minor">
            <a:schemeClr val="lt1"/>
          </a:fontRef>
        </p:style>
        <p:txBody>
          <a:bodyPr wrap="square" rtlCol="0" anchor="ctr">
            <a:spAutoFit/>
          </a:bodyPr>
          <a:lstStyle/>
          <a:p>
            <a:pPr algn="ctr"/>
            <a:r>
              <a:rPr lang="en-US" sz="14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Creating </a:t>
            </a: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an Environment for </a:t>
            </a:r>
            <a:r>
              <a:rPr lang="en-US" sz="14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Innovation </a:t>
            </a:r>
            <a:r>
              <a:rPr lang="en-US"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a:t>
            </a:r>
            <a:r>
              <a:rPr lang="en-US" sz="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Innovation Process, Global Innovation Ecosystem &amp; Enterprise-wide </a:t>
            </a: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Innovation Management </a:t>
            </a:r>
            <a:r>
              <a:rPr lang="en-US" sz="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System)</a:t>
            </a:r>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3776" y="4843351"/>
            <a:ext cx="2049649" cy="1478139"/>
          </a:xfrm>
          <a:prstGeom prst="rect">
            <a:avLst/>
          </a:prstGeom>
          <a:ln>
            <a:solidFill>
              <a:schemeClr val="tx2"/>
            </a:solidFill>
          </a:ln>
        </p:spPr>
      </p:pic>
      <p:sp>
        <p:nvSpPr>
          <p:cNvPr id="28" name="TextBox 27"/>
          <p:cNvSpPr txBox="1"/>
          <p:nvPr/>
        </p:nvSpPr>
        <p:spPr>
          <a:xfrm>
            <a:off x="1584197" y="4475494"/>
            <a:ext cx="4419600" cy="338554"/>
          </a:xfrm>
          <a:prstGeom prst="rect">
            <a:avLst/>
          </a:prstGeom>
          <a:noFill/>
        </p:spPr>
        <p:txBody>
          <a:bodyPr wrap="square" rtlCol="0">
            <a:spAutoFit/>
          </a:bodyPr>
          <a:lstStyle/>
          <a:p>
            <a:pPr algn="ctr"/>
            <a:r>
              <a:rPr lang="en-US" sz="1600" b="1" dirty="0"/>
              <a:t>Our Global Innovation Ecosystem</a:t>
            </a:r>
          </a:p>
        </p:txBody>
      </p:sp>
      <p:sp>
        <p:nvSpPr>
          <p:cNvPr id="29" name="TextBox 28"/>
          <p:cNvSpPr txBox="1"/>
          <p:nvPr/>
        </p:nvSpPr>
        <p:spPr>
          <a:xfrm>
            <a:off x="175637" y="4878537"/>
            <a:ext cx="2292070" cy="307777"/>
          </a:xfrm>
          <a:prstGeom prst="rect">
            <a:avLst/>
          </a:prstGeom>
          <a:noFill/>
        </p:spPr>
        <p:txBody>
          <a:bodyPr wrap="square" rtlCol="0">
            <a:spAutoFit/>
          </a:bodyPr>
          <a:lstStyle/>
          <a:p>
            <a:r>
              <a:rPr lang="en-US" sz="1400" b="1" dirty="0">
                <a:solidFill>
                  <a:srgbClr val="000000"/>
                </a:solidFill>
                <a:latin typeface="Calibiri"/>
                <a:ea typeface="Segoe UI" panose="020B0502040204020203" pitchFamily="34" charset="0"/>
                <a:cs typeface="Segoe UI" panose="020B0502040204020203" pitchFamily="34" charset="0"/>
              </a:rPr>
              <a:t>1550</a:t>
            </a:r>
            <a:r>
              <a:rPr lang="en-US" sz="1200" dirty="0">
                <a:solidFill>
                  <a:srgbClr val="000000"/>
                </a:solidFill>
                <a:latin typeface="Calibiri"/>
                <a:ea typeface="Segoe UI" panose="020B0502040204020203" pitchFamily="34" charset="0"/>
                <a:cs typeface="Segoe UI" panose="020B0502040204020203" pitchFamily="34" charset="0"/>
              </a:rPr>
              <a:t> Technology </a:t>
            </a:r>
            <a:r>
              <a:rPr lang="en-US" sz="1200" dirty="0" smtClean="0">
                <a:solidFill>
                  <a:srgbClr val="000000"/>
                </a:solidFill>
                <a:latin typeface="Calibiri"/>
                <a:ea typeface="Segoe UI" panose="020B0502040204020203" pitchFamily="34" charset="0"/>
                <a:cs typeface="Segoe UI" panose="020B0502040204020203" pitchFamily="34" charset="0"/>
              </a:rPr>
              <a:t>Vendors</a:t>
            </a:r>
            <a:endParaRPr lang="en-US" sz="1200" dirty="0">
              <a:solidFill>
                <a:srgbClr val="000000"/>
              </a:solidFill>
              <a:latin typeface="Calibiri"/>
              <a:ea typeface="Segoe UI" panose="020B0502040204020203" pitchFamily="34" charset="0"/>
              <a:cs typeface="Segoe UI" panose="020B0502040204020203" pitchFamily="34" charset="0"/>
            </a:endParaRPr>
          </a:p>
        </p:txBody>
      </p:sp>
      <p:sp>
        <p:nvSpPr>
          <p:cNvPr id="30" name="TextBox 29"/>
          <p:cNvSpPr txBox="1"/>
          <p:nvPr/>
        </p:nvSpPr>
        <p:spPr>
          <a:xfrm>
            <a:off x="197194" y="5127269"/>
            <a:ext cx="2292070" cy="307777"/>
          </a:xfrm>
          <a:prstGeom prst="rect">
            <a:avLst/>
          </a:prstGeom>
          <a:noFill/>
        </p:spPr>
        <p:txBody>
          <a:bodyPr wrap="square" rtlCol="0">
            <a:spAutoFit/>
          </a:bodyPr>
          <a:lstStyle/>
          <a:p>
            <a:r>
              <a:rPr lang="en-US" sz="1400" b="1" dirty="0">
                <a:solidFill>
                  <a:srgbClr val="000000"/>
                </a:solidFill>
                <a:latin typeface="Calibiri"/>
                <a:ea typeface="Segoe UI" panose="020B0502040204020203" pitchFamily="34" charset="0"/>
                <a:cs typeface="Segoe UI" panose="020B0502040204020203" pitchFamily="34" charset="0"/>
              </a:rPr>
              <a:t>24 </a:t>
            </a:r>
            <a:r>
              <a:rPr lang="en-US" sz="1200" dirty="0">
                <a:solidFill>
                  <a:srgbClr val="000000"/>
                </a:solidFill>
                <a:latin typeface="Calibiri"/>
                <a:ea typeface="Segoe UI" panose="020B0502040204020203" pitchFamily="34" charset="0"/>
                <a:cs typeface="Segoe UI" panose="020B0502040204020203" pitchFamily="34" charset="0"/>
              </a:rPr>
              <a:t>Academic Institutions</a:t>
            </a:r>
          </a:p>
        </p:txBody>
      </p:sp>
      <p:sp>
        <p:nvSpPr>
          <p:cNvPr id="31" name="TextBox 30"/>
          <p:cNvSpPr txBox="1"/>
          <p:nvPr/>
        </p:nvSpPr>
        <p:spPr>
          <a:xfrm>
            <a:off x="197194" y="5368326"/>
            <a:ext cx="2392333" cy="307777"/>
          </a:xfrm>
          <a:prstGeom prst="rect">
            <a:avLst/>
          </a:prstGeom>
          <a:noFill/>
        </p:spPr>
        <p:txBody>
          <a:bodyPr wrap="square" rtlCol="0">
            <a:spAutoFit/>
          </a:bodyPr>
          <a:lstStyle/>
          <a:p>
            <a:r>
              <a:rPr lang="en-US" sz="1400" b="1" dirty="0">
                <a:solidFill>
                  <a:srgbClr val="000000"/>
                </a:solidFill>
                <a:latin typeface="Calibiri"/>
                <a:ea typeface="Segoe UI" panose="020B0502040204020203" pitchFamily="34" charset="0"/>
                <a:cs typeface="Segoe UI" panose="020B0502040204020203" pitchFamily="34" charset="0"/>
              </a:rPr>
              <a:t>3</a:t>
            </a:r>
            <a:r>
              <a:rPr lang="en-US" sz="1400" b="1" dirty="0" smtClean="0">
                <a:solidFill>
                  <a:srgbClr val="000000"/>
                </a:solidFill>
                <a:latin typeface="Calibiri"/>
                <a:ea typeface="Segoe UI" panose="020B0502040204020203" pitchFamily="34" charset="0"/>
                <a:cs typeface="Segoe UI" panose="020B0502040204020203" pitchFamily="34" charset="0"/>
              </a:rPr>
              <a:t>4 </a:t>
            </a: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Accelerators and Incubators</a:t>
            </a:r>
            <a:endParaRPr lang="en-US" sz="1200" dirty="0">
              <a:solidFill>
                <a:srgbClr val="000000"/>
              </a:solidFill>
              <a:latin typeface="Calibiri"/>
              <a:ea typeface="Segoe UI" panose="020B0502040204020203" pitchFamily="34" charset="0"/>
              <a:cs typeface="Segoe UI" panose="020B0502040204020203" pitchFamily="34" charset="0"/>
            </a:endParaRPr>
          </a:p>
        </p:txBody>
      </p:sp>
      <p:sp>
        <p:nvSpPr>
          <p:cNvPr id="32" name="TextBox 31"/>
          <p:cNvSpPr txBox="1"/>
          <p:nvPr/>
        </p:nvSpPr>
        <p:spPr>
          <a:xfrm>
            <a:off x="225768" y="5652244"/>
            <a:ext cx="2392333" cy="307777"/>
          </a:xfrm>
          <a:prstGeom prst="rect">
            <a:avLst/>
          </a:prstGeom>
          <a:noFill/>
        </p:spPr>
        <p:txBody>
          <a:bodyPr wrap="square" rtlCol="0">
            <a:spAutoFit/>
          </a:bodyPr>
          <a:lstStyle/>
          <a:p>
            <a:r>
              <a:rPr lang="en-US" sz="1400" b="1" dirty="0" smtClean="0">
                <a:solidFill>
                  <a:srgbClr val="000000"/>
                </a:solidFill>
                <a:latin typeface="Calibiri"/>
                <a:ea typeface="Segoe UI" panose="020B0502040204020203" pitchFamily="34" charset="0"/>
                <a:cs typeface="Segoe UI" panose="020B0502040204020203" pitchFamily="34" charset="0"/>
              </a:rPr>
              <a:t>80 </a:t>
            </a: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VCs and other Investors</a:t>
            </a:r>
            <a:endParaRPr lang="en-US" sz="1200" dirty="0">
              <a:solidFill>
                <a:srgbClr val="000000"/>
              </a:solidFill>
              <a:latin typeface="Calibiri"/>
              <a:ea typeface="Segoe UI" panose="020B0502040204020203" pitchFamily="34" charset="0"/>
              <a:cs typeface="Segoe UI" panose="020B0502040204020203" pitchFamily="34" charset="0"/>
            </a:endParaRPr>
          </a:p>
        </p:txBody>
      </p:sp>
      <p:sp>
        <p:nvSpPr>
          <p:cNvPr id="33" name="TextBox 32"/>
          <p:cNvSpPr txBox="1"/>
          <p:nvPr/>
        </p:nvSpPr>
        <p:spPr>
          <a:xfrm>
            <a:off x="225767" y="5943839"/>
            <a:ext cx="2392333" cy="307777"/>
          </a:xfrm>
          <a:prstGeom prst="rect">
            <a:avLst/>
          </a:prstGeom>
          <a:noFill/>
        </p:spPr>
        <p:txBody>
          <a:bodyPr wrap="square" rtlCol="0">
            <a:spAutoFit/>
          </a:bodyPr>
          <a:lstStyle/>
          <a:p>
            <a:r>
              <a:rPr lang="en-US" sz="1400" b="1" dirty="0" smtClean="0">
                <a:solidFill>
                  <a:srgbClr val="000000"/>
                </a:solidFill>
                <a:latin typeface="Calibiri"/>
                <a:ea typeface="Segoe UI" panose="020B0502040204020203" pitchFamily="34" charset="0"/>
                <a:cs typeface="Segoe UI" panose="020B0502040204020203" pitchFamily="34" charset="0"/>
              </a:rPr>
              <a:t>11 </a:t>
            </a:r>
            <a:r>
              <a:rPr lang="en-US" sz="1200" dirty="0">
                <a:solidFill>
                  <a:srgbClr val="000000"/>
                </a:solidFill>
                <a:latin typeface="Segoe UI" panose="020B0502040204020203" pitchFamily="34" charset="0"/>
                <a:ea typeface="Segoe UI" panose="020B0502040204020203" pitchFamily="34" charset="0"/>
                <a:cs typeface="Segoe UI" panose="020B0502040204020203" pitchFamily="34" charset="0"/>
              </a:rPr>
              <a:t>Government Bodies</a:t>
            </a:r>
          </a:p>
        </p:txBody>
      </p:sp>
      <p:sp>
        <p:nvSpPr>
          <p:cNvPr id="34" name="TextBox 33"/>
          <p:cNvSpPr txBox="1"/>
          <p:nvPr/>
        </p:nvSpPr>
        <p:spPr>
          <a:xfrm>
            <a:off x="6828550" y="4475494"/>
            <a:ext cx="4419600" cy="338554"/>
          </a:xfrm>
          <a:prstGeom prst="rect">
            <a:avLst/>
          </a:prstGeom>
          <a:noFill/>
        </p:spPr>
        <p:txBody>
          <a:bodyPr wrap="square" rtlCol="0">
            <a:spAutoFit/>
          </a:bodyPr>
          <a:lstStyle/>
          <a:p>
            <a:pPr algn="ctr"/>
            <a:r>
              <a:rPr lang="en-US" sz="1600" b="1" dirty="0"/>
              <a:t>Manage Innovations through Cognizant </a:t>
            </a:r>
            <a:r>
              <a:rPr lang="en-US" sz="1600" b="1" dirty="0" err="1"/>
              <a:t>iSpace</a:t>
            </a:r>
            <a:r>
              <a:rPr lang="en-US" sz="1600" b="1" dirty="0"/>
              <a:t> 2.0</a:t>
            </a:r>
            <a:endParaRPr lang="en-US" sz="1600" b="1" dirty="0" smtClean="0">
              <a:solidFill>
                <a:schemeClr val="tx2"/>
              </a:solidFill>
            </a:endParaRPr>
          </a:p>
        </p:txBody>
      </p:sp>
      <p:grpSp>
        <p:nvGrpSpPr>
          <p:cNvPr id="35" name="Group 34"/>
          <p:cNvGrpSpPr/>
          <p:nvPr/>
        </p:nvGrpSpPr>
        <p:grpSpPr>
          <a:xfrm>
            <a:off x="6010483" y="4908734"/>
            <a:ext cx="1619043" cy="1203245"/>
            <a:chOff x="5796171" y="5080184"/>
            <a:chExt cx="1619043" cy="1203245"/>
          </a:xfrm>
        </p:grpSpPr>
        <p:sp>
          <p:nvSpPr>
            <p:cNvPr id="36" name="Rectangle 35"/>
            <p:cNvSpPr/>
            <p:nvPr/>
          </p:nvSpPr>
          <p:spPr>
            <a:xfrm>
              <a:off x="6629400" y="5504759"/>
              <a:ext cx="465082" cy="6615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7" name="Picture 36"/>
            <p:cNvPicPr>
              <a:picLocks noChangeAspect="1"/>
            </p:cNvPicPr>
            <p:nvPr/>
          </p:nvPicPr>
          <p:blipFill rotWithShape="1">
            <a:blip r:embed="rId4" cstate="email">
              <a:biLevel thresh="75000"/>
              <a:extLst>
                <a:ext uri="{28A0092B-C50C-407E-A947-70E740481C1C}">
                  <a14:useLocalDpi xmlns:a14="http://schemas.microsoft.com/office/drawing/2010/main"/>
                </a:ext>
              </a:extLst>
            </a:blip>
            <a:srcRect l="15222" t="7333" r="14804" b="6054"/>
            <a:stretch/>
          </p:blipFill>
          <p:spPr>
            <a:xfrm>
              <a:off x="7069000" y="5451539"/>
              <a:ext cx="346214" cy="412857"/>
            </a:xfrm>
            <a:prstGeom prst="rect">
              <a:avLst/>
            </a:prstGeom>
          </p:spPr>
        </p:pic>
        <p:pic>
          <p:nvPicPr>
            <p:cNvPr id="38" name="Picture 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6171" y="5080184"/>
              <a:ext cx="1289753" cy="1203245"/>
            </a:xfrm>
            <a:prstGeom prst="rect">
              <a:avLst/>
            </a:prstGeom>
          </p:spPr>
        </p:pic>
        <p:sp>
          <p:nvSpPr>
            <p:cNvPr id="39" name="Rectangle 38"/>
            <p:cNvSpPr/>
            <p:nvPr/>
          </p:nvSpPr>
          <p:spPr>
            <a:xfrm>
              <a:off x="6197987" y="5340176"/>
              <a:ext cx="581523" cy="6178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6162438" y="5341084"/>
              <a:ext cx="652621" cy="652621"/>
            </a:xfrm>
            <a:prstGeom prst="rect">
              <a:avLst/>
            </a:prstGeom>
          </p:spPr>
        </p:pic>
      </p:grpSp>
      <p:sp>
        <p:nvSpPr>
          <p:cNvPr id="41" name="TextBox 40"/>
          <p:cNvSpPr txBox="1"/>
          <p:nvPr/>
        </p:nvSpPr>
        <p:spPr>
          <a:xfrm>
            <a:off x="7905174" y="4864249"/>
            <a:ext cx="4286826" cy="1315745"/>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en-US" sz="1200" dirty="0">
                <a:solidFill>
                  <a:srgbClr val="000000"/>
                </a:solidFill>
                <a:latin typeface="Calibiri"/>
                <a:ea typeface="Segoe UI" panose="020B0502040204020203" pitchFamily="34" charset="0"/>
                <a:cs typeface="Segoe UI" panose="020B0502040204020203" pitchFamily="34" charset="0"/>
              </a:rPr>
              <a:t>Rich and Intuitive </a:t>
            </a:r>
            <a:r>
              <a:rPr lang="en-US" sz="1200" dirty="0" smtClean="0">
                <a:solidFill>
                  <a:srgbClr val="000000"/>
                </a:solidFill>
                <a:latin typeface="Calibiri"/>
                <a:ea typeface="Segoe UI" panose="020B0502040204020203" pitchFamily="34" charset="0"/>
                <a:cs typeface="Segoe UI" panose="020B0502040204020203" pitchFamily="34" charset="0"/>
              </a:rPr>
              <a:t>UI</a:t>
            </a:r>
          </a:p>
          <a:p>
            <a:pPr marL="285750" indent="-285750">
              <a:spcBef>
                <a:spcPts val="300"/>
              </a:spcBef>
              <a:buFont typeface="Arial" panose="020B0604020202020204" pitchFamily="34" charset="0"/>
              <a:buChar char="•"/>
            </a:pPr>
            <a:r>
              <a:rPr lang="en-US" sz="1200" dirty="0">
                <a:solidFill>
                  <a:srgbClr val="000000"/>
                </a:solidFill>
                <a:latin typeface="Calibiri"/>
                <a:ea typeface="Segoe UI" panose="020B0502040204020203" pitchFamily="34" charset="0"/>
                <a:cs typeface="Segoe UI" panose="020B0502040204020203" pitchFamily="34" charset="0"/>
              </a:rPr>
              <a:t>One Page data capture with easy edit and minimalistic </a:t>
            </a:r>
            <a:r>
              <a:rPr lang="en-US" sz="1200" dirty="0" smtClean="0">
                <a:solidFill>
                  <a:srgbClr val="000000"/>
                </a:solidFill>
                <a:latin typeface="Calibiri"/>
                <a:ea typeface="Segoe UI" panose="020B0502040204020203" pitchFamily="34" charset="0"/>
                <a:cs typeface="Segoe UI" panose="020B0502040204020203" pitchFamily="34" charset="0"/>
              </a:rPr>
              <a:t>governance</a:t>
            </a:r>
          </a:p>
          <a:p>
            <a:pPr marL="285750" indent="-285750">
              <a:spcBef>
                <a:spcPts val="300"/>
              </a:spcBef>
              <a:buFont typeface="Arial" panose="020B0604020202020204" pitchFamily="34" charset="0"/>
              <a:buChar char="•"/>
            </a:pPr>
            <a:r>
              <a:rPr lang="en-US" sz="1200" dirty="0">
                <a:solidFill>
                  <a:srgbClr val="000000"/>
                </a:solidFill>
                <a:latin typeface="Calibiri"/>
                <a:ea typeface="Segoe UI" panose="020B0502040204020203" pitchFamily="34" charset="0"/>
                <a:cs typeface="Segoe UI" panose="020B0502040204020203" pitchFamily="34" charset="0"/>
              </a:rPr>
              <a:t>Workflow</a:t>
            </a:r>
          </a:p>
          <a:p>
            <a:pPr marL="285750" indent="-285750">
              <a:spcBef>
                <a:spcPts val="300"/>
              </a:spcBef>
              <a:buFont typeface="Arial" panose="020B0604020202020204" pitchFamily="34" charset="0"/>
              <a:buChar char="•"/>
            </a:pPr>
            <a:r>
              <a:rPr lang="en-US" sz="1200" dirty="0">
                <a:solidFill>
                  <a:srgbClr val="000000"/>
                </a:solidFill>
                <a:latin typeface="Calibiri"/>
                <a:ea typeface="Segoe UI" panose="020B0502040204020203" pitchFamily="34" charset="0"/>
                <a:cs typeface="Segoe UI" panose="020B0502040204020203" pitchFamily="34" charset="0"/>
              </a:rPr>
              <a:t>Live Progress Tracker with option to identify stakeholders at relevant stage </a:t>
            </a:r>
            <a:r>
              <a:rPr lang="en-US" sz="1200" dirty="0" smtClean="0">
                <a:solidFill>
                  <a:srgbClr val="000000"/>
                </a:solidFill>
                <a:latin typeface="Calibiri"/>
                <a:ea typeface="Segoe UI" panose="020B0502040204020203" pitchFamily="34" charset="0"/>
                <a:cs typeface="Segoe UI" panose="020B0502040204020203" pitchFamily="34" charset="0"/>
              </a:rPr>
              <a:t>gates</a:t>
            </a:r>
            <a:endParaRPr lang="en-US" sz="1200" dirty="0">
              <a:solidFill>
                <a:srgbClr val="000000"/>
              </a:solidFill>
              <a:latin typeface="Calibiri"/>
              <a:ea typeface="Segoe UI" panose="020B0502040204020203" pitchFamily="34" charset="0"/>
              <a:cs typeface="Segoe UI" panose="020B0502040204020203" pitchFamily="34" charset="0"/>
            </a:endParaRPr>
          </a:p>
        </p:txBody>
      </p:sp>
      <p:cxnSp>
        <p:nvCxnSpPr>
          <p:cNvPr id="42" name="Straight Connector 41"/>
          <p:cNvCxnSpPr/>
          <p:nvPr/>
        </p:nvCxnSpPr>
        <p:spPr>
          <a:xfrm>
            <a:off x="5757863" y="4486275"/>
            <a:ext cx="14287" cy="1743075"/>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109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Our </a:t>
            </a:r>
            <a:r>
              <a:rPr lang="en-US" dirty="0" smtClean="0"/>
              <a:t>Key </a:t>
            </a:r>
            <a:r>
              <a:rPr lang="en-US" dirty="0"/>
              <a:t>I</a:t>
            </a:r>
            <a:r>
              <a:rPr lang="en-US" dirty="0" smtClean="0"/>
              <a:t>nferences </a:t>
            </a:r>
            <a:endParaRPr lang="en-US" dirty="0"/>
          </a:p>
        </p:txBody>
      </p:sp>
      <p:sp>
        <p:nvSpPr>
          <p:cNvPr id="85" name="Footer Placeholder 5">
            <a:extLst>
              <a:ext uri="{FF2B5EF4-FFF2-40B4-BE49-F238E27FC236}">
                <a16:creationId xmlns:a16="http://schemas.microsoft.com/office/drawing/2014/main" id="{1A48BB35-9F9D-4CE6-9B58-113B094F6B5B}"/>
              </a:ext>
            </a:extLst>
          </p:cNvPr>
          <p:cNvSpPr>
            <a:spLocks noGrp="1"/>
          </p:cNvSpPr>
          <p:nvPr>
            <p:ph type="ftr" sz="quarter" idx="4294967295"/>
          </p:nvPr>
        </p:nvSpPr>
        <p:spPr>
          <a:xfrm>
            <a:off x="0" y="6486525"/>
            <a:ext cx="1735138" cy="244475"/>
          </a:xfrm>
          <a:solidFill>
            <a:schemeClr val="bg1"/>
          </a:solidFill>
        </p:spPr>
        <p:txBody>
          <a:bodyPr/>
          <a:lstStyle>
            <a:lvl1pPr>
              <a:defRPr sz="1400">
                <a:solidFill>
                  <a:schemeClr val="tx1"/>
                </a:solidFill>
              </a:defRPr>
            </a:lvl1pPr>
          </a:lstStyle>
          <a:p>
            <a:r>
              <a:rPr lang="en-US" dirty="0" smtClean="0"/>
              <a:t>© 2019 Cognizant</a:t>
            </a:r>
            <a:endParaRPr lang="en-US" dirty="0"/>
          </a:p>
        </p:txBody>
      </p:sp>
      <p:sp>
        <p:nvSpPr>
          <p:cNvPr id="86" name="Slide Number Placeholder 6">
            <a:extLst>
              <a:ext uri="{FF2B5EF4-FFF2-40B4-BE49-F238E27FC236}">
                <a16:creationId xmlns:a16="http://schemas.microsoft.com/office/drawing/2014/main" id="{53606C9F-D7ED-4FD8-B0F6-C62354279FAA}"/>
              </a:ext>
            </a:extLst>
          </p:cNvPr>
          <p:cNvSpPr>
            <a:spLocks noGrp="1"/>
          </p:cNvSpPr>
          <p:nvPr>
            <p:ph type="sldNum" sz="quarter" idx="4294967295"/>
          </p:nvPr>
        </p:nvSpPr>
        <p:spPr>
          <a:xfrm>
            <a:off x="0" y="6430963"/>
            <a:ext cx="1212850" cy="322262"/>
          </a:xfrm>
          <a:solidFill>
            <a:schemeClr val="bg1"/>
          </a:solidFill>
        </p:spPr>
        <p:txBody>
          <a:bodyPr/>
          <a:lstStyle>
            <a:lvl1pPr>
              <a:defRPr sz="1200">
                <a:solidFill>
                  <a:schemeClr val="tx1"/>
                </a:solidFill>
              </a:defRPr>
            </a:lvl1pPr>
          </a:lstStyle>
          <a:p>
            <a:r>
              <a:rPr lang="en-US" dirty="0" smtClean="0"/>
              <a:t>Slide </a:t>
            </a:r>
            <a:fld id="{2EFEF571-C9B4-4D92-A7F7-315B894862A8}" type="slidenum">
              <a:rPr lang="en-US" smtClean="0"/>
              <a:pPr/>
              <a:t>7</a:t>
            </a:fld>
            <a:r>
              <a:rPr lang="en-US" dirty="0" smtClean="0"/>
              <a:t> of XX</a:t>
            </a:r>
            <a:endParaRPr lang="en-US" dirty="0"/>
          </a:p>
        </p:txBody>
      </p:sp>
      <p:grpSp>
        <p:nvGrpSpPr>
          <p:cNvPr id="30" name="Group 29"/>
          <p:cNvGrpSpPr/>
          <p:nvPr/>
        </p:nvGrpSpPr>
        <p:grpSpPr>
          <a:xfrm>
            <a:off x="649180" y="951946"/>
            <a:ext cx="11085509" cy="2388300"/>
            <a:chOff x="518951" y="1498946"/>
            <a:chExt cx="11085509" cy="4353605"/>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8951" y="3743108"/>
              <a:ext cx="11083636" cy="2109443"/>
            </a:xfrm>
            <a:prstGeom prst="rect">
              <a:avLst/>
            </a:prstGeom>
            <a:effectLst/>
          </p:spPr>
        </p:pic>
        <p:sp>
          <p:nvSpPr>
            <p:cNvPr id="4" name="object 11"/>
            <p:cNvSpPr/>
            <p:nvPr/>
          </p:nvSpPr>
          <p:spPr>
            <a:xfrm>
              <a:off x="2204831" y="2482057"/>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5" name="object 12"/>
            <p:cNvSpPr/>
            <p:nvPr/>
          </p:nvSpPr>
          <p:spPr>
            <a:xfrm>
              <a:off x="2204831" y="4116383"/>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6" name="object 14"/>
            <p:cNvSpPr/>
            <p:nvPr/>
          </p:nvSpPr>
          <p:spPr>
            <a:xfrm>
              <a:off x="3736983" y="3172301"/>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7" name="object 15"/>
            <p:cNvSpPr/>
            <p:nvPr/>
          </p:nvSpPr>
          <p:spPr>
            <a:xfrm>
              <a:off x="3736983" y="3502347"/>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8" name="object 17"/>
            <p:cNvSpPr/>
            <p:nvPr/>
          </p:nvSpPr>
          <p:spPr>
            <a:xfrm>
              <a:off x="7281055" y="3172301"/>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9" name="object 18"/>
            <p:cNvSpPr/>
            <p:nvPr/>
          </p:nvSpPr>
          <p:spPr>
            <a:xfrm>
              <a:off x="7281055" y="4070656"/>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10" name="object 21"/>
            <p:cNvSpPr/>
            <p:nvPr/>
          </p:nvSpPr>
          <p:spPr>
            <a:xfrm>
              <a:off x="10357352" y="385807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11" name="object 23"/>
            <p:cNvSpPr/>
            <p:nvPr/>
          </p:nvSpPr>
          <p:spPr>
            <a:xfrm>
              <a:off x="5234840" y="2482057"/>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12" name="object 24"/>
            <p:cNvSpPr/>
            <p:nvPr/>
          </p:nvSpPr>
          <p:spPr>
            <a:xfrm>
              <a:off x="5234840" y="4198681"/>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44">
                <a:defRPr/>
              </a:pPr>
              <a:endParaRPr sz="1467" dirty="0">
                <a:solidFill>
                  <a:prstClr val="black"/>
                </a:solidFill>
                <a:cs typeface="Arial" panose="020B0604020202020204" pitchFamily="34" charset="0"/>
              </a:endParaRPr>
            </a:p>
          </p:txBody>
        </p:sp>
        <p:grpSp>
          <p:nvGrpSpPr>
            <p:cNvPr id="13" name="Group 12"/>
            <p:cNvGrpSpPr/>
            <p:nvPr/>
          </p:nvGrpSpPr>
          <p:grpSpPr>
            <a:xfrm>
              <a:off x="6783935" y="2524626"/>
              <a:ext cx="1980530" cy="2260456"/>
              <a:chOff x="4970384" y="1673003"/>
              <a:chExt cx="1485398" cy="1695342"/>
            </a:xfrm>
          </p:grpSpPr>
          <p:sp>
            <p:nvSpPr>
              <p:cNvPr id="14" name="object 16"/>
              <p:cNvSpPr/>
              <p:nvPr/>
            </p:nvSpPr>
            <p:spPr>
              <a:xfrm flipH="1">
                <a:off x="5550350" y="2769205"/>
                <a:ext cx="79545" cy="599140"/>
              </a:xfrm>
              <a:custGeom>
                <a:avLst/>
                <a:gdLst/>
                <a:ahLst/>
                <a:cxnLst/>
                <a:rect l="l" t="t" r="r" b="b"/>
                <a:pathLst>
                  <a:path h="651510">
                    <a:moveTo>
                      <a:pt x="0" y="0"/>
                    </a:moveTo>
                    <a:lnTo>
                      <a:pt x="0" y="651459"/>
                    </a:lnTo>
                  </a:path>
                </a:pathLst>
              </a:custGeom>
              <a:ln w="12700">
                <a:solidFill>
                  <a:srgbClr val="000000"/>
                </a:solidFill>
                <a:prstDash val="dot"/>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15" name="object 4"/>
              <p:cNvSpPr txBox="1"/>
              <p:nvPr/>
            </p:nvSpPr>
            <p:spPr>
              <a:xfrm>
                <a:off x="4970384" y="1673003"/>
                <a:ext cx="1485398" cy="987639"/>
              </a:xfrm>
              <a:prstGeom prst="rect">
                <a:avLst/>
              </a:prstGeom>
            </p:spPr>
            <p:txBody>
              <a:bodyPr vert="horz" wrap="square" lIns="0" tIns="16912" rIns="0" bIns="0" rtlCol="0">
                <a:spAutoFit/>
              </a:bodyPr>
              <a:lstStyle/>
              <a:p>
                <a:pPr algn="ctr" defTabSz="1219110">
                  <a:lnSpc>
                    <a:spcPts val="1757"/>
                  </a:lnSpc>
                  <a:spcBef>
                    <a:spcPts val="133"/>
                  </a:spcBef>
                  <a:defRPr/>
                </a:pPr>
                <a:r>
                  <a:rPr lang="en-US" sz="1465" b="1" kern="0" dirty="0">
                    <a:solidFill>
                      <a:srgbClr val="152F6E"/>
                    </a:solidFill>
                    <a:cs typeface="Arial" panose="020B0604020202020204" pitchFamily="34" charset="0"/>
                  </a:rPr>
                  <a:t>Multi Vendor Portfolio.</a:t>
                </a:r>
                <a:endParaRPr lang="en-US" sz="1333" kern="0" dirty="0">
                  <a:solidFill>
                    <a:prstClr val="black"/>
                  </a:solidFill>
                  <a:cs typeface="Arial" panose="020B0604020202020204" pitchFamily="34" charset="0"/>
                </a:endParaRPr>
              </a:p>
              <a:p>
                <a:pPr algn="ctr" defTabSz="1219110">
                  <a:lnSpc>
                    <a:spcPts val="1757"/>
                  </a:lnSpc>
                  <a:spcBef>
                    <a:spcPts val="133"/>
                  </a:spcBef>
                  <a:defRPr/>
                </a:pPr>
                <a:r>
                  <a:rPr lang="en-US" sz="1465" b="1" kern="0" dirty="0">
                    <a:solidFill>
                      <a:srgbClr val="152F6E"/>
                    </a:solidFill>
                    <a:cs typeface="Arial" panose="020B0604020202020204" pitchFamily="34" charset="0"/>
                  </a:rPr>
                  <a:t>Cross Tower Governance is a must</a:t>
                </a:r>
              </a:p>
            </p:txBody>
          </p:sp>
        </p:grpSp>
        <p:grpSp>
          <p:nvGrpSpPr>
            <p:cNvPr id="16" name="Group 15"/>
            <p:cNvGrpSpPr/>
            <p:nvPr/>
          </p:nvGrpSpPr>
          <p:grpSpPr>
            <a:xfrm>
              <a:off x="881106" y="1498946"/>
              <a:ext cx="2824796" cy="2975482"/>
              <a:chOff x="660829" y="933137"/>
              <a:chExt cx="2118597" cy="2231612"/>
            </a:xfrm>
          </p:grpSpPr>
          <p:sp>
            <p:nvSpPr>
              <p:cNvPr id="17" name="object 10"/>
              <p:cNvSpPr/>
              <p:nvPr/>
            </p:nvSpPr>
            <p:spPr>
              <a:xfrm>
                <a:off x="1782801" y="1693552"/>
                <a:ext cx="45719" cy="1471197"/>
              </a:xfrm>
              <a:custGeom>
                <a:avLst/>
                <a:gdLst/>
                <a:ahLst/>
                <a:cxnLst/>
                <a:rect l="l" t="t" r="r" b="b"/>
                <a:pathLst>
                  <a:path h="1229995">
                    <a:moveTo>
                      <a:pt x="0" y="0"/>
                    </a:moveTo>
                    <a:lnTo>
                      <a:pt x="0" y="1229982"/>
                    </a:lnTo>
                  </a:path>
                </a:pathLst>
              </a:custGeom>
              <a:ln w="12700">
                <a:solidFill>
                  <a:srgbClr val="000000"/>
                </a:solidFill>
                <a:prstDash val="dot"/>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19" name="object 5"/>
              <p:cNvSpPr txBox="1"/>
              <p:nvPr/>
            </p:nvSpPr>
            <p:spPr>
              <a:xfrm>
                <a:off x="660829" y="933137"/>
                <a:ext cx="2118597" cy="1289131"/>
              </a:xfrm>
              <a:prstGeom prst="rect">
                <a:avLst/>
              </a:prstGeom>
            </p:spPr>
            <p:txBody>
              <a:bodyPr vert="horz" wrap="square" lIns="0" tIns="57503" rIns="0" bIns="0" rtlCol="0">
                <a:spAutoFit/>
              </a:bodyPr>
              <a:lstStyle/>
              <a:p>
                <a:pPr marL="16913" marR="6765" indent="845" algn="ctr" defTabSz="1219110">
                  <a:lnSpc>
                    <a:spcPts val="1599"/>
                  </a:lnSpc>
                  <a:spcBef>
                    <a:spcPts val="453"/>
                  </a:spcBef>
                  <a:defRPr/>
                </a:pPr>
                <a:r>
                  <a:rPr lang="en-US" sz="1400" b="1" kern="0" dirty="0">
                    <a:solidFill>
                      <a:srgbClr val="152F6E"/>
                    </a:solidFill>
                    <a:cs typeface="Arial" panose="020B0604020202020204" pitchFamily="34" charset="0"/>
                  </a:rPr>
                  <a:t>Heavy reliance on Marriott SME’s. Knowledge Management needs to improve</a:t>
                </a:r>
                <a:endParaRPr lang="en-US" sz="1200" kern="0" dirty="0">
                  <a:solidFill>
                    <a:prstClr val="black"/>
                  </a:solidFill>
                  <a:cs typeface="Arial" panose="020B0604020202020204" pitchFamily="34" charset="0"/>
                </a:endParaRPr>
              </a:p>
              <a:p>
                <a:pPr marL="16913" marR="6765" indent="845" algn="ctr" defTabSz="1219110">
                  <a:lnSpc>
                    <a:spcPts val="1599"/>
                  </a:lnSpc>
                  <a:spcBef>
                    <a:spcPts val="453"/>
                  </a:spcBef>
                  <a:defRPr/>
                </a:pPr>
                <a:endParaRPr lang="en-US" sz="1465" b="1" kern="0" dirty="0">
                  <a:solidFill>
                    <a:srgbClr val="152F6E"/>
                  </a:solidFill>
                  <a:cs typeface="Arial" panose="020B0604020202020204" pitchFamily="34" charset="0"/>
                </a:endParaRPr>
              </a:p>
            </p:txBody>
          </p:sp>
        </p:grpSp>
        <p:grpSp>
          <p:nvGrpSpPr>
            <p:cNvPr id="20" name="Group 19"/>
            <p:cNvGrpSpPr/>
            <p:nvPr/>
          </p:nvGrpSpPr>
          <p:grpSpPr>
            <a:xfrm>
              <a:off x="4937115" y="1678195"/>
              <a:ext cx="2144572" cy="2400608"/>
              <a:chOff x="2341856" y="1067575"/>
              <a:chExt cx="3066408" cy="1800456"/>
            </a:xfrm>
          </p:grpSpPr>
          <p:sp>
            <p:nvSpPr>
              <p:cNvPr id="21" name="object 22"/>
              <p:cNvSpPr/>
              <p:nvPr/>
            </p:nvSpPr>
            <p:spPr>
              <a:xfrm>
                <a:off x="3992249" y="1824188"/>
                <a:ext cx="75913" cy="1043843"/>
              </a:xfrm>
              <a:custGeom>
                <a:avLst/>
                <a:gdLst/>
                <a:ahLst/>
                <a:cxnLst/>
                <a:rect l="l" t="t" r="r" b="b"/>
                <a:pathLst>
                  <a:path h="1294129">
                    <a:moveTo>
                      <a:pt x="0" y="0"/>
                    </a:moveTo>
                    <a:lnTo>
                      <a:pt x="0" y="1293622"/>
                    </a:lnTo>
                  </a:path>
                </a:pathLst>
              </a:custGeom>
              <a:ln w="12700">
                <a:solidFill>
                  <a:srgbClr val="000000"/>
                </a:solidFill>
                <a:prstDash val="dot"/>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22" name="object 6"/>
              <p:cNvSpPr txBox="1"/>
              <p:nvPr/>
            </p:nvSpPr>
            <p:spPr>
              <a:xfrm>
                <a:off x="2341856" y="1067575"/>
                <a:ext cx="3066408" cy="987638"/>
              </a:xfrm>
              <a:prstGeom prst="rect">
                <a:avLst/>
              </a:prstGeom>
            </p:spPr>
            <p:txBody>
              <a:bodyPr vert="horz" wrap="square" lIns="0" tIns="16912" rIns="0" bIns="0" rtlCol="0">
                <a:spAutoFit/>
              </a:bodyPr>
              <a:lstStyle/>
              <a:p>
                <a:pPr marL="78639" algn="ctr" defTabSz="1219110">
                  <a:lnSpc>
                    <a:spcPts val="1757"/>
                  </a:lnSpc>
                  <a:spcBef>
                    <a:spcPts val="133"/>
                  </a:spcBef>
                  <a:defRPr/>
                </a:pPr>
                <a:r>
                  <a:rPr lang="en-US" sz="1465" b="1" kern="0" spc="-13" dirty="0">
                    <a:solidFill>
                      <a:srgbClr val="152F6E"/>
                    </a:solidFill>
                    <a:cs typeface="Arial" panose="020B0604020202020204" pitchFamily="34" charset="0"/>
                  </a:rPr>
                  <a:t>Scalability to manage future growth</a:t>
                </a:r>
                <a:endParaRPr lang="en-US" sz="1333" kern="0" dirty="0">
                  <a:solidFill>
                    <a:prstClr val="black"/>
                  </a:solidFill>
                  <a:cs typeface="Arial" panose="020B0604020202020204" pitchFamily="34" charset="0"/>
                </a:endParaRPr>
              </a:p>
              <a:p>
                <a:pPr marL="78639" algn="ctr" defTabSz="1219110">
                  <a:lnSpc>
                    <a:spcPts val="1757"/>
                  </a:lnSpc>
                  <a:spcBef>
                    <a:spcPts val="133"/>
                  </a:spcBef>
                  <a:defRPr/>
                </a:pPr>
                <a:endParaRPr lang="en-US" sz="1465" b="1" kern="0" spc="-13" dirty="0">
                  <a:solidFill>
                    <a:srgbClr val="00728F"/>
                  </a:solidFill>
                  <a:cs typeface="Arial" panose="020B0604020202020204" pitchFamily="34" charset="0"/>
                </a:endParaRPr>
              </a:p>
            </p:txBody>
          </p:sp>
        </p:grpSp>
        <p:grpSp>
          <p:nvGrpSpPr>
            <p:cNvPr id="23" name="Group 22"/>
            <p:cNvGrpSpPr/>
            <p:nvPr/>
          </p:nvGrpSpPr>
          <p:grpSpPr>
            <a:xfrm>
              <a:off x="9133507" y="2010017"/>
              <a:ext cx="2257370" cy="2756527"/>
              <a:chOff x="6792798" y="1316439"/>
              <a:chExt cx="1753640" cy="2067395"/>
            </a:xfrm>
          </p:grpSpPr>
          <p:sp>
            <p:nvSpPr>
              <p:cNvPr id="24" name="object 19"/>
              <p:cNvSpPr/>
              <p:nvPr/>
            </p:nvSpPr>
            <p:spPr>
              <a:xfrm>
                <a:off x="7602308" y="2103674"/>
                <a:ext cx="39672" cy="1280160"/>
              </a:xfrm>
              <a:custGeom>
                <a:avLst/>
                <a:gdLst/>
                <a:ahLst/>
                <a:cxnLst/>
                <a:rect l="l" t="t" r="r" b="b"/>
                <a:pathLst>
                  <a:path h="927735">
                    <a:moveTo>
                      <a:pt x="0" y="0"/>
                    </a:moveTo>
                    <a:lnTo>
                      <a:pt x="0" y="927277"/>
                    </a:lnTo>
                  </a:path>
                </a:pathLst>
              </a:custGeom>
              <a:ln w="12700">
                <a:solidFill>
                  <a:srgbClr val="000000"/>
                </a:solidFill>
                <a:prstDash val="dot"/>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25" name="object 7"/>
              <p:cNvSpPr txBox="1"/>
              <p:nvPr/>
            </p:nvSpPr>
            <p:spPr>
              <a:xfrm>
                <a:off x="6792798" y="1316439"/>
                <a:ext cx="1753640" cy="1303226"/>
              </a:xfrm>
              <a:prstGeom prst="rect">
                <a:avLst/>
              </a:prstGeom>
            </p:spPr>
            <p:txBody>
              <a:bodyPr vert="horz" wrap="square" lIns="0" tIns="16912" rIns="0" bIns="0" rtlCol="0">
                <a:spAutoFit/>
              </a:bodyPr>
              <a:lstStyle/>
              <a:p>
                <a:pPr marR="35514" algn="ctr" defTabSz="1219110">
                  <a:lnSpc>
                    <a:spcPts val="1757"/>
                  </a:lnSpc>
                  <a:spcBef>
                    <a:spcPts val="133"/>
                  </a:spcBef>
                  <a:defRPr/>
                </a:pPr>
                <a:r>
                  <a:rPr lang="en-US" sz="1465" b="1" kern="0" spc="-13" dirty="0" smtClean="0">
                    <a:solidFill>
                      <a:srgbClr val="152F6E"/>
                    </a:solidFill>
                    <a:cs typeface="Arial" panose="020B0604020202020204" pitchFamily="34" charset="0"/>
                  </a:rPr>
                  <a:t>Inadequate </a:t>
                </a:r>
                <a:r>
                  <a:rPr lang="en-US" sz="1465" b="1" kern="0" spc="-13" dirty="0">
                    <a:solidFill>
                      <a:srgbClr val="152F6E"/>
                    </a:solidFill>
                    <a:cs typeface="Arial" panose="020B0604020202020204" pitchFamily="34" charset="0"/>
                  </a:rPr>
                  <a:t>standardization across processes in scope of the RFP #1</a:t>
                </a:r>
              </a:p>
              <a:p>
                <a:pPr marR="35514" algn="ctr" defTabSz="1219110">
                  <a:lnSpc>
                    <a:spcPts val="1757"/>
                  </a:lnSpc>
                  <a:spcBef>
                    <a:spcPts val="133"/>
                  </a:spcBef>
                  <a:defRPr/>
                </a:pPr>
                <a:endParaRPr lang="en-US" sz="1465" b="1" kern="0" spc="-13" dirty="0">
                  <a:solidFill>
                    <a:srgbClr val="00728F"/>
                  </a:solidFill>
                  <a:cs typeface="Arial" panose="020B0604020202020204" pitchFamily="34" charset="0"/>
                </a:endParaRPr>
              </a:p>
            </p:txBody>
          </p:sp>
        </p:grpSp>
        <p:grpSp>
          <p:nvGrpSpPr>
            <p:cNvPr id="26" name="Group 25"/>
            <p:cNvGrpSpPr/>
            <p:nvPr/>
          </p:nvGrpSpPr>
          <p:grpSpPr>
            <a:xfrm>
              <a:off x="2749901" y="2768966"/>
              <a:ext cx="2769536" cy="1878741"/>
              <a:chOff x="2062423" y="1885652"/>
              <a:chExt cx="2077152" cy="1409056"/>
            </a:xfrm>
          </p:grpSpPr>
          <p:sp>
            <p:nvSpPr>
              <p:cNvPr id="27" name="object 13"/>
              <p:cNvSpPr/>
              <p:nvPr/>
            </p:nvSpPr>
            <p:spPr>
              <a:xfrm flipH="1">
                <a:off x="2865653" y="2668081"/>
                <a:ext cx="213337" cy="626627"/>
              </a:xfrm>
              <a:custGeom>
                <a:avLst/>
                <a:gdLst/>
                <a:ahLst/>
                <a:cxnLst/>
                <a:rect l="l" t="t" r="r" b="b"/>
                <a:pathLst>
                  <a:path h="204469">
                    <a:moveTo>
                      <a:pt x="0" y="0"/>
                    </a:moveTo>
                    <a:lnTo>
                      <a:pt x="0" y="204165"/>
                    </a:lnTo>
                  </a:path>
                </a:pathLst>
              </a:custGeom>
              <a:ln w="12700">
                <a:solidFill>
                  <a:srgbClr val="000000"/>
                </a:solidFill>
                <a:prstDash val="dot"/>
              </a:ln>
            </p:spPr>
            <p:txBody>
              <a:bodyPr wrap="square" lIns="0" tIns="0" rIns="0" bIns="0" rtlCol="0"/>
              <a:lstStyle/>
              <a:p>
                <a:pPr defTabSz="811744">
                  <a:defRPr/>
                </a:pPr>
                <a:endParaRPr sz="1467" dirty="0">
                  <a:solidFill>
                    <a:prstClr val="black"/>
                  </a:solidFill>
                  <a:cs typeface="Arial" panose="020B0604020202020204" pitchFamily="34" charset="0"/>
                </a:endParaRPr>
              </a:p>
            </p:txBody>
          </p:sp>
          <p:sp>
            <p:nvSpPr>
              <p:cNvPr id="28" name="object 8"/>
              <p:cNvSpPr txBox="1"/>
              <p:nvPr/>
            </p:nvSpPr>
            <p:spPr>
              <a:xfrm>
                <a:off x="2062423" y="1885652"/>
                <a:ext cx="2077152" cy="654520"/>
              </a:xfrm>
              <a:prstGeom prst="rect">
                <a:avLst/>
              </a:prstGeom>
            </p:spPr>
            <p:txBody>
              <a:bodyPr vert="horz" wrap="square" lIns="0" tIns="16912" rIns="0" bIns="0" rtlCol="0">
                <a:spAutoFit/>
              </a:bodyPr>
              <a:lstStyle/>
              <a:p>
                <a:pPr algn="ctr" defTabSz="1219110">
                  <a:lnSpc>
                    <a:spcPts val="1757"/>
                  </a:lnSpc>
                  <a:spcBef>
                    <a:spcPts val="133"/>
                  </a:spcBef>
                  <a:defRPr/>
                </a:pPr>
                <a:r>
                  <a:rPr lang="en-US" sz="1465" b="1" kern="0" spc="-7" dirty="0" smtClean="0">
                    <a:solidFill>
                      <a:srgbClr val="152F6E"/>
                    </a:solidFill>
                    <a:cs typeface="Arial" panose="020B0604020202020204" pitchFamily="34" charset="0"/>
                  </a:rPr>
                  <a:t>Federated standards and processes </a:t>
                </a:r>
                <a:r>
                  <a:rPr lang="en-US" sz="1465" b="1" kern="0" spc="-7" dirty="0">
                    <a:solidFill>
                      <a:srgbClr val="152F6E"/>
                    </a:solidFill>
                    <a:cs typeface="Arial" panose="020B0604020202020204" pitchFamily="34" charset="0"/>
                  </a:rPr>
                  <a:t>towards Problem Management</a:t>
                </a:r>
                <a:endParaRPr lang="en-US" sz="1465" b="1" kern="0" spc="-13" dirty="0">
                  <a:solidFill>
                    <a:srgbClr val="152F6E"/>
                  </a:solidFill>
                  <a:cs typeface="Arial" panose="020B0604020202020204" pitchFamily="34" charset="0"/>
                </a:endParaRPr>
              </a:p>
            </p:txBody>
          </p:sp>
        </p:grpSp>
        <p:sp>
          <p:nvSpPr>
            <p:cNvPr id="2" name="Rectangle 1"/>
            <p:cNvSpPr/>
            <p:nvPr/>
          </p:nvSpPr>
          <p:spPr>
            <a:xfrm>
              <a:off x="9013288" y="1906017"/>
              <a:ext cx="2591172" cy="1463098"/>
            </a:xfrm>
            <a:prstGeom prst="rect">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Rectangle 55"/>
          <p:cNvSpPr/>
          <p:nvPr/>
        </p:nvSpPr>
        <p:spPr>
          <a:xfrm>
            <a:off x="360623" y="883407"/>
            <a:ext cx="364174" cy="22475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bg1"/>
                </a:solidFill>
              </a:rPr>
              <a:t>KEY </a:t>
            </a:r>
            <a:r>
              <a:rPr lang="en-US" sz="1400" b="1" dirty="0" smtClean="0">
                <a:solidFill>
                  <a:schemeClr val="bg1"/>
                </a:solidFill>
              </a:rPr>
              <a:t>INFERENCES- RFP1</a:t>
            </a:r>
            <a:endParaRPr lang="en-US" sz="1400" b="1" dirty="0">
              <a:solidFill>
                <a:schemeClr val="bg1"/>
              </a:solidFill>
            </a:endParaRPr>
          </a:p>
        </p:txBody>
      </p:sp>
      <p:sp>
        <p:nvSpPr>
          <p:cNvPr id="57" name="Rectangle 56"/>
          <p:cNvSpPr/>
          <p:nvPr/>
        </p:nvSpPr>
        <p:spPr>
          <a:xfrm>
            <a:off x="360623" y="3220589"/>
            <a:ext cx="364174" cy="30853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bg1"/>
                </a:solidFill>
              </a:rPr>
              <a:t>KEY </a:t>
            </a:r>
            <a:r>
              <a:rPr lang="en-US" sz="1400" b="1" dirty="0" smtClean="0">
                <a:solidFill>
                  <a:schemeClr val="bg1"/>
                </a:solidFill>
              </a:rPr>
              <a:t>INFERENCES- RFP2</a:t>
            </a:r>
            <a:endParaRPr lang="en-US" sz="1400" b="1" dirty="0">
              <a:solidFill>
                <a:schemeClr val="bg1"/>
              </a:solidFill>
            </a:endParaRPr>
          </a:p>
        </p:txBody>
      </p:sp>
      <p:sp>
        <p:nvSpPr>
          <p:cNvPr id="60" name="object 11"/>
          <p:cNvSpPr/>
          <p:nvPr/>
        </p:nvSpPr>
        <p:spPr>
          <a:xfrm>
            <a:off x="1931607" y="454363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1" name="object 12"/>
          <p:cNvSpPr/>
          <p:nvPr/>
        </p:nvSpPr>
        <p:spPr>
          <a:xfrm>
            <a:off x="1931607" y="5457364"/>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2" name="object 14"/>
          <p:cNvSpPr/>
          <p:nvPr/>
        </p:nvSpPr>
        <p:spPr>
          <a:xfrm>
            <a:off x="3615432" y="4929543"/>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3" name="object 15"/>
          <p:cNvSpPr/>
          <p:nvPr/>
        </p:nvSpPr>
        <p:spPr>
          <a:xfrm>
            <a:off x="3615432" y="5114066"/>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4" name="object 17"/>
          <p:cNvSpPr/>
          <p:nvPr/>
        </p:nvSpPr>
        <p:spPr>
          <a:xfrm>
            <a:off x="7510342" y="4929543"/>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5" name="object 18"/>
          <p:cNvSpPr/>
          <p:nvPr/>
        </p:nvSpPr>
        <p:spPr>
          <a:xfrm>
            <a:off x="7510342" y="543179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6" name="object 21"/>
          <p:cNvSpPr/>
          <p:nvPr/>
        </p:nvSpPr>
        <p:spPr>
          <a:xfrm>
            <a:off x="10891171" y="5312950"/>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7" name="object 23"/>
          <p:cNvSpPr/>
          <p:nvPr/>
        </p:nvSpPr>
        <p:spPr>
          <a:xfrm>
            <a:off x="5261566" y="454363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68" name="object 24"/>
          <p:cNvSpPr/>
          <p:nvPr/>
        </p:nvSpPr>
        <p:spPr>
          <a:xfrm>
            <a:off x="5261566" y="5503376"/>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grpSp>
        <p:nvGrpSpPr>
          <p:cNvPr id="69" name="Group 68"/>
          <p:cNvGrpSpPr/>
          <p:nvPr/>
        </p:nvGrpSpPr>
        <p:grpSpPr>
          <a:xfrm>
            <a:off x="6512915" y="4330848"/>
            <a:ext cx="2569989" cy="1224439"/>
            <a:chOff x="4621500" y="1985992"/>
            <a:chExt cx="1941217" cy="1642557"/>
          </a:xfrm>
        </p:grpSpPr>
        <p:sp>
          <p:nvSpPr>
            <p:cNvPr id="83" name="object 16"/>
            <p:cNvSpPr/>
            <p:nvPr/>
          </p:nvSpPr>
          <p:spPr>
            <a:xfrm flipH="1">
              <a:off x="5473492" y="3171351"/>
              <a:ext cx="47338" cy="457198"/>
            </a:xfrm>
            <a:custGeom>
              <a:avLst/>
              <a:gdLst/>
              <a:ahLst/>
              <a:cxnLst/>
              <a:rect l="l" t="t" r="r" b="b"/>
              <a:pathLst>
                <a:path h="651510">
                  <a:moveTo>
                    <a:pt x="0" y="0"/>
                  </a:moveTo>
                  <a:lnTo>
                    <a:pt x="0" y="651459"/>
                  </a:lnTo>
                </a:path>
              </a:pathLst>
            </a:custGeom>
            <a:ln w="12700">
              <a:solidFill>
                <a:srgbClr val="000000"/>
              </a:solidFill>
              <a:prstDash val="dot"/>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84" name="object 4"/>
            <p:cNvSpPr txBox="1"/>
            <p:nvPr/>
          </p:nvSpPr>
          <p:spPr>
            <a:xfrm>
              <a:off x="4621500" y="1985992"/>
              <a:ext cx="1941217" cy="657120"/>
            </a:xfrm>
            <a:prstGeom prst="rect">
              <a:avLst/>
            </a:prstGeom>
          </p:spPr>
          <p:txBody>
            <a:bodyPr vert="horz" wrap="square" lIns="0" tIns="16912" rIns="0" bIns="0" rtlCol="0">
              <a:spAutoFit/>
            </a:bodyPr>
            <a:lstStyle/>
            <a:p>
              <a:pPr algn="ctr" defTabSz="1219140">
                <a:lnSpc>
                  <a:spcPts val="1757"/>
                </a:lnSpc>
                <a:spcBef>
                  <a:spcPts val="133"/>
                </a:spcBef>
                <a:defRPr/>
              </a:pPr>
              <a:r>
                <a:rPr lang="en-US" sz="1465" b="1" kern="0" dirty="0" smtClean="0">
                  <a:solidFill>
                    <a:srgbClr val="152F6E"/>
                  </a:solidFill>
                  <a:latin typeface="Arial" panose="020B0604020202020204" pitchFamily="34" charset="0"/>
                  <a:cs typeface="Arial" panose="020B0604020202020204" pitchFamily="34" charset="0"/>
                </a:rPr>
                <a:t>Hybrid Application portfolio</a:t>
              </a:r>
              <a:endParaRPr lang="en-US" sz="1465" b="1" kern="0" dirty="0">
                <a:solidFill>
                  <a:srgbClr val="152F6E"/>
                </a:solidFill>
                <a:latin typeface="Arial" panose="020B0604020202020204" pitchFamily="34" charset="0"/>
                <a:cs typeface="Arial" panose="020B0604020202020204" pitchFamily="34" charset="0"/>
              </a:endParaRPr>
            </a:p>
            <a:p>
              <a:pPr algn="ctr" defTabSz="1219140">
                <a:lnSpc>
                  <a:spcPct val="150000"/>
                </a:lnSpc>
                <a:spcBef>
                  <a:spcPts val="133"/>
                </a:spcBef>
                <a:defRPr/>
              </a:pPr>
              <a:r>
                <a:rPr lang="en-US" sz="1333" kern="0" dirty="0" smtClean="0">
                  <a:solidFill>
                    <a:prstClr val="black"/>
                  </a:solidFill>
                  <a:latin typeface="Arial" panose="020B0604020202020204" pitchFamily="34" charset="0"/>
                  <a:cs typeface="Arial" panose="020B0604020202020204" pitchFamily="34" charset="0"/>
                </a:rPr>
                <a:t>Legacy vs Modern | COTS vs Home grown | Customizations</a:t>
              </a:r>
              <a:endParaRPr sz="1333" kern="0" dirty="0">
                <a:solidFill>
                  <a:prstClr val="black"/>
                </a:solidFill>
                <a:latin typeface="Arial" panose="020B0604020202020204" pitchFamily="34" charset="0"/>
                <a:cs typeface="Arial" panose="020B0604020202020204" pitchFamily="34" charset="0"/>
              </a:endParaRPr>
            </a:p>
          </p:txBody>
        </p:sp>
      </p:grpSp>
      <p:grpSp>
        <p:nvGrpSpPr>
          <p:cNvPr id="70" name="Group 69"/>
          <p:cNvGrpSpPr/>
          <p:nvPr/>
        </p:nvGrpSpPr>
        <p:grpSpPr>
          <a:xfrm>
            <a:off x="865972" y="3923862"/>
            <a:ext cx="2286728" cy="1733679"/>
            <a:chOff x="926390" y="839053"/>
            <a:chExt cx="1560561" cy="2325696"/>
          </a:xfrm>
        </p:grpSpPr>
        <p:sp>
          <p:nvSpPr>
            <p:cNvPr id="81" name="object 10"/>
            <p:cNvSpPr/>
            <p:nvPr/>
          </p:nvSpPr>
          <p:spPr>
            <a:xfrm>
              <a:off x="1706671" y="1884589"/>
              <a:ext cx="32704" cy="1280160"/>
            </a:xfrm>
            <a:custGeom>
              <a:avLst/>
              <a:gdLst/>
              <a:ahLst/>
              <a:cxnLst/>
              <a:rect l="l" t="t" r="r" b="b"/>
              <a:pathLst>
                <a:path h="1229995">
                  <a:moveTo>
                    <a:pt x="0" y="0"/>
                  </a:moveTo>
                  <a:lnTo>
                    <a:pt x="0" y="1229982"/>
                  </a:lnTo>
                </a:path>
              </a:pathLst>
            </a:custGeom>
            <a:ln w="12700">
              <a:solidFill>
                <a:srgbClr val="000000"/>
              </a:solidFill>
              <a:prstDash val="dot"/>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82" name="object 5"/>
            <p:cNvSpPr txBox="1"/>
            <p:nvPr/>
          </p:nvSpPr>
          <p:spPr>
            <a:xfrm>
              <a:off x="926390" y="839053"/>
              <a:ext cx="1560561" cy="553304"/>
            </a:xfrm>
            <a:prstGeom prst="rect">
              <a:avLst/>
            </a:prstGeom>
          </p:spPr>
          <p:txBody>
            <a:bodyPr vert="horz" wrap="square" lIns="0" tIns="57503" rIns="0" bIns="0" rtlCol="0">
              <a:spAutoFit/>
            </a:bodyPr>
            <a:lstStyle/>
            <a:p>
              <a:pPr marL="16913" marR="6765" indent="845" algn="ctr" defTabSz="1219140">
                <a:lnSpc>
                  <a:spcPts val="1599"/>
                </a:lnSpc>
                <a:spcBef>
                  <a:spcPts val="453"/>
                </a:spcBef>
                <a:defRPr/>
              </a:pPr>
              <a:r>
                <a:rPr lang="en-US" sz="1465" b="1" kern="0" dirty="0" smtClean="0">
                  <a:solidFill>
                    <a:srgbClr val="152F6E"/>
                  </a:solidFill>
                  <a:latin typeface="Arial" panose="020B0604020202020204" pitchFamily="34" charset="0"/>
                  <a:cs typeface="Arial" panose="020B0604020202020204" pitchFamily="34" charset="0"/>
                </a:rPr>
                <a:t>AMS teams aligned by Application Bundles</a:t>
              </a:r>
            </a:p>
            <a:p>
              <a:pPr marL="16913" marR="6765" indent="845" algn="ctr" defTabSz="1219140">
                <a:lnSpc>
                  <a:spcPts val="1599"/>
                </a:lnSpc>
                <a:spcBef>
                  <a:spcPts val="453"/>
                </a:spcBef>
                <a:defRPr/>
              </a:pPr>
              <a:r>
                <a:rPr lang="en-US" sz="1333" kern="0" dirty="0" smtClean="0">
                  <a:solidFill>
                    <a:prstClr val="black"/>
                  </a:solidFill>
                  <a:latin typeface="Arial" panose="020B0604020202020204" pitchFamily="34" charset="0"/>
                  <a:cs typeface="Arial" panose="020B0604020202020204" pitchFamily="34" charset="0"/>
                </a:rPr>
                <a:t>(Tower 1, Tower 2, …)</a:t>
              </a:r>
              <a:endParaRPr lang="en-US" sz="1333" kern="0" dirty="0">
                <a:solidFill>
                  <a:prstClr val="black"/>
                </a:solidFill>
                <a:latin typeface="Arial" panose="020B0604020202020204" pitchFamily="34" charset="0"/>
                <a:cs typeface="Arial" panose="020B0604020202020204" pitchFamily="34" charset="0"/>
              </a:endParaRPr>
            </a:p>
          </p:txBody>
        </p:sp>
      </p:grpSp>
      <p:grpSp>
        <p:nvGrpSpPr>
          <p:cNvPr id="71" name="Group 70"/>
          <p:cNvGrpSpPr/>
          <p:nvPr/>
        </p:nvGrpSpPr>
        <p:grpSpPr>
          <a:xfrm>
            <a:off x="3342780" y="3680166"/>
            <a:ext cx="3309026" cy="1854973"/>
            <a:chOff x="1620411" y="839564"/>
            <a:chExt cx="4305213" cy="2488409"/>
          </a:xfrm>
        </p:grpSpPr>
        <p:sp>
          <p:nvSpPr>
            <p:cNvPr id="79" name="object 22"/>
            <p:cNvSpPr/>
            <p:nvPr/>
          </p:nvSpPr>
          <p:spPr>
            <a:xfrm>
              <a:off x="3784536" y="1824186"/>
              <a:ext cx="59483" cy="1503787"/>
            </a:xfrm>
            <a:custGeom>
              <a:avLst/>
              <a:gdLst/>
              <a:ahLst/>
              <a:cxnLst/>
              <a:rect l="l" t="t" r="r" b="b"/>
              <a:pathLst>
                <a:path h="1294129">
                  <a:moveTo>
                    <a:pt x="0" y="0"/>
                  </a:moveTo>
                  <a:lnTo>
                    <a:pt x="0" y="1293622"/>
                  </a:lnTo>
                </a:path>
              </a:pathLst>
            </a:custGeom>
            <a:ln w="12700">
              <a:solidFill>
                <a:srgbClr val="000000"/>
              </a:solidFill>
              <a:prstDash val="dot"/>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80" name="object 6"/>
            <p:cNvSpPr txBox="1"/>
            <p:nvPr/>
          </p:nvSpPr>
          <p:spPr>
            <a:xfrm>
              <a:off x="1620411" y="839564"/>
              <a:ext cx="4305213" cy="1295944"/>
            </a:xfrm>
            <a:prstGeom prst="rect">
              <a:avLst/>
            </a:prstGeom>
          </p:spPr>
          <p:txBody>
            <a:bodyPr vert="horz" wrap="square" lIns="0" tIns="16912" rIns="0" bIns="0" rtlCol="0">
              <a:spAutoFit/>
            </a:bodyPr>
            <a:lstStyle/>
            <a:p>
              <a:pPr marL="78641" algn="ctr" defTabSz="1219140">
                <a:lnSpc>
                  <a:spcPts val="1757"/>
                </a:lnSpc>
                <a:spcBef>
                  <a:spcPts val="133"/>
                </a:spcBef>
                <a:defRPr/>
              </a:pPr>
              <a:r>
                <a:rPr lang="en-US" sz="1465" b="1" kern="0" spc="-13" dirty="0" smtClean="0">
                  <a:solidFill>
                    <a:srgbClr val="152F6E"/>
                  </a:solidFill>
                  <a:latin typeface="Arial" panose="020B0604020202020204" pitchFamily="34" charset="0"/>
                  <a:cs typeface="Arial" panose="020B0604020202020204" pitchFamily="34" charset="0"/>
                </a:rPr>
                <a:t>Silo-</a:t>
              </a:r>
              <a:r>
                <a:rPr lang="en-US" sz="1465" b="1" kern="0" spc="-13" dirty="0" err="1" smtClean="0">
                  <a:solidFill>
                    <a:srgbClr val="152F6E"/>
                  </a:solidFill>
                  <a:latin typeface="Arial" panose="020B0604020202020204" pitchFamily="34" charset="0"/>
                  <a:cs typeface="Arial" panose="020B0604020202020204" pitchFamily="34" charset="0"/>
                </a:rPr>
                <a:t>ed</a:t>
              </a:r>
              <a:r>
                <a:rPr lang="en-US" sz="1465" b="1" kern="0" spc="-13" dirty="0" smtClean="0">
                  <a:solidFill>
                    <a:srgbClr val="152F6E"/>
                  </a:solidFill>
                  <a:latin typeface="Arial" panose="020B0604020202020204" pitchFamily="34" charset="0"/>
                  <a:cs typeface="Arial" panose="020B0604020202020204" pitchFamily="34" charset="0"/>
                </a:rPr>
                <a:t> </a:t>
              </a:r>
              <a:r>
                <a:rPr lang="en-US" sz="1465" b="1" kern="0" spc="-13" dirty="0">
                  <a:solidFill>
                    <a:srgbClr val="152F6E"/>
                  </a:solidFill>
                  <a:latin typeface="Arial" panose="020B0604020202020204" pitchFamily="34" charset="0"/>
                  <a:cs typeface="Arial" panose="020B0604020202020204" pitchFamily="34" charset="0"/>
                </a:rPr>
                <a:t>Teams, Process, Technology, </a:t>
              </a:r>
              <a:r>
                <a:rPr lang="en-US" sz="1465" b="1" kern="0" spc="-13" dirty="0" smtClean="0">
                  <a:solidFill>
                    <a:srgbClr val="152F6E"/>
                  </a:solidFill>
                  <a:latin typeface="Arial" panose="020B0604020202020204" pitchFamily="34" charset="0"/>
                  <a:cs typeface="Arial" panose="020B0604020202020204" pitchFamily="34" charset="0"/>
                </a:rPr>
                <a:t>Tools</a:t>
              </a:r>
              <a:endParaRPr lang="en-US" sz="1333" kern="0" dirty="0" smtClean="0">
                <a:solidFill>
                  <a:prstClr val="black"/>
                </a:solidFill>
                <a:latin typeface="Arial" panose="020B0604020202020204" pitchFamily="34" charset="0"/>
                <a:cs typeface="Arial" panose="020B0604020202020204" pitchFamily="34" charset="0"/>
              </a:endParaRPr>
            </a:p>
            <a:p>
              <a:pPr marL="78641" algn="ctr" defTabSz="1219140">
                <a:lnSpc>
                  <a:spcPts val="1757"/>
                </a:lnSpc>
                <a:spcBef>
                  <a:spcPts val="133"/>
                </a:spcBef>
                <a:defRPr/>
              </a:pPr>
              <a:r>
                <a:rPr lang="en-US" sz="1333" kern="0" dirty="0" smtClean="0">
                  <a:solidFill>
                    <a:prstClr val="black"/>
                  </a:solidFill>
                  <a:latin typeface="Arial" panose="020B0604020202020204" pitchFamily="34" charset="0"/>
                  <a:cs typeface="Arial" panose="020B0604020202020204" pitchFamily="34" charset="0"/>
                </a:rPr>
                <a:t>By Bundles and service providers</a:t>
              </a:r>
              <a:endParaRPr lang="en-US" sz="1465" b="1" kern="0" spc="-13" dirty="0">
                <a:solidFill>
                  <a:srgbClr val="00728F"/>
                </a:solidFill>
                <a:latin typeface="Arial" panose="020B0604020202020204" pitchFamily="34" charset="0"/>
                <a:cs typeface="Arial" panose="020B0604020202020204" pitchFamily="34" charset="0"/>
              </a:endParaRPr>
            </a:p>
            <a:p>
              <a:pPr marL="78641" algn="ctr" defTabSz="1219140">
                <a:lnSpc>
                  <a:spcPts val="1757"/>
                </a:lnSpc>
                <a:spcBef>
                  <a:spcPts val="133"/>
                </a:spcBef>
                <a:defRPr/>
              </a:pPr>
              <a:endParaRPr lang="en-US" sz="1465" b="1" kern="0" spc="-13" dirty="0">
                <a:solidFill>
                  <a:srgbClr val="00728F"/>
                </a:solidFill>
                <a:latin typeface="Arial" panose="020B0604020202020204" pitchFamily="34" charset="0"/>
                <a:cs typeface="Arial" panose="020B0604020202020204" pitchFamily="34" charset="0"/>
              </a:endParaRPr>
            </a:p>
          </p:txBody>
        </p:sp>
      </p:grpSp>
      <p:grpSp>
        <p:nvGrpSpPr>
          <p:cNvPr id="72" name="Group 71"/>
          <p:cNvGrpSpPr/>
          <p:nvPr/>
        </p:nvGrpSpPr>
        <p:grpSpPr>
          <a:xfrm>
            <a:off x="9143518" y="3923862"/>
            <a:ext cx="2787804" cy="2090970"/>
            <a:chOff x="6508171" y="839052"/>
            <a:chExt cx="1970630" cy="2804990"/>
          </a:xfrm>
        </p:grpSpPr>
        <p:sp>
          <p:nvSpPr>
            <p:cNvPr id="77" name="object 19"/>
            <p:cNvSpPr/>
            <p:nvPr/>
          </p:nvSpPr>
          <p:spPr>
            <a:xfrm>
              <a:off x="7455733" y="2363882"/>
              <a:ext cx="39672" cy="1280160"/>
            </a:xfrm>
            <a:custGeom>
              <a:avLst/>
              <a:gdLst/>
              <a:ahLst/>
              <a:cxnLst/>
              <a:rect l="l" t="t" r="r" b="b"/>
              <a:pathLst>
                <a:path h="927735">
                  <a:moveTo>
                    <a:pt x="0" y="0"/>
                  </a:moveTo>
                  <a:lnTo>
                    <a:pt x="0" y="927277"/>
                  </a:lnTo>
                </a:path>
              </a:pathLst>
            </a:custGeom>
            <a:ln w="12700">
              <a:solidFill>
                <a:srgbClr val="000000"/>
              </a:solidFill>
              <a:prstDash val="dot"/>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78" name="object 7"/>
            <p:cNvSpPr txBox="1"/>
            <p:nvPr/>
          </p:nvSpPr>
          <p:spPr>
            <a:xfrm>
              <a:off x="6508171" y="839052"/>
              <a:ext cx="1970630" cy="1278740"/>
            </a:xfrm>
            <a:prstGeom prst="rect">
              <a:avLst/>
            </a:prstGeom>
          </p:spPr>
          <p:txBody>
            <a:bodyPr vert="horz" wrap="square" lIns="0" tIns="16912" rIns="0" bIns="0" rtlCol="0">
              <a:spAutoFit/>
            </a:bodyPr>
            <a:lstStyle/>
            <a:p>
              <a:pPr marL="78641" marR="35515" algn="ctr" defTabSz="1219140">
                <a:lnSpc>
                  <a:spcPts val="1757"/>
                </a:lnSpc>
                <a:spcBef>
                  <a:spcPts val="133"/>
                </a:spcBef>
                <a:defRPr/>
              </a:pPr>
              <a:r>
                <a:rPr lang="en-US" sz="1465" b="1" kern="0" spc="-13" dirty="0">
                  <a:solidFill>
                    <a:srgbClr val="152F6E"/>
                  </a:solidFill>
                  <a:latin typeface="Arial" panose="020B0604020202020204" pitchFamily="34" charset="0"/>
                  <a:cs typeface="Arial" panose="020B0604020202020204" pitchFamily="34" charset="0"/>
                </a:rPr>
                <a:t>Siloed  Digital Maturity and </a:t>
              </a:r>
              <a:r>
                <a:rPr lang="en-US" sz="1465" b="1" kern="0" spc="-13" dirty="0" smtClean="0">
                  <a:solidFill>
                    <a:srgbClr val="152F6E"/>
                  </a:solidFill>
                  <a:latin typeface="Arial" panose="020B0604020202020204" pitchFamily="34" charset="0"/>
                  <a:cs typeface="Arial" panose="020B0604020202020204" pitchFamily="34" charset="0"/>
                </a:rPr>
                <a:t>Agility</a:t>
              </a:r>
              <a:endParaRPr lang="en-US" sz="1465" b="1" i="1" kern="0" spc="-13" dirty="0" smtClean="0">
                <a:solidFill>
                  <a:srgbClr val="FF0000"/>
                </a:solidFill>
                <a:latin typeface="Arial" panose="020B0604020202020204" pitchFamily="34" charset="0"/>
                <a:cs typeface="Arial" panose="020B0604020202020204" pitchFamily="34" charset="0"/>
              </a:endParaRPr>
            </a:p>
            <a:p>
              <a:pPr marL="78641" marR="35515" algn="ctr" defTabSz="1219140">
                <a:lnSpc>
                  <a:spcPts val="1757"/>
                </a:lnSpc>
                <a:spcBef>
                  <a:spcPts val="133"/>
                </a:spcBef>
                <a:defRPr/>
              </a:pPr>
              <a:r>
                <a:rPr lang="en-US" sz="1333" kern="0" dirty="0" smtClean="0">
                  <a:solidFill>
                    <a:prstClr val="black"/>
                  </a:solidFill>
                  <a:latin typeface="Arial" panose="020B0604020202020204" pitchFamily="34" charset="0"/>
                  <a:cs typeface="Arial" panose="020B0604020202020204" pitchFamily="34" charset="0"/>
                </a:rPr>
                <a:t>Service </a:t>
              </a:r>
              <a:r>
                <a:rPr lang="en-US" sz="1333" kern="0" dirty="0">
                  <a:solidFill>
                    <a:prstClr val="black"/>
                  </a:solidFill>
                  <a:latin typeface="Arial" panose="020B0604020202020204" pitchFamily="34" charset="0"/>
                  <a:cs typeface="Arial" panose="020B0604020202020204" pitchFamily="34" charset="0"/>
                </a:rPr>
                <a:t>focused AMS vs Agility &amp; Application Reliability focused AMS</a:t>
              </a:r>
              <a:endParaRPr sz="1333" kern="0" dirty="0">
                <a:solidFill>
                  <a:prstClr val="black"/>
                </a:solidFill>
                <a:latin typeface="Arial" panose="020B0604020202020204" pitchFamily="34" charset="0"/>
                <a:cs typeface="Arial" panose="020B0604020202020204" pitchFamily="34" charset="0"/>
              </a:endParaRPr>
            </a:p>
          </p:txBody>
        </p:sp>
      </p:grpSp>
      <p:grpSp>
        <p:nvGrpSpPr>
          <p:cNvPr id="73" name="Group 72"/>
          <p:cNvGrpSpPr/>
          <p:nvPr/>
        </p:nvGrpSpPr>
        <p:grpSpPr>
          <a:xfrm>
            <a:off x="2547166" y="4974884"/>
            <a:ext cx="2303183" cy="779535"/>
            <a:chOff x="2073705" y="2248978"/>
            <a:chExt cx="1571791" cy="1045730"/>
          </a:xfrm>
        </p:grpSpPr>
        <p:sp>
          <p:nvSpPr>
            <p:cNvPr id="75" name="object 13"/>
            <p:cNvSpPr/>
            <p:nvPr/>
          </p:nvSpPr>
          <p:spPr>
            <a:xfrm>
              <a:off x="2779424" y="2668081"/>
              <a:ext cx="86228" cy="626627"/>
            </a:xfrm>
            <a:custGeom>
              <a:avLst/>
              <a:gdLst/>
              <a:ahLst/>
              <a:cxnLst/>
              <a:rect l="l" t="t" r="r" b="b"/>
              <a:pathLst>
                <a:path h="204469">
                  <a:moveTo>
                    <a:pt x="0" y="0"/>
                  </a:moveTo>
                  <a:lnTo>
                    <a:pt x="0" y="204165"/>
                  </a:lnTo>
                </a:path>
              </a:pathLst>
            </a:custGeom>
            <a:ln w="12700">
              <a:solidFill>
                <a:srgbClr val="000000"/>
              </a:solidFill>
              <a:prstDash val="dot"/>
            </a:ln>
          </p:spPr>
          <p:txBody>
            <a:bodyPr wrap="square" lIns="0" tIns="0" rIns="0" bIns="0" rtlCol="0"/>
            <a:lstStyle/>
            <a:p>
              <a:pPr defTabSz="811764">
                <a:defRPr/>
              </a:pPr>
              <a:endParaRPr sz="1467" dirty="0">
                <a:solidFill>
                  <a:prstClr val="black"/>
                </a:solidFill>
                <a:latin typeface="Arial" panose="020B0604020202020204" pitchFamily="34" charset="0"/>
                <a:cs typeface="Arial" panose="020B0604020202020204" pitchFamily="34" charset="0"/>
              </a:endParaRPr>
            </a:p>
          </p:txBody>
        </p:sp>
        <p:sp>
          <p:nvSpPr>
            <p:cNvPr id="76" name="object 8"/>
            <p:cNvSpPr txBox="1"/>
            <p:nvPr/>
          </p:nvSpPr>
          <p:spPr>
            <a:xfrm>
              <a:off x="2073705" y="2248978"/>
              <a:ext cx="1571791" cy="724541"/>
            </a:xfrm>
            <a:prstGeom prst="rect">
              <a:avLst/>
            </a:prstGeom>
          </p:spPr>
          <p:txBody>
            <a:bodyPr vert="horz" wrap="square" lIns="0" tIns="16912" rIns="0" bIns="0" rtlCol="0">
              <a:spAutoFit/>
            </a:bodyPr>
            <a:lstStyle/>
            <a:p>
              <a:pPr algn="ctr" defTabSz="1219140">
                <a:lnSpc>
                  <a:spcPts val="1757"/>
                </a:lnSpc>
                <a:spcBef>
                  <a:spcPts val="133"/>
                </a:spcBef>
                <a:defRPr/>
              </a:pPr>
              <a:r>
                <a:rPr lang="en-US" sz="1465" b="1" kern="0" spc="-7" dirty="0" smtClean="0">
                  <a:solidFill>
                    <a:srgbClr val="152F6E"/>
                  </a:solidFill>
                  <a:latin typeface="Arial" panose="020B0604020202020204" pitchFamily="34" charset="0"/>
                  <a:cs typeface="Arial" panose="020B0604020202020204" pitchFamily="34" charset="0"/>
                </a:rPr>
                <a:t>Early stage</a:t>
              </a:r>
              <a:r>
                <a:rPr lang="en-US" sz="1465" b="1" kern="0" dirty="0" smtClean="0">
                  <a:solidFill>
                    <a:srgbClr val="152F6E"/>
                  </a:solidFill>
                  <a:latin typeface="Arial" panose="020B0604020202020204" pitchFamily="34" charset="0"/>
                  <a:cs typeface="Arial" panose="020B0604020202020204" pitchFamily="34" charset="0"/>
                </a:rPr>
                <a:t> </a:t>
              </a:r>
              <a:r>
                <a:rPr lang="en-US" sz="1465" b="1" kern="0" spc="-13" dirty="0">
                  <a:solidFill>
                    <a:srgbClr val="152F6E"/>
                  </a:solidFill>
                  <a:latin typeface="Arial" panose="020B0604020202020204" pitchFamily="34" charset="0"/>
                  <a:cs typeface="Arial" panose="020B0604020202020204" pitchFamily="34" charset="0"/>
                </a:rPr>
                <a:t>A</a:t>
              </a:r>
              <a:r>
                <a:rPr sz="1465" b="1" kern="0" spc="-13" dirty="0" smtClean="0">
                  <a:solidFill>
                    <a:srgbClr val="152F6E"/>
                  </a:solidFill>
                  <a:latin typeface="Arial" panose="020B0604020202020204" pitchFamily="34" charset="0"/>
                  <a:cs typeface="Arial" panose="020B0604020202020204" pitchFamily="34" charset="0"/>
                </a:rPr>
                <a:t>utomation</a:t>
              </a:r>
              <a:endParaRPr lang="en-US" sz="1465" b="1" kern="0" spc="-13" dirty="0" smtClean="0">
                <a:solidFill>
                  <a:srgbClr val="152F6E"/>
                </a:solidFill>
                <a:latin typeface="Arial" panose="020B0604020202020204" pitchFamily="34" charset="0"/>
                <a:cs typeface="Arial" panose="020B0604020202020204" pitchFamily="34" charset="0"/>
              </a:endParaRPr>
            </a:p>
            <a:p>
              <a:pPr marL="16913" marR="6765" lvl="0" indent="845" algn="ctr" defTabSz="1219140">
                <a:lnSpc>
                  <a:spcPts val="1599"/>
                </a:lnSpc>
                <a:spcBef>
                  <a:spcPts val="453"/>
                </a:spcBef>
                <a:defRPr/>
              </a:pPr>
              <a:r>
                <a:rPr lang="en-US" sz="1333" kern="0" dirty="0" smtClean="0">
                  <a:solidFill>
                    <a:prstClr val="black"/>
                  </a:solidFill>
                  <a:latin typeface="Arial" panose="020B0604020202020204" pitchFamily="34" charset="0"/>
                  <a:cs typeface="Arial" panose="020B0604020202020204" pitchFamily="34" charset="0"/>
                </a:rPr>
                <a:t>Early implementation of RPA</a:t>
              </a:r>
              <a:endParaRPr lang="en-US" sz="1333" kern="0" dirty="0">
                <a:solidFill>
                  <a:prstClr val="black"/>
                </a:solidFill>
                <a:latin typeface="Arial" panose="020B0604020202020204" pitchFamily="34" charset="0"/>
                <a:cs typeface="Arial" panose="020B0604020202020204" pitchFamily="34" charset="0"/>
              </a:endParaRPr>
            </a:p>
            <a:p>
              <a:pPr algn="ctr" defTabSz="1219140">
                <a:lnSpc>
                  <a:spcPts val="1757"/>
                </a:lnSpc>
                <a:spcBef>
                  <a:spcPts val="133"/>
                </a:spcBef>
                <a:defRPr/>
              </a:pPr>
              <a:endParaRPr lang="en-US" sz="1465" b="1" kern="0" spc="-13" dirty="0">
                <a:solidFill>
                  <a:srgbClr val="00728F"/>
                </a:solidFill>
                <a:latin typeface="Arial" panose="020B0604020202020204" pitchFamily="34" charset="0"/>
                <a:cs typeface="Arial" panose="020B0604020202020204" pitchFamily="34" charset="0"/>
              </a:endParaRPr>
            </a:p>
          </p:txBody>
        </p:sp>
      </p:grpSp>
      <p:sp>
        <p:nvSpPr>
          <p:cNvPr id="74" name="Rectangle 73"/>
          <p:cNvSpPr/>
          <p:nvPr/>
        </p:nvSpPr>
        <p:spPr bwMode="auto">
          <a:xfrm>
            <a:off x="9143517" y="3853410"/>
            <a:ext cx="2823153" cy="1216821"/>
          </a:xfrm>
          <a:prstGeom prst="rect">
            <a:avLst/>
          </a:prstGeom>
          <a:noFill/>
          <a:ln w="38100" cap="flat" cmpd="sng" algn="ctr">
            <a:solidFill>
              <a:srgbClr val="FF0000"/>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pitchFamily="-12" charset="0"/>
              <a:ea typeface="ＭＳ Ｐゴシック" pitchFamily="-12" charset="-128"/>
              <a:cs typeface="ＭＳ Ｐゴシック" pitchFamily="-12" charset="-128"/>
            </a:endParaRPr>
          </a:p>
        </p:txBody>
      </p:sp>
      <p:pic>
        <p:nvPicPr>
          <p:cNvPr id="90" name="Picture 89"/>
          <p:cNvPicPr>
            <a:picLocks noChangeAspect="1"/>
          </p:cNvPicPr>
          <p:nvPr/>
        </p:nvPicPr>
        <p:blipFill rotWithShape="1">
          <a:blip r:embed="rId3" cstate="screen">
            <a:clrChange>
              <a:clrFrom>
                <a:srgbClr val="62FFFF"/>
              </a:clrFrom>
              <a:clrTo>
                <a:srgbClr val="62FFFF">
                  <a:alpha val="0"/>
                </a:srgbClr>
              </a:clrTo>
            </a:clrChange>
            <a:extLst>
              <a:ext uri="{28A0092B-C50C-407E-A947-70E740481C1C}">
                <a14:useLocalDpi xmlns:a14="http://schemas.microsoft.com/office/drawing/2010/main"/>
              </a:ext>
            </a:extLst>
          </a:blip>
          <a:srcRect/>
          <a:stretch/>
        </p:blipFill>
        <p:spPr>
          <a:xfrm>
            <a:off x="724797" y="5555288"/>
            <a:ext cx="11178126" cy="750627"/>
          </a:xfrm>
          <a:prstGeom prst="rect">
            <a:avLst/>
          </a:prstGeom>
        </p:spPr>
      </p:pic>
    </p:spTree>
    <p:extLst>
      <p:ext uri="{BB962C8B-B14F-4D97-AF65-F5344CB8AC3E}">
        <p14:creationId xmlns:p14="http://schemas.microsoft.com/office/powerpoint/2010/main" val="10417601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1696700" cy="618385"/>
          </a:xfrm>
        </p:spPr>
        <p:txBody>
          <a:bodyPr>
            <a:normAutofit/>
          </a:bodyPr>
          <a:lstStyle/>
          <a:p>
            <a:r>
              <a:rPr lang="en-US" dirty="0">
                <a:cs typeface="Calibri" panose="020F0502020204030204" pitchFamily="34" charset="0"/>
              </a:rPr>
              <a:t>Continuous Innovation: Delayering The Innovation Landscape</a:t>
            </a:r>
            <a:endParaRPr lang="en-US" dirty="0">
              <a:latin typeface="Calibri" panose="020F0502020204030204" pitchFamily="34" charset="0"/>
            </a:endParaRPr>
          </a:p>
        </p:txBody>
      </p:sp>
      <p:grpSp>
        <p:nvGrpSpPr>
          <p:cNvPr id="149" name="Group 148"/>
          <p:cNvGrpSpPr/>
          <p:nvPr/>
        </p:nvGrpSpPr>
        <p:grpSpPr>
          <a:xfrm>
            <a:off x="635223" y="1012681"/>
            <a:ext cx="10931236" cy="5232918"/>
            <a:chOff x="648286" y="1025744"/>
            <a:chExt cx="10931236" cy="5232918"/>
          </a:xfrm>
        </p:grpSpPr>
        <p:grpSp>
          <p:nvGrpSpPr>
            <p:cNvPr id="150" name="Group 149"/>
            <p:cNvGrpSpPr/>
            <p:nvPr/>
          </p:nvGrpSpPr>
          <p:grpSpPr>
            <a:xfrm>
              <a:off x="648286" y="1025744"/>
              <a:ext cx="10931236" cy="4636534"/>
              <a:chOff x="373966" y="725298"/>
              <a:chExt cx="10931236" cy="4636534"/>
            </a:xfrm>
          </p:grpSpPr>
          <p:sp>
            <p:nvSpPr>
              <p:cNvPr id="152" name="Rectangle 151"/>
              <p:cNvSpPr/>
              <p:nvPr/>
            </p:nvSpPr>
            <p:spPr>
              <a:xfrm>
                <a:off x="373966" y="3773300"/>
                <a:ext cx="3847287" cy="152697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This typically starts with the emergence of a problem </a:t>
                </a:r>
              </a:p>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The solutions to these problems help to bring the situation back on course</a:t>
                </a:r>
              </a:p>
            </p:txBody>
          </p:sp>
          <p:sp>
            <p:nvSpPr>
              <p:cNvPr id="153" name="Rectangle 152"/>
              <p:cNvSpPr/>
              <p:nvPr/>
            </p:nvSpPr>
            <p:spPr>
              <a:xfrm>
                <a:off x="373966" y="725299"/>
                <a:ext cx="3847287" cy="162718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Define a challenge which is quantum jump over the existing status</a:t>
                </a:r>
              </a:p>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Work back from the end and do zero based thinking. Forget the existing means and methods</a:t>
                </a:r>
              </a:p>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Generate / design ways and means to achieve the quantum change</a:t>
                </a:r>
              </a:p>
            </p:txBody>
          </p:sp>
          <p:sp>
            <p:nvSpPr>
              <p:cNvPr id="154" name="Rectangle 153"/>
              <p:cNvSpPr/>
              <p:nvPr/>
            </p:nvSpPr>
            <p:spPr>
              <a:xfrm>
                <a:off x="7578329" y="3773300"/>
                <a:ext cx="3726873" cy="152697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Define the gap where we are and where we want to be </a:t>
                </a:r>
              </a:p>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Identify the root cause for the gap</a:t>
                </a:r>
              </a:p>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Generate ideas to minimize / eliminate each gap</a:t>
                </a:r>
              </a:p>
            </p:txBody>
          </p:sp>
          <p:sp>
            <p:nvSpPr>
              <p:cNvPr id="155" name="Rectangle 154"/>
              <p:cNvSpPr/>
              <p:nvPr/>
            </p:nvSpPr>
            <p:spPr>
              <a:xfrm>
                <a:off x="7578330" y="725298"/>
                <a:ext cx="3726872" cy="1784313"/>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65760" indent="-182880">
                  <a:lnSpc>
                    <a:spcPct val="150000"/>
                  </a:lnSpc>
                  <a:buClr>
                    <a:prstClr val="white">
                      <a:lumMod val="50000"/>
                    </a:prstClr>
                  </a:buClr>
                  <a:buFont typeface="Wingdings" panose="05000000000000000000" pitchFamily="2" charset="2"/>
                  <a:buChar char="ü"/>
                </a:pPr>
                <a:r>
                  <a:rPr lang="en-US" sz="1200" dirty="0">
                    <a:solidFill>
                      <a:prstClr val="black"/>
                    </a:solidFill>
                    <a:latin typeface="Segoe UI" panose="020B0502040204020203" pitchFamily="34" charset="0"/>
                    <a:ea typeface="Segoe UI" panose="020B0502040204020203" pitchFamily="34" charset="0"/>
                    <a:cs typeface="Segoe UI" panose="020B0502040204020203" pitchFamily="34" charset="0"/>
                  </a:rPr>
                  <a:t>A strategic leap occurs when we create and lead with a paradigm shift</a:t>
                </a:r>
              </a:p>
            </p:txBody>
          </p:sp>
          <p:graphicFrame>
            <p:nvGraphicFramePr>
              <p:cNvPr id="156" name="Diagram 155"/>
              <p:cNvGraphicFramePr/>
              <p:nvPr>
                <p:extLst/>
              </p:nvPr>
            </p:nvGraphicFramePr>
            <p:xfrm>
              <a:off x="2928543" y="1458962"/>
              <a:ext cx="6096000" cy="33586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7" name="TextBox 156"/>
              <p:cNvSpPr txBox="1"/>
              <p:nvPr/>
            </p:nvSpPr>
            <p:spPr bwMode="auto">
              <a:xfrm>
                <a:off x="2776143" y="2979371"/>
                <a:ext cx="1477690" cy="369332"/>
              </a:xfrm>
              <a:prstGeom prst="rect">
                <a:avLst/>
              </a:prstGeom>
              <a:noFill/>
              <a:ln w="9525">
                <a:noFill/>
                <a:miter lim="800000"/>
                <a:headEnd/>
                <a:tailEnd/>
              </a:ln>
            </p:spPr>
            <p:txBody>
              <a:bodyPr wrap="square" rtlCol="0">
                <a:prstTxWarp prst="textNoShape">
                  <a:avLst/>
                </a:prstTxWarp>
                <a:spAutoFit/>
              </a:bodyPr>
              <a:lstStyle/>
              <a:p>
                <a:pPr algn="r" eaLnBrk="0" hangingPunct="0"/>
                <a:r>
                  <a:rPr lang="en-US" b="1" dirty="0">
                    <a:solidFill>
                      <a:prstClr val="black"/>
                    </a:solidFill>
                    <a:latin typeface="Segoe UI" panose="020B0502040204020203" pitchFamily="34" charset="0"/>
                    <a:ea typeface="Segoe UI" panose="020B0502040204020203" pitchFamily="34" charset="0"/>
                    <a:cs typeface="Segoe UI" panose="020B0502040204020203" pitchFamily="34" charset="0"/>
                  </a:rPr>
                  <a:t>Reactive</a:t>
                </a:r>
              </a:p>
            </p:txBody>
          </p:sp>
          <p:sp>
            <p:nvSpPr>
              <p:cNvPr id="158" name="TextBox 157"/>
              <p:cNvSpPr txBox="1"/>
              <p:nvPr/>
            </p:nvSpPr>
            <p:spPr bwMode="auto">
              <a:xfrm>
                <a:off x="7700840" y="2992250"/>
                <a:ext cx="1553891" cy="369332"/>
              </a:xfrm>
              <a:prstGeom prst="rect">
                <a:avLst/>
              </a:prstGeom>
              <a:noFill/>
              <a:ln w="9525">
                <a:noFill/>
                <a:miter lim="800000"/>
                <a:headEnd/>
                <a:tailEnd/>
              </a:ln>
            </p:spPr>
            <p:txBody>
              <a:bodyPr wrap="square" rtlCol="0">
                <a:prstTxWarp prst="textNoShape">
                  <a:avLst/>
                </a:prstTxWarp>
                <a:spAutoFit/>
              </a:bodyPr>
              <a:lstStyle/>
              <a:p>
                <a:pPr eaLnBrk="0" hangingPunct="0"/>
                <a:r>
                  <a:rPr lang="en-US" b="1"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Proactive</a:t>
                </a:r>
                <a:endParaRPr lang="en-US"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59" name="TextBox 158"/>
              <p:cNvSpPr txBox="1"/>
              <p:nvPr/>
            </p:nvSpPr>
            <p:spPr bwMode="auto">
              <a:xfrm>
                <a:off x="4681118" y="4992500"/>
                <a:ext cx="2534730" cy="369332"/>
              </a:xfrm>
              <a:prstGeom prst="rect">
                <a:avLst/>
              </a:prstGeom>
              <a:noFill/>
              <a:ln w="9525">
                <a:noFill/>
                <a:miter lim="800000"/>
                <a:headEnd/>
                <a:tailEnd/>
              </a:ln>
            </p:spPr>
            <p:txBody>
              <a:bodyPr wrap="square" rtlCol="0">
                <a:prstTxWarp prst="textNoShape">
                  <a:avLst/>
                </a:prstTxWarp>
                <a:spAutoFit/>
              </a:bodyPr>
              <a:lstStyle/>
              <a:p>
                <a:pPr algn="ctr" eaLnBrk="0" hangingPunct="0"/>
                <a:r>
                  <a:rPr lang="en-US" b="1" dirty="0">
                    <a:solidFill>
                      <a:prstClr val="black"/>
                    </a:solidFill>
                    <a:latin typeface="Segoe UI" panose="020B0502040204020203" pitchFamily="34" charset="0"/>
                    <a:ea typeface="Segoe UI" panose="020B0502040204020203" pitchFamily="34" charset="0"/>
                    <a:cs typeface="Segoe UI" panose="020B0502040204020203" pitchFamily="34" charset="0"/>
                  </a:rPr>
                  <a:t>Incremental Benefits</a:t>
                </a:r>
              </a:p>
            </p:txBody>
          </p:sp>
          <p:sp>
            <p:nvSpPr>
              <p:cNvPr id="160" name="TextBox 159"/>
              <p:cNvSpPr txBox="1"/>
              <p:nvPr/>
            </p:nvSpPr>
            <p:spPr bwMode="auto">
              <a:xfrm>
                <a:off x="4949953" y="1030100"/>
                <a:ext cx="1997060" cy="369332"/>
              </a:xfrm>
              <a:prstGeom prst="rect">
                <a:avLst/>
              </a:prstGeom>
              <a:noFill/>
              <a:ln w="9525">
                <a:noFill/>
                <a:miter lim="800000"/>
                <a:headEnd/>
                <a:tailEnd/>
              </a:ln>
            </p:spPr>
            <p:txBody>
              <a:bodyPr wrap="square" rtlCol="0">
                <a:prstTxWarp prst="textNoShape">
                  <a:avLst/>
                </a:prstTxWarp>
                <a:spAutoFit/>
              </a:bodyPr>
              <a:lstStyle/>
              <a:p>
                <a:pPr algn="ctr" eaLnBrk="0" hangingPunct="0"/>
                <a:r>
                  <a:rPr lang="en-US" b="1" dirty="0">
                    <a:solidFill>
                      <a:prstClr val="black"/>
                    </a:solidFill>
                    <a:latin typeface="Segoe UI" panose="020B0502040204020203" pitchFamily="34" charset="0"/>
                    <a:ea typeface="Segoe UI" panose="020B0502040204020203" pitchFamily="34" charset="0"/>
                    <a:cs typeface="Segoe UI" panose="020B0502040204020203" pitchFamily="34" charset="0"/>
                  </a:rPr>
                  <a:t>Breakthrough</a:t>
                </a:r>
              </a:p>
            </p:txBody>
          </p:sp>
        </p:grpSp>
        <p:sp>
          <p:nvSpPr>
            <p:cNvPr id="151" name="TextBox 28"/>
            <p:cNvSpPr txBox="1">
              <a:spLocks noChangeArrowheads="1"/>
            </p:cNvSpPr>
            <p:nvPr/>
          </p:nvSpPr>
          <p:spPr bwMode="auto">
            <a:xfrm>
              <a:off x="8380776" y="6012441"/>
              <a:ext cx="3198746" cy="246221"/>
            </a:xfrm>
            <a:prstGeom prst="rect">
              <a:avLst/>
            </a:prstGeom>
            <a:noFill/>
            <a:ln w="9525">
              <a:noFill/>
              <a:miter lim="800000"/>
              <a:headEnd/>
              <a:tailEnd/>
            </a:ln>
            <a:extLst/>
          </p:spPr>
          <p:txBody>
            <a:bodyPr wrap="square" anchor="ctr">
              <a:spAutoFit/>
            </a:bodyPr>
            <a:lstStyle>
              <a:lvl1pPr eaLnBrk="0" hangingPunct="0">
                <a:defRPr sz="2000" b="1">
                  <a:solidFill>
                    <a:schemeClr val="tx1"/>
                  </a:solidFill>
                  <a:latin typeface="Times" pitchFamily="18" charset="0"/>
                </a:defRPr>
              </a:lvl1pPr>
              <a:lvl2pPr marL="742950" indent="-285750" eaLnBrk="0" hangingPunct="0">
                <a:defRPr sz="2000" b="1">
                  <a:solidFill>
                    <a:schemeClr val="tx1"/>
                  </a:solidFill>
                  <a:latin typeface="Times" pitchFamily="18" charset="0"/>
                </a:defRPr>
              </a:lvl2pPr>
              <a:lvl3pPr marL="1143000" indent="-228600" eaLnBrk="0" hangingPunct="0">
                <a:defRPr sz="2000" b="1">
                  <a:solidFill>
                    <a:schemeClr val="tx1"/>
                  </a:solidFill>
                  <a:latin typeface="Times" pitchFamily="18" charset="0"/>
                </a:defRPr>
              </a:lvl3pPr>
              <a:lvl4pPr marL="1600200" indent="-228600" eaLnBrk="0" hangingPunct="0">
                <a:defRPr sz="2000" b="1">
                  <a:solidFill>
                    <a:schemeClr val="tx1"/>
                  </a:solidFill>
                  <a:latin typeface="Times" pitchFamily="18" charset="0"/>
                </a:defRPr>
              </a:lvl4pPr>
              <a:lvl5pPr marL="2057400" indent="-228600" eaLnBrk="0" hangingPunct="0">
                <a:defRPr sz="2000" b="1">
                  <a:solidFill>
                    <a:schemeClr val="tx1"/>
                  </a:solidFill>
                  <a:latin typeface="Times" pitchFamily="18" charset="0"/>
                </a:defRPr>
              </a:lvl5pPr>
              <a:lvl6pPr marL="2514600" indent="-228600" eaLnBrk="0" fontAlgn="base" hangingPunct="0">
                <a:spcBef>
                  <a:spcPct val="0"/>
                </a:spcBef>
                <a:spcAft>
                  <a:spcPct val="0"/>
                </a:spcAft>
                <a:defRPr sz="2000" b="1">
                  <a:solidFill>
                    <a:schemeClr val="tx1"/>
                  </a:solidFill>
                  <a:latin typeface="Times" pitchFamily="18" charset="0"/>
                </a:defRPr>
              </a:lvl6pPr>
              <a:lvl7pPr marL="2971800" indent="-228600" eaLnBrk="0" fontAlgn="base" hangingPunct="0">
                <a:spcBef>
                  <a:spcPct val="0"/>
                </a:spcBef>
                <a:spcAft>
                  <a:spcPct val="0"/>
                </a:spcAft>
                <a:defRPr sz="2000" b="1">
                  <a:solidFill>
                    <a:schemeClr val="tx1"/>
                  </a:solidFill>
                  <a:latin typeface="Times" pitchFamily="18" charset="0"/>
                </a:defRPr>
              </a:lvl7pPr>
              <a:lvl8pPr marL="3429000" indent="-228600" eaLnBrk="0" fontAlgn="base" hangingPunct="0">
                <a:spcBef>
                  <a:spcPct val="0"/>
                </a:spcBef>
                <a:spcAft>
                  <a:spcPct val="0"/>
                </a:spcAft>
                <a:defRPr sz="2000" b="1">
                  <a:solidFill>
                    <a:schemeClr val="tx1"/>
                  </a:solidFill>
                  <a:latin typeface="Times" pitchFamily="18" charset="0"/>
                </a:defRPr>
              </a:lvl8pPr>
              <a:lvl9pPr marL="3886200" indent="-228600" eaLnBrk="0" fontAlgn="base" hangingPunct="0">
                <a:spcBef>
                  <a:spcPct val="0"/>
                </a:spcBef>
                <a:spcAft>
                  <a:spcPct val="0"/>
                </a:spcAft>
                <a:defRPr sz="2000" b="1">
                  <a:solidFill>
                    <a:schemeClr val="tx1"/>
                  </a:solidFill>
                  <a:latin typeface="Times" pitchFamily="18" charset="0"/>
                </a:defRPr>
              </a:lvl9pPr>
            </a:lstStyle>
            <a:p>
              <a:pPr algn="ctr"/>
              <a:r>
                <a:rPr lang="en-US" sz="10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OURCE</a:t>
              </a:r>
              <a:r>
                <a:rPr lang="en-US" sz="1000" b="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a:t>
              </a:r>
              <a:r>
                <a:rPr lang="en-US" sz="1000" b="0" dirty="0">
                  <a:solidFill>
                    <a:prstClr val="black"/>
                  </a:solidFill>
                  <a:latin typeface="Segoe UI" panose="020B0502040204020203" pitchFamily="34" charset="0"/>
                  <a:ea typeface="Segoe UI" panose="020B0502040204020203" pitchFamily="34" charset="0"/>
                  <a:cs typeface="Segoe UI" panose="020B0502040204020203" pitchFamily="34" charset="0"/>
                </a:rPr>
                <a:t>ERHEWON INNOVATION CONSULTING</a:t>
              </a:r>
            </a:p>
          </p:txBody>
        </p:sp>
      </p:grpSp>
    </p:spTree>
    <p:extLst>
      <p:ext uri="{BB962C8B-B14F-4D97-AF65-F5344CB8AC3E}">
        <p14:creationId xmlns:p14="http://schemas.microsoft.com/office/powerpoint/2010/main" val="191903199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95299" y="71014"/>
            <a:ext cx="11427995" cy="301965"/>
          </a:xfrm>
        </p:spPr>
        <p:txBody>
          <a:bodyPr/>
          <a:lstStyle/>
          <a:p>
            <a:r>
              <a:rPr lang="en-US" b="0" dirty="0" smtClean="0"/>
              <a:t>Tailored Transition Strategy for minimal business disruption-RFP2</a:t>
            </a:r>
            <a:endParaRPr lang="en-US" b="0" dirty="0"/>
          </a:p>
        </p:txBody>
      </p:sp>
      <p:graphicFrame>
        <p:nvGraphicFramePr>
          <p:cNvPr id="105" name="Table 104"/>
          <p:cNvGraphicFramePr>
            <a:graphicFrameLocks noGrp="1"/>
          </p:cNvGraphicFramePr>
          <p:nvPr>
            <p:extLst/>
          </p:nvPr>
        </p:nvGraphicFramePr>
        <p:xfrm>
          <a:off x="103653" y="477670"/>
          <a:ext cx="12088347" cy="5814326"/>
        </p:xfrm>
        <a:graphic>
          <a:graphicData uri="http://schemas.openxmlformats.org/drawingml/2006/table">
            <a:tbl>
              <a:tblPr firstRow="1" bandRow="1">
                <a:tableStyleId>{5C22544A-7EE6-4342-B048-85BDC9FD1C3A}</a:tableStyleId>
              </a:tblPr>
              <a:tblGrid>
                <a:gridCol w="1902569">
                  <a:extLst>
                    <a:ext uri="{9D8B030D-6E8A-4147-A177-3AD203B41FA5}">
                      <a16:colId xmlns:a16="http://schemas.microsoft.com/office/drawing/2014/main" val="20000"/>
                    </a:ext>
                  </a:extLst>
                </a:gridCol>
                <a:gridCol w="2019869">
                  <a:extLst>
                    <a:ext uri="{9D8B030D-6E8A-4147-A177-3AD203B41FA5}">
                      <a16:colId xmlns:a16="http://schemas.microsoft.com/office/drawing/2014/main" val="2708286940"/>
                    </a:ext>
                  </a:extLst>
                </a:gridCol>
                <a:gridCol w="2194236">
                  <a:extLst>
                    <a:ext uri="{9D8B030D-6E8A-4147-A177-3AD203B41FA5}">
                      <a16:colId xmlns:a16="http://schemas.microsoft.com/office/drawing/2014/main" val="1238590512"/>
                    </a:ext>
                  </a:extLst>
                </a:gridCol>
                <a:gridCol w="2313006">
                  <a:extLst>
                    <a:ext uri="{9D8B030D-6E8A-4147-A177-3AD203B41FA5}">
                      <a16:colId xmlns:a16="http://schemas.microsoft.com/office/drawing/2014/main" val="3672345950"/>
                    </a:ext>
                  </a:extLst>
                </a:gridCol>
                <a:gridCol w="2098274">
                  <a:extLst>
                    <a:ext uri="{9D8B030D-6E8A-4147-A177-3AD203B41FA5}">
                      <a16:colId xmlns:a16="http://schemas.microsoft.com/office/drawing/2014/main" val="3467090128"/>
                    </a:ext>
                  </a:extLst>
                </a:gridCol>
                <a:gridCol w="1560393">
                  <a:extLst>
                    <a:ext uri="{9D8B030D-6E8A-4147-A177-3AD203B41FA5}">
                      <a16:colId xmlns:a16="http://schemas.microsoft.com/office/drawing/2014/main" val="3998250761"/>
                    </a:ext>
                  </a:extLst>
                </a:gridCol>
              </a:tblGrid>
              <a:tr h="266153">
                <a:tc rowSpan="2">
                  <a:txBody>
                    <a:bodyPr/>
                    <a:lstStyle/>
                    <a:p>
                      <a:pPr algn="ctr"/>
                      <a:r>
                        <a:rPr lang="en-US" sz="1200" dirty="0" smtClean="0"/>
                        <a:t>Nature of Work</a:t>
                      </a:r>
                      <a:endParaRPr lang="en-US" sz="1200" dirty="0"/>
                    </a:p>
                  </a:txBody>
                  <a:tcPr anchor="ctr"/>
                </a:tc>
                <a:tc rowSpan="2">
                  <a:txBody>
                    <a:bodyPr/>
                    <a:lstStyle/>
                    <a:p>
                      <a:pPr algn="ctr"/>
                      <a:r>
                        <a:rPr lang="en-US" sz="1200" dirty="0" smtClean="0"/>
                        <a:t>Key Applications</a:t>
                      </a:r>
                      <a:endParaRPr lang="en-US" sz="1200" dirty="0"/>
                    </a:p>
                  </a:txBody>
                  <a:tcPr anchor="ctr">
                    <a:lnB w="12700" cap="flat" cmpd="sng" algn="ctr">
                      <a:solidFill>
                        <a:schemeClr val="bg1">
                          <a:lumMod val="75000"/>
                        </a:schemeClr>
                      </a:solidFill>
                      <a:prstDash val="solid"/>
                      <a:round/>
                      <a:headEnd type="none" w="med" len="med"/>
                      <a:tailEnd type="none" w="med" len="med"/>
                    </a:lnB>
                  </a:tcPr>
                </a:tc>
                <a:tc gridSpan="4">
                  <a:txBody>
                    <a:bodyPr/>
                    <a:lstStyle/>
                    <a:p>
                      <a:pPr algn="ctr"/>
                      <a:r>
                        <a:rPr lang="en-US" sz="1200" dirty="0" smtClean="0"/>
                        <a:t>Knowledge Transition</a:t>
                      </a:r>
                      <a:endParaRPr lang="en-US" sz="1200" dirty="0"/>
                    </a:p>
                  </a:txBody>
                  <a:tcPr anchor="ctr"/>
                </a:tc>
                <a:tc hMerge="1">
                  <a:txBody>
                    <a:bodyPr/>
                    <a:lstStyle/>
                    <a:p>
                      <a:pPr algn="ctr"/>
                      <a:endParaRPr lang="en-US" sz="1400" dirty="0"/>
                    </a:p>
                  </a:txBody>
                  <a:tcPr anchor="ctr"/>
                </a:tc>
                <a:tc hMerge="1">
                  <a:txBody>
                    <a:bodyPr/>
                    <a:lstStyle/>
                    <a:p>
                      <a:pPr algn="ctr"/>
                      <a:endParaRPr lang="en-US" sz="1400" dirty="0"/>
                    </a:p>
                  </a:txBody>
                  <a:tcPr anchor="ctr"/>
                </a:tc>
                <a:tc hMerge="1">
                  <a:txBody>
                    <a:bodyPr/>
                    <a:lstStyle/>
                    <a:p>
                      <a:pPr algn="ctr"/>
                      <a:endParaRPr lang="en-US" sz="1400" dirty="0"/>
                    </a:p>
                  </a:txBody>
                  <a:tcPr anchor="ctr"/>
                </a:tc>
                <a:extLst>
                  <a:ext uri="{0D108BD9-81ED-4DB2-BD59-A6C34878D82A}">
                    <a16:rowId xmlns:a16="http://schemas.microsoft.com/office/drawing/2014/main" val="10000"/>
                  </a:ext>
                </a:extLst>
              </a:tr>
              <a:tr h="236581">
                <a:tc vMerge="1">
                  <a:txBody>
                    <a:bodyPr/>
                    <a:lstStyle/>
                    <a:p>
                      <a:endParaRPr lang="en-US" sz="1200" dirty="0"/>
                    </a:p>
                  </a:txBody>
                  <a:tcPr/>
                </a:tc>
                <a:tc vMerge="1">
                  <a:txBody>
                    <a:bodyPr/>
                    <a:lstStyle/>
                    <a:p>
                      <a:pPr algn="ctr"/>
                      <a:endParaRPr lang="en-US" sz="1500" dirty="0">
                        <a:solidFill>
                          <a:schemeClr val="tx2"/>
                        </a:solidFill>
                      </a:endParaRPr>
                    </a:p>
                  </a:txBody>
                  <a:tcPr anchor="ctr">
                    <a:lnB w="12700" cap="flat" cmpd="sng" algn="ctr">
                      <a:solidFill>
                        <a:schemeClr val="bg1">
                          <a:lumMod val="75000"/>
                        </a:schemeClr>
                      </a:solidFill>
                      <a:prstDash val="solid"/>
                      <a:round/>
                      <a:headEnd type="none" w="med" len="med"/>
                      <a:tailEnd type="none" w="med" len="med"/>
                    </a:lnB>
                  </a:tcPr>
                </a:tc>
                <a:tc>
                  <a:txBody>
                    <a:bodyPr/>
                    <a:lstStyle/>
                    <a:p>
                      <a:pPr algn="ctr"/>
                      <a:r>
                        <a:rPr lang="en-US" sz="1000" b="1" dirty="0" smtClean="0">
                          <a:solidFill>
                            <a:schemeClr val="tx2"/>
                          </a:solidFill>
                        </a:rPr>
                        <a:t>Planning </a:t>
                      </a:r>
                      <a:endParaRPr lang="en-US" sz="1000" b="1" dirty="0">
                        <a:solidFill>
                          <a:schemeClr val="tx2"/>
                        </a:solidFill>
                      </a:endParaRPr>
                    </a:p>
                  </a:txBody>
                  <a:tcPr anchor="ctr">
                    <a:lnB w="12700" cap="flat" cmpd="sng" algn="ctr">
                      <a:solidFill>
                        <a:schemeClr val="bg1">
                          <a:lumMod val="75000"/>
                        </a:schemeClr>
                      </a:solidFill>
                      <a:prstDash val="solid"/>
                      <a:round/>
                      <a:headEnd type="none" w="med" len="med"/>
                      <a:tailEnd type="none" w="med" len="med"/>
                    </a:lnB>
                  </a:tcPr>
                </a:tc>
                <a:tc>
                  <a:txBody>
                    <a:bodyPr/>
                    <a:lstStyle/>
                    <a:p>
                      <a:pPr algn="ctr"/>
                      <a:r>
                        <a:rPr lang="en-US" sz="1000" b="1" dirty="0" smtClean="0">
                          <a:solidFill>
                            <a:schemeClr val="tx2"/>
                          </a:solidFill>
                        </a:rPr>
                        <a:t>KA</a:t>
                      </a:r>
                      <a:endParaRPr lang="en-US" sz="1000" b="1" dirty="0">
                        <a:solidFill>
                          <a:schemeClr val="tx2"/>
                        </a:solidFill>
                      </a:endParaRPr>
                    </a:p>
                  </a:txBody>
                  <a:tcPr anchor="ctr">
                    <a:lnB w="12700" cap="flat" cmpd="sng" algn="ctr">
                      <a:solidFill>
                        <a:schemeClr val="bg1">
                          <a:lumMod val="75000"/>
                        </a:schemeClr>
                      </a:solidFill>
                      <a:prstDash val="solid"/>
                      <a:round/>
                      <a:headEnd type="none" w="med" len="med"/>
                      <a:tailEnd type="none" w="med" len="med"/>
                    </a:lnB>
                  </a:tcPr>
                </a:tc>
                <a:tc>
                  <a:txBody>
                    <a:bodyPr/>
                    <a:lstStyle/>
                    <a:p>
                      <a:pPr algn="ctr"/>
                      <a:r>
                        <a:rPr lang="en-US" sz="1000" b="1" dirty="0" smtClean="0">
                          <a:solidFill>
                            <a:schemeClr val="tx2"/>
                          </a:solidFill>
                        </a:rPr>
                        <a:t>Shadow</a:t>
                      </a:r>
                      <a:endParaRPr lang="en-US" sz="1000" b="1" dirty="0">
                        <a:solidFill>
                          <a:schemeClr val="tx2"/>
                        </a:solidFill>
                      </a:endParaRPr>
                    </a:p>
                  </a:txBody>
                  <a:tcPr anchor="ctr">
                    <a:lnB w="12700" cap="flat" cmpd="sng" algn="ctr">
                      <a:solidFill>
                        <a:schemeClr val="bg1">
                          <a:lumMod val="75000"/>
                        </a:schemeClr>
                      </a:solidFill>
                      <a:prstDash val="solid"/>
                      <a:round/>
                      <a:headEnd type="none" w="med" len="med"/>
                      <a:tailEnd type="none" w="med" len="med"/>
                    </a:lnB>
                  </a:tcPr>
                </a:tc>
                <a:tc>
                  <a:txBody>
                    <a:bodyPr/>
                    <a:lstStyle/>
                    <a:p>
                      <a:pPr algn="ctr"/>
                      <a:r>
                        <a:rPr lang="en-US" sz="1000" b="1" dirty="0" smtClean="0">
                          <a:solidFill>
                            <a:schemeClr val="tx2"/>
                          </a:solidFill>
                        </a:rPr>
                        <a:t>Reverse Shadow</a:t>
                      </a:r>
                      <a:endParaRPr lang="en-US" sz="1000" b="1" dirty="0">
                        <a:solidFill>
                          <a:schemeClr val="tx2"/>
                        </a:solidFill>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1197689">
                <a:tc>
                  <a:txBody>
                    <a:bodyPr/>
                    <a:lstStyle/>
                    <a:p>
                      <a:pPr algn="ctr"/>
                      <a:r>
                        <a:rPr lang="en-US" sz="1600" b="1" baseline="0" dirty="0" smtClean="0">
                          <a:solidFill>
                            <a:schemeClr val="tx2"/>
                          </a:solidFill>
                        </a:rPr>
                        <a:t>Legacy Applications</a:t>
                      </a:r>
                      <a:endParaRPr lang="en-US" sz="1600" b="1" dirty="0">
                        <a:solidFill>
                          <a:schemeClr val="tx2"/>
                        </a:solidFill>
                      </a:endParaRPr>
                    </a:p>
                  </a:txBody>
                  <a:tcPr anchor="ctr">
                    <a:lnR w="12700" cap="flat" cmpd="sng" algn="ctr">
                      <a:solidFill>
                        <a:schemeClr val="bg1">
                          <a:lumMod val="75000"/>
                        </a:schemeClr>
                      </a:solidFill>
                      <a:prstDash val="solid"/>
                      <a:round/>
                      <a:headEnd type="none" w="med" len="med"/>
                      <a:tailEnd type="none" w="med" len="med"/>
                    </a:lnR>
                  </a:tcPr>
                </a:tc>
                <a:tc>
                  <a:txBody>
                    <a:bodyPr/>
                    <a:lstStyle/>
                    <a:p>
                      <a:pPr algn="l"/>
                      <a:r>
                        <a:rPr lang="en-US" sz="900" dirty="0" smtClean="0">
                          <a:solidFill>
                            <a:schemeClr val="tx1"/>
                          </a:solidFill>
                          <a:latin typeface="+mn-lt"/>
                        </a:rPr>
                        <a:t>CTAC, </a:t>
                      </a:r>
                      <a:r>
                        <a:rPr lang="en-US" sz="900" b="1" dirty="0" smtClean="0">
                          <a:solidFill>
                            <a:schemeClr val="tx1"/>
                          </a:solidFill>
                          <a:latin typeface="+mn-lt"/>
                        </a:rPr>
                        <a:t>Marriott Rewards, </a:t>
                      </a:r>
                      <a:r>
                        <a:rPr lang="en-US" sz="900" dirty="0" smtClean="0">
                          <a:solidFill>
                            <a:schemeClr val="tx1"/>
                          </a:solidFill>
                          <a:latin typeface="+mn-lt"/>
                        </a:rPr>
                        <a:t>MMRS / DNA, OMNI, </a:t>
                      </a:r>
                      <a:r>
                        <a:rPr lang="en-US" sz="900" b="1" dirty="0" smtClean="0">
                          <a:solidFill>
                            <a:schemeClr val="tx1"/>
                          </a:solidFill>
                          <a:latin typeface="+mn-lt"/>
                        </a:rPr>
                        <a:t>One Yield,</a:t>
                      </a:r>
                      <a:r>
                        <a:rPr lang="en-US" sz="900" dirty="0" smtClean="0">
                          <a:solidFill>
                            <a:schemeClr val="tx1"/>
                          </a:solidFill>
                          <a:latin typeface="+mn-lt"/>
                        </a:rPr>
                        <a:t> OSCAR, TY/GPO, Decision Support System (DSS), Single Guest Image (SGI)</a:t>
                      </a:r>
                      <a:endParaRPr lang="en-US" sz="900" dirty="0">
                        <a:solidFill>
                          <a:schemeClr val="tx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171450" indent="-171450" algn="l">
                        <a:spcBef>
                          <a:spcPts val="600"/>
                        </a:spcBef>
                        <a:buFont typeface="Arial" pitchFamily="34" charset="0"/>
                        <a:buChar char="•"/>
                      </a:pPr>
                      <a:r>
                        <a:rPr lang="en-US" sz="1000" b="1" dirty="0" smtClean="0">
                          <a:solidFill>
                            <a:schemeClr val="tx1"/>
                          </a:solidFill>
                          <a:latin typeface="+mn-lt"/>
                        </a:rPr>
                        <a:t>Knowledge Mining </a:t>
                      </a:r>
                    </a:p>
                    <a:p>
                      <a:pPr marL="171450" indent="-171450" algn="l">
                        <a:spcBef>
                          <a:spcPts val="600"/>
                        </a:spcBef>
                        <a:buFont typeface="Arial" pitchFamily="34" charset="0"/>
                        <a:buChar char="•"/>
                      </a:pPr>
                      <a:r>
                        <a:rPr lang="en-US" sz="1000" b="1" baseline="0" dirty="0" smtClean="0">
                          <a:solidFill>
                            <a:schemeClr val="tx1"/>
                          </a:solidFill>
                          <a:latin typeface="+mn-lt"/>
                        </a:rPr>
                        <a:t>Installing Reverse Engineering tools</a:t>
                      </a:r>
                      <a:r>
                        <a:rPr lang="en-US" sz="1000" b="0" baseline="0" dirty="0" smtClean="0">
                          <a:solidFill>
                            <a:schemeClr val="tx1"/>
                          </a:solidFill>
                          <a:latin typeface="+mn-lt"/>
                        </a:rPr>
                        <a:t> – ZDLC and CAST</a:t>
                      </a:r>
                    </a:p>
                    <a:p>
                      <a:pPr marL="171450" indent="-171450" algn="l">
                        <a:spcBef>
                          <a:spcPts val="600"/>
                        </a:spcBef>
                        <a:buFont typeface="Arial" pitchFamily="34" charset="0"/>
                        <a:buChar char="•"/>
                      </a:pPr>
                      <a:r>
                        <a:rPr lang="en-US" sz="1000" b="1" baseline="0" dirty="0" smtClean="0">
                          <a:solidFill>
                            <a:schemeClr val="tx1"/>
                          </a:solidFill>
                          <a:latin typeface="+mn-lt"/>
                        </a:rPr>
                        <a:t>Install Shadow Buddy Bot</a:t>
                      </a:r>
                    </a:p>
                    <a:p>
                      <a:pPr marL="171450" indent="-171450" algn="l">
                        <a:spcBef>
                          <a:spcPts val="600"/>
                        </a:spcBef>
                        <a:buFont typeface="Arial" pitchFamily="34" charset="0"/>
                        <a:buChar char="•"/>
                      </a:pPr>
                      <a:r>
                        <a:rPr lang="en-US" sz="1000" b="1" baseline="0" dirty="0" smtClean="0">
                          <a:solidFill>
                            <a:schemeClr val="tx1"/>
                          </a:solidFill>
                          <a:latin typeface="+mn-lt"/>
                        </a:rPr>
                        <a:t>Historical incident analysis</a:t>
                      </a:r>
                    </a:p>
                    <a:p>
                      <a:pPr marL="171450" indent="-171450" algn="l">
                        <a:spcBef>
                          <a:spcPts val="600"/>
                        </a:spcBef>
                        <a:buFont typeface="Arial" pitchFamily="34" charset="0"/>
                        <a:buChar char="•"/>
                      </a:pPr>
                      <a:r>
                        <a:rPr lang="en-US" sz="1000" b="1" baseline="0" dirty="0" smtClean="0">
                          <a:solidFill>
                            <a:schemeClr val="tx1"/>
                          </a:solidFill>
                          <a:latin typeface="+mn-lt"/>
                        </a:rPr>
                        <a:t>Marriott specific structured Boot Camp </a:t>
                      </a:r>
                      <a:r>
                        <a:rPr lang="en-US" sz="1000" b="0" baseline="0" dirty="0" smtClean="0">
                          <a:solidFill>
                            <a:schemeClr val="tx1"/>
                          </a:solidFill>
                          <a:latin typeface="+mn-lt"/>
                        </a:rPr>
                        <a:t>– Travel and Hospitality Domain knowledge, Functional knowledge in Reservations and Revenue Management, Property management, Marketing and Loyalty, etc.</a:t>
                      </a:r>
                    </a:p>
                    <a:p>
                      <a:pPr marL="171450" indent="-171450" algn="l">
                        <a:spcBef>
                          <a:spcPts val="600"/>
                        </a:spcBef>
                        <a:buFont typeface="Arial" pitchFamily="34" charset="0"/>
                        <a:buChar char="•"/>
                      </a:pPr>
                      <a:r>
                        <a:rPr lang="en-US" sz="1000" b="1" baseline="0" dirty="0" smtClean="0">
                          <a:solidFill>
                            <a:schemeClr val="tx1"/>
                          </a:solidFill>
                          <a:latin typeface="+mn-lt"/>
                        </a:rPr>
                        <a:t>Align niche skills</a:t>
                      </a:r>
                      <a:r>
                        <a:rPr lang="en-US" sz="1000" b="0" baseline="0" dirty="0" smtClean="0">
                          <a:solidFill>
                            <a:schemeClr val="tx1"/>
                          </a:solidFill>
                          <a:latin typeface="+mn-lt"/>
                        </a:rPr>
                        <a:t> - </a:t>
                      </a:r>
                      <a:r>
                        <a:rPr lang="en-US" sz="1000" b="0" baseline="0" dirty="0" smtClean="0">
                          <a:solidFill>
                            <a:srgbClr val="FF0000"/>
                          </a:solidFill>
                          <a:latin typeface="+mn-lt"/>
                        </a:rPr>
                        <a:t>Play, AKKA, NGINX, </a:t>
                      </a:r>
                      <a:r>
                        <a:rPr lang="en-US" sz="1000" b="0" baseline="0" dirty="0" err="1" smtClean="0">
                          <a:solidFill>
                            <a:srgbClr val="FF0000"/>
                          </a:solidFill>
                          <a:latin typeface="+mn-lt"/>
                        </a:rPr>
                        <a:t>Couchbase</a:t>
                      </a:r>
                      <a:r>
                        <a:rPr lang="en-US" sz="1000" b="0" baseline="0" dirty="0" smtClean="0">
                          <a:solidFill>
                            <a:srgbClr val="FF0000"/>
                          </a:solidFill>
                          <a:latin typeface="+mn-lt"/>
                        </a:rPr>
                        <a:t>, ZTPF, Assembler, </a:t>
                      </a:r>
                      <a:r>
                        <a:rPr lang="en-US" sz="1000" b="0" baseline="0" dirty="0" err="1" smtClean="0">
                          <a:solidFill>
                            <a:srgbClr val="FF0000"/>
                          </a:solidFill>
                          <a:latin typeface="+mn-lt"/>
                        </a:rPr>
                        <a:t>Netezza</a:t>
                      </a:r>
                      <a:r>
                        <a:rPr lang="en-US" sz="1000" b="0" baseline="0" dirty="0" smtClean="0">
                          <a:solidFill>
                            <a:srgbClr val="FF0000"/>
                          </a:solidFill>
                          <a:latin typeface="+mn-lt"/>
                        </a:rPr>
                        <a:t>, ??? validate</a:t>
                      </a:r>
                    </a:p>
                    <a:p>
                      <a:pPr marL="171450" indent="-171450" algn="l">
                        <a:spcBef>
                          <a:spcPts val="600"/>
                        </a:spcBef>
                        <a:buFont typeface="Arial" pitchFamily="34" charset="0"/>
                        <a:buChar char="•"/>
                      </a:pPr>
                      <a:r>
                        <a:rPr lang="en-US" sz="1000" b="1" kern="1200" baseline="0" noProof="0" dirty="0" smtClean="0">
                          <a:solidFill>
                            <a:schemeClr val="tx1"/>
                          </a:solidFill>
                          <a:latin typeface="+mn-lt"/>
                          <a:ea typeface="+mn-ea"/>
                          <a:cs typeface="+mn-cs"/>
                        </a:rPr>
                        <a:t>Deploy Seed team </a:t>
                      </a:r>
                      <a:r>
                        <a:rPr lang="en-US" sz="1000" b="0" kern="1200" baseline="0" noProof="0" dirty="0" smtClean="0">
                          <a:solidFill>
                            <a:schemeClr val="tx1"/>
                          </a:solidFill>
                          <a:latin typeface="+mn-lt"/>
                          <a:ea typeface="+mn-ea"/>
                          <a:cs typeface="+mn-cs"/>
                        </a:rPr>
                        <a:t>comprising domain experts, techno-functional experts from similar industry- </a:t>
                      </a:r>
                      <a:r>
                        <a:rPr lang="en-US" sz="1000" b="0" kern="1200" baseline="0" noProof="0" dirty="0" smtClean="0">
                          <a:solidFill>
                            <a:srgbClr val="FF0000"/>
                          </a:solidFill>
                          <a:latin typeface="+mn-lt"/>
                          <a:ea typeface="+mn-ea"/>
                          <a:cs typeface="+mn-cs"/>
                        </a:rPr>
                        <a:t>??How many resources??</a:t>
                      </a:r>
                      <a:endParaRPr lang="en-US" sz="1000" b="0" kern="1200" baseline="0" dirty="0" smtClean="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buFont typeface="Arial" panose="020B0604020202020204" pitchFamily="34" charset="0"/>
                        <a:buNone/>
                      </a:pPr>
                      <a:r>
                        <a:rPr lang="en-US" sz="1000" b="0" dirty="0" smtClean="0">
                          <a:solidFill>
                            <a:schemeClr val="tx1"/>
                          </a:solidFill>
                          <a:latin typeface="+mn-lt"/>
                        </a:rPr>
                        <a:t>Tool</a:t>
                      </a:r>
                      <a:r>
                        <a:rPr lang="en-US" sz="1000" b="0" baseline="0" dirty="0" smtClean="0">
                          <a:solidFill>
                            <a:schemeClr val="tx1"/>
                          </a:solidFill>
                          <a:latin typeface="+mn-lt"/>
                        </a:rPr>
                        <a:t> based (CAST) </a:t>
                      </a:r>
                      <a:r>
                        <a:rPr lang="en-US" sz="1000" b="1" dirty="0" smtClean="0">
                          <a:solidFill>
                            <a:schemeClr val="tx1"/>
                          </a:solidFill>
                          <a:latin typeface="+mn-lt"/>
                        </a:rPr>
                        <a:t>Application code complexity</a:t>
                      </a:r>
                      <a:r>
                        <a:rPr lang="en-US" sz="1000" b="1" baseline="0" dirty="0" smtClean="0">
                          <a:solidFill>
                            <a:schemeClr val="tx1"/>
                          </a:solidFill>
                          <a:latin typeface="+mn-lt"/>
                        </a:rPr>
                        <a:t> analysis</a:t>
                      </a:r>
                    </a:p>
                    <a:p>
                      <a:pPr marL="0" indent="0" algn="l">
                        <a:spcBef>
                          <a:spcPts val="600"/>
                        </a:spcBef>
                        <a:buFont typeface="Arial" panose="020B0604020202020204" pitchFamily="34" charset="0"/>
                        <a:buNone/>
                      </a:pPr>
                      <a:r>
                        <a:rPr lang="en-US" sz="1000" baseline="0" dirty="0" smtClean="0">
                          <a:solidFill>
                            <a:schemeClr val="tx1"/>
                          </a:solidFill>
                          <a:latin typeface="+mn-lt"/>
                        </a:rPr>
                        <a:t>Modular KA sessions - sub functionalities</a:t>
                      </a:r>
                    </a:p>
                    <a:p>
                      <a:pPr marL="0" indent="0" algn="l">
                        <a:spcBef>
                          <a:spcPts val="600"/>
                        </a:spcBef>
                        <a:buFont typeface="Arial" panose="020B0604020202020204" pitchFamily="34" charset="0"/>
                        <a:buNone/>
                      </a:pPr>
                      <a:r>
                        <a:rPr lang="en-US" sz="1000" b="1" baseline="0" dirty="0" smtClean="0">
                          <a:solidFill>
                            <a:schemeClr val="tx1"/>
                          </a:solidFill>
                          <a:latin typeface="+mn-lt"/>
                        </a:rPr>
                        <a:t>Sequencing as per business process flow</a:t>
                      </a:r>
                      <a:r>
                        <a:rPr lang="en-US" sz="1000" baseline="0" dirty="0" smtClean="0">
                          <a:solidFill>
                            <a:schemeClr val="tx1"/>
                          </a:solidFill>
                          <a:latin typeface="+mn-lt"/>
                        </a:rPr>
                        <a:t>  </a:t>
                      </a:r>
                      <a:endParaRPr lang="en-US" sz="1000" dirty="0" smtClean="0">
                        <a:solidFill>
                          <a:schemeClr val="tx1"/>
                        </a:solidFill>
                        <a:latin typeface="+mn-lt"/>
                      </a:endParaRPr>
                    </a:p>
                    <a:p>
                      <a:pPr marL="0" indent="0" algn="l">
                        <a:spcBef>
                          <a:spcPts val="600"/>
                        </a:spcBef>
                        <a:buFont typeface="Arial" panose="020B0604020202020204" pitchFamily="34" charset="0"/>
                        <a:buNone/>
                      </a:pPr>
                      <a:r>
                        <a:rPr lang="en-US" sz="1000" dirty="0" smtClean="0">
                          <a:solidFill>
                            <a:schemeClr val="tx1"/>
                          </a:solidFill>
                          <a:latin typeface="+mn-lt"/>
                        </a:rPr>
                        <a:t>Deploying Resources from Cognizant Mainframe COE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Analyze historical incidents- shadowing scenario</a:t>
                      </a:r>
                    </a:p>
                    <a:p>
                      <a:pPr marL="45720" indent="-45720" algn="l">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tart performing </a:t>
                      </a:r>
                      <a:r>
                        <a:rPr lang="en-US" sz="1000" kern="1200" baseline="0" noProof="0" dirty="0" smtClean="0">
                          <a:solidFill>
                            <a:schemeClr val="tx1"/>
                          </a:solidFill>
                          <a:latin typeface="+mn-lt"/>
                          <a:ea typeface="+mn-ea"/>
                          <a:cs typeface="+mn-cs"/>
                        </a:rPr>
                        <a:t>on the live tickets under supervision of Client</a:t>
                      </a:r>
                    </a:p>
                    <a:p>
                      <a:pPr marL="45720" indent="-45720" algn="l">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Focus on Critical tickets</a:t>
                      </a:r>
                      <a:r>
                        <a:rPr lang="en-US" sz="1000" kern="1200" baseline="0" noProof="0" dirty="0" smtClean="0">
                          <a:solidFill>
                            <a:schemeClr val="tx1"/>
                          </a:solidFill>
                          <a:latin typeface="+mn-lt"/>
                          <a:ea typeface="+mn-ea"/>
                          <a:cs typeface="+mn-cs"/>
                        </a:rPr>
                        <a:t> and processes and start updating KEDB</a:t>
                      </a:r>
                      <a:endParaRPr lang="en-US" sz="1000" kern="1200" baseline="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52388" indent="-52388" algn="l">
                        <a:spcBef>
                          <a:spcPts val="600"/>
                        </a:spcBef>
                        <a:buFont typeface="Arial" panose="020B0604020202020204" pitchFamily="34" charset="0"/>
                        <a:buChar char="•"/>
                      </a:pPr>
                      <a:r>
                        <a:rPr lang="en-US" sz="1000" dirty="0" smtClean="0">
                          <a:solidFill>
                            <a:schemeClr val="tx1"/>
                          </a:solidFill>
                          <a:latin typeface="+mn-lt"/>
                        </a:rPr>
                        <a:t>Resolve Incidents</a:t>
                      </a:r>
                      <a:r>
                        <a:rPr lang="en-US" sz="1000" baseline="0" dirty="0" smtClean="0">
                          <a:solidFill>
                            <a:schemeClr val="tx1"/>
                          </a:solidFill>
                          <a:latin typeface="+mn-lt"/>
                        </a:rPr>
                        <a:t> and problems independently</a:t>
                      </a:r>
                    </a:p>
                    <a:p>
                      <a:pPr marL="52388" indent="-52388" algn="l">
                        <a:spcBef>
                          <a:spcPts val="600"/>
                        </a:spcBef>
                        <a:buFont typeface="Arial" panose="020B0604020202020204" pitchFamily="34" charset="0"/>
                        <a:buChar char="•"/>
                      </a:pPr>
                      <a:endParaRPr lang="en-US" sz="1000" baseline="0" dirty="0" smtClean="0">
                        <a:solidFill>
                          <a:schemeClr val="tx1"/>
                        </a:solidFill>
                        <a:latin typeface="+mn-lt"/>
                      </a:endParaRPr>
                    </a:p>
                    <a:p>
                      <a:pPr marL="52388" indent="-52388" algn="l">
                        <a:spcBef>
                          <a:spcPts val="600"/>
                        </a:spcBef>
                        <a:buFont typeface="Arial" panose="020B0604020202020204" pitchFamily="34" charset="0"/>
                        <a:buChar char="•"/>
                      </a:pPr>
                      <a:r>
                        <a:rPr lang="en-US" sz="1000" baseline="0" dirty="0" smtClean="0">
                          <a:solidFill>
                            <a:schemeClr val="tx1"/>
                          </a:solidFill>
                          <a:latin typeface="+mn-lt"/>
                        </a:rPr>
                        <a:t>Deploy changes in production and understand Release and Change Management process </a:t>
                      </a:r>
                    </a:p>
                    <a:p>
                      <a:pPr marL="52388" indent="-52388" algn="l">
                        <a:spcBef>
                          <a:spcPts val="600"/>
                        </a:spcBef>
                        <a:buFont typeface="Arial" panose="020B0604020202020204" pitchFamily="34" charset="0"/>
                        <a:buChar char="•"/>
                      </a:pPr>
                      <a:r>
                        <a:rPr lang="en-US" sz="1000" baseline="0" dirty="0" smtClean="0">
                          <a:solidFill>
                            <a:schemeClr val="tx1"/>
                          </a:solidFill>
                          <a:latin typeface="+mn-lt"/>
                        </a:rPr>
                        <a:t>Current SLA/PLA and KPIs</a:t>
                      </a:r>
                    </a:p>
                    <a:p>
                      <a:pPr marL="52388" indent="-52388" algn="l">
                        <a:spcBef>
                          <a:spcPts val="600"/>
                        </a:spcBef>
                        <a:buFont typeface="Arial" panose="020B0604020202020204" pitchFamily="34" charset="0"/>
                        <a:buChar char="•"/>
                      </a:pPr>
                      <a:r>
                        <a:rPr lang="en-US" sz="1000" baseline="0" dirty="0" smtClean="0">
                          <a:solidFill>
                            <a:schemeClr val="tx1"/>
                          </a:solidFill>
                          <a:latin typeface="+mn-lt"/>
                        </a:rPr>
                        <a:t> Steady State Governance and reporting</a:t>
                      </a:r>
                    </a:p>
                    <a:p>
                      <a:pPr algn="l"/>
                      <a:endParaRPr lang="en-US" sz="1000" dirty="0">
                        <a:solidFill>
                          <a:schemeClr val="tx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19484">
                <a:tc>
                  <a:txBody>
                    <a:bodyPr/>
                    <a:lstStyle/>
                    <a:p>
                      <a:pPr algn="ctr"/>
                      <a:r>
                        <a:rPr lang="en-US" sz="1600" b="1" baseline="0" dirty="0" smtClean="0">
                          <a:solidFill>
                            <a:schemeClr val="tx2"/>
                          </a:solidFill>
                        </a:rPr>
                        <a:t>Highly Business Critical</a:t>
                      </a:r>
                      <a:endParaRPr lang="en-US" sz="1600" b="1" dirty="0">
                        <a:solidFill>
                          <a:schemeClr val="tx2"/>
                        </a:solidFill>
                      </a:endParaRPr>
                    </a:p>
                  </a:txBody>
                  <a:tcPr anchor="ctr">
                    <a:lnR w="12700" cap="flat" cmpd="sng" algn="ctr">
                      <a:solidFill>
                        <a:schemeClr val="bg1">
                          <a:lumMod val="75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mn-lt"/>
                        </a:rPr>
                        <a:t>Marriott Mobile, </a:t>
                      </a:r>
                      <a:r>
                        <a:rPr lang="en-US" sz="900" b="1" dirty="0" err="1" smtClean="0">
                          <a:solidFill>
                            <a:schemeClr val="tx1"/>
                          </a:solidFill>
                          <a:latin typeface="+mn-lt"/>
                        </a:rPr>
                        <a:t>Marriott.Com</a:t>
                      </a:r>
                      <a:r>
                        <a:rPr lang="en-US" sz="900" b="1" dirty="0" smtClean="0">
                          <a:solidFill>
                            <a:schemeClr val="tx1"/>
                          </a:solidFill>
                          <a:latin typeface="+mn-lt"/>
                        </a:rPr>
                        <a:t>, MARSHA</a:t>
                      </a:r>
                    </a:p>
                    <a:p>
                      <a:pPr algn="l"/>
                      <a:r>
                        <a:rPr lang="en-US" sz="900" dirty="0" smtClean="0">
                          <a:solidFill>
                            <a:schemeClr val="tx1"/>
                          </a:solidFill>
                          <a:latin typeface="+mn-lt"/>
                        </a:rPr>
                        <a:t>FOSSE PMS, Full Service PMS, GPMS, Agent Desktop / Engage, API Platform, CI Application, Data Warehouse (ETL), High Perf Pricing, Marriott Property Gateway (MPG), Marriott Rewards One Yield, TY/GPO</a:t>
                      </a:r>
                      <a:endParaRPr lang="en-US" sz="900" dirty="0">
                        <a:solidFill>
                          <a:schemeClr val="tx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endParaRPr lang="en-US" sz="1200" dirty="0">
                        <a:solidFill>
                          <a:schemeClr val="bg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US" sz="1000" b="1" kern="1200" dirty="0" smtClean="0">
                          <a:solidFill>
                            <a:schemeClr val="tx1"/>
                          </a:solidFill>
                          <a:latin typeface="+mn-lt"/>
                          <a:ea typeface="+mn-ea"/>
                          <a:cs typeface="+mn-cs"/>
                        </a:rPr>
                        <a:t>Knowledge Centric KT with longer KA </a:t>
                      </a:r>
                      <a:r>
                        <a:rPr lang="en-US" sz="1000" kern="1200" dirty="0" smtClean="0">
                          <a:solidFill>
                            <a:schemeClr val="tx1"/>
                          </a:solidFill>
                          <a:latin typeface="+mn-lt"/>
                          <a:ea typeface="+mn-ea"/>
                          <a:cs typeface="+mn-cs"/>
                        </a:rPr>
                        <a:t>based on Pareto analysis – 80/20</a:t>
                      </a:r>
                    </a:p>
                    <a:p>
                      <a:pPr marL="45720" indent="-45720" algn="l" defTabSz="914400" rtl="0" eaLnBrk="1" latinLnBrk="0" hangingPunct="1">
                        <a:spcBef>
                          <a:spcPts val="600"/>
                        </a:spcBef>
                        <a:buFont typeface="Arial" panose="020B0604020202020204" pitchFamily="34" charset="0"/>
                        <a:buChar char="•"/>
                      </a:pPr>
                      <a:r>
                        <a:rPr lang="en-US" sz="1000" b="1" kern="1200" dirty="0" smtClean="0">
                          <a:solidFill>
                            <a:schemeClr val="tx1"/>
                          </a:solidFill>
                          <a:latin typeface="+mn-lt"/>
                          <a:ea typeface="+mn-ea"/>
                          <a:cs typeface="+mn-cs"/>
                        </a:rPr>
                        <a:t>Focus on areas with </a:t>
                      </a:r>
                      <a:r>
                        <a:rPr lang="en-US" sz="1000" b="1" kern="1200" noProof="0" dirty="0" smtClean="0">
                          <a:solidFill>
                            <a:schemeClr val="tx1"/>
                          </a:solidFill>
                          <a:latin typeface="+mn-lt"/>
                          <a:ea typeface="+mn-ea"/>
                          <a:cs typeface="+mn-cs"/>
                        </a:rPr>
                        <a:t>high financial </a:t>
                      </a:r>
                      <a:r>
                        <a:rPr lang="en-US" sz="1000" kern="1200" noProof="0" dirty="0" smtClean="0">
                          <a:solidFill>
                            <a:schemeClr val="tx1"/>
                          </a:solidFill>
                          <a:latin typeface="+mn-lt"/>
                          <a:ea typeface="+mn-ea"/>
                          <a:cs typeface="+mn-cs"/>
                        </a:rPr>
                        <a:t>impact - e.g., revenue loss</a:t>
                      </a:r>
                      <a:endParaRPr lang="en-US" sz="1000" kern="1200" dirty="0" smtClean="0">
                        <a:solidFill>
                          <a:schemeClr val="tx1"/>
                        </a:solidFill>
                        <a:latin typeface="+mn-lt"/>
                        <a:ea typeface="+mn-ea"/>
                        <a:cs typeface="+mn-cs"/>
                      </a:endParaRPr>
                    </a:p>
                    <a:p>
                      <a:pPr marL="45720" indent="-45720" algn="l" defTabSz="914400" rtl="0" eaLnBrk="1" latinLnBrk="0" hangingPunct="1">
                        <a:spcBef>
                          <a:spcPts val="600"/>
                        </a:spcBef>
                        <a:buFont typeface="Arial" panose="020B0604020202020204" pitchFamily="34" charset="0"/>
                        <a:buChar char="•"/>
                      </a:pPr>
                      <a:r>
                        <a:rPr lang="en-US" sz="1000" b="1" kern="1200" dirty="0" smtClean="0">
                          <a:solidFill>
                            <a:schemeClr val="tx1"/>
                          </a:solidFill>
                          <a:latin typeface="+mn-lt"/>
                          <a:ea typeface="+mn-ea"/>
                          <a:cs typeface="+mn-cs"/>
                        </a:rPr>
                        <a:t>Engage SWAT team</a:t>
                      </a:r>
                      <a:r>
                        <a:rPr lang="en-US" sz="1000" kern="1200" dirty="0" smtClean="0">
                          <a:solidFill>
                            <a:schemeClr val="tx1"/>
                          </a:solidFill>
                          <a:latin typeface="+mn-lt"/>
                          <a:ea typeface="+mn-ea"/>
                          <a:cs typeface="+mn-cs"/>
                        </a:rPr>
                        <a:t>-</a:t>
                      </a:r>
                      <a:r>
                        <a:rPr lang="en-US" sz="1000" kern="1200" noProof="0" dirty="0" smtClean="0">
                          <a:solidFill>
                            <a:schemeClr val="tx1"/>
                          </a:solidFill>
                          <a:latin typeface="+mn-lt"/>
                          <a:ea typeface="+mn-ea"/>
                          <a:cs typeface="+mn-cs"/>
                        </a:rPr>
                        <a:t>domain experts from Cognizant </a:t>
                      </a:r>
                      <a:endParaRPr lang="en-US"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hadow Buddy Bot based incident clustering and analysis -</a:t>
                      </a:r>
                      <a:r>
                        <a:rPr lang="en-US" sz="1000" kern="1200" baseline="0" noProof="0" dirty="0" smtClean="0">
                          <a:solidFill>
                            <a:schemeClr val="tx1"/>
                          </a:solidFill>
                          <a:latin typeface="+mn-lt"/>
                          <a:ea typeface="+mn-ea"/>
                          <a:cs typeface="+mn-cs"/>
                        </a:rPr>
                        <a:t> resolution, SLA breach, trend</a:t>
                      </a:r>
                    </a:p>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cenario based simulation and mock drill o</a:t>
                      </a:r>
                      <a:r>
                        <a:rPr lang="en-US" sz="1000" kern="1200" baseline="0" noProof="0" dirty="0" smtClean="0">
                          <a:solidFill>
                            <a:schemeClr val="tx1"/>
                          </a:solidFill>
                          <a:latin typeface="+mn-lt"/>
                          <a:ea typeface="+mn-ea"/>
                          <a:cs typeface="+mn-cs"/>
                        </a:rPr>
                        <a:t>f incidents and SRs</a:t>
                      </a:r>
                    </a:p>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Multiple iterations of high priority scenarios to gain expertise in </a:t>
                      </a:r>
                      <a:r>
                        <a:rPr lang="en-US" sz="1000" kern="1200" baseline="0" noProof="0" dirty="0" smtClean="0">
                          <a:solidFill>
                            <a:schemeClr val="tx1"/>
                          </a:solidFill>
                          <a:latin typeface="+mn-lt"/>
                          <a:ea typeface="+mn-ea"/>
                          <a:cs typeface="+mn-cs"/>
                        </a:rPr>
                        <a:t>solving incidents</a:t>
                      </a:r>
                      <a:endParaRPr lang="en-US" sz="1000" kern="1200" baseline="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45720" indent="-45720" algn="l" defTabSz="914400" rtl="0" eaLnBrk="1" latinLnBrk="0" hangingPunct="1">
                        <a:buFont typeface="Arial" panose="020B0604020202020204" pitchFamily="34" charset="0"/>
                        <a:buChar char="•"/>
                      </a:pPr>
                      <a:endParaRPr lang="en-US"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73237">
                <a:tc>
                  <a:txBody>
                    <a:bodyPr/>
                    <a:lstStyle/>
                    <a:p>
                      <a:pPr algn="ctr"/>
                      <a:r>
                        <a:rPr lang="en-US" sz="1600" b="1" dirty="0" smtClean="0">
                          <a:solidFill>
                            <a:schemeClr val="tx2"/>
                          </a:solidFill>
                        </a:rPr>
                        <a:t>e-commerce and Digital applications</a:t>
                      </a:r>
                      <a:endParaRPr lang="en-US" sz="1600" b="1" dirty="0">
                        <a:solidFill>
                          <a:schemeClr val="tx2"/>
                        </a:solidFill>
                      </a:endParaRPr>
                    </a:p>
                  </a:txBody>
                  <a:tcPr anchor="ctr">
                    <a:lnR w="12700" cap="flat" cmpd="sng" algn="ctr">
                      <a:solidFill>
                        <a:schemeClr val="bg1">
                          <a:lumMod val="75000"/>
                        </a:schemeClr>
                      </a:solidFill>
                      <a:prstDash val="solid"/>
                      <a:round/>
                      <a:headEnd type="none" w="med" len="med"/>
                      <a:tailEnd type="none" w="med" len="med"/>
                    </a:lnR>
                  </a:tcPr>
                </a:tc>
                <a:tc>
                  <a:txBody>
                    <a:bodyPr/>
                    <a:lstStyle/>
                    <a:p>
                      <a:pPr algn="l"/>
                      <a:r>
                        <a:rPr lang="en-US" sz="900" b="1" dirty="0" smtClean="0">
                          <a:solidFill>
                            <a:schemeClr val="tx1"/>
                          </a:solidFill>
                          <a:latin typeface="+mn-lt"/>
                        </a:rPr>
                        <a:t>Marriott Mobile,</a:t>
                      </a:r>
                    </a:p>
                    <a:p>
                      <a:pPr algn="l"/>
                      <a:r>
                        <a:rPr lang="en-US" sz="900" b="1" dirty="0" err="1" smtClean="0">
                          <a:solidFill>
                            <a:schemeClr val="tx1"/>
                          </a:solidFill>
                          <a:latin typeface="+mn-lt"/>
                        </a:rPr>
                        <a:t>Marriott.Com</a:t>
                      </a:r>
                      <a:r>
                        <a:rPr lang="en-US" sz="900" b="1" dirty="0" smtClean="0">
                          <a:solidFill>
                            <a:schemeClr val="tx1"/>
                          </a:solidFill>
                          <a:latin typeface="+mn-l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rPr>
                        <a:t>Marriott Property Gateway (MPG)</a:t>
                      </a:r>
                    </a:p>
                    <a:p>
                      <a:pPr algn="l"/>
                      <a:endParaRPr lang="en-US" sz="900" dirty="0">
                        <a:solidFill>
                          <a:schemeClr val="tx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endParaRPr lang="en-US" sz="1200" dirty="0">
                        <a:solidFill>
                          <a:schemeClr val="bg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US" sz="1000" kern="1200" dirty="0" smtClean="0">
                          <a:solidFill>
                            <a:schemeClr val="tx1"/>
                          </a:solidFill>
                          <a:latin typeface="+mn-lt"/>
                          <a:ea typeface="+mn-ea"/>
                          <a:cs typeface="+mn-cs"/>
                        </a:rPr>
                        <a:t> Use ZDLC  to</a:t>
                      </a:r>
                      <a:r>
                        <a:rPr lang="en-US" sz="1000" b="1" kern="1200" dirty="0" smtClean="0">
                          <a:solidFill>
                            <a:schemeClr val="tx1"/>
                          </a:solidFill>
                          <a:latin typeface="+mn-lt"/>
                          <a:ea typeface="+mn-ea"/>
                          <a:cs typeface="+mn-cs"/>
                        </a:rPr>
                        <a:t> understand</a:t>
                      </a:r>
                      <a:r>
                        <a:rPr lang="en-US" sz="1000" b="1" kern="1200" baseline="0" dirty="0" smtClean="0">
                          <a:solidFill>
                            <a:schemeClr val="tx1"/>
                          </a:solidFill>
                          <a:latin typeface="+mn-lt"/>
                          <a:ea typeface="+mn-ea"/>
                          <a:cs typeface="+mn-cs"/>
                        </a:rPr>
                        <a:t> User </a:t>
                      </a:r>
                      <a:r>
                        <a:rPr lang="en-US" sz="1000" b="1" kern="1200" dirty="0" smtClean="0">
                          <a:solidFill>
                            <a:schemeClr val="tx1"/>
                          </a:solidFill>
                          <a:latin typeface="+mn-lt"/>
                          <a:ea typeface="+mn-ea"/>
                          <a:cs typeface="+mn-cs"/>
                        </a:rPr>
                        <a:t>Activity Flow, Business Rules, Validation Rules</a:t>
                      </a:r>
                    </a:p>
                    <a:p>
                      <a:pPr marL="45720" indent="-45720" algn="l" defTabSz="914400" rtl="0" eaLnBrk="1" latinLnBrk="0" hangingPunct="1">
                        <a:spcBef>
                          <a:spcPts val="600"/>
                        </a:spcBef>
                        <a:buFont typeface="Arial" panose="020B0604020202020204" pitchFamily="34" charset="0"/>
                        <a:buChar char="•"/>
                      </a:pPr>
                      <a:r>
                        <a:rPr lang="en-US" sz="1000" b="1" kern="1200" dirty="0" smtClean="0">
                          <a:solidFill>
                            <a:schemeClr val="tx1"/>
                          </a:solidFill>
                          <a:latin typeface="+mn-lt"/>
                          <a:ea typeface="+mn-ea"/>
                          <a:cs typeface="+mn-cs"/>
                        </a:rPr>
                        <a:t>Analyze Application log and understand Sequence diagram, Class Diagram- -</a:t>
                      </a:r>
                      <a:r>
                        <a:rPr lang="en-US" sz="1000" kern="1200" dirty="0" smtClean="0">
                          <a:solidFill>
                            <a:schemeClr val="tx1"/>
                          </a:solidFill>
                          <a:latin typeface="+mn-lt"/>
                          <a:ea typeface="+mn-ea"/>
                          <a:cs typeface="+mn-cs"/>
                        </a:rPr>
                        <a:t>Associate models with corresponding use cas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hadow Buddy Bot based incident clustering and analysis -</a:t>
                      </a:r>
                      <a:r>
                        <a:rPr lang="en-US" sz="1000" kern="1200" baseline="0" noProof="0" dirty="0" smtClean="0">
                          <a:solidFill>
                            <a:schemeClr val="tx1"/>
                          </a:solidFill>
                          <a:latin typeface="+mn-lt"/>
                          <a:ea typeface="+mn-ea"/>
                          <a:cs typeface="+mn-cs"/>
                        </a:rPr>
                        <a:t> resolution, SLA breach, trend</a:t>
                      </a:r>
                    </a:p>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cenario based simulation and mock drill</a:t>
                      </a:r>
                      <a:endParaRPr lang="en-US" sz="1000" b="1" kern="1200" baseline="0" dirty="0" smtClean="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45720" indent="-45720" algn="l" defTabSz="914400" rtl="0" eaLnBrk="1" latinLnBrk="0" hangingPunct="1">
                        <a:buFont typeface="Arial" panose="020B0604020202020204" pitchFamily="34" charset="0"/>
                        <a:buChar char="•"/>
                      </a:pPr>
                      <a:endParaRPr lang="en-US"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25449">
                <a:tc>
                  <a:txBody>
                    <a:bodyPr/>
                    <a:lstStyle/>
                    <a:p>
                      <a:pPr algn="ctr"/>
                      <a:r>
                        <a:rPr lang="en-US" sz="1600" b="1" dirty="0" smtClean="0">
                          <a:solidFill>
                            <a:schemeClr val="tx2"/>
                          </a:solidFill>
                        </a:rPr>
                        <a:t>Instable</a:t>
                      </a:r>
                      <a:r>
                        <a:rPr lang="en-US" sz="1600" b="1" baseline="0" dirty="0" smtClean="0">
                          <a:solidFill>
                            <a:schemeClr val="tx2"/>
                          </a:solidFill>
                        </a:rPr>
                        <a:t> Applications having high financial applications</a:t>
                      </a:r>
                      <a:endParaRPr lang="en-US" sz="1600" b="1" dirty="0">
                        <a:solidFill>
                          <a:schemeClr val="tx2"/>
                        </a:solidFill>
                      </a:endParaRPr>
                    </a:p>
                  </a:txBody>
                  <a:tcPr anchor="ctr">
                    <a:lnR w="12700" cap="flat" cmpd="sng" algn="ctr">
                      <a:solidFill>
                        <a:schemeClr val="bg1">
                          <a:lumMod val="75000"/>
                        </a:schemeClr>
                      </a:solidFill>
                      <a:prstDash val="solid"/>
                      <a:round/>
                      <a:headEnd type="none" w="med" len="med"/>
                      <a:tailEnd type="none" w="med" len="med"/>
                    </a:lnR>
                  </a:tcPr>
                </a:tc>
                <a:tc>
                  <a:txBody>
                    <a:bodyPr/>
                    <a:lstStyle/>
                    <a:p>
                      <a:pPr algn="l"/>
                      <a:r>
                        <a:rPr lang="en-US" sz="900" b="1" dirty="0" smtClean="0">
                          <a:solidFill>
                            <a:schemeClr val="tx1"/>
                          </a:solidFill>
                          <a:latin typeface="+mn-lt"/>
                        </a:rPr>
                        <a:t>One </a:t>
                      </a:r>
                      <a:r>
                        <a:rPr lang="en-US" sz="900" b="1" dirty="0" err="1" smtClean="0">
                          <a:solidFill>
                            <a:schemeClr val="tx1"/>
                          </a:solidFill>
                          <a:latin typeface="+mn-lt"/>
                        </a:rPr>
                        <a:t>Yeild</a:t>
                      </a:r>
                      <a:r>
                        <a:rPr lang="en-US" sz="900" b="1" dirty="0" smtClean="0">
                          <a:solidFill>
                            <a:schemeClr val="tx1"/>
                          </a:solidFill>
                          <a:latin typeface="+mn-lt"/>
                        </a:rPr>
                        <a:t>, </a:t>
                      </a:r>
                    </a:p>
                    <a:p>
                      <a:pPr algn="l"/>
                      <a:r>
                        <a:rPr lang="en-US" sz="900" b="1" dirty="0" smtClean="0">
                          <a:solidFill>
                            <a:schemeClr val="tx1"/>
                          </a:solidFill>
                          <a:latin typeface="+mn-lt"/>
                        </a:rPr>
                        <a:t>Engage, </a:t>
                      </a:r>
                    </a:p>
                    <a:p>
                      <a:pPr algn="l"/>
                      <a:r>
                        <a:rPr lang="en-US" sz="900" b="1" dirty="0" smtClean="0">
                          <a:solidFill>
                            <a:schemeClr val="tx1"/>
                          </a:solidFill>
                          <a:latin typeface="+mn-lt"/>
                        </a:rPr>
                        <a:t>CI Application,</a:t>
                      </a:r>
                    </a:p>
                    <a:p>
                      <a:pPr algn="l"/>
                      <a:r>
                        <a:rPr lang="en-US" sz="900" dirty="0" smtClean="0">
                          <a:solidFill>
                            <a:schemeClr val="tx1"/>
                          </a:solidFill>
                          <a:latin typeface="+mn-lt"/>
                        </a:rPr>
                        <a:t>Data </a:t>
                      </a:r>
                      <a:r>
                        <a:rPr lang="en-US" sz="900" dirty="0" err="1" smtClean="0">
                          <a:solidFill>
                            <a:schemeClr val="tx1"/>
                          </a:solidFill>
                          <a:latin typeface="+mn-lt"/>
                        </a:rPr>
                        <a:t>Platform,High</a:t>
                      </a:r>
                      <a:r>
                        <a:rPr lang="en-US" sz="900" dirty="0" smtClean="0">
                          <a:solidFill>
                            <a:schemeClr val="tx1"/>
                          </a:solidFill>
                          <a:latin typeface="+mn-lt"/>
                        </a:rPr>
                        <a:t> Perf Pricing, Marriott Rewards, MARSHA</a:t>
                      </a:r>
                    </a:p>
                    <a:p>
                      <a:pPr algn="l"/>
                      <a:endParaRPr lang="en-US" sz="900" dirty="0">
                        <a:solidFill>
                          <a:schemeClr val="tx1"/>
                        </a:solidFill>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endParaRPr lang="en-US" sz="1200" dirty="0">
                        <a:latin typeface="+mn-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IN" sz="1000" b="1" kern="1200" noProof="0" dirty="0" smtClean="0">
                          <a:solidFill>
                            <a:schemeClr val="tx1"/>
                          </a:solidFill>
                          <a:latin typeface="+mn-lt"/>
                          <a:ea typeface="+mn-ea"/>
                          <a:cs typeface="+mn-cs"/>
                        </a:rPr>
                        <a:t>Activity and scenario based KT f</a:t>
                      </a:r>
                      <a:r>
                        <a:rPr lang="en-IN" sz="1000" kern="1200" noProof="0" dirty="0" smtClean="0">
                          <a:solidFill>
                            <a:schemeClr val="tx1"/>
                          </a:solidFill>
                          <a:latin typeface="+mn-lt"/>
                          <a:ea typeface="+mn-ea"/>
                          <a:cs typeface="+mn-cs"/>
                        </a:rPr>
                        <a:t>or capturing experience</a:t>
                      </a:r>
                      <a:endParaRPr lang="en-US" sz="1000" kern="1200" noProof="0" dirty="0" smtClean="0">
                        <a:solidFill>
                          <a:schemeClr val="tx1"/>
                        </a:solidFill>
                        <a:latin typeface="+mn-lt"/>
                        <a:ea typeface="+mn-ea"/>
                        <a:cs typeface="+mn-cs"/>
                      </a:endParaRPr>
                    </a:p>
                    <a:p>
                      <a:pPr marL="45720" indent="-45720" algn="l" defTabSz="914400" rtl="0" eaLnBrk="1" latinLnBrk="0" hangingPunct="1">
                        <a:spcBef>
                          <a:spcPts val="600"/>
                        </a:spcBef>
                        <a:buFont typeface="Arial" panose="020B0604020202020204" pitchFamily="34" charset="0"/>
                        <a:buChar char="•"/>
                      </a:pPr>
                      <a:r>
                        <a:rPr lang="en-IN" sz="1000" b="1" kern="1200" noProof="0" dirty="0" smtClean="0">
                          <a:solidFill>
                            <a:schemeClr val="tx1"/>
                          </a:solidFill>
                          <a:latin typeface="+mn-lt"/>
                          <a:ea typeface="+mn-ea"/>
                          <a:cs typeface="+mn-cs"/>
                        </a:rPr>
                        <a:t>Focus on areas of recent and maximum code changes</a:t>
                      </a:r>
                    </a:p>
                    <a:p>
                      <a:pPr marL="45720" indent="-45720" algn="l" defTabSz="914400" rtl="0" eaLnBrk="1" latinLnBrk="0" hangingPunct="1">
                        <a:spcBef>
                          <a:spcPts val="600"/>
                        </a:spcBef>
                        <a:buFont typeface="Arial" panose="020B0604020202020204" pitchFamily="34" charset="0"/>
                        <a:buChar char="•"/>
                      </a:pPr>
                      <a:r>
                        <a:rPr lang="en-IN" sz="1000" b="1" kern="1200" noProof="0" dirty="0" smtClean="0">
                          <a:solidFill>
                            <a:schemeClr val="tx1"/>
                          </a:solidFill>
                          <a:latin typeface="+mn-lt"/>
                          <a:ea typeface="+mn-ea"/>
                          <a:cs typeface="+mn-cs"/>
                        </a:rPr>
                        <a:t>Understand root cause</a:t>
                      </a:r>
                      <a:endParaRPr lang="en-US" sz="1000" b="1"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Longer Shadow phase to cover planned </a:t>
                      </a:r>
                      <a:r>
                        <a:rPr lang="en-GB" sz="1000" b="1" kern="1200" baseline="0" dirty="0" smtClean="0">
                          <a:solidFill>
                            <a:schemeClr val="tx1"/>
                          </a:solidFill>
                          <a:latin typeface="+mn-lt"/>
                          <a:ea typeface="+mn-ea"/>
                          <a:cs typeface="+mn-cs"/>
                        </a:rPr>
                        <a:t>shadowing scenarios</a:t>
                      </a:r>
                      <a:r>
                        <a:rPr lang="en-GB" sz="1000" kern="1200" baseline="0" dirty="0" smtClean="0">
                          <a:solidFill>
                            <a:schemeClr val="tx1"/>
                          </a:solidFill>
                          <a:latin typeface="+mn-lt"/>
                          <a:ea typeface="+mn-ea"/>
                          <a:cs typeface="+mn-cs"/>
                        </a:rPr>
                        <a:t>, use cases, incidents</a:t>
                      </a:r>
                      <a:endParaRPr lang="en-US" sz="1000" kern="1200" baseline="0" noProof="0" dirty="0" smtClean="0">
                        <a:solidFill>
                          <a:schemeClr val="tx1"/>
                        </a:solidFill>
                        <a:latin typeface="+mn-lt"/>
                        <a:ea typeface="+mn-ea"/>
                        <a:cs typeface="+mn-cs"/>
                      </a:endParaRPr>
                    </a:p>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Shadow Buddy Bot based incident clustering and analysis -</a:t>
                      </a:r>
                      <a:r>
                        <a:rPr lang="en-US" sz="1000" kern="1200" baseline="0" noProof="0" dirty="0" smtClean="0">
                          <a:solidFill>
                            <a:schemeClr val="tx1"/>
                          </a:solidFill>
                          <a:latin typeface="+mn-lt"/>
                          <a:ea typeface="+mn-ea"/>
                          <a:cs typeface="+mn-cs"/>
                        </a:rPr>
                        <a:t> resolution, SLA breach, trend</a:t>
                      </a:r>
                    </a:p>
                    <a:p>
                      <a:pPr marL="45720" indent="-45720" algn="l" defTabSz="914400" rtl="0" eaLnBrk="1" latinLnBrk="0" hangingPunct="1">
                        <a:spcBef>
                          <a:spcPts val="600"/>
                        </a:spcBef>
                        <a:buFont typeface="Arial" panose="020B0604020202020204" pitchFamily="34" charset="0"/>
                        <a:buChar char="•"/>
                      </a:pPr>
                      <a:r>
                        <a:rPr lang="en-US" sz="1000" b="1" kern="1200" baseline="0" noProof="0" dirty="0" smtClean="0">
                          <a:solidFill>
                            <a:schemeClr val="tx1"/>
                          </a:solidFill>
                          <a:latin typeface="+mn-lt"/>
                          <a:ea typeface="+mn-ea"/>
                          <a:cs typeface="+mn-cs"/>
                        </a:rPr>
                        <a:t>Multiple iterations of scenarios</a:t>
                      </a:r>
                      <a:endParaRPr lang="en-US" sz="1000" kern="1200" baseline="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45720" indent="-45720" algn="l" defTabSz="914400" rtl="0" eaLnBrk="1" latinLnBrk="0" hangingPunct="1">
                        <a:buFont typeface="Arial" panose="020B0604020202020204" pitchFamily="34" charset="0"/>
                        <a:buChar char="•"/>
                      </a:pPr>
                      <a:endParaRPr lang="en-US"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4601210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fferentiating factors</a:t>
            </a:r>
            <a:endParaRPr lang="en-US" dirty="0"/>
          </a:p>
        </p:txBody>
      </p:sp>
      <p:sp>
        <p:nvSpPr>
          <p:cNvPr id="4" name="TextBox 3"/>
          <p:cNvSpPr txBox="1"/>
          <p:nvPr/>
        </p:nvSpPr>
        <p:spPr>
          <a:xfrm>
            <a:off x="286603" y="1091821"/>
            <a:ext cx="8557146" cy="2862322"/>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r>
              <a:rPr lang="en-US" dirty="0"/>
              <a:t>Best-In-Class Industry recognized Transition Framework- </a:t>
            </a:r>
            <a:r>
              <a:rPr lang="en-US" b="1" dirty="0"/>
              <a:t>ADAPT</a:t>
            </a:r>
            <a:r>
              <a:rPr lang="en-US" b="1" baseline="30000" dirty="0"/>
              <a:t>TM</a:t>
            </a:r>
          </a:p>
          <a:p>
            <a:pPr marL="285750" indent="-285750">
              <a:lnSpc>
                <a:spcPct val="150000"/>
              </a:lnSpc>
              <a:buFont typeface="Wingdings" panose="05000000000000000000" pitchFamily="2" charset="2"/>
              <a:buChar char="Ø"/>
            </a:pPr>
            <a:r>
              <a:rPr lang="en-US" b="1" dirty="0" smtClean="0"/>
              <a:t>Cognizant Service </a:t>
            </a:r>
            <a:r>
              <a:rPr lang="en-US" b="1" dirty="0"/>
              <a:t>Management Process </a:t>
            </a:r>
            <a:r>
              <a:rPr lang="en-US" b="1" dirty="0" smtClean="0"/>
              <a:t>Wireframes- </a:t>
            </a:r>
            <a:r>
              <a:rPr lang="en-US" dirty="0" smtClean="0"/>
              <a:t>ITIL Best Practices</a:t>
            </a:r>
          </a:p>
          <a:p>
            <a:pPr marL="285750" indent="-285750">
              <a:lnSpc>
                <a:spcPct val="150000"/>
              </a:lnSpc>
              <a:buFont typeface="Wingdings" panose="05000000000000000000" pitchFamily="2" charset="2"/>
              <a:buChar char="Ø"/>
            </a:pPr>
            <a:r>
              <a:rPr lang="en-US" b="1" dirty="0" smtClean="0"/>
              <a:t>Asynchronous KT </a:t>
            </a:r>
            <a:r>
              <a:rPr lang="en-US" dirty="0" smtClean="0"/>
              <a:t>– Optimal effort and effective KT</a:t>
            </a:r>
          </a:p>
          <a:p>
            <a:pPr marL="285750" indent="-285750">
              <a:lnSpc>
                <a:spcPct val="150000"/>
              </a:lnSpc>
              <a:buFont typeface="Wingdings" panose="05000000000000000000" pitchFamily="2" charset="2"/>
              <a:buChar char="Ø"/>
            </a:pPr>
            <a:r>
              <a:rPr lang="en-US" dirty="0" smtClean="0"/>
              <a:t>Reverse Engineering Tool –</a:t>
            </a:r>
            <a:r>
              <a:rPr lang="en-US" b="1" dirty="0" smtClean="0"/>
              <a:t> ZDLC</a:t>
            </a:r>
          </a:p>
          <a:p>
            <a:pPr marL="285750" indent="-285750">
              <a:lnSpc>
                <a:spcPct val="150000"/>
              </a:lnSpc>
              <a:buFont typeface="Wingdings" panose="05000000000000000000" pitchFamily="2" charset="2"/>
              <a:buChar char="Ø"/>
            </a:pPr>
            <a:r>
              <a:rPr lang="en-US" dirty="0" smtClean="0"/>
              <a:t>Advance Incident Analytics-</a:t>
            </a:r>
            <a:r>
              <a:rPr lang="en-US" b="1" dirty="0" smtClean="0"/>
              <a:t> Shadow Buddy Bot </a:t>
            </a:r>
          </a:p>
          <a:p>
            <a:pPr marL="285750" indent="-285750">
              <a:lnSpc>
                <a:spcPct val="150000"/>
              </a:lnSpc>
              <a:buFont typeface="Wingdings" panose="05000000000000000000" pitchFamily="2" charset="2"/>
              <a:buChar char="Ø"/>
            </a:pPr>
            <a:r>
              <a:rPr lang="en-US" dirty="0" smtClean="0"/>
              <a:t>Predefined templates, metrics , gating criteria, dashboard</a:t>
            </a:r>
          </a:p>
          <a:p>
            <a:pPr marL="285750" indent="-285750">
              <a:buFont typeface="Wingdings" panose="05000000000000000000" pitchFamily="2" charset="2"/>
              <a:buChar char="Ø"/>
            </a:pPr>
            <a:endParaRPr lang="en-US" dirty="0" smtClean="0"/>
          </a:p>
        </p:txBody>
      </p:sp>
    </p:spTree>
    <p:extLst>
      <p:ext uri="{BB962C8B-B14F-4D97-AF65-F5344CB8AC3E}">
        <p14:creationId xmlns:p14="http://schemas.microsoft.com/office/powerpoint/2010/main" val="39261952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0" dirty="0"/>
              <a:t>S</a:t>
            </a:r>
            <a:r>
              <a:rPr lang="en-US" b="0" dirty="0" smtClean="0"/>
              <a:t>cientific analysis to assess transition complexity- RFP2</a:t>
            </a:r>
            <a:endParaRPr lang="en-US" b="0" dirty="0"/>
          </a:p>
        </p:txBody>
      </p:sp>
      <p:sp>
        <p:nvSpPr>
          <p:cNvPr id="3" name="Footer Placeholder 2"/>
          <p:cNvSpPr>
            <a:spLocks noGrp="1"/>
          </p:cNvSpPr>
          <p:nvPr>
            <p:ph type="ftr" sz="quarter" idx="4294967295"/>
          </p:nvPr>
        </p:nvSpPr>
        <p:spPr>
          <a:xfrm>
            <a:off x="10625138" y="6400800"/>
            <a:ext cx="1566862" cy="207963"/>
          </a:xfrm>
        </p:spPr>
        <p:txBody>
          <a:bodyPr/>
          <a:lstStyle/>
          <a:p>
            <a:pPr defTabSz="914377">
              <a:defRPr/>
            </a:pPr>
            <a:r>
              <a:rPr lang="en-US">
                <a:solidFill>
                  <a:srgbClr val="FFFFFF"/>
                </a:solidFill>
                <a:latin typeface="Arial" panose="020B0604020202020204"/>
              </a:rPr>
              <a:t>© 2018 Cognizant</a:t>
            </a:r>
            <a:endParaRPr lang="en-US" dirty="0">
              <a:solidFill>
                <a:srgbClr val="FFFFFF"/>
              </a:solidFill>
              <a:latin typeface="Arial" panose="020B0604020202020204"/>
            </a:endParaRPr>
          </a:p>
        </p:txBody>
      </p:sp>
      <p:sp>
        <p:nvSpPr>
          <p:cNvPr id="4" name="Slide Number Placeholder 3"/>
          <p:cNvSpPr>
            <a:spLocks noGrp="1"/>
          </p:cNvSpPr>
          <p:nvPr>
            <p:ph type="sldNum" sz="quarter" idx="4294967295"/>
          </p:nvPr>
        </p:nvSpPr>
        <p:spPr>
          <a:xfrm>
            <a:off x="0" y="6400800"/>
            <a:ext cx="304800" cy="207963"/>
          </a:xfrm>
        </p:spPr>
        <p:txBody>
          <a:bodyPr/>
          <a:lstStyle/>
          <a:p>
            <a:pPr defTabSz="914377">
              <a:defRPr/>
            </a:pPr>
            <a:fld id="{2EFEF571-C9B4-4D92-A7F7-315B894862A8}" type="slidenum">
              <a:rPr lang="en-US">
                <a:solidFill>
                  <a:srgbClr val="FFFFFF"/>
                </a:solidFill>
                <a:latin typeface="Arial" panose="020B0604020202020204"/>
              </a:rPr>
              <a:pPr defTabSz="914377">
                <a:defRPr/>
              </a:pPr>
              <a:t>73</a:t>
            </a:fld>
            <a:endParaRPr lang="en-US" dirty="0">
              <a:solidFill>
                <a:srgbClr val="FFFFFF"/>
              </a:solidFill>
              <a:latin typeface="Arial" panose="020B0604020202020204"/>
            </a:endParaRPr>
          </a:p>
        </p:txBody>
      </p:sp>
      <p:sp>
        <p:nvSpPr>
          <p:cNvPr id="6" name="Rectangle 5"/>
          <p:cNvSpPr/>
          <p:nvPr/>
        </p:nvSpPr>
        <p:spPr>
          <a:xfrm>
            <a:off x="491982" y="1153917"/>
            <a:ext cx="4112552" cy="2484920"/>
          </a:xfrm>
          <a:prstGeom prst="rect">
            <a:avLst/>
          </a:prstGeom>
          <a:ln w="12700">
            <a:solidFill>
              <a:schemeClr val="bg1">
                <a:lumMod val="65000"/>
              </a:schemeClr>
            </a:solidFill>
          </a:ln>
        </p:spPr>
        <p:style>
          <a:lnRef idx="2">
            <a:schemeClr val="accent3"/>
          </a:lnRef>
          <a:fillRef idx="1">
            <a:schemeClr val="lt1"/>
          </a:fillRef>
          <a:effectRef idx="0">
            <a:schemeClr val="accent3"/>
          </a:effectRef>
          <a:fontRef idx="minor">
            <a:schemeClr val="dk1"/>
          </a:fontRef>
        </p:style>
        <p:txBody>
          <a:bodyPr rtlCol="0" anchor="t"/>
          <a:lstStyle/>
          <a:p>
            <a:pPr defTabSz="914377">
              <a:spcBef>
                <a:spcPts val="225"/>
              </a:spcBef>
              <a:defRPr/>
            </a:pPr>
            <a:r>
              <a:rPr lang="en-US" sz="1200" dirty="0" smtClean="0">
                <a:solidFill>
                  <a:srgbClr val="000000"/>
                </a:solidFill>
                <a:latin typeface="Calibri" panose="020F0502020204030204" pitchFamily="34" charset="0"/>
              </a:rPr>
              <a:t>Parameter and weightage driven approach to analyze applications. </a:t>
            </a:r>
            <a:r>
              <a:rPr lang="en-US" sz="1000" dirty="0" smtClean="0">
                <a:solidFill>
                  <a:srgbClr val="000000"/>
                </a:solidFill>
                <a:latin typeface="Calibri" panose="020F0502020204030204" pitchFamily="34" charset="0"/>
              </a:rPr>
              <a:t>Parameter </a:t>
            </a:r>
            <a:r>
              <a:rPr lang="en-US" sz="1000" dirty="0">
                <a:solidFill>
                  <a:srgbClr val="000000"/>
                </a:solidFill>
                <a:latin typeface="Calibri" panose="020F0502020204030204" pitchFamily="34" charset="0"/>
              </a:rPr>
              <a:t>Analyzed – </a:t>
            </a:r>
          </a:p>
          <a:p>
            <a:pPr defTabSz="914377">
              <a:spcBef>
                <a:spcPts val="225"/>
              </a:spcBef>
              <a:defRPr/>
            </a:pPr>
            <a:endParaRPr lang="en-US" sz="1000" dirty="0" smtClean="0">
              <a:solidFill>
                <a:srgbClr val="000000"/>
              </a:solidFill>
              <a:latin typeface="Calibri" panose="020F0502020204030204" pitchFamily="34" charset="0"/>
            </a:endParaRPr>
          </a:p>
          <a:p>
            <a:pPr defTabSz="914377">
              <a:spcBef>
                <a:spcPts val="225"/>
              </a:spcBef>
              <a:defRPr/>
            </a:pPr>
            <a:endParaRPr lang="en-US" sz="1000" dirty="0" smtClean="0">
              <a:solidFill>
                <a:srgbClr val="000000"/>
              </a:solidFill>
              <a:latin typeface="Calibri" panose="020F0502020204030204" pitchFamily="34" charset="0"/>
            </a:endParaRPr>
          </a:p>
          <a:p>
            <a:pPr defTabSz="914377">
              <a:spcBef>
                <a:spcPts val="225"/>
              </a:spcBef>
              <a:defRPr/>
            </a:pPr>
            <a:endParaRPr lang="en-US" sz="1000" dirty="0" smtClean="0">
              <a:solidFill>
                <a:srgbClr val="000000"/>
              </a:solidFill>
              <a:latin typeface="Calibri" panose="020F0502020204030204" pitchFamily="34" charset="0"/>
            </a:endParaRPr>
          </a:p>
          <a:p>
            <a:pPr defTabSz="914377">
              <a:spcBef>
                <a:spcPts val="225"/>
              </a:spcBef>
              <a:defRPr/>
            </a:pPr>
            <a:endParaRPr lang="en-US" sz="1000" dirty="0" smtClean="0">
              <a:solidFill>
                <a:srgbClr val="000000"/>
              </a:solidFill>
              <a:latin typeface="Calibri" panose="020F0502020204030204" pitchFamily="34" charset="0"/>
            </a:endParaRPr>
          </a:p>
          <a:p>
            <a:pPr defTabSz="914377">
              <a:spcBef>
                <a:spcPts val="225"/>
              </a:spcBef>
              <a:defRPr/>
            </a:pPr>
            <a:endParaRPr lang="en-US" sz="1000" dirty="0" smtClean="0">
              <a:solidFill>
                <a:srgbClr val="000000"/>
              </a:solidFill>
              <a:latin typeface="Calibri" panose="020F0502020204030204" pitchFamily="34" charset="0"/>
            </a:endParaRPr>
          </a:p>
          <a:p>
            <a:pPr defTabSz="914377">
              <a:spcBef>
                <a:spcPts val="225"/>
              </a:spcBef>
              <a:defRPr/>
            </a:pPr>
            <a:endParaRPr lang="en-US" sz="1067" dirty="0" smtClean="0">
              <a:solidFill>
                <a:srgbClr val="000000"/>
              </a:solidFill>
              <a:latin typeface="Calibri" panose="020F0502020204030204" pitchFamily="34" charset="0"/>
            </a:endParaRPr>
          </a:p>
          <a:p>
            <a:pPr defTabSz="914377">
              <a:spcBef>
                <a:spcPts val="225"/>
              </a:spcBef>
              <a:defRPr/>
            </a:pPr>
            <a:endParaRPr lang="en-US" sz="1067" dirty="0" smtClean="0">
              <a:solidFill>
                <a:srgbClr val="000000"/>
              </a:solidFill>
              <a:latin typeface="Calibri" panose="020F0502020204030204" pitchFamily="34" charset="0"/>
            </a:endParaRPr>
          </a:p>
          <a:p>
            <a:pPr defTabSz="914377">
              <a:spcBef>
                <a:spcPts val="225"/>
              </a:spcBef>
              <a:defRPr/>
            </a:pPr>
            <a:endParaRPr lang="en-US" sz="1067" dirty="0">
              <a:solidFill>
                <a:srgbClr val="000000"/>
              </a:solidFill>
              <a:latin typeface="Calibri" panose="020F0502020204030204" pitchFamily="34" charset="0"/>
            </a:endParaRPr>
          </a:p>
          <a:p>
            <a:pPr defTabSz="914377">
              <a:spcBef>
                <a:spcPts val="225"/>
              </a:spcBef>
              <a:defRPr/>
            </a:pPr>
            <a:endParaRPr lang="en-US" sz="1067" dirty="0" smtClean="0">
              <a:solidFill>
                <a:srgbClr val="000000"/>
              </a:solidFill>
              <a:latin typeface="Calibri" panose="020F0502020204030204" pitchFamily="34" charset="0"/>
            </a:endParaRPr>
          </a:p>
          <a:p>
            <a:pPr defTabSz="914377">
              <a:spcBef>
                <a:spcPts val="225"/>
              </a:spcBef>
              <a:defRPr/>
            </a:pPr>
            <a:r>
              <a:rPr lang="en-US" sz="1067" dirty="0" smtClean="0">
                <a:solidFill>
                  <a:srgbClr val="000000"/>
                </a:solidFill>
                <a:latin typeface="Calibri" panose="020F0502020204030204" pitchFamily="34" charset="0"/>
              </a:rPr>
              <a:t>Maximum </a:t>
            </a:r>
            <a:r>
              <a:rPr lang="en-US" sz="1067" dirty="0">
                <a:solidFill>
                  <a:srgbClr val="000000"/>
                </a:solidFill>
                <a:latin typeface="Calibri" panose="020F0502020204030204" pitchFamily="34" charset="0"/>
              </a:rPr>
              <a:t>utilization of available data with suitable assumption and all blanks considered as medium weightage</a:t>
            </a:r>
          </a:p>
          <a:p>
            <a:pPr defTabSz="914377">
              <a:spcBef>
                <a:spcPts val="225"/>
              </a:spcBef>
              <a:defRPr/>
            </a:pPr>
            <a:endParaRPr lang="en-US" sz="1067" dirty="0">
              <a:solidFill>
                <a:srgbClr val="000000"/>
              </a:solidFill>
              <a:latin typeface="Calibri" panose="020F0502020204030204" pitchFamily="34" charset="0"/>
            </a:endParaRPr>
          </a:p>
        </p:txBody>
      </p:sp>
      <p:sp>
        <p:nvSpPr>
          <p:cNvPr id="7" name="TextBox 6"/>
          <p:cNvSpPr txBox="1"/>
          <p:nvPr/>
        </p:nvSpPr>
        <p:spPr>
          <a:xfrm>
            <a:off x="582496" y="1633617"/>
            <a:ext cx="3980167" cy="43291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spcBef>
                <a:spcPts val="225"/>
              </a:spcBef>
              <a:defRPr/>
            </a:pPr>
            <a:r>
              <a:rPr lang="en-US" sz="1000" b="1" dirty="0" smtClean="0">
                <a:solidFill>
                  <a:schemeClr val="tx1"/>
                </a:solidFill>
                <a:latin typeface="Calibri" panose="020F0502020204030204" pitchFamily="34" charset="0"/>
                <a:cs typeface="Calibri" pitchFamily="34" charset="0"/>
              </a:rPr>
              <a:t>Criticality – 30%</a:t>
            </a:r>
            <a:r>
              <a:rPr lang="en-US" sz="800" b="1" i="1" dirty="0" smtClean="0">
                <a:solidFill>
                  <a:schemeClr val="tx1"/>
                </a:solidFill>
                <a:latin typeface="Calibri" panose="020F0502020204030204" pitchFamily="34" charset="0"/>
                <a:cs typeface="Calibri" pitchFamily="34" charset="0"/>
              </a:rPr>
              <a:t> (</a:t>
            </a:r>
            <a:r>
              <a:rPr lang="en-US" sz="800" i="1" dirty="0">
                <a:solidFill>
                  <a:schemeClr val="tx1"/>
                </a:solidFill>
              </a:rPr>
              <a:t>Usage Location, Application Availability, Financial </a:t>
            </a:r>
            <a:r>
              <a:rPr lang="en-US" sz="800" i="1" dirty="0" smtClean="0">
                <a:solidFill>
                  <a:schemeClr val="tx1"/>
                </a:solidFill>
              </a:rPr>
              <a:t>Impact, </a:t>
            </a:r>
            <a:r>
              <a:rPr lang="en-US" sz="800" i="1" dirty="0">
                <a:solidFill>
                  <a:schemeClr val="tx1"/>
                </a:solidFill>
              </a:rPr>
              <a:t>Legal/Regulatory Impact, Brand/</a:t>
            </a:r>
            <a:r>
              <a:rPr lang="en-US" sz="800" i="1" dirty="0" err="1">
                <a:solidFill>
                  <a:schemeClr val="tx1"/>
                </a:solidFill>
              </a:rPr>
              <a:t>Repulation</a:t>
            </a:r>
            <a:r>
              <a:rPr lang="en-US" sz="800" i="1" dirty="0">
                <a:solidFill>
                  <a:schemeClr val="tx1"/>
                </a:solidFill>
              </a:rPr>
              <a:t> </a:t>
            </a:r>
            <a:r>
              <a:rPr lang="en-US" sz="800" i="1" dirty="0" smtClean="0">
                <a:solidFill>
                  <a:schemeClr val="tx1"/>
                </a:solidFill>
              </a:rPr>
              <a:t>Impact, Instability)</a:t>
            </a:r>
            <a:r>
              <a:rPr lang="en-US" sz="800" b="1" i="1" dirty="0" smtClean="0">
                <a:solidFill>
                  <a:schemeClr val="tx1"/>
                </a:solidFill>
                <a:latin typeface="Calibri" panose="020F0502020204030204" pitchFamily="34" charset="0"/>
                <a:cs typeface="Calibri" pitchFamily="34" charset="0"/>
              </a:rPr>
              <a:t> </a:t>
            </a:r>
            <a:endParaRPr lang="en-US" sz="800" b="1" i="1" dirty="0">
              <a:solidFill>
                <a:schemeClr val="tx1"/>
              </a:solidFill>
              <a:latin typeface="Calibri" panose="020F0502020204030204" pitchFamily="34" charset="0"/>
              <a:cs typeface="Calibri" pitchFamily="34" charset="0"/>
            </a:endParaRPr>
          </a:p>
        </p:txBody>
      </p:sp>
      <p:sp>
        <p:nvSpPr>
          <p:cNvPr id="10" name="TextBox 9"/>
          <p:cNvSpPr txBox="1"/>
          <p:nvPr/>
        </p:nvSpPr>
        <p:spPr>
          <a:xfrm>
            <a:off x="582496" y="2939307"/>
            <a:ext cx="3980167" cy="31950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571486">
              <a:defRPr sz="1000" b="1">
                <a:solidFill>
                  <a:prstClr val="black"/>
                </a:solidFill>
                <a:latin typeface="Calibri" panose="020F0502020204030204" pitchFamily="34" charset="0"/>
                <a:cs typeface="Calibri" pitchFamily="34" charset="0"/>
              </a:defRPr>
            </a:lvl1pPr>
          </a:lstStyle>
          <a:p>
            <a:pPr algn="l" defTabSz="571472">
              <a:defRPr/>
            </a:pPr>
            <a:r>
              <a:rPr lang="en-US" dirty="0"/>
              <a:t>Knowledge Risk – 10% </a:t>
            </a:r>
            <a:r>
              <a:rPr lang="en-US" sz="800" b="0" i="1" dirty="0"/>
              <a:t>(MITSA-Service Provider, Documentation availability, SME </a:t>
            </a:r>
            <a:r>
              <a:rPr lang="en-US" sz="800" b="0" i="1" dirty="0" smtClean="0"/>
              <a:t>Availability)</a:t>
            </a:r>
            <a:endParaRPr lang="en-US" b="0" i="1" dirty="0"/>
          </a:p>
        </p:txBody>
      </p:sp>
      <p:sp>
        <p:nvSpPr>
          <p:cNvPr id="11" name="Freeform 10"/>
          <p:cNvSpPr/>
          <p:nvPr/>
        </p:nvSpPr>
        <p:spPr>
          <a:xfrm>
            <a:off x="2458795" y="5930381"/>
            <a:ext cx="1828800" cy="393192"/>
          </a:xfrm>
          <a:custGeom>
            <a:avLst/>
            <a:gdLst>
              <a:gd name="connsiteX0" fmla="*/ 0 w 1269246"/>
              <a:gd name="connsiteY0" fmla="*/ 0 h 761547"/>
              <a:gd name="connsiteX1" fmla="*/ 1269246 w 1269246"/>
              <a:gd name="connsiteY1" fmla="*/ 0 h 761547"/>
              <a:gd name="connsiteX2" fmla="*/ 1269246 w 1269246"/>
              <a:gd name="connsiteY2" fmla="*/ 761547 h 761547"/>
              <a:gd name="connsiteX3" fmla="*/ 0 w 1269246"/>
              <a:gd name="connsiteY3" fmla="*/ 761547 h 761547"/>
              <a:gd name="connsiteX4" fmla="*/ 0 w 1269246"/>
              <a:gd name="connsiteY4" fmla="*/ 0 h 761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246" h="761547">
                <a:moveTo>
                  <a:pt x="0" y="0"/>
                </a:moveTo>
                <a:lnTo>
                  <a:pt x="1269246" y="0"/>
                </a:lnTo>
                <a:lnTo>
                  <a:pt x="1269246" y="761547"/>
                </a:lnTo>
                <a:lnTo>
                  <a:pt x="0" y="761547"/>
                </a:lnTo>
                <a:lnTo>
                  <a:pt x="0" y="0"/>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6270">
              <a:defRPr/>
            </a:pPr>
            <a:r>
              <a:rPr lang="en-US" sz="1000" dirty="0">
                <a:solidFill>
                  <a:prstClr val="black"/>
                </a:solidFill>
                <a:latin typeface="Calibri" panose="020F0502020204030204" pitchFamily="34" charset="0"/>
              </a:rPr>
              <a:t>Right Skilling</a:t>
            </a:r>
          </a:p>
        </p:txBody>
      </p:sp>
      <p:sp>
        <p:nvSpPr>
          <p:cNvPr id="12" name="Freeform 11"/>
          <p:cNvSpPr/>
          <p:nvPr/>
        </p:nvSpPr>
        <p:spPr>
          <a:xfrm>
            <a:off x="4392792" y="5933589"/>
            <a:ext cx="1828800" cy="393192"/>
          </a:xfrm>
          <a:custGeom>
            <a:avLst/>
            <a:gdLst>
              <a:gd name="connsiteX0" fmla="*/ 0 w 1269246"/>
              <a:gd name="connsiteY0" fmla="*/ 0 h 761547"/>
              <a:gd name="connsiteX1" fmla="*/ 1269246 w 1269246"/>
              <a:gd name="connsiteY1" fmla="*/ 0 h 761547"/>
              <a:gd name="connsiteX2" fmla="*/ 1269246 w 1269246"/>
              <a:gd name="connsiteY2" fmla="*/ 761547 h 761547"/>
              <a:gd name="connsiteX3" fmla="*/ 0 w 1269246"/>
              <a:gd name="connsiteY3" fmla="*/ 761547 h 761547"/>
              <a:gd name="connsiteX4" fmla="*/ 0 w 1269246"/>
              <a:gd name="connsiteY4" fmla="*/ 0 h 761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246" h="761547">
                <a:moveTo>
                  <a:pt x="0" y="0"/>
                </a:moveTo>
                <a:lnTo>
                  <a:pt x="1269246" y="0"/>
                </a:lnTo>
                <a:lnTo>
                  <a:pt x="1269246" y="761547"/>
                </a:lnTo>
                <a:lnTo>
                  <a:pt x="0" y="761547"/>
                </a:lnTo>
                <a:lnTo>
                  <a:pt x="0" y="0"/>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6270">
              <a:defRPr/>
            </a:pPr>
            <a:r>
              <a:rPr lang="en-US" sz="1000" dirty="0">
                <a:solidFill>
                  <a:prstClr val="black"/>
                </a:solidFill>
                <a:latin typeface="Calibri" panose="020F0502020204030204" pitchFamily="34" charset="0"/>
              </a:rPr>
              <a:t>Phased Knowledge Transition</a:t>
            </a:r>
          </a:p>
        </p:txBody>
      </p:sp>
      <p:sp>
        <p:nvSpPr>
          <p:cNvPr id="13" name="Freeform 12"/>
          <p:cNvSpPr/>
          <p:nvPr/>
        </p:nvSpPr>
        <p:spPr>
          <a:xfrm>
            <a:off x="6326788" y="5936797"/>
            <a:ext cx="1828800" cy="393192"/>
          </a:xfrm>
          <a:custGeom>
            <a:avLst/>
            <a:gdLst>
              <a:gd name="connsiteX0" fmla="*/ 0 w 1269246"/>
              <a:gd name="connsiteY0" fmla="*/ 0 h 761547"/>
              <a:gd name="connsiteX1" fmla="*/ 1269246 w 1269246"/>
              <a:gd name="connsiteY1" fmla="*/ 0 h 761547"/>
              <a:gd name="connsiteX2" fmla="*/ 1269246 w 1269246"/>
              <a:gd name="connsiteY2" fmla="*/ 761547 h 761547"/>
              <a:gd name="connsiteX3" fmla="*/ 0 w 1269246"/>
              <a:gd name="connsiteY3" fmla="*/ 761547 h 761547"/>
              <a:gd name="connsiteX4" fmla="*/ 0 w 1269246"/>
              <a:gd name="connsiteY4" fmla="*/ 0 h 761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246" h="761547">
                <a:moveTo>
                  <a:pt x="0" y="0"/>
                </a:moveTo>
                <a:lnTo>
                  <a:pt x="1269246" y="0"/>
                </a:lnTo>
                <a:lnTo>
                  <a:pt x="1269246" y="761547"/>
                </a:lnTo>
                <a:lnTo>
                  <a:pt x="0" y="761547"/>
                </a:lnTo>
                <a:lnTo>
                  <a:pt x="0" y="0"/>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6270">
              <a:defRPr/>
            </a:pPr>
            <a:r>
              <a:rPr lang="en-US" sz="1000" dirty="0">
                <a:solidFill>
                  <a:prstClr val="black"/>
                </a:solidFill>
                <a:latin typeface="Calibri" panose="020F0502020204030204" pitchFamily="34" charset="0"/>
              </a:rPr>
              <a:t>Building the Synergies with Infrastructure Team</a:t>
            </a:r>
          </a:p>
        </p:txBody>
      </p:sp>
      <p:sp>
        <p:nvSpPr>
          <p:cNvPr id="14" name="Freeform 13"/>
          <p:cNvSpPr/>
          <p:nvPr/>
        </p:nvSpPr>
        <p:spPr>
          <a:xfrm>
            <a:off x="8260785" y="5940008"/>
            <a:ext cx="1828800" cy="393192"/>
          </a:xfrm>
          <a:custGeom>
            <a:avLst/>
            <a:gdLst>
              <a:gd name="connsiteX0" fmla="*/ 0 w 1269246"/>
              <a:gd name="connsiteY0" fmla="*/ 0 h 761547"/>
              <a:gd name="connsiteX1" fmla="*/ 1269246 w 1269246"/>
              <a:gd name="connsiteY1" fmla="*/ 0 h 761547"/>
              <a:gd name="connsiteX2" fmla="*/ 1269246 w 1269246"/>
              <a:gd name="connsiteY2" fmla="*/ 761547 h 761547"/>
              <a:gd name="connsiteX3" fmla="*/ 0 w 1269246"/>
              <a:gd name="connsiteY3" fmla="*/ 761547 h 761547"/>
              <a:gd name="connsiteX4" fmla="*/ 0 w 1269246"/>
              <a:gd name="connsiteY4" fmla="*/ 0 h 761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246" h="761547">
                <a:moveTo>
                  <a:pt x="0" y="0"/>
                </a:moveTo>
                <a:lnTo>
                  <a:pt x="1269246" y="0"/>
                </a:lnTo>
                <a:lnTo>
                  <a:pt x="1269246" y="761547"/>
                </a:lnTo>
                <a:lnTo>
                  <a:pt x="0" y="761547"/>
                </a:lnTo>
                <a:lnTo>
                  <a:pt x="0" y="0"/>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6270">
              <a:defRPr/>
            </a:pPr>
            <a:r>
              <a:rPr lang="en-US" sz="1000" dirty="0">
                <a:solidFill>
                  <a:prstClr val="black"/>
                </a:solidFill>
                <a:latin typeface="Calibri" panose="020F0502020204030204" pitchFamily="34" charset="0"/>
              </a:rPr>
              <a:t>Common Governance </a:t>
            </a:r>
          </a:p>
        </p:txBody>
      </p:sp>
      <p:sp>
        <p:nvSpPr>
          <p:cNvPr id="15" name="Freeform 14"/>
          <p:cNvSpPr/>
          <p:nvPr/>
        </p:nvSpPr>
        <p:spPr>
          <a:xfrm>
            <a:off x="10194781" y="5927173"/>
            <a:ext cx="1828800" cy="393192"/>
          </a:xfrm>
          <a:custGeom>
            <a:avLst/>
            <a:gdLst>
              <a:gd name="connsiteX0" fmla="*/ 0 w 1269246"/>
              <a:gd name="connsiteY0" fmla="*/ 0 h 761547"/>
              <a:gd name="connsiteX1" fmla="*/ 1269246 w 1269246"/>
              <a:gd name="connsiteY1" fmla="*/ 0 h 761547"/>
              <a:gd name="connsiteX2" fmla="*/ 1269246 w 1269246"/>
              <a:gd name="connsiteY2" fmla="*/ 761547 h 761547"/>
              <a:gd name="connsiteX3" fmla="*/ 0 w 1269246"/>
              <a:gd name="connsiteY3" fmla="*/ 761547 h 761547"/>
              <a:gd name="connsiteX4" fmla="*/ 0 w 1269246"/>
              <a:gd name="connsiteY4" fmla="*/ 0 h 761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246" h="761547">
                <a:moveTo>
                  <a:pt x="0" y="0"/>
                </a:moveTo>
                <a:lnTo>
                  <a:pt x="1269246" y="0"/>
                </a:lnTo>
                <a:lnTo>
                  <a:pt x="1269246" y="761547"/>
                </a:lnTo>
                <a:lnTo>
                  <a:pt x="0" y="761547"/>
                </a:lnTo>
                <a:lnTo>
                  <a:pt x="0" y="0"/>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6270">
              <a:defRPr/>
            </a:pPr>
            <a:r>
              <a:rPr lang="en-US" sz="1000" dirty="0">
                <a:solidFill>
                  <a:prstClr val="black"/>
                </a:solidFill>
                <a:latin typeface="Calibri" panose="020F0502020204030204" pitchFamily="34" charset="0"/>
              </a:rPr>
              <a:t>Productivity &amp; Quality baselining</a:t>
            </a:r>
          </a:p>
        </p:txBody>
      </p:sp>
      <p:sp>
        <p:nvSpPr>
          <p:cNvPr id="16" name="Rectangle 15"/>
          <p:cNvSpPr/>
          <p:nvPr/>
        </p:nvSpPr>
        <p:spPr>
          <a:xfrm>
            <a:off x="858187" y="5962188"/>
            <a:ext cx="1567263" cy="323165"/>
          </a:xfrm>
          <a:prstGeom prst="rect">
            <a:avLst/>
          </a:prstGeom>
        </p:spPr>
        <p:txBody>
          <a:bodyPr wrap="square">
            <a:spAutoFit/>
          </a:bodyPr>
          <a:lstStyle/>
          <a:p>
            <a:pPr algn="ctr" defTabSz="836270">
              <a:defRPr/>
            </a:pPr>
            <a:r>
              <a:rPr lang="en-US" sz="1500" b="1" kern="0" dirty="0">
                <a:solidFill>
                  <a:prstClr val="black"/>
                </a:solidFill>
                <a:latin typeface="Calibri" panose="020F0502020204030204" pitchFamily="34" charset="0"/>
                <a:cs typeface="Calibri" panose="020F0502020204030204" pitchFamily="34" charset="0"/>
              </a:rPr>
              <a:t>Outcomes</a:t>
            </a:r>
          </a:p>
        </p:txBody>
      </p:sp>
      <p:sp>
        <p:nvSpPr>
          <p:cNvPr id="19" name="Rounded Rectangle 2"/>
          <p:cNvSpPr/>
          <p:nvPr/>
        </p:nvSpPr>
        <p:spPr>
          <a:xfrm>
            <a:off x="471294" y="776726"/>
            <a:ext cx="4175109" cy="422397"/>
          </a:xfrm>
          <a:custGeom>
            <a:avLst/>
            <a:gdLst>
              <a:gd name="connsiteX0" fmla="*/ 0 w 3016156"/>
              <a:gd name="connsiteY0" fmla="*/ 107871 h 647214"/>
              <a:gd name="connsiteX1" fmla="*/ 107871 w 3016156"/>
              <a:gd name="connsiteY1" fmla="*/ 0 h 647214"/>
              <a:gd name="connsiteX2" fmla="*/ 2908285 w 3016156"/>
              <a:gd name="connsiteY2" fmla="*/ 0 h 647214"/>
              <a:gd name="connsiteX3" fmla="*/ 3016156 w 3016156"/>
              <a:gd name="connsiteY3" fmla="*/ 107871 h 647214"/>
              <a:gd name="connsiteX4" fmla="*/ 3016156 w 3016156"/>
              <a:gd name="connsiteY4" fmla="*/ 539343 h 647214"/>
              <a:gd name="connsiteX5" fmla="*/ 2908285 w 3016156"/>
              <a:gd name="connsiteY5" fmla="*/ 647214 h 647214"/>
              <a:gd name="connsiteX6" fmla="*/ 107871 w 3016156"/>
              <a:gd name="connsiteY6" fmla="*/ 647214 h 647214"/>
              <a:gd name="connsiteX7" fmla="*/ 0 w 3016156"/>
              <a:gd name="connsiteY7" fmla="*/ 539343 h 647214"/>
              <a:gd name="connsiteX8" fmla="*/ 0 w 3016156"/>
              <a:gd name="connsiteY8" fmla="*/ 107871 h 647214"/>
              <a:gd name="connsiteX0" fmla="*/ 1703 w 3017859"/>
              <a:gd name="connsiteY0" fmla="*/ 107871 h 647214"/>
              <a:gd name="connsiteX1" fmla="*/ 109574 w 3017859"/>
              <a:gd name="connsiteY1" fmla="*/ 0 h 647214"/>
              <a:gd name="connsiteX2" fmla="*/ 2909988 w 3017859"/>
              <a:gd name="connsiteY2" fmla="*/ 0 h 647214"/>
              <a:gd name="connsiteX3" fmla="*/ 3017859 w 3017859"/>
              <a:gd name="connsiteY3" fmla="*/ 107871 h 647214"/>
              <a:gd name="connsiteX4" fmla="*/ 3017859 w 3017859"/>
              <a:gd name="connsiteY4" fmla="*/ 539343 h 647214"/>
              <a:gd name="connsiteX5" fmla="*/ 2909988 w 3017859"/>
              <a:gd name="connsiteY5" fmla="*/ 647214 h 647214"/>
              <a:gd name="connsiteX6" fmla="*/ 46199 w 3017859"/>
              <a:gd name="connsiteY6" fmla="*/ 647214 h 647214"/>
              <a:gd name="connsiteX7" fmla="*/ 1703 w 3017859"/>
              <a:gd name="connsiteY7" fmla="*/ 539343 h 647214"/>
              <a:gd name="connsiteX8" fmla="*/ 1703 w 3017859"/>
              <a:gd name="connsiteY8" fmla="*/ 107871 h 647214"/>
              <a:gd name="connsiteX0" fmla="*/ 1703 w 3017859"/>
              <a:gd name="connsiteY0" fmla="*/ 107871 h 647214"/>
              <a:gd name="connsiteX1" fmla="*/ 109574 w 3017859"/>
              <a:gd name="connsiteY1" fmla="*/ 0 h 647214"/>
              <a:gd name="connsiteX2" fmla="*/ 2909988 w 3017859"/>
              <a:gd name="connsiteY2" fmla="*/ 0 h 647214"/>
              <a:gd name="connsiteX3" fmla="*/ 3017859 w 3017859"/>
              <a:gd name="connsiteY3" fmla="*/ 107871 h 647214"/>
              <a:gd name="connsiteX4" fmla="*/ 3017859 w 3017859"/>
              <a:gd name="connsiteY4" fmla="*/ 539343 h 647214"/>
              <a:gd name="connsiteX5" fmla="*/ 2955256 w 3017859"/>
              <a:gd name="connsiteY5" fmla="*/ 647214 h 647214"/>
              <a:gd name="connsiteX6" fmla="*/ 46199 w 3017859"/>
              <a:gd name="connsiteY6" fmla="*/ 647214 h 647214"/>
              <a:gd name="connsiteX7" fmla="*/ 1703 w 3017859"/>
              <a:gd name="connsiteY7" fmla="*/ 539343 h 647214"/>
              <a:gd name="connsiteX8" fmla="*/ 1703 w 3017859"/>
              <a:gd name="connsiteY8" fmla="*/ 107871 h 647214"/>
              <a:gd name="connsiteX0" fmla="*/ 1703 w 3027075"/>
              <a:gd name="connsiteY0" fmla="*/ 107871 h 647214"/>
              <a:gd name="connsiteX1" fmla="*/ 109574 w 3027075"/>
              <a:gd name="connsiteY1" fmla="*/ 0 h 647214"/>
              <a:gd name="connsiteX2" fmla="*/ 2909988 w 3027075"/>
              <a:gd name="connsiteY2" fmla="*/ 0 h 647214"/>
              <a:gd name="connsiteX3" fmla="*/ 3017859 w 3027075"/>
              <a:gd name="connsiteY3" fmla="*/ 107871 h 647214"/>
              <a:gd name="connsiteX4" fmla="*/ 3017859 w 3027075"/>
              <a:gd name="connsiteY4" fmla="*/ 539343 h 647214"/>
              <a:gd name="connsiteX5" fmla="*/ 2991470 w 3027075"/>
              <a:gd name="connsiteY5" fmla="*/ 647214 h 647214"/>
              <a:gd name="connsiteX6" fmla="*/ 46199 w 3027075"/>
              <a:gd name="connsiteY6" fmla="*/ 647214 h 647214"/>
              <a:gd name="connsiteX7" fmla="*/ 1703 w 3027075"/>
              <a:gd name="connsiteY7" fmla="*/ 539343 h 647214"/>
              <a:gd name="connsiteX8" fmla="*/ 1703 w 3027075"/>
              <a:gd name="connsiteY8" fmla="*/ 107871 h 647214"/>
              <a:gd name="connsiteX0" fmla="*/ 1703 w 3019562"/>
              <a:gd name="connsiteY0" fmla="*/ 107871 h 647214"/>
              <a:gd name="connsiteX1" fmla="*/ 109574 w 3019562"/>
              <a:gd name="connsiteY1" fmla="*/ 0 h 647214"/>
              <a:gd name="connsiteX2" fmla="*/ 2909988 w 3019562"/>
              <a:gd name="connsiteY2" fmla="*/ 0 h 647214"/>
              <a:gd name="connsiteX3" fmla="*/ 3017859 w 3019562"/>
              <a:gd name="connsiteY3" fmla="*/ 107871 h 647214"/>
              <a:gd name="connsiteX4" fmla="*/ 3017859 w 3019562"/>
              <a:gd name="connsiteY4" fmla="*/ 539343 h 647214"/>
              <a:gd name="connsiteX5" fmla="*/ 2973364 w 3019562"/>
              <a:gd name="connsiteY5" fmla="*/ 647214 h 647214"/>
              <a:gd name="connsiteX6" fmla="*/ 46199 w 3019562"/>
              <a:gd name="connsiteY6" fmla="*/ 647214 h 647214"/>
              <a:gd name="connsiteX7" fmla="*/ 1703 w 3019562"/>
              <a:gd name="connsiteY7" fmla="*/ 539343 h 647214"/>
              <a:gd name="connsiteX8" fmla="*/ 1703 w 3019562"/>
              <a:gd name="connsiteY8" fmla="*/ 107871 h 64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562" h="647214">
                <a:moveTo>
                  <a:pt x="1703" y="107871"/>
                </a:moveTo>
                <a:cubicBezTo>
                  <a:pt x="1703" y="48295"/>
                  <a:pt x="49998" y="0"/>
                  <a:pt x="109574" y="0"/>
                </a:cubicBezTo>
                <a:lnTo>
                  <a:pt x="2909988" y="0"/>
                </a:lnTo>
                <a:cubicBezTo>
                  <a:pt x="2969564" y="0"/>
                  <a:pt x="3017859" y="48295"/>
                  <a:pt x="3017859" y="107871"/>
                </a:cubicBezTo>
                <a:lnTo>
                  <a:pt x="3017859" y="539343"/>
                </a:lnTo>
                <a:cubicBezTo>
                  <a:pt x="3017859" y="598919"/>
                  <a:pt x="3032940" y="647214"/>
                  <a:pt x="2973364" y="647214"/>
                </a:cubicBezTo>
                <a:lnTo>
                  <a:pt x="46199" y="647214"/>
                </a:lnTo>
                <a:cubicBezTo>
                  <a:pt x="-13377" y="647214"/>
                  <a:pt x="1703" y="598919"/>
                  <a:pt x="1703" y="539343"/>
                </a:cubicBezTo>
                <a:lnTo>
                  <a:pt x="1703" y="107871"/>
                </a:lnTo>
                <a:close/>
              </a:path>
            </a:pathLst>
          </a:custGeom>
          <a:solidFill>
            <a:schemeClr val="bg2">
              <a:lumMod val="75000"/>
            </a:schemeClr>
          </a:solidFill>
          <a:ln>
            <a:solidFill>
              <a:schemeClr val="tx2"/>
            </a:solidFill>
          </a:ln>
        </p:spPr>
        <p:style>
          <a:lnRef idx="1">
            <a:schemeClr val="accent3"/>
          </a:lnRef>
          <a:fillRef idx="2">
            <a:schemeClr val="accent3"/>
          </a:fillRef>
          <a:effectRef idx="1">
            <a:schemeClr val="accent3"/>
          </a:effectRef>
          <a:fontRef idx="minor">
            <a:schemeClr val="dk1"/>
          </a:fontRef>
        </p:style>
        <p:txBody>
          <a:bodyPr rtlCol="0" anchor="t"/>
          <a:lstStyle/>
          <a:p>
            <a:pPr algn="ctr" defTabSz="914377">
              <a:defRPr/>
            </a:pPr>
            <a:r>
              <a:rPr lang="en-US" sz="1200" b="1" dirty="0">
                <a:solidFill>
                  <a:srgbClr val="000000"/>
                </a:solidFill>
                <a:latin typeface="Calibri" panose="020F0502020204030204" pitchFamily="34" charset="0"/>
              </a:rPr>
              <a:t>Scientific Analysis</a:t>
            </a:r>
          </a:p>
          <a:p>
            <a:pPr algn="ctr" defTabSz="914377">
              <a:defRPr/>
            </a:pPr>
            <a:r>
              <a:rPr lang="en-US" sz="800" b="1" dirty="0">
                <a:solidFill>
                  <a:srgbClr val="000000"/>
                </a:solidFill>
                <a:latin typeface="Calibri" panose="020F0502020204030204" pitchFamily="34" charset="0"/>
              </a:rPr>
              <a:t>Application Transition Index(ATI) + Business Risk Index(BRI)</a:t>
            </a:r>
          </a:p>
        </p:txBody>
      </p:sp>
      <p:sp>
        <p:nvSpPr>
          <p:cNvPr id="27" name="Rounded Rectangle 2"/>
          <p:cNvSpPr/>
          <p:nvPr/>
        </p:nvSpPr>
        <p:spPr>
          <a:xfrm>
            <a:off x="9341283" y="776726"/>
            <a:ext cx="2568768" cy="377191"/>
          </a:xfrm>
          <a:custGeom>
            <a:avLst/>
            <a:gdLst>
              <a:gd name="connsiteX0" fmla="*/ 0 w 3016156"/>
              <a:gd name="connsiteY0" fmla="*/ 107871 h 647214"/>
              <a:gd name="connsiteX1" fmla="*/ 107871 w 3016156"/>
              <a:gd name="connsiteY1" fmla="*/ 0 h 647214"/>
              <a:gd name="connsiteX2" fmla="*/ 2908285 w 3016156"/>
              <a:gd name="connsiteY2" fmla="*/ 0 h 647214"/>
              <a:gd name="connsiteX3" fmla="*/ 3016156 w 3016156"/>
              <a:gd name="connsiteY3" fmla="*/ 107871 h 647214"/>
              <a:gd name="connsiteX4" fmla="*/ 3016156 w 3016156"/>
              <a:gd name="connsiteY4" fmla="*/ 539343 h 647214"/>
              <a:gd name="connsiteX5" fmla="*/ 2908285 w 3016156"/>
              <a:gd name="connsiteY5" fmla="*/ 647214 h 647214"/>
              <a:gd name="connsiteX6" fmla="*/ 107871 w 3016156"/>
              <a:gd name="connsiteY6" fmla="*/ 647214 h 647214"/>
              <a:gd name="connsiteX7" fmla="*/ 0 w 3016156"/>
              <a:gd name="connsiteY7" fmla="*/ 539343 h 647214"/>
              <a:gd name="connsiteX8" fmla="*/ 0 w 3016156"/>
              <a:gd name="connsiteY8" fmla="*/ 107871 h 647214"/>
              <a:gd name="connsiteX0" fmla="*/ 1703 w 3017859"/>
              <a:gd name="connsiteY0" fmla="*/ 107871 h 647214"/>
              <a:gd name="connsiteX1" fmla="*/ 109574 w 3017859"/>
              <a:gd name="connsiteY1" fmla="*/ 0 h 647214"/>
              <a:gd name="connsiteX2" fmla="*/ 2909988 w 3017859"/>
              <a:gd name="connsiteY2" fmla="*/ 0 h 647214"/>
              <a:gd name="connsiteX3" fmla="*/ 3017859 w 3017859"/>
              <a:gd name="connsiteY3" fmla="*/ 107871 h 647214"/>
              <a:gd name="connsiteX4" fmla="*/ 3017859 w 3017859"/>
              <a:gd name="connsiteY4" fmla="*/ 539343 h 647214"/>
              <a:gd name="connsiteX5" fmla="*/ 2909988 w 3017859"/>
              <a:gd name="connsiteY5" fmla="*/ 647214 h 647214"/>
              <a:gd name="connsiteX6" fmla="*/ 46199 w 3017859"/>
              <a:gd name="connsiteY6" fmla="*/ 647214 h 647214"/>
              <a:gd name="connsiteX7" fmla="*/ 1703 w 3017859"/>
              <a:gd name="connsiteY7" fmla="*/ 539343 h 647214"/>
              <a:gd name="connsiteX8" fmla="*/ 1703 w 3017859"/>
              <a:gd name="connsiteY8" fmla="*/ 107871 h 647214"/>
              <a:gd name="connsiteX0" fmla="*/ 1703 w 3017859"/>
              <a:gd name="connsiteY0" fmla="*/ 107871 h 647214"/>
              <a:gd name="connsiteX1" fmla="*/ 109574 w 3017859"/>
              <a:gd name="connsiteY1" fmla="*/ 0 h 647214"/>
              <a:gd name="connsiteX2" fmla="*/ 2909988 w 3017859"/>
              <a:gd name="connsiteY2" fmla="*/ 0 h 647214"/>
              <a:gd name="connsiteX3" fmla="*/ 3017859 w 3017859"/>
              <a:gd name="connsiteY3" fmla="*/ 107871 h 647214"/>
              <a:gd name="connsiteX4" fmla="*/ 3017859 w 3017859"/>
              <a:gd name="connsiteY4" fmla="*/ 539343 h 647214"/>
              <a:gd name="connsiteX5" fmla="*/ 2955256 w 3017859"/>
              <a:gd name="connsiteY5" fmla="*/ 647214 h 647214"/>
              <a:gd name="connsiteX6" fmla="*/ 46199 w 3017859"/>
              <a:gd name="connsiteY6" fmla="*/ 647214 h 647214"/>
              <a:gd name="connsiteX7" fmla="*/ 1703 w 3017859"/>
              <a:gd name="connsiteY7" fmla="*/ 539343 h 647214"/>
              <a:gd name="connsiteX8" fmla="*/ 1703 w 3017859"/>
              <a:gd name="connsiteY8" fmla="*/ 107871 h 647214"/>
              <a:gd name="connsiteX0" fmla="*/ 1703 w 3027075"/>
              <a:gd name="connsiteY0" fmla="*/ 107871 h 647214"/>
              <a:gd name="connsiteX1" fmla="*/ 109574 w 3027075"/>
              <a:gd name="connsiteY1" fmla="*/ 0 h 647214"/>
              <a:gd name="connsiteX2" fmla="*/ 2909988 w 3027075"/>
              <a:gd name="connsiteY2" fmla="*/ 0 h 647214"/>
              <a:gd name="connsiteX3" fmla="*/ 3017859 w 3027075"/>
              <a:gd name="connsiteY3" fmla="*/ 107871 h 647214"/>
              <a:gd name="connsiteX4" fmla="*/ 3017859 w 3027075"/>
              <a:gd name="connsiteY4" fmla="*/ 539343 h 647214"/>
              <a:gd name="connsiteX5" fmla="*/ 2991470 w 3027075"/>
              <a:gd name="connsiteY5" fmla="*/ 647214 h 647214"/>
              <a:gd name="connsiteX6" fmla="*/ 46199 w 3027075"/>
              <a:gd name="connsiteY6" fmla="*/ 647214 h 647214"/>
              <a:gd name="connsiteX7" fmla="*/ 1703 w 3027075"/>
              <a:gd name="connsiteY7" fmla="*/ 539343 h 647214"/>
              <a:gd name="connsiteX8" fmla="*/ 1703 w 3027075"/>
              <a:gd name="connsiteY8" fmla="*/ 107871 h 647214"/>
              <a:gd name="connsiteX0" fmla="*/ 1703 w 3019562"/>
              <a:gd name="connsiteY0" fmla="*/ 107871 h 647214"/>
              <a:gd name="connsiteX1" fmla="*/ 109574 w 3019562"/>
              <a:gd name="connsiteY1" fmla="*/ 0 h 647214"/>
              <a:gd name="connsiteX2" fmla="*/ 2909988 w 3019562"/>
              <a:gd name="connsiteY2" fmla="*/ 0 h 647214"/>
              <a:gd name="connsiteX3" fmla="*/ 3017859 w 3019562"/>
              <a:gd name="connsiteY3" fmla="*/ 107871 h 647214"/>
              <a:gd name="connsiteX4" fmla="*/ 3017859 w 3019562"/>
              <a:gd name="connsiteY4" fmla="*/ 539343 h 647214"/>
              <a:gd name="connsiteX5" fmla="*/ 2973364 w 3019562"/>
              <a:gd name="connsiteY5" fmla="*/ 647214 h 647214"/>
              <a:gd name="connsiteX6" fmla="*/ 46199 w 3019562"/>
              <a:gd name="connsiteY6" fmla="*/ 647214 h 647214"/>
              <a:gd name="connsiteX7" fmla="*/ 1703 w 3019562"/>
              <a:gd name="connsiteY7" fmla="*/ 539343 h 647214"/>
              <a:gd name="connsiteX8" fmla="*/ 1703 w 3019562"/>
              <a:gd name="connsiteY8" fmla="*/ 107871 h 64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562" h="647214">
                <a:moveTo>
                  <a:pt x="1703" y="107871"/>
                </a:moveTo>
                <a:cubicBezTo>
                  <a:pt x="1703" y="48295"/>
                  <a:pt x="49998" y="0"/>
                  <a:pt x="109574" y="0"/>
                </a:cubicBezTo>
                <a:lnTo>
                  <a:pt x="2909988" y="0"/>
                </a:lnTo>
                <a:cubicBezTo>
                  <a:pt x="2969564" y="0"/>
                  <a:pt x="3017859" y="48295"/>
                  <a:pt x="3017859" y="107871"/>
                </a:cubicBezTo>
                <a:lnTo>
                  <a:pt x="3017859" y="539343"/>
                </a:lnTo>
                <a:cubicBezTo>
                  <a:pt x="3017859" y="598919"/>
                  <a:pt x="3032940" y="647214"/>
                  <a:pt x="2973364" y="647214"/>
                </a:cubicBezTo>
                <a:lnTo>
                  <a:pt x="46199" y="647214"/>
                </a:lnTo>
                <a:cubicBezTo>
                  <a:pt x="-13377" y="647214"/>
                  <a:pt x="1703" y="598919"/>
                  <a:pt x="1703" y="539343"/>
                </a:cubicBezTo>
                <a:lnTo>
                  <a:pt x="1703" y="107871"/>
                </a:lnTo>
                <a:close/>
              </a:path>
            </a:pathLst>
          </a:custGeom>
          <a:solidFill>
            <a:schemeClr val="bg2">
              <a:lumMod val="75000"/>
            </a:schemeClr>
          </a:solidFill>
          <a:ln>
            <a:solidFill>
              <a:schemeClr val="tx2"/>
            </a:solidFill>
          </a:ln>
        </p:spPr>
        <p:style>
          <a:lnRef idx="1">
            <a:schemeClr val="accent3"/>
          </a:lnRef>
          <a:fillRef idx="2">
            <a:schemeClr val="accent3"/>
          </a:fillRef>
          <a:effectRef idx="1">
            <a:schemeClr val="accent3"/>
          </a:effectRef>
          <a:fontRef idx="minor">
            <a:schemeClr val="dk1"/>
          </a:fontRef>
        </p:style>
        <p:txBody>
          <a:bodyPr rtlCol="0" anchor="t"/>
          <a:lstStyle/>
          <a:p>
            <a:pPr algn="ctr" defTabSz="914377">
              <a:defRPr/>
            </a:pPr>
            <a:r>
              <a:rPr lang="en-US" sz="1200" b="1" dirty="0">
                <a:solidFill>
                  <a:srgbClr val="000000"/>
                </a:solidFill>
                <a:latin typeface="Calibri" panose="020F0502020204030204" pitchFamily="34" charset="0"/>
              </a:rPr>
              <a:t>Define Transition Duration</a:t>
            </a:r>
          </a:p>
          <a:p>
            <a:pPr algn="ctr" defTabSz="914377">
              <a:defRPr/>
            </a:pPr>
            <a:endParaRPr lang="en-US" sz="1200" b="1" dirty="0">
              <a:solidFill>
                <a:srgbClr val="000000"/>
              </a:solidFill>
              <a:latin typeface="Calibri" panose="020F0502020204030204" pitchFamily="34" charset="0"/>
            </a:endParaRPr>
          </a:p>
        </p:txBody>
      </p:sp>
      <p:sp>
        <p:nvSpPr>
          <p:cNvPr id="30" name="Right Arrow 29"/>
          <p:cNvSpPr/>
          <p:nvPr/>
        </p:nvSpPr>
        <p:spPr>
          <a:xfrm flipV="1">
            <a:off x="4660926" y="1939527"/>
            <a:ext cx="198036" cy="3531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51">
              <a:solidFill>
                <a:srgbClr val="FFFFFF"/>
              </a:solidFill>
              <a:latin typeface="Calibri" panose="020F0502020204030204" pitchFamily="34" charset="0"/>
            </a:endParaRPr>
          </a:p>
        </p:txBody>
      </p:sp>
      <p:sp>
        <p:nvSpPr>
          <p:cNvPr id="32" name="TextBox 31"/>
          <p:cNvSpPr txBox="1"/>
          <p:nvPr/>
        </p:nvSpPr>
        <p:spPr>
          <a:xfrm>
            <a:off x="582496" y="2542384"/>
            <a:ext cx="3980167" cy="33583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71472">
              <a:defRPr/>
            </a:pPr>
            <a:r>
              <a:rPr lang="en-US" sz="1000" b="1" dirty="0">
                <a:solidFill>
                  <a:prstClr val="black"/>
                </a:solidFill>
                <a:latin typeface="Calibri" panose="020F0502020204030204" pitchFamily="34" charset="0"/>
                <a:cs typeface="Calibri" pitchFamily="34" charset="0"/>
              </a:rPr>
              <a:t>Instability – </a:t>
            </a:r>
            <a:r>
              <a:rPr lang="en-US" sz="1000" b="1" dirty="0" smtClean="0">
                <a:solidFill>
                  <a:prstClr val="black"/>
                </a:solidFill>
                <a:latin typeface="Calibri" panose="020F0502020204030204" pitchFamily="34" charset="0"/>
                <a:cs typeface="Calibri" pitchFamily="34" charset="0"/>
              </a:rPr>
              <a:t>30</a:t>
            </a:r>
            <a:r>
              <a:rPr lang="en-US" sz="1000" b="1" dirty="0">
                <a:solidFill>
                  <a:prstClr val="black"/>
                </a:solidFill>
                <a:latin typeface="Calibri" panose="020F0502020204030204" pitchFamily="34" charset="0"/>
                <a:cs typeface="Calibri" pitchFamily="34" charset="0"/>
              </a:rPr>
              <a:t>%</a:t>
            </a:r>
            <a:r>
              <a:rPr lang="en-US" sz="800" i="1" dirty="0">
                <a:solidFill>
                  <a:prstClr val="black"/>
                </a:solidFill>
                <a:latin typeface="Calibri" panose="020F0502020204030204" pitchFamily="34" charset="0"/>
                <a:cs typeface="Calibri" pitchFamily="34" charset="0"/>
              </a:rPr>
              <a:t> (Tickets, Releases, Problems, Service </a:t>
            </a:r>
            <a:r>
              <a:rPr lang="en-US" sz="800" i="1" dirty="0" smtClean="0">
                <a:solidFill>
                  <a:prstClr val="black"/>
                </a:solidFill>
                <a:latin typeface="Calibri" panose="020F0502020204030204" pitchFamily="34" charset="0"/>
                <a:cs typeface="Calibri" pitchFamily="34" charset="0"/>
              </a:rPr>
              <a:t>Requests)</a:t>
            </a:r>
            <a:endParaRPr lang="en-US" sz="1000" i="1" dirty="0">
              <a:solidFill>
                <a:prstClr val="black"/>
              </a:solidFill>
              <a:latin typeface="Calibri" panose="020F0502020204030204" pitchFamily="34" charset="0"/>
              <a:cs typeface="Calibri" pitchFamily="34" charset="0"/>
            </a:endParaRPr>
          </a:p>
        </p:txBody>
      </p:sp>
      <p:sp>
        <p:nvSpPr>
          <p:cNvPr id="34" name="Right Arrow 33"/>
          <p:cNvSpPr/>
          <p:nvPr/>
        </p:nvSpPr>
        <p:spPr>
          <a:xfrm flipV="1">
            <a:off x="9101375" y="1830393"/>
            <a:ext cx="198036" cy="3531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351">
              <a:solidFill>
                <a:srgbClr val="FFFFFF"/>
              </a:solidFill>
              <a:latin typeface="Calibri" panose="020F0502020204030204" pitchFamily="34" charset="0"/>
            </a:endParaRPr>
          </a:p>
        </p:txBody>
      </p:sp>
      <p:sp>
        <p:nvSpPr>
          <p:cNvPr id="35" name="TextBox 34"/>
          <p:cNvSpPr txBox="1"/>
          <p:nvPr/>
        </p:nvSpPr>
        <p:spPr>
          <a:xfrm>
            <a:off x="582496" y="2119828"/>
            <a:ext cx="3980167" cy="38119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571486">
              <a:defRPr sz="1000" b="1">
                <a:solidFill>
                  <a:prstClr val="black"/>
                </a:solidFill>
                <a:latin typeface="Calibri" panose="020F0502020204030204" pitchFamily="34" charset="0"/>
                <a:cs typeface="Calibri" pitchFamily="34" charset="0"/>
              </a:defRPr>
            </a:lvl1pPr>
          </a:lstStyle>
          <a:p>
            <a:pPr algn="l" defTabSz="571472">
              <a:defRPr/>
            </a:pPr>
            <a:r>
              <a:rPr lang="en-US" dirty="0"/>
              <a:t>Tech Complexity– </a:t>
            </a:r>
            <a:r>
              <a:rPr lang="en-US" dirty="0" smtClean="0"/>
              <a:t>30% (</a:t>
            </a:r>
            <a:r>
              <a:rPr lang="en-US" sz="800" b="0" i="1" dirty="0" smtClean="0">
                <a:solidFill>
                  <a:schemeClr val="tx1"/>
                </a:solidFill>
              </a:rPr>
              <a:t>Application </a:t>
            </a:r>
            <a:r>
              <a:rPr lang="en-US" sz="800" b="0" i="1" dirty="0">
                <a:solidFill>
                  <a:schemeClr val="tx1"/>
                </a:solidFill>
              </a:rPr>
              <a:t>Type Rating, Operational </a:t>
            </a:r>
            <a:r>
              <a:rPr lang="en-US" sz="800" b="0" i="1" dirty="0" err="1">
                <a:solidFill>
                  <a:schemeClr val="tx1"/>
                </a:solidFill>
              </a:rPr>
              <a:t>Imptact</a:t>
            </a:r>
            <a:r>
              <a:rPr lang="en-US" sz="800" b="0" i="1" dirty="0">
                <a:solidFill>
                  <a:schemeClr val="tx1"/>
                </a:solidFill>
              </a:rPr>
              <a:t>, Technology Hosting Type, Tech Stack / Additional Comments</a:t>
            </a:r>
            <a:endParaRPr lang="en-US" sz="800" b="0" dirty="0"/>
          </a:p>
        </p:txBody>
      </p:sp>
      <p:sp>
        <p:nvSpPr>
          <p:cNvPr id="8" name="Rounded Rectangle 7"/>
          <p:cNvSpPr/>
          <p:nvPr/>
        </p:nvSpPr>
        <p:spPr>
          <a:xfrm>
            <a:off x="471295" y="3677324"/>
            <a:ext cx="11438756" cy="2268115"/>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marL="228594" indent="-228594">
              <a:spcBef>
                <a:spcPts val="800"/>
              </a:spcBef>
              <a:buFont typeface="Arial" panose="020B0604020202020204" pitchFamily="34" charset="0"/>
              <a:buChar char="•"/>
            </a:pPr>
            <a:r>
              <a:rPr lang="en-US" sz="900" dirty="0" smtClean="0">
                <a:solidFill>
                  <a:schemeClr val="tx1"/>
                </a:solidFill>
                <a:latin typeface="Calibiri"/>
              </a:rPr>
              <a:t>22% (13/58) applications having high transition complexity- Need comprehensive transition with longer duration</a:t>
            </a:r>
          </a:p>
          <a:p>
            <a:pPr marL="228594" indent="-228594">
              <a:spcBef>
                <a:spcPts val="800"/>
              </a:spcBef>
              <a:buFont typeface="Arial" panose="020B0604020202020204" pitchFamily="34" charset="0"/>
              <a:buChar char="•"/>
            </a:pPr>
            <a:r>
              <a:rPr lang="en-US" sz="900" dirty="0" smtClean="0">
                <a:solidFill>
                  <a:schemeClr val="tx1"/>
                </a:solidFill>
                <a:latin typeface="Calibiri"/>
              </a:rPr>
              <a:t>27&amp; of Revenue Mgmt. Reservation tower applications are highly complex- Knowledge Centric KT with focus on critical business processes</a:t>
            </a:r>
          </a:p>
          <a:p>
            <a:pPr marL="228594" indent="-228594">
              <a:spcBef>
                <a:spcPts val="800"/>
              </a:spcBef>
              <a:buFont typeface="Arial" panose="020B0604020202020204" pitchFamily="34" charset="0"/>
              <a:buChar char="•"/>
            </a:pPr>
            <a:r>
              <a:rPr lang="en-US" sz="900" dirty="0">
                <a:solidFill>
                  <a:schemeClr val="tx1"/>
                </a:solidFill>
                <a:latin typeface="Calibiri"/>
              </a:rPr>
              <a:t>2</a:t>
            </a:r>
            <a:r>
              <a:rPr lang="en-US" sz="900" dirty="0" smtClean="0">
                <a:solidFill>
                  <a:schemeClr val="tx1"/>
                </a:solidFill>
                <a:latin typeface="Calibiri"/>
              </a:rPr>
              <a:t>6% applications are highly business critical –</a:t>
            </a:r>
            <a:r>
              <a:rPr lang="en-US" sz="900" dirty="0" err="1" smtClean="0">
                <a:solidFill>
                  <a:schemeClr val="tx1"/>
                </a:solidFill>
                <a:latin typeface="Calibiri"/>
              </a:rPr>
              <a:t>eCommerce</a:t>
            </a:r>
            <a:r>
              <a:rPr lang="en-US" sz="900" dirty="0" smtClean="0">
                <a:solidFill>
                  <a:schemeClr val="tx1"/>
                </a:solidFill>
                <a:latin typeface="Calibiri"/>
              </a:rPr>
              <a:t> (Marriott Mobile, </a:t>
            </a:r>
            <a:r>
              <a:rPr lang="en-US" sz="900" dirty="0" err="1" smtClean="0">
                <a:solidFill>
                  <a:schemeClr val="tx1"/>
                </a:solidFill>
                <a:latin typeface="Calibiri"/>
              </a:rPr>
              <a:t>Marriott.Com</a:t>
            </a:r>
            <a:r>
              <a:rPr lang="en-US" sz="900" dirty="0" smtClean="0">
                <a:solidFill>
                  <a:schemeClr val="tx1"/>
                </a:solidFill>
                <a:latin typeface="Calibiri"/>
              </a:rPr>
              <a:t> ) and Reservations </a:t>
            </a:r>
            <a:r>
              <a:rPr lang="en-US" sz="900" dirty="0">
                <a:solidFill>
                  <a:schemeClr val="tx1"/>
                </a:solidFill>
                <a:latin typeface="Calibiri"/>
              </a:rPr>
              <a:t>– MARSHA, Property management (FOSSE PMS, Full Service PMS, GPMS</a:t>
            </a:r>
            <a:r>
              <a:rPr lang="en-US" sz="900" dirty="0" smtClean="0">
                <a:solidFill>
                  <a:schemeClr val="tx1"/>
                </a:solidFill>
                <a:latin typeface="Calibiri"/>
              </a:rPr>
              <a:t>)</a:t>
            </a:r>
          </a:p>
          <a:p>
            <a:pPr marL="228594" indent="-228594">
              <a:spcBef>
                <a:spcPts val="800"/>
              </a:spcBef>
              <a:buFont typeface="Arial" panose="020B0604020202020204" pitchFamily="34" charset="0"/>
              <a:buChar char="•"/>
            </a:pPr>
            <a:r>
              <a:rPr lang="en-US" sz="900" dirty="0" smtClean="0">
                <a:solidFill>
                  <a:schemeClr val="tx1"/>
                </a:solidFill>
                <a:latin typeface="Calibiri"/>
              </a:rPr>
              <a:t>12% Legacy applications – Reservations, Revenue Management- </a:t>
            </a:r>
            <a:r>
              <a:rPr lang="en-US" sz="900" dirty="0">
                <a:solidFill>
                  <a:schemeClr val="tx1"/>
                </a:solidFill>
              </a:rPr>
              <a:t>CTAC, </a:t>
            </a:r>
            <a:r>
              <a:rPr lang="en-US" sz="900" b="1" dirty="0">
                <a:solidFill>
                  <a:schemeClr val="tx1"/>
                </a:solidFill>
              </a:rPr>
              <a:t>Marriott Rewards, </a:t>
            </a:r>
            <a:r>
              <a:rPr lang="en-US" sz="900" dirty="0">
                <a:solidFill>
                  <a:schemeClr val="tx1"/>
                </a:solidFill>
              </a:rPr>
              <a:t>MMRS / DNA, OMNI, </a:t>
            </a:r>
            <a:r>
              <a:rPr lang="en-US" sz="900" b="1" dirty="0">
                <a:solidFill>
                  <a:schemeClr val="tx1"/>
                </a:solidFill>
              </a:rPr>
              <a:t>One Yield,</a:t>
            </a:r>
            <a:r>
              <a:rPr lang="en-US" sz="900" dirty="0">
                <a:solidFill>
                  <a:schemeClr val="tx1"/>
                </a:solidFill>
              </a:rPr>
              <a:t> OSCAR, TY/GPO, Decision Support System (DSS), Single Guest Image (SGI</a:t>
            </a:r>
            <a:r>
              <a:rPr lang="en-US" sz="900" dirty="0" smtClean="0">
                <a:solidFill>
                  <a:schemeClr val="tx1"/>
                </a:solidFill>
              </a:rPr>
              <a:t>)- Tool assisted code analysis </a:t>
            </a:r>
          </a:p>
          <a:p>
            <a:pPr marL="228594" indent="-228594">
              <a:spcBef>
                <a:spcPts val="800"/>
              </a:spcBef>
              <a:buFont typeface="Arial" panose="020B0604020202020204" pitchFamily="34" charset="0"/>
              <a:buChar char="•"/>
            </a:pPr>
            <a:r>
              <a:rPr lang="en-US" sz="900" dirty="0" smtClean="0">
                <a:solidFill>
                  <a:schemeClr val="tx1"/>
                </a:solidFill>
                <a:latin typeface="Calibiri"/>
              </a:rPr>
              <a:t>SWAT team for Critical Business process handled thru legacy applications - Travel Agency Commission Payments, Business Transient Pricing and Account Management, Reporting, Inventory Tracking, Transient Demand &amp; Forecasting; Price Optimization; Revenue Optimization,  Reporting, Group Demand &amp; Forecasting; Price Optimization; Revenue Optimization</a:t>
            </a:r>
          </a:p>
          <a:p>
            <a:pPr marL="228594" indent="-228594">
              <a:spcBef>
                <a:spcPts val="800"/>
              </a:spcBef>
              <a:buFont typeface="Arial" panose="020B0604020202020204" pitchFamily="34" charset="0"/>
              <a:buChar char="•"/>
            </a:pPr>
            <a:r>
              <a:rPr lang="en-US" sz="900" dirty="0" smtClean="0">
                <a:solidFill>
                  <a:schemeClr val="tx1"/>
                </a:solidFill>
                <a:latin typeface="Calibiri"/>
              </a:rPr>
              <a:t>Very high volume of incidents - One </a:t>
            </a:r>
            <a:r>
              <a:rPr lang="en-US" sz="900" dirty="0" err="1" smtClean="0">
                <a:solidFill>
                  <a:schemeClr val="tx1"/>
                </a:solidFill>
                <a:latin typeface="Calibiri"/>
              </a:rPr>
              <a:t>Yeild</a:t>
            </a:r>
            <a:r>
              <a:rPr lang="en-US" sz="900" dirty="0" smtClean="0">
                <a:solidFill>
                  <a:schemeClr val="tx1"/>
                </a:solidFill>
                <a:latin typeface="Calibiri"/>
              </a:rPr>
              <a:t> (Ticket-13111) – Longer Shadow and Shadow scenario based on incident type and analytics – Shadow Buddy Bot</a:t>
            </a:r>
          </a:p>
          <a:p>
            <a:pPr marL="228594" indent="-228594">
              <a:spcBef>
                <a:spcPts val="800"/>
              </a:spcBef>
              <a:buFont typeface="Arial" panose="020B0604020202020204" pitchFamily="34" charset="0"/>
              <a:buChar char="•"/>
            </a:pPr>
            <a:r>
              <a:rPr lang="en-US" sz="900" dirty="0" smtClean="0">
                <a:solidFill>
                  <a:schemeClr val="tx1"/>
                </a:solidFill>
                <a:latin typeface="Calibiri"/>
              </a:rPr>
              <a:t>Highly Business Critical Processes - ???  </a:t>
            </a:r>
          </a:p>
          <a:p>
            <a:pPr marL="685794" lvl="1" indent="-228594">
              <a:buFont typeface="Arial" panose="020B0604020202020204" pitchFamily="34" charset="0"/>
              <a:buChar char="•"/>
            </a:pPr>
            <a:r>
              <a:rPr lang="en-US" sz="900" dirty="0" smtClean="0">
                <a:solidFill>
                  <a:schemeClr val="tx1"/>
                </a:solidFill>
                <a:latin typeface="Calibiri"/>
              </a:rPr>
              <a:t>Marketing Loyalty and Channel Sales Property management – Operations, </a:t>
            </a:r>
            <a:r>
              <a:rPr lang="en-US" sz="900" dirty="0" err="1" smtClean="0">
                <a:solidFill>
                  <a:schemeClr val="tx1"/>
                </a:solidFill>
                <a:latin typeface="Calibiri"/>
              </a:rPr>
              <a:t>eCommerce</a:t>
            </a:r>
            <a:r>
              <a:rPr lang="en-US" sz="900" dirty="0" smtClean="0">
                <a:solidFill>
                  <a:schemeClr val="tx1"/>
                </a:solidFill>
                <a:latin typeface="Calibiri"/>
              </a:rPr>
              <a:t>, </a:t>
            </a:r>
          </a:p>
          <a:p>
            <a:pPr marL="685794" lvl="1" indent="-228594">
              <a:buFont typeface="Arial" panose="020B0604020202020204" pitchFamily="34" charset="0"/>
              <a:buChar char="•"/>
            </a:pPr>
            <a:r>
              <a:rPr lang="en-US" sz="900" dirty="0" smtClean="0">
                <a:solidFill>
                  <a:schemeClr val="tx1"/>
                </a:solidFill>
                <a:latin typeface="Calibiri"/>
              </a:rPr>
              <a:t>Reservations Revenue Management -– Marsha- Niche Skills</a:t>
            </a:r>
          </a:p>
          <a:p>
            <a:pPr marL="685794" lvl="1" indent="-228594">
              <a:buFont typeface="Arial" panose="020B0604020202020204" pitchFamily="34" charset="0"/>
              <a:buChar char="•"/>
            </a:pPr>
            <a:r>
              <a:rPr lang="en-US" sz="900" dirty="0" smtClean="0">
                <a:solidFill>
                  <a:schemeClr val="tx1"/>
                </a:solidFill>
                <a:latin typeface="Calibiri"/>
              </a:rPr>
              <a:t>CRM Event Management Mobile Applications –GOS - ecommerce – Marriott Mobile </a:t>
            </a:r>
          </a:p>
        </p:txBody>
      </p:sp>
      <p:sp>
        <p:nvSpPr>
          <p:cNvPr id="23" name="Rectangle 22"/>
          <p:cNvSpPr/>
          <p:nvPr/>
        </p:nvSpPr>
        <p:spPr>
          <a:xfrm>
            <a:off x="9341281" y="1158625"/>
            <a:ext cx="2568771" cy="2473494"/>
          </a:xfrm>
          <a:prstGeom prst="rect">
            <a:avLst/>
          </a:prstGeom>
          <a:ln w="12700">
            <a:solidFill>
              <a:schemeClr val="bg1">
                <a:lumMod val="65000"/>
              </a:schemeClr>
            </a:solidFill>
          </a:ln>
        </p:spPr>
        <p:style>
          <a:lnRef idx="2">
            <a:schemeClr val="accent3"/>
          </a:lnRef>
          <a:fillRef idx="1">
            <a:schemeClr val="lt1"/>
          </a:fillRef>
          <a:effectRef idx="0">
            <a:schemeClr val="accent3"/>
          </a:effectRef>
          <a:fontRef idx="minor">
            <a:schemeClr val="dk1"/>
          </a:fontRef>
        </p:style>
        <p:txBody>
          <a:bodyPr rtlCol="0" anchor="t"/>
          <a:lstStyle/>
          <a:p>
            <a:pPr defTabSz="914377">
              <a:spcBef>
                <a:spcPts val="225"/>
              </a:spcBef>
              <a:defRPr/>
            </a:pPr>
            <a:endParaRPr lang="en-US" sz="1200" dirty="0">
              <a:solidFill>
                <a:srgbClr val="000000"/>
              </a:solidFill>
              <a:latin typeface="Calibri" panose="020F0502020204030204" pitchFamily="34" charset="0"/>
            </a:endParaRPr>
          </a:p>
        </p:txBody>
      </p:sp>
      <p:graphicFrame>
        <p:nvGraphicFramePr>
          <p:cNvPr id="5" name="Table 4"/>
          <p:cNvGraphicFramePr>
            <a:graphicFrameLocks noGrp="1"/>
          </p:cNvGraphicFramePr>
          <p:nvPr>
            <p:extLst/>
          </p:nvPr>
        </p:nvGraphicFramePr>
        <p:xfrm>
          <a:off x="9399595" y="1134245"/>
          <a:ext cx="2451086" cy="2438400"/>
        </p:xfrm>
        <a:graphic>
          <a:graphicData uri="http://schemas.openxmlformats.org/drawingml/2006/table">
            <a:tbl>
              <a:tblPr firstRow="1" bandRow="1">
                <a:tableStyleId>{17292A2E-F333-43FB-9621-5CBBE7FDCDCB}</a:tableStyleId>
              </a:tblPr>
              <a:tblGrid>
                <a:gridCol w="1807121">
                  <a:extLst>
                    <a:ext uri="{9D8B030D-6E8A-4147-A177-3AD203B41FA5}">
                      <a16:colId xmlns:a16="http://schemas.microsoft.com/office/drawing/2014/main" val="2995198294"/>
                    </a:ext>
                  </a:extLst>
                </a:gridCol>
                <a:gridCol w="643965">
                  <a:extLst>
                    <a:ext uri="{9D8B030D-6E8A-4147-A177-3AD203B41FA5}">
                      <a16:colId xmlns:a16="http://schemas.microsoft.com/office/drawing/2014/main" val="3259804590"/>
                    </a:ext>
                  </a:extLst>
                </a:gridCol>
              </a:tblGrid>
              <a:tr h="365760">
                <a:tc>
                  <a:txBody>
                    <a:bodyPr/>
                    <a:lstStyle/>
                    <a:p>
                      <a:pPr algn="ctr"/>
                      <a:r>
                        <a:rPr lang="en-US" sz="1000" dirty="0" smtClean="0">
                          <a:latin typeface="Calibiri"/>
                        </a:rPr>
                        <a:t>Marriott Business Process</a:t>
                      </a:r>
                      <a:endParaRPr lang="en-US" sz="1000" dirty="0">
                        <a:solidFill>
                          <a:schemeClr val="tx2"/>
                        </a:solidFill>
                        <a:latin typeface="Calibiri"/>
                      </a:endParaRPr>
                    </a:p>
                  </a:txBody>
                  <a:tcPr marL="0" marR="0" marT="0" marB="0" anchor="ctr">
                    <a:solidFill>
                      <a:schemeClr val="accent5">
                        <a:lumMod val="75000"/>
                      </a:schemeClr>
                    </a:solidFill>
                  </a:tcPr>
                </a:tc>
                <a:tc>
                  <a:txBody>
                    <a:bodyPr/>
                    <a:lstStyle/>
                    <a:p>
                      <a:pPr algn="ctr"/>
                      <a:r>
                        <a:rPr lang="en-US" sz="1000" dirty="0" smtClean="0">
                          <a:latin typeface="Calibiri"/>
                        </a:rPr>
                        <a:t>Transition Duration</a:t>
                      </a:r>
                      <a:endParaRPr lang="en-US" sz="1000" dirty="0">
                        <a:solidFill>
                          <a:schemeClr val="tx2"/>
                        </a:solidFill>
                        <a:latin typeface="Calibiri"/>
                      </a:endParaRPr>
                    </a:p>
                  </a:txBody>
                  <a:tcPr marL="0" marR="0" marT="0" marB="0" anchor="ctr">
                    <a:solidFill>
                      <a:schemeClr val="accent5">
                        <a:lumMod val="75000"/>
                      </a:schemeClr>
                    </a:solidFill>
                  </a:tcPr>
                </a:tc>
                <a:extLst>
                  <a:ext uri="{0D108BD9-81ED-4DB2-BD59-A6C34878D82A}">
                    <a16:rowId xmlns:a16="http://schemas.microsoft.com/office/drawing/2014/main" val="4157197954"/>
                  </a:ext>
                </a:extLst>
              </a:tr>
              <a:tr h="343947">
                <a:tc>
                  <a:txBody>
                    <a:bodyPr/>
                    <a:lstStyle/>
                    <a:p>
                      <a:r>
                        <a:rPr lang="en-US" sz="800" dirty="0" smtClean="0">
                          <a:solidFill>
                            <a:schemeClr val="tx2"/>
                          </a:solidFill>
                          <a:latin typeface="Calibiri"/>
                        </a:rPr>
                        <a:t>Revenue Management- Price Publishing, reporting and billing applications</a:t>
                      </a:r>
                    </a:p>
                    <a:p>
                      <a:r>
                        <a:rPr lang="en-US" sz="800" dirty="0" smtClean="0">
                          <a:solidFill>
                            <a:schemeClr val="tx2"/>
                          </a:solidFill>
                          <a:latin typeface="Calibiri"/>
                        </a:rPr>
                        <a:t>Loyalty Marketing Program </a:t>
                      </a:r>
                      <a:r>
                        <a:rPr lang="en-US" sz="800" dirty="0" err="1" smtClean="0">
                          <a:solidFill>
                            <a:schemeClr val="tx2"/>
                          </a:solidFill>
                          <a:latin typeface="Calibiri"/>
                        </a:rPr>
                        <a:t>Mgmnt</a:t>
                      </a:r>
                      <a:r>
                        <a:rPr lang="en-US" sz="800" dirty="0" smtClean="0">
                          <a:solidFill>
                            <a:schemeClr val="tx2"/>
                          </a:solidFill>
                          <a:latin typeface="Calibiri"/>
                        </a:rPr>
                        <a:t>- Rewards financial/customer/ program information analysis</a:t>
                      </a:r>
                    </a:p>
                    <a:p>
                      <a:r>
                        <a:rPr lang="en-US" sz="800" dirty="0" smtClean="0">
                          <a:solidFill>
                            <a:schemeClr val="tx2"/>
                          </a:solidFill>
                          <a:latin typeface="Calibiri"/>
                        </a:rPr>
                        <a:t>Reservations</a:t>
                      </a:r>
                    </a:p>
                  </a:txBody>
                  <a:tcPr marL="121920" marR="0" marT="0" marB="0" anchor="ctr"/>
                </a:tc>
                <a:tc>
                  <a:txBody>
                    <a:bodyPr/>
                    <a:lstStyle/>
                    <a:p>
                      <a:pPr algn="ctr"/>
                      <a:r>
                        <a:rPr lang="en-US" sz="800" dirty="0" smtClean="0">
                          <a:solidFill>
                            <a:schemeClr val="tx2"/>
                          </a:solidFill>
                          <a:latin typeface="Calibiri"/>
                        </a:rPr>
                        <a:t>24 Weeks</a:t>
                      </a:r>
                      <a:endParaRPr lang="en-US" sz="800" dirty="0">
                        <a:solidFill>
                          <a:schemeClr val="tx2"/>
                        </a:solidFill>
                        <a:latin typeface="Calibiri"/>
                      </a:endParaRPr>
                    </a:p>
                  </a:txBody>
                  <a:tcPr marL="121920" marR="0" marT="0" marB="0" anchor="ctr"/>
                </a:tc>
                <a:extLst>
                  <a:ext uri="{0D108BD9-81ED-4DB2-BD59-A6C34878D82A}">
                    <a16:rowId xmlns:a16="http://schemas.microsoft.com/office/drawing/2014/main" val="2332940968"/>
                  </a:ext>
                </a:extLst>
              </a:tr>
              <a:tr h="518528">
                <a:tc>
                  <a:txBody>
                    <a:bodyPr/>
                    <a:lstStyle/>
                    <a:p>
                      <a:r>
                        <a:rPr lang="en-US" sz="800" dirty="0" smtClean="0">
                          <a:solidFill>
                            <a:schemeClr val="tx2"/>
                          </a:solidFill>
                          <a:latin typeface="Calibiri"/>
                        </a:rPr>
                        <a:t>Global Accounting Services, Sales &amp; Marketing, BMSC, Consumer Analytics, Consumer Insights &amp; Revenue Strategy, Global Marketing, Reservations</a:t>
                      </a:r>
                    </a:p>
                  </a:txBody>
                  <a:tcPr marL="121920" marR="0" marT="0" marB="0" anchor="ctr"/>
                </a:tc>
                <a:tc>
                  <a:txBody>
                    <a:bodyPr/>
                    <a:lstStyle/>
                    <a:p>
                      <a:pPr algn="ctr"/>
                      <a:r>
                        <a:rPr lang="en-US" sz="900" dirty="0" smtClean="0">
                          <a:solidFill>
                            <a:schemeClr val="tx2"/>
                          </a:solidFill>
                          <a:latin typeface="Calibiri"/>
                        </a:rPr>
                        <a:t>20 Weeks</a:t>
                      </a:r>
                      <a:endParaRPr lang="en-US" sz="900" dirty="0">
                        <a:solidFill>
                          <a:schemeClr val="tx2"/>
                        </a:solidFill>
                        <a:latin typeface="Calibiri"/>
                      </a:endParaRPr>
                    </a:p>
                  </a:txBody>
                  <a:tcPr marL="121920" marR="0" marT="0" marB="0" anchor="ctr"/>
                </a:tc>
                <a:extLst>
                  <a:ext uri="{0D108BD9-81ED-4DB2-BD59-A6C34878D82A}">
                    <a16:rowId xmlns:a16="http://schemas.microsoft.com/office/drawing/2014/main" val="3006376363"/>
                  </a:ext>
                </a:extLst>
              </a:tr>
              <a:tr h="216008">
                <a:tc>
                  <a:txBody>
                    <a:bodyPr/>
                    <a:lstStyle/>
                    <a:p>
                      <a:r>
                        <a:rPr lang="en-US" sz="800" dirty="0" smtClean="0">
                          <a:solidFill>
                            <a:schemeClr val="tx2"/>
                          </a:solidFill>
                          <a:latin typeface="Calibiri"/>
                        </a:rPr>
                        <a:t>Marketing</a:t>
                      </a:r>
                      <a:r>
                        <a:rPr lang="en-US" sz="800" baseline="0" dirty="0" smtClean="0">
                          <a:solidFill>
                            <a:schemeClr val="tx2"/>
                          </a:solidFill>
                          <a:latin typeface="Calibiri"/>
                        </a:rPr>
                        <a:t>, M Digital</a:t>
                      </a:r>
                    </a:p>
                    <a:p>
                      <a:r>
                        <a:rPr lang="en-US" sz="800" baseline="0" dirty="0" smtClean="0">
                          <a:solidFill>
                            <a:schemeClr val="tx2"/>
                          </a:solidFill>
                          <a:latin typeface="Calibiri"/>
                        </a:rPr>
                        <a:t>Revenue </a:t>
                      </a:r>
                      <a:r>
                        <a:rPr lang="en-US" sz="800" baseline="0" dirty="0" err="1" smtClean="0">
                          <a:solidFill>
                            <a:schemeClr val="tx2"/>
                          </a:solidFill>
                          <a:latin typeface="Calibiri"/>
                        </a:rPr>
                        <a:t>Mgmnt</a:t>
                      </a:r>
                      <a:endParaRPr lang="en-US" sz="800" baseline="0" dirty="0" smtClean="0">
                        <a:solidFill>
                          <a:schemeClr val="tx2"/>
                        </a:solidFill>
                        <a:latin typeface="Calibiri"/>
                      </a:endParaRPr>
                    </a:p>
                    <a:p>
                      <a:r>
                        <a:rPr lang="en-US" sz="800" baseline="0" dirty="0" smtClean="0">
                          <a:solidFill>
                            <a:schemeClr val="tx2"/>
                          </a:solidFill>
                          <a:latin typeface="Calibiri"/>
                        </a:rPr>
                        <a:t>BMSC</a:t>
                      </a:r>
                    </a:p>
                    <a:p>
                      <a:r>
                        <a:rPr lang="en-US" sz="800" baseline="0" dirty="0" smtClean="0">
                          <a:solidFill>
                            <a:schemeClr val="tx2"/>
                          </a:solidFill>
                          <a:latin typeface="Calibiri"/>
                        </a:rPr>
                        <a:t>Design &amp; Development</a:t>
                      </a:r>
                    </a:p>
                    <a:p>
                      <a:endParaRPr lang="en-US" sz="800" dirty="0">
                        <a:solidFill>
                          <a:schemeClr val="tx2"/>
                        </a:solidFill>
                        <a:latin typeface="Calibiri"/>
                      </a:endParaRPr>
                    </a:p>
                  </a:txBody>
                  <a:tcPr marL="121920" marR="0" marT="0" marB="0" anchor="ctr"/>
                </a:tc>
                <a:tc>
                  <a:txBody>
                    <a:bodyPr/>
                    <a:lstStyle/>
                    <a:p>
                      <a:pPr algn="ctr"/>
                      <a:r>
                        <a:rPr lang="en-US" sz="800" dirty="0" smtClean="0">
                          <a:solidFill>
                            <a:schemeClr val="tx2"/>
                          </a:solidFill>
                          <a:latin typeface="Calibiri"/>
                        </a:rPr>
                        <a:t>16 Weeks</a:t>
                      </a:r>
                      <a:endParaRPr lang="en-US" sz="800" dirty="0">
                        <a:solidFill>
                          <a:schemeClr val="tx2"/>
                        </a:solidFill>
                        <a:latin typeface="Calibiri"/>
                      </a:endParaRPr>
                    </a:p>
                  </a:txBody>
                  <a:tcPr marL="121920" marR="0" marT="0" marB="0" anchor="ctr"/>
                </a:tc>
                <a:extLst>
                  <a:ext uri="{0D108BD9-81ED-4DB2-BD59-A6C34878D82A}">
                    <a16:rowId xmlns:a16="http://schemas.microsoft.com/office/drawing/2014/main" val="3358485862"/>
                  </a:ext>
                </a:extLst>
              </a:tr>
            </a:tbl>
          </a:graphicData>
        </a:graphic>
      </p:graphicFrame>
      <p:graphicFrame>
        <p:nvGraphicFramePr>
          <p:cNvPr id="26" name="Chart 25"/>
          <p:cNvGraphicFramePr>
            <a:graphicFrameLocks/>
          </p:cNvGraphicFramePr>
          <p:nvPr>
            <p:extLst/>
          </p:nvPr>
        </p:nvGraphicFramePr>
        <p:xfrm>
          <a:off x="4722219" y="783749"/>
          <a:ext cx="4319785" cy="27770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3597275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Freeform 191">
            <a:extLst>
              <a:ext uri="{FF2B5EF4-FFF2-40B4-BE49-F238E27FC236}">
                <a16:creationId xmlns:a16="http://schemas.microsoft.com/office/drawing/2014/main" id="{99557EC1-F1D9-954D-B6A7-60C1BB2B9B54}"/>
              </a:ext>
            </a:extLst>
          </p:cNvPr>
          <p:cNvSpPr>
            <a:spLocks/>
          </p:cNvSpPr>
          <p:nvPr/>
        </p:nvSpPr>
        <p:spPr bwMode="auto">
          <a:xfrm>
            <a:off x="11149336" y="2470781"/>
            <a:ext cx="491112" cy="566666"/>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190" name="Freeform 189">
            <a:extLst>
              <a:ext uri="{FF2B5EF4-FFF2-40B4-BE49-F238E27FC236}">
                <a16:creationId xmlns:a16="http://schemas.microsoft.com/office/drawing/2014/main" id="{99557EC1-F1D9-954D-B6A7-60C1BB2B9B54}"/>
              </a:ext>
            </a:extLst>
          </p:cNvPr>
          <p:cNvSpPr>
            <a:spLocks/>
          </p:cNvSpPr>
          <p:nvPr/>
        </p:nvSpPr>
        <p:spPr bwMode="auto">
          <a:xfrm>
            <a:off x="10093254" y="3007200"/>
            <a:ext cx="491112" cy="566666"/>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188" name="Freeform 187">
            <a:extLst>
              <a:ext uri="{FF2B5EF4-FFF2-40B4-BE49-F238E27FC236}">
                <a16:creationId xmlns:a16="http://schemas.microsoft.com/office/drawing/2014/main" id="{99557EC1-F1D9-954D-B6A7-60C1BB2B9B54}"/>
              </a:ext>
            </a:extLst>
          </p:cNvPr>
          <p:cNvSpPr>
            <a:spLocks/>
          </p:cNvSpPr>
          <p:nvPr/>
        </p:nvSpPr>
        <p:spPr bwMode="auto">
          <a:xfrm>
            <a:off x="10274190" y="1907227"/>
            <a:ext cx="491112" cy="566666"/>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182" name="Pentagon 181">
            <a:extLst>
              <a:ext uri="{FF2B5EF4-FFF2-40B4-BE49-F238E27FC236}">
                <a16:creationId xmlns:a16="http://schemas.microsoft.com/office/drawing/2014/main" id="{29791117-6C25-0347-838B-ED32B04D0A7A}"/>
              </a:ext>
            </a:extLst>
          </p:cNvPr>
          <p:cNvSpPr>
            <a:spLocks/>
          </p:cNvSpPr>
          <p:nvPr/>
        </p:nvSpPr>
        <p:spPr>
          <a:xfrm>
            <a:off x="9885733" y="1407566"/>
            <a:ext cx="1904043" cy="337749"/>
          </a:xfrm>
          <a:prstGeom prst="homePlate">
            <a:avLst/>
          </a:prstGeom>
          <a:solidFill>
            <a:sysClr val="window" lastClr="FFFFFF">
              <a:lumMod val="85000"/>
            </a:sysClr>
          </a:solidFill>
          <a:ln w="3175" cap="flat" cmpd="sng" algn="ctr">
            <a:solidFill>
              <a:schemeClr val="bg1">
                <a:lumMod val="50000"/>
              </a:schemeClr>
            </a:solid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endParaRPr lang="en-US" sz="711" kern="0" dirty="0">
              <a:solidFill>
                <a:prstClr val="white"/>
              </a:solidFill>
              <a:latin typeface="Arial" panose="020B0604020202020204" pitchFamily="34" charset="0"/>
              <a:cs typeface="Arial" panose="020B0604020202020204" pitchFamily="34" charset="0"/>
            </a:endParaRPr>
          </a:p>
        </p:txBody>
      </p:sp>
      <p:sp>
        <p:nvSpPr>
          <p:cNvPr id="231" name="Rectangle 230">
            <a:extLst>
              <a:ext uri="{FF2B5EF4-FFF2-40B4-BE49-F238E27FC236}">
                <a16:creationId xmlns:a16="http://schemas.microsoft.com/office/drawing/2014/main" id="{6DFEF70E-E682-E448-AD22-38C049759095}"/>
              </a:ext>
            </a:extLst>
          </p:cNvPr>
          <p:cNvSpPr/>
          <p:nvPr/>
        </p:nvSpPr>
        <p:spPr bwMode="auto">
          <a:xfrm>
            <a:off x="678270" y="1785989"/>
            <a:ext cx="3145603" cy="942971"/>
          </a:xfrm>
          <a:prstGeom prst="rect">
            <a:avLst/>
          </a:prstGeom>
          <a:solidFill>
            <a:schemeClr val="bg1">
              <a:lumMod val="75000"/>
              <a:alpha val="26000"/>
            </a:schemeClr>
          </a:solidFill>
          <a:ln w="9525" cap="flat" cmpd="sng" algn="ctr">
            <a:noFill/>
            <a:prstDash val="solid"/>
            <a:round/>
            <a:headEnd type="none" w="med" len="med"/>
            <a:tailEnd type="none" w="med" len="med"/>
          </a:ln>
          <a:effectLst/>
        </p:spPr>
        <p:txBody>
          <a:bodyPr vert="horz" wrap="square" lIns="81280" tIns="40640" rIns="81280" bIns="40640" numCol="1" rtlCol="0" anchor="t" anchorCtr="0" compatLnSpc="1">
            <a:prstTxWarp prst="textNoShape">
              <a:avLst/>
            </a:prstTxWarp>
          </a:bodyPr>
          <a:lstStyle/>
          <a:p>
            <a:pPr defTabSz="812788" eaLnBrk="0" fontAlgn="base" hangingPunct="0">
              <a:spcBef>
                <a:spcPct val="0"/>
              </a:spcBef>
              <a:spcAft>
                <a:spcPct val="0"/>
              </a:spcAft>
            </a:pPr>
            <a:endParaRPr lang="en-US" sz="2133" b="1">
              <a:latin typeface="Arial" pitchFamily="-12" charset="0"/>
              <a:ea typeface="ＭＳ Ｐゴシック" pitchFamily="-12" charset="-128"/>
              <a:cs typeface="ＭＳ Ｐゴシック" pitchFamily="-12" charset="-128"/>
            </a:endParaRPr>
          </a:p>
        </p:txBody>
      </p:sp>
      <p:sp>
        <p:nvSpPr>
          <p:cNvPr id="232" name="Rectangle 231">
            <a:extLst>
              <a:ext uri="{FF2B5EF4-FFF2-40B4-BE49-F238E27FC236}">
                <a16:creationId xmlns:a16="http://schemas.microsoft.com/office/drawing/2014/main" id="{CA17D69F-F82B-364D-9101-C0348F143B7C}"/>
              </a:ext>
            </a:extLst>
          </p:cNvPr>
          <p:cNvSpPr/>
          <p:nvPr/>
        </p:nvSpPr>
        <p:spPr bwMode="auto">
          <a:xfrm>
            <a:off x="678646" y="2751860"/>
            <a:ext cx="3152212" cy="1018204"/>
          </a:xfrm>
          <a:prstGeom prst="rect">
            <a:avLst/>
          </a:prstGeom>
          <a:solidFill>
            <a:schemeClr val="bg1">
              <a:lumMod val="50000"/>
              <a:alpha val="26000"/>
            </a:schemeClr>
          </a:solidFill>
          <a:ln w="9525" cap="flat" cmpd="sng" algn="ctr">
            <a:noFill/>
            <a:prstDash val="solid"/>
            <a:round/>
            <a:headEnd type="none" w="med" len="med"/>
            <a:tailEnd type="none" w="med" len="med"/>
          </a:ln>
          <a:effectLst/>
        </p:spPr>
        <p:txBody>
          <a:bodyPr vert="horz" wrap="square" lIns="81280" tIns="40640" rIns="81280" bIns="40640" numCol="1" rtlCol="0" anchor="t" anchorCtr="0" compatLnSpc="1">
            <a:prstTxWarp prst="textNoShape">
              <a:avLst/>
            </a:prstTxWarp>
          </a:bodyPr>
          <a:lstStyle/>
          <a:p>
            <a:pPr defTabSz="812788" eaLnBrk="0" fontAlgn="base" hangingPunct="0">
              <a:spcBef>
                <a:spcPct val="0"/>
              </a:spcBef>
              <a:spcAft>
                <a:spcPct val="0"/>
              </a:spcAft>
            </a:pPr>
            <a:endParaRPr lang="en-US" sz="2133" b="1">
              <a:latin typeface="Arial" pitchFamily="-12" charset="0"/>
              <a:ea typeface="ＭＳ Ｐゴシック" pitchFamily="-12" charset="-128"/>
              <a:cs typeface="ＭＳ Ｐゴシック" pitchFamily="-12" charset="-128"/>
            </a:endParaRPr>
          </a:p>
        </p:txBody>
      </p:sp>
      <p:graphicFrame>
        <p:nvGraphicFramePr>
          <p:cNvPr id="230" name="Table 229">
            <a:extLst>
              <a:ext uri="{FF2B5EF4-FFF2-40B4-BE49-F238E27FC236}">
                <a16:creationId xmlns:a16="http://schemas.microsoft.com/office/drawing/2014/main" id="{EA90B12E-0A0B-7A47-BFD1-A7CA6F100316}"/>
              </a:ext>
            </a:extLst>
          </p:cNvPr>
          <p:cNvGraphicFramePr>
            <a:graphicFrameLocks noGrp="1"/>
          </p:cNvGraphicFramePr>
          <p:nvPr>
            <p:extLst/>
          </p:nvPr>
        </p:nvGraphicFramePr>
        <p:xfrm>
          <a:off x="3876701" y="5139499"/>
          <a:ext cx="7995238" cy="874268"/>
        </p:xfrm>
        <a:graphic>
          <a:graphicData uri="http://schemas.openxmlformats.org/drawingml/2006/table">
            <a:tbl>
              <a:tblPr firstRow="1" firstCol="1" bandRow="1">
                <a:tableStyleId>{21E4AEA4-8DFA-4A89-87EB-49C32662AFE0}</a:tableStyleId>
              </a:tblPr>
              <a:tblGrid>
                <a:gridCol w="7995238">
                  <a:extLst>
                    <a:ext uri="{9D8B030D-6E8A-4147-A177-3AD203B41FA5}">
                      <a16:colId xmlns:a16="http://schemas.microsoft.com/office/drawing/2014/main" val="3653113082"/>
                    </a:ext>
                  </a:extLst>
                </a:gridCol>
              </a:tblGrid>
              <a:tr h="874268">
                <a:tc>
                  <a:txBody>
                    <a:bodyPr/>
                    <a:lstStyle/>
                    <a:p>
                      <a:pPr marL="0" marR="0" lvl="0" indent="0" algn="l" defTabSz="1218987" rtl="0" eaLnBrk="1" fontAlgn="base" latinLnBrk="0" hangingPunct="1">
                        <a:spcBef>
                          <a:spcPts val="0"/>
                        </a:spcBef>
                        <a:spcAft>
                          <a:spcPts val="0"/>
                        </a:spcAft>
                        <a:buFont typeface="Symbol" panose="05050102010706020507" pitchFamily="18" charset="2"/>
                        <a:buNone/>
                      </a:pPr>
                      <a:endParaRPr lang="en-US" sz="1000" b="0" u="none" strike="noStrike" kern="1200" dirty="0">
                        <a:ln>
                          <a:noFill/>
                        </a:ln>
                        <a:solidFill>
                          <a:schemeClr val="tx1"/>
                        </a:solidFill>
                        <a:effectLst>
                          <a:outerShdw sx="0" sy="0">
                            <a:srgbClr val="000000"/>
                          </a:outerShdw>
                        </a:effectLst>
                        <a:latin typeface="Century Gothic" panose="020B0502020202020204" pitchFamily="34" charset="0"/>
                        <a:ea typeface="+mn-ea"/>
                        <a:cs typeface="Calibri" panose="020F0502020204030204" pitchFamily="34" charset="0"/>
                      </a:endParaRPr>
                    </a:p>
                  </a:txBody>
                  <a:tcPr marL="60960" marR="60960" marT="0" marB="0">
                    <a:solidFill>
                      <a:srgbClr val="D9D9D9"/>
                    </a:solidFill>
                  </a:tcPr>
                </a:tc>
                <a:extLst>
                  <a:ext uri="{0D108BD9-81ED-4DB2-BD59-A6C34878D82A}">
                    <a16:rowId xmlns:a16="http://schemas.microsoft.com/office/drawing/2014/main" val="1641840044"/>
                  </a:ext>
                </a:extLst>
              </a:tr>
            </a:tbl>
          </a:graphicData>
        </a:graphic>
      </p:graphicFrame>
      <p:graphicFrame>
        <p:nvGraphicFramePr>
          <p:cNvPr id="229" name="Table 228">
            <a:extLst>
              <a:ext uri="{FF2B5EF4-FFF2-40B4-BE49-F238E27FC236}">
                <a16:creationId xmlns:a16="http://schemas.microsoft.com/office/drawing/2014/main" id="{7A0FEB65-8807-BF46-80AE-27BACE9E3B5A}"/>
              </a:ext>
            </a:extLst>
          </p:cNvPr>
          <p:cNvGraphicFramePr>
            <a:graphicFrameLocks noGrp="1"/>
          </p:cNvGraphicFramePr>
          <p:nvPr>
            <p:extLst/>
          </p:nvPr>
        </p:nvGraphicFramePr>
        <p:xfrm>
          <a:off x="695260" y="5099404"/>
          <a:ext cx="3150295" cy="895070"/>
        </p:xfrm>
        <a:graphic>
          <a:graphicData uri="http://schemas.openxmlformats.org/drawingml/2006/table">
            <a:tbl>
              <a:tblPr firstRow="1" firstCol="1" bandRow="1">
                <a:tableStyleId>{21E4AEA4-8DFA-4A89-87EB-49C32662AFE0}</a:tableStyleId>
              </a:tblPr>
              <a:tblGrid>
                <a:gridCol w="3150295">
                  <a:extLst>
                    <a:ext uri="{9D8B030D-6E8A-4147-A177-3AD203B41FA5}">
                      <a16:colId xmlns:a16="http://schemas.microsoft.com/office/drawing/2014/main" val="3653113082"/>
                    </a:ext>
                  </a:extLst>
                </a:gridCol>
              </a:tblGrid>
              <a:tr h="895070">
                <a:tc>
                  <a:txBody>
                    <a:bodyPr/>
                    <a:lstStyle/>
                    <a:p>
                      <a:pPr marL="285750" lvl="0" indent="-285750">
                        <a:buFont typeface="Arial" panose="020B0604020202020204" pitchFamily="34" charset="0"/>
                        <a:buChar char="•"/>
                      </a:pPr>
                      <a:endParaRPr lang="en-US" sz="1000" b="0" dirty="0">
                        <a:solidFill>
                          <a:schemeClr val="tx1"/>
                        </a:solidFill>
                        <a:latin typeface="Century Gothic" panose="020B0502020202020204" pitchFamily="34" charset="0"/>
                      </a:endParaRPr>
                    </a:p>
                  </a:txBody>
                  <a:tcPr marL="60960" marR="60960" marT="0" marB="0">
                    <a:solidFill>
                      <a:schemeClr val="tx1">
                        <a:lumMod val="50000"/>
                        <a:lumOff val="50000"/>
                      </a:schemeClr>
                    </a:solidFill>
                  </a:tcPr>
                </a:tc>
                <a:extLst>
                  <a:ext uri="{0D108BD9-81ED-4DB2-BD59-A6C34878D82A}">
                    <a16:rowId xmlns:a16="http://schemas.microsoft.com/office/drawing/2014/main" val="1641840044"/>
                  </a:ext>
                </a:extLst>
              </a:tr>
            </a:tbl>
          </a:graphicData>
        </a:graphic>
      </p:graphicFrame>
      <p:sp>
        <p:nvSpPr>
          <p:cNvPr id="174" name="Freeform 173">
            <a:extLst>
              <a:ext uri="{FF2B5EF4-FFF2-40B4-BE49-F238E27FC236}">
                <a16:creationId xmlns:a16="http://schemas.microsoft.com/office/drawing/2014/main" id="{8266BF3C-DED6-3049-9DB2-3B3AF8C560CD}"/>
              </a:ext>
            </a:extLst>
          </p:cNvPr>
          <p:cNvSpPr>
            <a:spLocks/>
          </p:cNvSpPr>
          <p:nvPr/>
        </p:nvSpPr>
        <p:spPr bwMode="auto">
          <a:xfrm>
            <a:off x="2857640" y="3048542"/>
            <a:ext cx="475539" cy="548822"/>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C6D9F1"/>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173" name="Freeform 172">
            <a:extLst>
              <a:ext uri="{FF2B5EF4-FFF2-40B4-BE49-F238E27FC236}">
                <a16:creationId xmlns:a16="http://schemas.microsoft.com/office/drawing/2014/main" id="{41F514EF-7BA1-984A-B5D9-4CBE5F827EAA}"/>
              </a:ext>
            </a:extLst>
          </p:cNvPr>
          <p:cNvSpPr>
            <a:spLocks/>
          </p:cNvSpPr>
          <p:nvPr/>
        </p:nvSpPr>
        <p:spPr bwMode="auto">
          <a:xfrm>
            <a:off x="2890022" y="1965475"/>
            <a:ext cx="475539" cy="548822"/>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C6D9F1"/>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A136F6B8-1864-B54A-8350-E590A9991A7F}"/>
              </a:ext>
            </a:extLst>
          </p:cNvPr>
          <p:cNvSpPr>
            <a:spLocks noGrp="1"/>
          </p:cNvSpPr>
          <p:nvPr>
            <p:ph type="title"/>
          </p:nvPr>
        </p:nvSpPr>
        <p:spPr/>
        <p:txBody>
          <a:bodyPr vert="horz" lIns="81280" tIns="40640" rIns="81280" bIns="40640" rtlCol="0" anchor="ctr">
            <a:normAutofit/>
          </a:bodyPr>
          <a:lstStyle/>
          <a:p>
            <a:r>
              <a:rPr lang="en-US" sz="2290" dirty="0" smtClean="0"/>
              <a:t>Rapid “Enhancements Request </a:t>
            </a:r>
            <a:r>
              <a:rPr lang="en-US" sz="2290" dirty="0"/>
              <a:t>to Production” Workflow</a:t>
            </a:r>
          </a:p>
        </p:txBody>
      </p:sp>
      <p:sp>
        <p:nvSpPr>
          <p:cNvPr id="17" name="Slide Number Placeholder 16">
            <a:extLst>
              <a:ext uri="{FF2B5EF4-FFF2-40B4-BE49-F238E27FC236}">
                <a16:creationId xmlns:a16="http://schemas.microsoft.com/office/drawing/2014/main" id="{D5F06058-963F-8E40-9574-7DF9374F7BB5}"/>
              </a:ext>
            </a:extLst>
          </p:cNvPr>
          <p:cNvSpPr>
            <a:spLocks noGrp="1"/>
          </p:cNvSpPr>
          <p:nvPr>
            <p:ph type="sldNum" sz="quarter" idx="4294967295"/>
          </p:nvPr>
        </p:nvSpPr>
        <p:spPr>
          <a:xfrm>
            <a:off x="0" y="6430963"/>
            <a:ext cx="1212850" cy="322262"/>
          </a:xfrm>
        </p:spPr>
        <p:txBody>
          <a:bodyPr/>
          <a:lstStyle/>
          <a:p>
            <a:fld id="{CBB48BDB-852B-43CF-BAED-73A18A589C5E}" type="slidenum">
              <a:rPr lang="en-US" smtClean="0">
                <a:latin typeface="Century Gothic" panose="020B0502020202020204" pitchFamily="34" charset="0"/>
              </a:rPr>
              <a:pPr/>
              <a:t>74</a:t>
            </a:fld>
            <a:endParaRPr lang="en-US" dirty="0">
              <a:latin typeface="Century Gothic" panose="020B0502020202020204" pitchFamily="34" charset="0"/>
            </a:endParaRPr>
          </a:p>
        </p:txBody>
      </p:sp>
      <p:sp>
        <p:nvSpPr>
          <p:cNvPr id="4" name="Pentagon 3">
            <a:extLst>
              <a:ext uri="{FF2B5EF4-FFF2-40B4-BE49-F238E27FC236}">
                <a16:creationId xmlns:a16="http://schemas.microsoft.com/office/drawing/2014/main" id="{29791117-6C25-0347-838B-ED32B04D0A7A}"/>
              </a:ext>
            </a:extLst>
          </p:cNvPr>
          <p:cNvSpPr>
            <a:spLocks/>
          </p:cNvSpPr>
          <p:nvPr/>
        </p:nvSpPr>
        <p:spPr>
          <a:xfrm>
            <a:off x="7388431" y="1411696"/>
            <a:ext cx="2673003" cy="331314"/>
          </a:xfrm>
          <a:prstGeom prst="homePlate">
            <a:avLst/>
          </a:prstGeom>
          <a:solidFill>
            <a:sysClr val="window" lastClr="FFFFFF">
              <a:lumMod val="85000"/>
            </a:sysClr>
          </a:solidFill>
          <a:ln w="3175" cap="flat" cmpd="sng" algn="ctr">
            <a:solidFill>
              <a:schemeClr val="bg1">
                <a:lumMod val="50000"/>
              </a:schemeClr>
            </a:solid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endParaRPr lang="en-US" sz="711" kern="0">
              <a:solidFill>
                <a:prstClr val="white"/>
              </a:solidFill>
              <a:latin typeface="Arial" panose="020B0604020202020204" pitchFamily="34" charset="0"/>
              <a:cs typeface="Arial" panose="020B0604020202020204" pitchFamily="34" charset="0"/>
            </a:endParaRPr>
          </a:p>
        </p:txBody>
      </p:sp>
      <p:sp>
        <p:nvSpPr>
          <p:cNvPr id="5" name="Pentagon 4">
            <a:extLst>
              <a:ext uri="{FF2B5EF4-FFF2-40B4-BE49-F238E27FC236}">
                <a16:creationId xmlns:a16="http://schemas.microsoft.com/office/drawing/2014/main" id="{20EE19DA-1166-264F-B7C5-7AC025400F05}"/>
              </a:ext>
            </a:extLst>
          </p:cNvPr>
          <p:cNvSpPr>
            <a:spLocks/>
          </p:cNvSpPr>
          <p:nvPr/>
        </p:nvSpPr>
        <p:spPr>
          <a:xfrm>
            <a:off x="5394066" y="1411696"/>
            <a:ext cx="2137363" cy="331314"/>
          </a:xfrm>
          <a:prstGeom prst="homePlate">
            <a:avLst/>
          </a:prstGeom>
          <a:solidFill>
            <a:schemeClr val="tx2">
              <a:lumMod val="20000"/>
              <a:lumOff val="80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pPr>
            <a:endParaRPr lang="en-US" sz="889" b="1" kern="0">
              <a:solidFill>
                <a:prstClr val="black"/>
              </a:solidFill>
              <a:latin typeface="Arial" panose="020B0604020202020204" pitchFamily="34" charset="0"/>
              <a:cs typeface="Arial" panose="020B0604020202020204" pitchFamily="34" charset="0"/>
            </a:endParaRPr>
          </a:p>
        </p:txBody>
      </p:sp>
      <p:sp>
        <p:nvSpPr>
          <p:cNvPr id="9" name="Pentagon 8">
            <a:extLst>
              <a:ext uri="{FF2B5EF4-FFF2-40B4-BE49-F238E27FC236}">
                <a16:creationId xmlns:a16="http://schemas.microsoft.com/office/drawing/2014/main" id="{6C2236EB-C1F4-1D49-A712-EC71C3994F5F}"/>
              </a:ext>
            </a:extLst>
          </p:cNvPr>
          <p:cNvSpPr>
            <a:spLocks/>
          </p:cNvSpPr>
          <p:nvPr/>
        </p:nvSpPr>
        <p:spPr>
          <a:xfrm>
            <a:off x="3779791" y="1411695"/>
            <a:ext cx="1880297" cy="326183"/>
          </a:xfrm>
          <a:prstGeom prst="homePlate">
            <a:avLst/>
          </a:prstGeom>
          <a:solidFill>
            <a:sysClr val="window" lastClr="FFFFFF">
              <a:lumMod val="85000"/>
            </a:sysClr>
          </a:solidFill>
          <a:ln w="3175" cap="flat" cmpd="sng" algn="ctr">
            <a:solidFill>
              <a:schemeClr val="bg1">
                <a:lumMod val="50000"/>
              </a:schemeClr>
            </a:solid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endParaRPr lang="en-US" sz="711" kern="0">
              <a:solidFill>
                <a:prstClr val="white"/>
              </a:solidFill>
              <a:latin typeface="Arial" panose="020B0604020202020204" pitchFamily="34" charset="0"/>
              <a:cs typeface="Arial" panose="020B0604020202020204" pitchFamily="34" charset="0"/>
            </a:endParaRPr>
          </a:p>
        </p:txBody>
      </p:sp>
      <p:sp>
        <p:nvSpPr>
          <p:cNvPr id="10" name="Chevron 9">
            <a:extLst>
              <a:ext uri="{FF2B5EF4-FFF2-40B4-BE49-F238E27FC236}">
                <a16:creationId xmlns:a16="http://schemas.microsoft.com/office/drawing/2014/main" id="{39898A25-15F8-C34B-892B-E07AAE5769E3}"/>
              </a:ext>
            </a:extLst>
          </p:cNvPr>
          <p:cNvSpPr>
            <a:spLocks/>
          </p:cNvSpPr>
          <p:nvPr/>
        </p:nvSpPr>
        <p:spPr>
          <a:xfrm>
            <a:off x="680044" y="1411696"/>
            <a:ext cx="3389168" cy="331314"/>
          </a:xfrm>
          <a:prstGeom prst="chevron">
            <a:avLst>
              <a:gd name="adj" fmla="val 42366"/>
            </a:avLst>
          </a:prstGeom>
          <a:solidFill>
            <a:schemeClr val="tx2">
              <a:lumMod val="20000"/>
              <a:lumOff val="80000"/>
            </a:schemeClr>
          </a:solidFill>
          <a:ln w="317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endParaRPr lang="en-US" sz="889" b="1" kern="0" dirty="0">
              <a:solidFill>
                <a:prstClr val="black"/>
              </a:solidFill>
              <a:latin typeface="Arial" panose="020B0604020202020204" pitchFamily="34" charset="0"/>
              <a:cs typeface="Arial" panose="020B0604020202020204" pitchFamily="34" charset="0"/>
            </a:endParaRPr>
          </a:p>
        </p:txBody>
      </p:sp>
      <p:sp>
        <p:nvSpPr>
          <p:cNvPr id="11" name="TextBox 47">
            <a:extLst>
              <a:ext uri="{FF2B5EF4-FFF2-40B4-BE49-F238E27FC236}">
                <a16:creationId xmlns:a16="http://schemas.microsoft.com/office/drawing/2014/main" id="{D08D890D-8CEB-F24E-8D96-58B4C072E2F9}"/>
              </a:ext>
            </a:extLst>
          </p:cNvPr>
          <p:cNvSpPr txBox="1"/>
          <p:nvPr/>
        </p:nvSpPr>
        <p:spPr>
          <a:xfrm>
            <a:off x="1028870" y="1411696"/>
            <a:ext cx="2469903" cy="191591"/>
          </a:xfrm>
          <a:prstGeom prst="rect">
            <a:avLst/>
          </a:prstGeom>
          <a:noFill/>
        </p:spPr>
        <p:txBody>
          <a:bodyPr wrap="square" lIns="0" tIns="0" rIns="0" bIns="0"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r>
              <a:rPr lang="en-US" sz="1245" kern="0" dirty="0">
                <a:solidFill>
                  <a:prstClr val="black"/>
                </a:solidFill>
                <a:latin typeface="Century Gothic" panose="020B0502020202020204" pitchFamily="34" charset="0"/>
                <a:cs typeface="Calibri" panose="020F0502020204030204" pitchFamily="34" charset="0"/>
              </a:rPr>
              <a:t>Work Intake</a:t>
            </a:r>
          </a:p>
        </p:txBody>
      </p:sp>
      <p:grpSp>
        <p:nvGrpSpPr>
          <p:cNvPr id="119" name="Group 118">
            <a:extLst>
              <a:ext uri="{FF2B5EF4-FFF2-40B4-BE49-F238E27FC236}">
                <a16:creationId xmlns:a16="http://schemas.microsoft.com/office/drawing/2014/main" id="{84478FC1-DCD2-8D4B-A062-5BBDF3079B9B}"/>
              </a:ext>
            </a:extLst>
          </p:cNvPr>
          <p:cNvGrpSpPr/>
          <p:nvPr/>
        </p:nvGrpSpPr>
        <p:grpSpPr>
          <a:xfrm>
            <a:off x="1829753" y="1979743"/>
            <a:ext cx="475539" cy="548822"/>
            <a:chOff x="2173111" y="2162580"/>
            <a:chExt cx="534981" cy="617425"/>
          </a:xfrm>
        </p:grpSpPr>
        <p:sp>
          <p:nvSpPr>
            <p:cNvPr id="12" name="Freeform 11">
              <a:extLst>
                <a:ext uri="{FF2B5EF4-FFF2-40B4-BE49-F238E27FC236}">
                  <a16:creationId xmlns:a16="http://schemas.microsoft.com/office/drawing/2014/main" id="{C43870BC-AE69-464D-A769-C5071CED0E1B}"/>
                </a:ext>
              </a:extLst>
            </p:cNvPr>
            <p:cNvSpPr>
              <a:spLocks/>
            </p:cNvSpPr>
            <p:nvPr/>
          </p:nvSpPr>
          <p:spPr bwMode="auto">
            <a:xfrm>
              <a:off x="2173111" y="2162580"/>
              <a:ext cx="534981" cy="617425"/>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C6D9F1"/>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19C85B7B-968F-C74F-BAEC-81E851300705}"/>
                </a:ext>
              </a:extLst>
            </p:cNvPr>
            <p:cNvGrpSpPr>
              <a:grpSpLocks noChangeAspect="1"/>
            </p:cNvGrpSpPr>
            <p:nvPr/>
          </p:nvGrpSpPr>
          <p:grpSpPr>
            <a:xfrm>
              <a:off x="2215737" y="2334245"/>
              <a:ext cx="432511" cy="251942"/>
              <a:chOff x="2624138" y="4270375"/>
              <a:chExt cx="1289050" cy="750888"/>
            </a:xfrm>
            <a:solidFill>
              <a:schemeClr val="tx1"/>
            </a:solidFill>
          </p:grpSpPr>
          <p:sp>
            <p:nvSpPr>
              <p:cNvPr id="14" name="Freeform 13">
                <a:extLst>
                  <a:ext uri="{FF2B5EF4-FFF2-40B4-BE49-F238E27FC236}">
                    <a16:creationId xmlns:a16="http://schemas.microsoft.com/office/drawing/2014/main" id="{D002B906-873C-ED4A-BCD7-6C9B6580CE68}"/>
                  </a:ext>
                </a:extLst>
              </p:cNvPr>
              <p:cNvSpPr>
                <a:spLocks noEditPoints="1"/>
              </p:cNvSpPr>
              <p:nvPr/>
            </p:nvSpPr>
            <p:spPr bwMode="auto">
              <a:xfrm>
                <a:off x="2624138" y="4270375"/>
                <a:ext cx="1289050" cy="750888"/>
              </a:xfrm>
              <a:custGeom>
                <a:avLst/>
                <a:gdLst>
                  <a:gd name="T0" fmla="*/ 342 w 344"/>
                  <a:gd name="T1" fmla="*/ 96 h 200"/>
                  <a:gd name="T2" fmla="*/ 172 w 344"/>
                  <a:gd name="T3" fmla="*/ 0 h 200"/>
                  <a:gd name="T4" fmla="*/ 2 w 344"/>
                  <a:gd name="T5" fmla="*/ 96 h 200"/>
                  <a:gd name="T6" fmla="*/ 2 w 344"/>
                  <a:gd name="T7" fmla="*/ 105 h 200"/>
                  <a:gd name="T8" fmla="*/ 172 w 344"/>
                  <a:gd name="T9" fmla="*/ 200 h 200"/>
                  <a:gd name="T10" fmla="*/ 342 w 344"/>
                  <a:gd name="T11" fmla="*/ 105 h 200"/>
                  <a:gd name="T12" fmla="*/ 342 w 344"/>
                  <a:gd name="T13" fmla="*/ 96 h 200"/>
                  <a:gd name="T14" fmla="*/ 172 w 344"/>
                  <a:gd name="T15" fmla="*/ 186 h 200"/>
                  <a:gd name="T16" fmla="*/ 17 w 344"/>
                  <a:gd name="T17" fmla="*/ 100 h 200"/>
                  <a:gd name="T18" fmla="*/ 172 w 344"/>
                  <a:gd name="T19" fmla="*/ 15 h 200"/>
                  <a:gd name="T20" fmla="*/ 327 w 344"/>
                  <a:gd name="T21" fmla="*/ 100 h 200"/>
                  <a:gd name="T22" fmla="*/ 172 w 344"/>
                  <a:gd name="T23"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 h="200">
                    <a:moveTo>
                      <a:pt x="342" y="96"/>
                    </a:moveTo>
                    <a:cubicBezTo>
                      <a:pt x="339" y="92"/>
                      <a:pt x="265" y="0"/>
                      <a:pt x="172" y="0"/>
                    </a:cubicBezTo>
                    <a:cubicBezTo>
                      <a:pt x="79" y="0"/>
                      <a:pt x="5" y="92"/>
                      <a:pt x="2" y="96"/>
                    </a:cubicBezTo>
                    <a:cubicBezTo>
                      <a:pt x="0" y="99"/>
                      <a:pt x="0" y="102"/>
                      <a:pt x="2" y="105"/>
                    </a:cubicBezTo>
                    <a:cubicBezTo>
                      <a:pt x="5" y="109"/>
                      <a:pt x="79" y="200"/>
                      <a:pt x="172" y="200"/>
                    </a:cubicBezTo>
                    <a:cubicBezTo>
                      <a:pt x="265" y="200"/>
                      <a:pt x="339" y="109"/>
                      <a:pt x="342" y="105"/>
                    </a:cubicBezTo>
                    <a:cubicBezTo>
                      <a:pt x="344" y="102"/>
                      <a:pt x="344" y="99"/>
                      <a:pt x="342" y="96"/>
                    </a:cubicBezTo>
                    <a:close/>
                    <a:moveTo>
                      <a:pt x="172" y="186"/>
                    </a:moveTo>
                    <a:cubicBezTo>
                      <a:pt x="97" y="186"/>
                      <a:pt x="33" y="119"/>
                      <a:pt x="17" y="100"/>
                    </a:cubicBezTo>
                    <a:cubicBezTo>
                      <a:pt x="33" y="82"/>
                      <a:pt x="97" y="15"/>
                      <a:pt x="172" y="15"/>
                    </a:cubicBezTo>
                    <a:cubicBezTo>
                      <a:pt x="247" y="15"/>
                      <a:pt x="311" y="82"/>
                      <a:pt x="327" y="100"/>
                    </a:cubicBezTo>
                    <a:cubicBezTo>
                      <a:pt x="311" y="119"/>
                      <a:pt x="247" y="186"/>
                      <a:pt x="172"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latin typeface="Segoe UI Light" panose="020B0502040204020203" pitchFamily="34" charset="0"/>
                </a:endParaRPr>
              </a:p>
            </p:txBody>
          </p:sp>
          <p:sp>
            <p:nvSpPr>
              <p:cNvPr id="15" name="Freeform 14">
                <a:extLst>
                  <a:ext uri="{FF2B5EF4-FFF2-40B4-BE49-F238E27FC236}">
                    <a16:creationId xmlns:a16="http://schemas.microsoft.com/office/drawing/2014/main" id="{F98A8279-1900-274D-BECA-1E26D3CB5710}"/>
                  </a:ext>
                </a:extLst>
              </p:cNvPr>
              <p:cNvSpPr>
                <a:spLocks noEditPoints="1"/>
              </p:cNvSpPr>
              <p:nvPr/>
            </p:nvSpPr>
            <p:spPr bwMode="auto">
              <a:xfrm>
                <a:off x="3028951" y="4405313"/>
                <a:ext cx="479425" cy="484188"/>
              </a:xfrm>
              <a:custGeom>
                <a:avLst/>
                <a:gdLst>
                  <a:gd name="T0" fmla="*/ 64 w 128"/>
                  <a:gd name="T1" fmla="*/ 0 h 129"/>
                  <a:gd name="T2" fmla="*/ 0 w 128"/>
                  <a:gd name="T3" fmla="*/ 64 h 129"/>
                  <a:gd name="T4" fmla="*/ 64 w 128"/>
                  <a:gd name="T5" fmla="*/ 129 h 129"/>
                  <a:gd name="T6" fmla="*/ 128 w 128"/>
                  <a:gd name="T7" fmla="*/ 64 h 129"/>
                  <a:gd name="T8" fmla="*/ 64 w 128"/>
                  <a:gd name="T9" fmla="*/ 0 h 129"/>
                  <a:gd name="T10" fmla="*/ 64 w 128"/>
                  <a:gd name="T11" fmla="*/ 114 h 129"/>
                  <a:gd name="T12" fmla="*/ 14 w 128"/>
                  <a:gd name="T13" fmla="*/ 64 h 129"/>
                  <a:gd name="T14" fmla="*/ 64 w 128"/>
                  <a:gd name="T15" fmla="*/ 14 h 129"/>
                  <a:gd name="T16" fmla="*/ 114 w 128"/>
                  <a:gd name="T17" fmla="*/ 64 h 129"/>
                  <a:gd name="T18" fmla="*/ 64 w 128"/>
                  <a:gd name="T19" fmla="*/ 11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9">
                    <a:moveTo>
                      <a:pt x="64" y="0"/>
                    </a:moveTo>
                    <a:cubicBezTo>
                      <a:pt x="29" y="0"/>
                      <a:pt x="0" y="29"/>
                      <a:pt x="0" y="64"/>
                    </a:cubicBezTo>
                    <a:cubicBezTo>
                      <a:pt x="0" y="100"/>
                      <a:pt x="29" y="129"/>
                      <a:pt x="64" y="129"/>
                    </a:cubicBezTo>
                    <a:cubicBezTo>
                      <a:pt x="100" y="129"/>
                      <a:pt x="128" y="100"/>
                      <a:pt x="128" y="64"/>
                    </a:cubicBezTo>
                    <a:cubicBezTo>
                      <a:pt x="128" y="29"/>
                      <a:pt x="100" y="0"/>
                      <a:pt x="64" y="0"/>
                    </a:cubicBezTo>
                    <a:close/>
                    <a:moveTo>
                      <a:pt x="64" y="114"/>
                    </a:moveTo>
                    <a:cubicBezTo>
                      <a:pt x="37" y="114"/>
                      <a:pt x="14" y="92"/>
                      <a:pt x="14" y="64"/>
                    </a:cubicBezTo>
                    <a:cubicBezTo>
                      <a:pt x="14" y="37"/>
                      <a:pt x="37" y="14"/>
                      <a:pt x="64" y="14"/>
                    </a:cubicBezTo>
                    <a:cubicBezTo>
                      <a:pt x="92" y="14"/>
                      <a:pt x="114" y="37"/>
                      <a:pt x="114" y="64"/>
                    </a:cubicBezTo>
                    <a:cubicBezTo>
                      <a:pt x="114" y="92"/>
                      <a:pt x="92" y="114"/>
                      <a:pt x="64"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latin typeface="Segoe UI Light" panose="020B0502040204020203" pitchFamily="34" charset="0"/>
                </a:endParaRPr>
              </a:p>
            </p:txBody>
          </p:sp>
          <p:sp>
            <p:nvSpPr>
              <p:cNvPr id="16" name="Freeform 15">
                <a:extLst>
                  <a:ext uri="{FF2B5EF4-FFF2-40B4-BE49-F238E27FC236}">
                    <a16:creationId xmlns:a16="http://schemas.microsoft.com/office/drawing/2014/main" id="{47E3756C-70DF-4C4D-890E-3B8C85D285B3}"/>
                  </a:ext>
                </a:extLst>
              </p:cNvPr>
              <p:cNvSpPr>
                <a:spLocks/>
              </p:cNvSpPr>
              <p:nvPr/>
            </p:nvSpPr>
            <p:spPr bwMode="auto">
              <a:xfrm>
                <a:off x="3133726" y="4514850"/>
                <a:ext cx="269875" cy="265113"/>
              </a:xfrm>
              <a:custGeom>
                <a:avLst/>
                <a:gdLst>
                  <a:gd name="T0" fmla="*/ 36 w 72"/>
                  <a:gd name="T1" fmla="*/ 0 h 71"/>
                  <a:gd name="T2" fmla="*/ 29 w 72"/>
                  <a:gd name="T3" fmla="*/ 7 h 71"/>
                  <a:gd name="T4" fmla="*/ 36 w 72"/>
                  <a:gd name="T5" fmla="*/ 14 h 71"/>
                  <a:gd name="T6" fmla="*/ 58 w 72"/>
                  <a:gd name="T7" fmla="*/ 35 h 71"/>
                  <a:gd name="T8" fmla="*/ 36 w 72"/>
                  <a:gd name="T9" fmla="*/ 57 h 71"/>
                  <a:gd name="T10" fmla="*/ 15 w 72"/>
                  <a:gd name="T11" fmla="*/ 35 h 71"/>
                  <a:gd name="T12" fmla="*/ 8 w 72"/>
                  <a:gd name="T13" fmla="*/ 28 h 71"/>
                  <a:gd name="T14" fmla="*/ 0 w 72"/>
                  <a:gd name="T15" fmla="*/ 35 h 71"/>
                  <a:gd name="T16" fmla="*/ 36 w 72"/>
                  <a:gd name="T17" fmla="*/ 71 h 71"/>
                  <a:gd name="T18" fmla="*/ 72 w 72"/>
                  <a:gd name="T19" fmla="*/ 35 h 71"/>
                  <a:gd name="T20" fmla="*/ 36 w 72"/>
                  <a:gd name="T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1">
                    <a:moveTo>
                      <a:pt x="36" y="0"/>
                    </a:moveTo>
                    <a:cubicBezTo>
                      <a:pt x="32" y="0"/>
                      <a:pt x="29" y="3"/>
                      <a:pt x="29" y="7"/>
                    </a:cubicBezTo>
                    <a:cubicBezTo>
                      <a:pt x="29" y="11"/>
                      <a:pt x="32" y="14"/>
                      <a:pt x="36" y="14"/>
                    </a:cubicBezTo>
                    <a:cubicBezTo>
                      <a:pt x="48" y="14"/>
                      <a:pt x="58" y="24"/>
                      <a:pt x="58" y="35"/>
                    </a:cubicBezTo>
                    <a:cubicBezTo>
                      <a:pt x="58" y="47"/>
                      <a:pt x="48" y="57"/>
                      <a:pt x="36" y="57"/>
                    </a:cubicBezTo>
                    <a:cubicBezTo>
                      <a:pt x="24" y="57"/>
                      <a:pt x="15" y="47"/>
                      <a:pt x="15" y="35"/>
                    </a:cubicBezTo>
                    <a:cubicBezTo>
                      <a:pt x="15" y="31"/>
                      <a:pt x="12" y="28"/>
                      <a:pt x="8" y="28"/>
                    </a:cubicBezTo>
                    <a:cubicBezTo>
                      <a:pt x="4" y="28"/>
                      <a:pt x="0" y="31"/>
                      <a:pt x="0" y="35"/>
                    </a:cubicBezTo>
                    <a:cubicBezTo>
                      <a:pt x="0" y="55"/>
                      <a:pt x="16" y="71"/>
                      <a:pt x="36" y="71"/>
                    </a:cubicBezTo>
                    <a:cubicBezTo>
                      <a:pt x="56" y="71"/>
                      <a:pt x="72" y="55"/>
                      <a:pt x="72" y="35"/>
                    </a:cubicBezTo>
                    <a:cubicBezTo>
                      <a:pt x="72" y="16"/>
                      <a:pt x="56"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latin typeface="Segoe UI Light" panose="020B0502040204020203" pitchFamily="34" charset="0"/>
                </a:endParaRPr>
              </a:p>
            </p:txBody>
          </p:sp>
        </p:grpSp>
      </p:grpSp>
      <p:graphicFrame>
        <p:nvGraphicFramePr>
          <p:cNvPr id="19" name="Table 18">
            <a:extLst>
              <a:ext uri="{FF2B5EF4-FFF2-40B4-BE49-F238E27FC236}">
                <a16:creationId xmlns:a16="http://schemas.microsoft.com/office/drawing/2014/main" id="{5554C121-5D78-6C45-BBFD-3E43FE1E3246}"/>
              </a:ext>
            </a:extLst>
          </p:cNvPr>
          <p:cNvGraphicFramePr>
            <a:graphicFrameLocks noGrp="1"/>
          </p:cNvGraphicFramePr>
          <p:nvPr>
            <p:extLst/>
          </p:nvPr>
        </p:nvGraphicFramePr>
        <p:xfrm>
          <a:off x="683092" y="3876042"/>
          <a:ext cx="3150295" cy="1277257"/>
        </p:xfrm>
        <a:graphic>
          <a:graphicData uri="http://schemas.openxmlformats.org/drawingml/2006/table">
            <a:tbl>
              <a:tblPr firstRow="1" firstCol="1" bandRow="1">
                <a:tableStyleId>{21E4AEA4-8DFA-4A89-87EB-49C32662AFE0}</a:tableStyleId>
              </a:tblPr>
              <a:tblGrid>
                <a:gridCol w="3150295">
                  <a:extLst>
                    <a:ext uri="{9D8B030D-6E8A-4147-A177-3AD203B41FA5}">
                      <a16:colId xmlns:a16="http://schemas.microsoft.com/office/drawing/2014/main" val="3653113082"/>
                    </a:ext>
                  </a:extLst>
                </a:gridCol>
              </a:tblGrid>
              <a:tr h="1277257">
                <a:tc>
                  <a:txBody>
                    <a:bodyPr/>
                    <a:lstStyle/>
                    <a:p>
                      <a:pPr marL="285750" lvl="0" indent="-285750">
                        <a:buFont typeface="Arial" panose="020B0604020202020204" pitchFamily="34" charset="0"/>
                        <a:buChar char="•"/>
                      </a:pPr>
                      <a:r>
                        <a:rPr lang="en-US" sz="1000" b="0" dirty="0">
                          <a:solidFill>
                            <a:schemeClr val="bg1"/>
                          </a:solidFill>
                          <a:latin typeface="Century Gothic" panose="020B0502020202020204" pitchFamily="34" charset="0"/>
                        </a:rPr>
                        <a:t>Digital Work Intake process</a:t>
                      </a:r>
                    </a:p>
                    <a:p>
                      <a:pPr marL="285750" lvl="0" indent="-285750">
                        <a:buFont typeface="Arial" panose="020B0604020202020204" pitchFamily="34" charset="0"/>
                        <a:buChar char="•"/>
                      </a:pPr>
                      <a:r>
                        <a:rPr lang="en-US" sz="1000" b="0" dirty="0">
                          <a:solidFill>
                            <a:schemeClr val="bg1"/>
                          </a:solidFill>
                          <a:latin typeface="Century Gothic" panose="020B0502020202020204" pitchFamily="34" charset="0"/>
                        </a:rPr>
                        <a:t>Boilerplate templates are utilized when it is a new development</a:t>
                      </a:r>
                    </a:p>
                    <a:p>
                      <a:pPr marL="285750" lvl="0" indent="-285750">
                        <a:buFont typeface="Arial" panose="020B0604020202020204" pitchFamily="34" charset="0"/>
                        <a:buChar char="•"/>
                      </a:pPr>
                      <a:r>
                        <a:rPr lang="en-US" sz="1000" b="0" dirty="0" smtClean="0">
                          <a:solidFill>
                            <a:schemeClr val="bg1"/>
                          </a:solidFill>
                          <a:latin typeface="Century Gothic" panose="020B0502020202020204" pitchFamily="34" charset="0"/>
                        </a:rPr>
                        <a:t>Cost </a:t>
                      </a:r>
                      <a:r>
                        <a:rPr lang="en-US" sz="1000" b="0" dirty="0">
                          <a:solidFill>
                            <a:schemeClr val="bg1"/>
                          </a:solidFill>
                          <a:latin typeface="Century Gothic" panose="020B0502020202020204" pitchFamily="34" charset="0"/>
                        </a:rPr>
                        <a:t>Estimates and ROI calculations using </a:t>
                      </a:r>
                      <a:r>
                        <a:rPr lang="en-US" sz="1000" b="1" dirty="0">
                          <a:solidFill>
                            <a:schemeClr val="bg1"/>
                          </a:solidFill>
                          <a:latin typeface="Century Gothic" panose="020B0502020202020204" pitchFamily="34" charset="0"/>
                        </a:rPr>
                        <a:t>standardized templates[Custom] </a:t>
                      </a:r>
                      <a:r>
                        <a:rPr lang="en-US" sz="1000" b="0" dirty="0">
                          <a:solidFill>
                            <a:schemeClr val="bg1"/>
                          </a:solidFill>
                          <a:latin typeface="Century Gothic" panose="020B0502020202020204" pitchFamily="34" charset="0"/>
                        </a:rPr>
                        <a:t>&amp; Catalogued services</a:t>
                      </a:r>
                    </a:p>
                  </a:txBody>
                  <a:tcPr marL="60960" marR="60960" marT="0" marB="0">
                    <a:solidFill>
                      <a:schemeClr val="tx1">
                        <a:lumMod val="50000"/>
                        <a:lumOff val="50000"/>
                      </a:schemeClr>
                    </a:solidFill>
                  </a:tcPr>
                </a:tc>
                <a:extLst>
                  <a:ext uri="{0D108BD9-81ED-4DB2-BD59-A6C34878D82A}">
                    <a16:rowId xmlns:a16="http://schemas.microsoft.com/office/drawing/2014/main" val="1641840044"/>
                  </a:ext>
                </a:extLst>
              </a:tr>
            </a:tbl>
          </a:graphicData>
        </a:graphic>
      </p:graphicFrame>
      <p:sp>
        <p:nvSpPr>
          <p:cNvPr id="20" name="Rectangle 19">
            <a:extLst>
              <a:ext uri="{FF2B5EF4-FFF2-40B4-BE49-F238E27FC236}">
                <a16:creationId xmlns:a16="http://schemas.microsoft.com/office/drawing/2014/main" id="{958E5B1D-2AD9-264E-A9A8-9DA1A872972A}"/>
              </a:ext>
            </a:extLst>
          </p:cNvPr>
          <p:cNvSpPr/>
          <p:nvPr/>
        </p:nvSpPr>
        <p:spPr>
          <a:xfrm rot="16200000">
            <a:off x="-1113603" y="3351149"/>
            <a:ext cx="3187946" cy="2811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93" algn="l" rtl="0" fontAlgn="base">
              <a:spcBef>
                <a:spcPct val="0"/>
              </a:spcBef>
              <a:spcAft>
                <a:spcPct val="0"/>
              </a:spcAft>
              <a:defRPr kern="1200">
                <a:solidFill>
                  <a:schemeClr val="lt1"/>
                </a:solidFill>
                <a:latin typeface="+mn-lt"/>
                <a:ea typeface="+mn-ea"/>
                <a:cs typeface="+mn-cs"/>
              </a:defRPr>
            </a:lvl2pPr>
            <a:lvl3pPr marL="1218987" algn="l" rtl="0" fontAlgn="base">
              <a:spcBef>
                <a:spcPct val="0"/>
              </a:spcBef>
              <a:spcAft>
                <a:spcPct val="0"/>
              </a:spcAft>
              <a:defRPr kern="1200">
                <a:solidFill>
                  <a:schemeClr val="lt1"/>
                </a:solidFill>
                <a:latin typeface="+mn-lt"/>
                <a:ea typeface="+mn-ea"/>
                <a:cs typeface="+mn-cs"/>
              </a:defRPr>
            </a:lvl3pPr>
            <a:lvl4pPr marL="1828480" algn="l" rtl="0" fontAlgn="base">
              <a:spcBef>
                <a:spcPct val="0"/>
              </a:spcBef>
              <a:spcAft>
                <a:spcPct val="0"/>
              </a:spcAft>
              <a:defRPr kern="1200">
                <a:solidFill>
                  <a:schemeClr val="lt1"/>
                </a:solidFill>
                <a:latin typeface="+mn-lt"/>
                <a:ea typeface="+mn-ea"/>
                <a:cs typeface="+mn-cs"/>
              </a:defRPr>
            </a:lvl4pPr>
            <a:lvl5pPr marL="2437973" algn="l" rtl="0" fontAlgn="base">
              <a:spcBef>
                <a:spcPct val="0"/>
              </a:spcBef>
              <a:spcAft>
                <a:spcPct val="0"/>
              </a:spcAft>
              <a:defRPr kern="1200">
                <a:solidFill>
                  <a:schemeClr val="lt1"/>
                </a:solidFill>
                <a:latin typeface="+mn-lt"/>
                <a:ea typeface="+mn-ea"/>
                <a:cs typeface="+mn-cs"/>
              </a:defRPr>
            </a:lvl5pPr>
            <a:lvl6pPr marL="3047467" algn="l" defTabSz="1218987" rtl="0" eaLnBrk="1" latinLnBrk="0" hangingPunct="1">
              <a:defRPr kern="1200">
                <a:solidFill>
                  <a:schemeClr val="lt1"/>
                </a:solidFill>
                <a:latin typeface="+mn-lt"/>
                <a:ea typeface="+mn-ea"/>
                <a:cs typeface="+mn-cs"/>
              </a:defRPr>
            </a:lvl6pPr>
            <a:lvl7pPr marL="3656960" algn="l" defTabSz="1218987" rtl="0" eaLnBrk="1" latinLnBrk="0" hangingPunct="1">
              <a:defRPr kern="1200">
                <a:solidFill>
                  <a:schemeClr val="lt1"/>
                </a:solidFill>
                <a:latin typeface="+mn-lt"/>
                <a:ea typeface="+mn-ea"/>
                <a:cs typeface="+mn-cs"/>
              </a:defRPr>
            </a:lvl7pPr>
            <a:lvl8pPr marL="4266453" algn="l" defTabSz="1218987" rtl="0" eaLnBrk="1" latinLnBrk="0" hangingPunct="1">
              <a:defRPr kern="1200">
                <a:solidFill>
                  <a:schemeClr val="lt1"/>
                </a:solidFill>
                <a:latin typeface="+mn-lt"/>
                <a:ea typeface="+mn-ea"/>
                <a:cs typeface="+mn-cs"/>
              </a:defRPr>
            </a:lvl8pPr>
            <a:lvl9pPr marL="4875947" algn="l" defTabSz="1218987" rtl="0" eaLnBrk="1" latinLnBrk="0" hangingPunct="1">
              <a:defRPr kern="1200">
                <a:solidFill>
                  <a:schemeClr val="lt1"/>
                </a:solidFill>
                <a:latin typeface="+mn-lt"/>
                <a:ea typeface="+mn-ea"/>
                <a:cs typeface="+mn-cs"/>
              </a:defRPr>
            </a:lvl9pPr>
          </a:lstStyle>
          <a:p>
            <a:pPr algn="ctr"/>
            <a:r>
              <a:rPr lang="en-US" sz="1422" dirty="0">
                <a:latin typeface="Calibri" panose="020F0502020204030204" pitchFamily="34" charset="0"/>
                <a:cs typeface="Calibri" panose="020F0502020204030204" pitchFamily="34" charset="0"/>
              </a:rPr>
              <a:t>Activities</a:t>
            </a:r>
          </a:p>
        </p:txBody>
      </p:sp>
      <p:sp>
        <p:nvSpPr>
          <p:cNvPr id="50" name="TextBox 47">
            <a:extLst>
              <a:ext uri="{FF2B5EF4-FFF2-40B4-BE49-F238E27FC236}">
                <a16:creationId xmlns:a16="http://schemas.microsoft.com/office/drawing/2014/main" id="{186CAA51-B4EA-DF4F-9295-67251FBF0A0E}"/>
              </a:ext>
            </a:extLst>
          </p:cNvPr>
          <p:cNvSpPr txBox="1"/>
          <p:nvPr/>
        </p:nvSpPr>
        <p:spPr>
          <a:xfrm>
            <a:off x="4318141" y="1411696"/>
            <a:ext cx="1007312" cy="191591"/>
          </a:xfrm>
          <a:prstGeom prst="rect">
            <a:avLst/>
          </a:prstGeom>
          <a:noFill/>
        </p:spPr>
        <p:txBody>
          <a:bodyPr wrap="square" lIns="0" tIns="0" rIns="0" bIns="0"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r>
              <a:rPr lang="en-US" sz="1245" kern="0" dirty="0">
                <a:solidFill>
                  <a:prstClr val="black"/>
                </a:solidFill>
                <a:latin typeface="Century Gothic" panose="020B0502020202020204" pitchFamily="34" charset="0"/>
                <a:cs typeface="Calibri" panose="020F0502020204030204" pitchFamily="34" charset="0"/>
              </a:rPr>
              <a:t>Planning</a:t>
            </a:r>
          </a:p>
        </p:txBody>
      </p:sp>
      <p:graphicFrame>
        <p:nvGraphicFramePr>
          <p:cNvPr id="51" name="Table 50">
            <a:extLst>
              <a:ext uri="{FF2B5EF4-FFF2-40B4-BE49-F238E27FC236}">
                <a16:creationId xmlns:a16="http://schemas.microsoft.com/office/drawing/2014/main" id="{BF13F8AB-6244-294A-8DA0-A96ADC98FDDA}"/>
              </a:ext>
            </a:extLst>
          </p:cNvPr>
          <p:cNvGraphicFramePr>
            <a:graphicFrameLocks noGrp="1"/>
          </p:cNvGraphicFramePr>
          <p:nvPr>
            <p:extLst/>
          </p:nvPr>
        </p:nvGraphicFramePr>
        <p:xfrm>
          <a:off x="3864532" y="3920545"/>
          <a:ext cx="7996325" cy="1223364"/>
        </p:xfrm>
        <a:graphic>
          <a:graphicData uri="http://schemas.openxmlformats.org/drawingml/2006/table">
            <a:tbl>
              <a:tblPr firstRow="1" firstCol="1" bandRow="1">
                <a:tableStyleId>{21E4AEA4-8DFA-4A89-87EB-49C32662AFE0}</a:tableStyleId>
              </a:tblPr>
              <a:tblGrid>
                <a:gridCol w="7996325">
                  <a:extLst>
                    <a:ext uri="{9D8B030D-6E8A-4147-A177-3AD203B41FA5}">
                      <a16:colId xmlns:a16="http://schemas.microsoft.com/office/drawing/2014/main" val="3653113082"/>
                    </a:ext>
                  </a:extLst>
                </a:gridCol>
              </a:tblGrid>
              <a:tr h="1223364">
                <a:tc>
                  <a:txBody>
                    <a:bodyPr/>
                    <a:lstStyle/>
                    <a:p>
                      <a:pPr marL="0" marR="0" lvl="0" indent="0" algn="l" defTabSz="1218987" rtl="0" eaLnBrk="1" fontAlgn="base" latinLnBrk="0" hangingPunct="1">
                        <a:spcBef>
                          <a:spcPts val="0"/>
                        </a:spcBef>
                        <a:spcAft>
                          <a:spcPts val="0"/>
                        </a:spcAft>
                        <a:buFont typeface="Symbol" panose="05050102010706020507" pitchFamily="18" charset="2"/>
                        <a:buNone/>
                      </a:pPr>
                      <a:endParaRPr lang="en-US" sz="1000" b="0" u="none" strike="noStrike" kern="1200" dirty="0">
                        <a:ln>
                          <a:noFill/>
                        </a:ln>
                        <a:solidFill>
                          <a:schemeClr val="tx1"/>
                        </a:solidFill>
                        <a:effectLst>
                          <a:outerShdw sx="0" sy="0">
                            <a:srgbClr val="000000"/>
                          </a:outerShdw>
                        </a:effectLst>
                        <a:latin typeface="Century Gothic" panose="020B0502020202020204" pitchFamily="34" charset="0"/>
                        <a:ea typeface="+mn-ea"/>
                        <a:cs typeface="Calibri" panose="020F0502020204030204" pitchFamily="34" charset="0"/>
                      </a:endParaRPr>
                    </a:p>
                  </a:txBody>
                  <a:tcPr marL="60960" marR="60960" marT="0" marB="0">
                    <a:solidFill>
                      <a:srgbClr val="D9D9D9"/>
                    </a:solidFill>
                  </a:tcPr>
                </a:tc>
                <a:extLst>
                  <a:ext uri="{0D108BD9-81ED-4DB2-BD59-A6C34878D82A}">
                    <a16:rowId xmlns:a16="http://schemas.microsoft.com/office/drawing/2014/main" val="1641840044"/>
                  </a:ext>
                </a:extLst>
              </a:tr>
            </a:tbl>
          </a:graphicData>
        </a:graphic>
      </p:graphicFrame>
      <p:sp>
        <p:nvSpPr>
          <p:cNvPr id="52" name="TextBox 51">
            <a:extLst>
              <a:ext uri="{FF2B5EF4-FFF2-40B4-BE49-F238E27FC236}">
                <a16:creationId xmlns:a16="http://schemas.microsoft.com/office/drawing/2014/main" id="{99C19D00-241E-494D-8A15-61C018B90E51}"/>
              </a:ext>
            </a:extLst>
          </p:cNvPr>
          <p:cNvSpPr txBox="1"/>
          <p:nvPr/>
        </p:nvSpPr>
        <p:spPr bwMode="auto">
          <a:xfrm>
            <a:off x="5556823" y="3886823"/>
            <a:ext cx="1763192" cy="1097288"/>
          </a:xfrm>
          <a:prstGeom prst="rect">
            <a:avLst/>
          </a:prstGeom>
          <a:noFill/>
          <a:ln w="9525">
            <a:noFill/>
            <a:miter lim="800000"/>
            <a:headEnd/>
            <a:tailEnd/>
          </a:ln>
        </p:spPr>
        <p:txBody>
          <a:bodyPr wrap="square" rtlCol="0">
            <a:prstTxWarp prst="textNoShape">
              <a:avLst/>
            </a:prstTxWarp>
            <a:spAutoFit/>
          </a:bodyPr>
          <a:lstStyle/>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Commitment to </a:t>
            </a:r>
            <a:r>
              <a:rPr lang="en-US" sz="933" dirty="0" smtClean="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 </a:t>
            </a: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Sprint </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Well defined acceptance criteria</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Dependencies across scrum teams</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Demo and Sign off</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Retrospectives</a:t>
            </a:r>
          </a:p>
        </p:txBody>
      </p:sp>
      <p:cxnSp>
        <p:nvCxnSpPr>
          <p:cNvPr id="54" name="Straight Connector 53">
            <a:extLst>
              <a:ext uri="{FF2B5EF4-FFF2-40B4-BE49-F238E27FC236}">
                <a16:creationId xmlns:a16="http://schemas.microsoft.com/office/drawing/2014/main" id="{08545C2E-C752-CF4B-B565-CDD6CDCFAA0A}"/>
              </a:ext>
            </a:extLst>
          </p:cNvPr>
          <p:cNvCxnSpPr/>
          <p:nvPr/>
        </p:nvCxnSpPr>
        <p:spPr bwMode="auto">
          <a:xfrm>
            <a:off x="5526773" y="3926962"/>
            <a:ext cx="0" cy="108183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66DD5410-9600-B849-B590-7B9A5D32FDDE}"/>
              </a:ext>
            </a:extLst>
          </p:cNvPr>
          <p:cNvCxnSpPr/>
          <p:nvPr/>
        </p:nvCxnSpPr>
        <p:spPr bwMode="auto">
          <a:xfrm>
            <a:off x="7371102" y="3939205"/>
            <a:ext cx="0" cy="108183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6" name="TextBox 55">
            <a:extLst>
              <a:ext uri="{FF2B5EF4-FFF2-40B4-BE49-F238E27FC236}">
                <a16:creationId xmlns:a16="http://schemas.microsoft.com/office/drawing/2014/main" id="{8F1BF81B-0DD7-A64E-A4EF-89FE80360FCB}"/>
              </a:ext>
            </a:extLst>
          </p:cNvPr>
          <p:cNvSpPr txBox="1"/>
          <p:nvPr/>
        </p:nvSpPr>
        <p:spPr bwMode="auto">
          <a:xfrm>
            <a:off x="695260" y="3004445"/>
            <a:ext cx="824623" cy="256545"/>
          </a:xfrm>
          <a:prstGeom prst="rect">
            <a:avLst/>
          </a:prstGeom>
          <a:noFill/>
          <a:ln w="9525">
            <a:noFill/>
            <a:miter lim="800000"/>
            <a:headEnd/>
            <a:tailEnd/>
          </a:ln>
        </p:spPr>
        <p:txBody>
          <a:bodyPr wrap="square" rtlCol="0">
            <a:prstTxWarp prst="textNoShape">
              <a:avLst/>
            </a:prstTxWarp>
            <a:spAutoFit/>
          </a:bodyPr>
          <a:lstStyle/>
          <a:p>
            <a:pPr eaLnBrk="0" hangingPunct="0"/>
            <a:r>
              <a:rPr lang="en-US" sz="1067" dirty="0">
                <a:latin typeface="Century Gothic" panose="020B0502020202020204" pitchFamily="34" charset="0"/>
                <a:cs typeface="Calibri" panose="020F0502020204030204" pitchFamily="34" charset="0"/>
              </a:rPr>
              <a:t>Request</a:t>
            </a:r>
          </a:p>
        </p:txBody>
      </p:sp>
      <p:sp>
        <p:nvSpPr>
          <p:cNvPr id="57" name="TextBox 56">
            <a:extLst>
              <a:ext uri="{FF2B5EF4-FFF2-40B4-BE49-F238E27FC236}">
                <a16:creationId xmlns:a16="http://schemas.microsoft.com/office/drawing/2014/main" id="{4E2D7A3F-14BF-9142-ACC5-517C8F995C54}"/>
              </a:ext>
            </a:extLst>
          </p:cNvPr>
          <p:cNvSpPr txBox="1"/>
          <p:nvPr/>
        </p:nvSpPr>
        <p:spPr bwMode="auto">
          <a:xfrm>
            <a:off x="1512248" y="2477083"/>
            <a:ext cx="1133644" cy="256545"/>
          </a:xfrm>
          <a:prstGeom prst="rect">
            <a:avLst/>
          </a:prstGeom>
          <a:noFill/>
          <a:ln w="9525">
            <a:noFill/>
            <a:miter lim="800000"/>
            <a:headEnd/>
            <a:tailEnd/>
          </a:ln>
        </p:spPr>
        <p:txBody>
          <a:bodyPr wrap="none" rtlCol="0">
            <a:prstTxWarp prst="textNoShape">
              <a:avLst/>
            </a:prstTxWarp>
            <a:spAutoFit/>
          </a:bodyPr>
          <a:lstStyle/>
          <a:p>
            <a:pPr eaLnBrk="0" hangingPunct="0"/>
            <a:r>
              <a:rPr lang="en-US" sz="1067" dirty="0">
                <a:latin typeface="Century Gothic" panose="020B0502020202020204" pitchFamily="34" charset="0"/>
                <a:cs typeface="Calibri" panose="020F0502020204030204" pitchFamily="34" charset="0"/>
              </a:rPr>
              <a:t> Development</a:t>
            </a:r>
          </a:p>
        </p:txBody>
      </p:sp>
      <p:grpSp>
        <p:nvGrpSpPr>
          <p:cNvPr id="141" name="Group 140">
            <a:extLst>
              <a:ext uri="{FF2B5EF4-FFF2-40B4-BE49-F238E27FC236}">
                <a16:creationId xmlns:a16="http://schemas.microsoft.com/office/drawing/2014/main" id="{5F39C9F6-B3DB-9049-B8FA-CEA94ECA545E}"/>
              </a:ext>
            </a:extLst>
          </p:cNvPr>
          <p:cNvGrpSpPr/>
          <p:nvPr/>
        </p:nvGrpSpPr>
        <p:grpSpPr>
          <a:xfrm>
            <a:off x="6300367" y="1804912"/>
            <a:ext cx="1171121" cy="1965152"/>
            <a:chOff x="4684581" y="2007692"/>
            <a:chExt cx="1317512" cy="2210796"/>
          </a:xfrm>
        </p:grpSpPr>
        <p:grpSp>
          <p:nvGrpSpPr>
            <p:cNvPr id="22" name="Group 21">
              <a:extLst>
                <a:ext uri="{FF2B5EF4-FFF2-40B4-BE49-F238E27FC236}">
                  <a16:creationId xmlns:a16="http://schemas.microsoft.com/office/drawing/2014/main" id="{E9AA0951-1C59-4043-8439-8D337243E502}"/>
                </a:ext>
              </a:extLst>
            </p:cNvPr>
            <p:cNvGrpSpPr/>
            <p:nvPr/>
          </p:nvGrpSpPr>
          <p:grpSpPr>
            <a:xfrm>
              <a:off x="4692502" y="2007692"/>
              <a:ext cx="552374" cy="637498"/>
              <a:chOff x="4561424" y="2945932"/>
              <a:chExt cx="534981" cy="617425"/>
            </a:xfrm>
          </p:grpSpPr>
          <p:sp>
            <p:nvSpPr>
              <p:cNvPr id="23" name="Freeform 22">
                <a:extLst>
                  <a:ext uri="{FF2B5EF4-FFF2-40B4-BE49-F238E27FC236}">
                    <a16:creationId xmlns:a16="http://schemas.microsoft.com/office/drawing/2014/main" id="{0FE44901-34A9-0D4F-AAAC-F711289CD36F}"/>
                  </a:ext>
                </a:extLst>
              </p:cNvPr>
              <p:cNvSpPr>
                <a:spLocks/>
              </p:cNvSpPr>
              <p:nvPr/>
            </p:nvSpPr>
            <p:spPr bwMode="auto">
              <a:xfrm>
                <a:off x="4561424" y="2945932"/>
                <a:ext cx="534981" cy="617425"/>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D9D9D9"/>
              </a:solidFill>
              <a:ln w="1270">
                <a:solidFill>
                  <a:schemeClr val="tx1"/>
                </a:solidFill>
                <a:prstDash val="sysDot"/>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24" name="Freeform 23">
                <a:extLst>
                  <a:ext uri="{FF2B5EF4-FFF2-40B4-BE49-F238E27FC236}">
                    <a16:creationId xmlns:a16="http://schemas.microsoft.com/office/drawing/2014/main" id="{EA36BEA5-C4AD-FD48-A468-25D95BDE885D}"/>
                  </a:ext>
                </a:extLst>
              </p:cNvPr>
              <p:cNvSpPr>
                <a:spLocks noEditPoints="1"/>
              </p:cNvSpPr>
              <p:nvPr/>
            </p:nvSpPr>
            <p:spPr bwMode="auto">
              <a:xfrm>
                <a:off x="4684592" y="3103640"/>
                <a:ext cx="283843" cy="283843"/>
              </a:xfrm>
              <a:custGeom>
                <a:avLst/>
                <a:gdLst>
                  <a:gd name="T0" fmla="*/ 0 w 2048"/>
                  <a:gd name="T1" fmla="*/ 19 h 2038"/>
                  <a:gd name="T2" fmla="*/ 2001 w 2048"/>
                  <a:gd name="T3" fmla="*/ 0 h 2038"/>
                  <a:gd name="T4" fmla="*/ 2048 w 2048"/>
                  <a:gd name="T5" fmla="*/ 2019 h 2038"/>
                  <a:gd name="T6" fmla="*/ 45 w 2048"/>
                  <a:gd name="T7" fmla="*/ 2038 h 2038"/>
                  <a:gd name="T8" fmla="*/ 51 w 2048"/>
                  <a:gd name="T9" fmla="*/ 1045 h 2038"/>
                  <a:gd name="T10" fmla="*/ 50 w 2048"/>
                  <a:gd name="T11" fmla="*/ 1969 h 2038"/>
                  <a:gd name="T12" fmla="*/ 976 w 2048"/>
                  <a:gd name="T13" fmla="*/ 1993 h 2038"/>
                  <a:gd name="T14" fmla="*/ 1002 w 2048"/>
                  <a:gd name="T15" fmla="*/ 1691 h 2038"/>
                  <a:gd name="T16" fmla="*/ 1046 w 2048"/>
                  <a:gd name="T17" fmla="*/ 1668 h 2038"/>
                  <a:gd name="T18" fmla="*/ 1341 w 2048"/>
                  <a:gd name="T19" fmla="*/ 1522 h 2038"/>
                  <a:gd name="T20" fmla="*/ 1047 w 2048"/>
                  <a:gd name="T21" fmla="*/ 1364 h 2038"/>
                  <a:gd name="T22" fmla="*/ 1002 w 2048"/>
                  <a:gd name="T23" fmla="*/ 1342 h 2038"/>
                  <a:gd name="T24" fmla="*/ 980 w 2048"/>
                  <a:gd name="T25" fmla="*/ 1045 h 2038"/>
                  <a:gd name="T26" fmla="*/ 735 w 2048"/>
                  <a:gd name="T27" fmla="*/ 1046 h 2038"/>
                  <a:gd name="T28" fmla="*/ 532 w 2048"/>
                  <a:gd name="T29" fmla="*/ 1384 h 2038"/>
                  <a:gd name="T30" fmla="*/ 314 w 2048"/>
                  <a:gd name="T31" fmla="*/ 1047 h 2038"/>
                  <a:gd name="T32" fmla="*/ 51 w 2048"/>
                  <a:gd name="T33" fmla="*/ 1045 h 2038"/>
                  <a:gd name="T34" fmla="*/ 1324 w 2048"/>
                  <a:gd name="T35" fmla="*/ 766 h 2038"/>
                  <a:gd name="T36" fmla="*/ 1692 w 2048"/>
                  <a:gd name="T37" fmla="*/ 728 h 2038"/>
                  <a:gd name="T38" fmla="*/ 1997 w 2048"/>
                  <a:gd name="T39" fmla="*/ 991 h 2038"/>
                  <a:gd name="T40" fmla="*/ 1998 w 2048"/>
                  <a:gd name="T41" fmla="*/ 68 h 2038"/>
                  <a:gd name="T42" fmla="*/ 1072 w 2048"/>
                  <a:gd name="T43" fmla="*/ 45 h 2038"/>
                  <a:gd name="T44" fmla="*/ 1046 w 2048"/>
                  <a:gd name="T45" fmla="*/ 347 h 2038"/>
                  <a:gd name="T46" fmla="*/ 1002 w 2048"/>
                  <a:gd name="T47" fmla="*/ 370 h 2038"/>
                  <a:gd name="T48" fmla="*/ 707 w 2048"/>
                  <a:gd name="T49" fmla="*/ 516 h 2038"/>
                  <a:gd name="T50" fmla="*/ 1003 w 2048"/>
                  <a:gd name="T51" fmla="*/ 673 h 2038"/>
                  <a:gd name="T52" fmla="*/ 1046 w 2048"/>
                  <a:gd name="T53" fmla="*/ 696 h 2038"/>
                  <a:gd name="T54" fmla="*/ 1090 w 2048"/>
                  <a:gd name="T55" fmla="*/ 993 h 2038"/>
                  <a:gd name="T56" fmla="*/ 1048 w 2048"/>
                  <a:gd name="T57" fmla="*/ 1726 h 2038"/>
                  <a:gd name="T58" fmla="*/ 1046 w 2048"/>
                  <a:gd name="T59" fmla="*/ 1967 h 2038"/>
                  <a:gd name="T60" fmla="*/ 1973 w 2048"/>
                  <a:gd name="T61" fmla="*/ 1993 h 2038"/>
                  <a:gd name="T62" fmla="*/ 1998 w 2048"/>
                  <a:gd name="T63" fmla="*/ 1067 h 2038"/>
                  <a:gd name="T64" fmla="*/ 1972 w 2048"/>
                  <a:gd name="T65" fmla="*/ 1045 h 2038"/>
                  <a:gd name="T66" fmla="*/ 1667 w 2048"/>
                  <a:gd name="T67" fmla="*/ 1029 h 2038"/>
                  <a:gd name="T68" fmla="*/ 1706 w 2048"/>
                  <a:gd name="T69" fmla="*/ 850 h 2038"/>
                  <a:gd name="T70" fmla="*/ 1341 w 2048"/>
                  <a:gd name="T71" fmla="*/ 927 h 2038"/>
                  <a:gd name="T72" fmla="*/ 1353 w 2048"/>
                  <a:gd name="T73" fmla="*/ 1045 h 2038"/>
                  <a:gd name="T74" fmla="*/ 1067 w 2048"/>
                  <a:gd name="T75" fmla="*/ 1045 h 2038"/>
                  <a:gd name="T76" fmla="*/ 1046 w 2048"/>
                  <a:gd name="T77" fmla="*/ 1284 h 2038"/>
                  <a:gd name="T78" fmla="*/ 1220 w 2048"/>
                  <a:gd name="T79" fmla="*/ 1292 h 2038"/>
                  <a:gd name="T80" fmla="*/ 1351 w 2048"/>
                  <a:gd name="T81" fmla="*/ 1642 h 2038"/>
                  <a:gd name="T82" fmla="*/ 1000 w 2048"/>
                  <a:gd name="T83" fmla="*/ 312 h 2038"/>
                  <a:gd name="T84" fmla="*/ 1002 w 2048"/>
                  <a:gd name="T85" fmla="*/ 71 h 2038"/>
                  <a:gd name="T86" fmla="*/ 76 w 2048"/>
                  <a:gd name="T87" fmla="*/ 45 h 2038"/>
                  <a:gd name="T88" fmla="*/ 50 w 2048"/>
                  <a:gd name="T89" fmla="*/ 967 h 2038"/>
                  <a:gd name="T90" fmla="*/ 76 w 2048"/>
                  <a:gd name="T91" fmla="*/ 993 h 2038"/>
                  <a:gd name="T92" fmla="*/ 381 w 2048"/>
                  <a:gd name="T93" fmla="*/ 1009 h 2038"/>
                  <a:gd name="T94" fmla="*/ 368 w 2048"/>
                  <a:gd name="T95" fmla="*/ 1253 h 2038"/>
                  <a:gd name="T96" fmla="*/ 710 w 2048"/>
                  <a:gd name="T97" fmla="*/ 1128 h 2038"/>
                  <a:gd name="T98" fmla="*/ 697 w 2048"/>
                  <a:gd name="T99" fmla="*/ 993 h 2038"/>
                  <a:gd name="T100" fmla="*/ 979 w 2048"/>
                  <a:gd name="T101" fmla="*/ 993 h 2038"/>
                  <a:gd name="T102" fmla="*/ 1002 w 2048"/>
                  <a:gd name="T103" fmla="*/ 755 h 2038"/>
                  <a:gd name="T104" fmla="*/ 696 w 2048"/>
                  <a:gd name="T105" fmla="*/ 647 h 2038"/>
                  <a:gd name="T106" fmla="*/ 1000 w 2048"/>
                  <a:gd name="T107" fmla="*/ 312 h 2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8" h="2038">
                    <a:moveTo>
                      <a:pt x="0" y="2019"/>
                    </a:moveTo>
                    <a:cubicBezTo>
                      <a:pt x="0" y="1352"/>
                      <a:pt x="0" y="686"/>
                      <a:pt x="0" y="19"/>
                    </a:cubicBezTo>
                    <a:cubicBezTo>
                      <a:pt x="12" y="3"/>
                      <a:pt x="28" y="0"/>
                      <a:pt x="47" y="0"/>
                    </a:cubicBezTo>
                    <a:cubicBezTo>
                      <a:pt x="698" y="1"/>
                      <a:pt x="1350" y="1"/>
                      <a:pt x="2001" y="0"/>
                    </a:cubicBezTo>
                    <a:cubicBezTo>
                      <a:pt x="2020" y="0"/>
                      <a:pt x="2036" y="3"/>
                      <a:pt x="2048" y="19"/>
                    </a:cubicBezTo>
                    <a:cubicBezTo>
                      <a:pt x="2048" y="686"/>
                      <a:pt x="2048" y="1352"/>
                      <a:pt x="2048" y="2019"/>
                    </a:cubicBezTo>
                    <a:cubicBezTo>
                      <a:pt x="2036" y="2035"/>
                      <a:pt x="2020" y="2038"/>
                      <a:pt x="2001" y="2038"/>
                    </a:cubicBezTo>
                    <a:cubicBezTo>
                      <a:pt x="1349" y="2037"/>
                      <a:pt x="697" y="2037"/>
                      <a:pt x="45" y="2038"/>
                    </a:cubicBezTo>
                    <a:cubicBezTo>
                      <a:pt x="26" y="2038"/>
                      <a:pt x="11" y="2034"/>
                      <a:pt x="0" y="2019"/>
                    </a:cubicBezTo>
                    <a:close/>
                    <a:moveTo>
                      <a:pt x="51" y="1045"/>
                    </a:moveTo>
                    <a:cubicBezTo>
                      <a:pt x="51" y="1054"/>
                      <a:pt x="50" y="1061"/>
                      <a:pt x="50" y="1067"/>
                    </a:cubicBezTo>
                    <a:cubicBezTo>
                      <a:pt x="50" y="1368"/>
                      <a:pt x="50" y="1668"/>
                      <a:pt x="50" y="1969"/>
                    </a:cubicBezTo>
                    <a:cubicBezTo>
                      <a:pt x="50" y="1988"/>
                      <a:pt x="56" y="1993"/>
                      <a:pt x="75" y="1993"/>
                    </a:cubicBezTo>
                    <a:cubicBezTo>
                      <a:pt x="375" y="1993"/>
                      <a:pt x="676" y="1993"/>
                      <a:pt x="976" y="1993"/>
                    </a:cubicBezTo>
                    <a:cubicBezTo>
                      <a:pt x="997" y="1993"/>
                      <a:pt x="1002" y="1987"/>
                      <a:pt x="1002" y="1967"/>
                    </a:cubicBezTo>
                    <a:cubicBezTo>
                      <a:pt x="1001" y="1875"/>
                      <a:pt x="1001" y="1783"/>
                      <a:pt x="1002" y="1691"/>
                    </a:cubicBezTo>
                    <a:cubicBezTo>
                      <a:pt x="1002" y="1680"/>
                      <a:pt x="1007" y="1665"/>
                      <a:pt x="1015" y="1661"/>
                    </a:cubicBezTo>
                    <a:cubicBezTo>
                      <a:pt x="1022" y="1657"/>
                      <a:pt x="1037" y="1662"/>
                      <a:pt x="1046" y="1668"/>
                    </a:cubicBezTo>
                    <a:cubicBezTo>
                      <a:pt x="1085" y="1693"/>
                      <a:pt x="1126" y="1706"/>
                      <a:pt x="1172" y="1701"/>
                    </a:cubicBezTo>
                    <a:cubicBezTo>
                      <a:pt x="1266" y="1692"/>
                      <a:pt x="1340" y="1616"/>
                      <a:pt x="1341" y="1522"/>
                    </a:cubicBezTo>
                    <a:cubicBezTo>
                      <a:pt x="1343" y="1446"/>
                      <a:pt x="1309" y="1386"/>
                      <a:pt x="1241" y="1350"/>
                    </a:cubicBezTo>
                    <a:cubicBezTo>
                      <a:pt x="1175" y="1315"/>
                      <a:pt x="1109" y="1322"/>
                      <a:pt x="1047" y="1364"/>
                    </a:cubicBezTo>
                    <a:cubicBezTo>
                      <a:pt x="1038" y="1369"/>
                      <a:pt x="1023" y="1375"/>
                      <a:pt x="1015" y="1371"/>
                    </a:cubicBezTo>
                    <a:cubicBezTo>
                      <a:pt x="1008" y="1367"/>
                      <a:pt x="1002" y="1352"/>
                      <a:pt x="1002" y="1342"/>
                    </a:cubicBezTo>
                    <a:cubicBezTo>
                      <a:pt x="1001" y="1250"/>
                      <a:pt x="1001" y="1159"/>
                      <a:pt x="1002" y="1068"/>
                    </a:cubicBezTo>
                    <a:cubicBezTo>
                      <a:pt x="1002" y="1051"/>
                      <a:pt x="998" y="1044"/>
                      <a:pt x="980" y="1045"/>
                    </a:cubicBezTo>
                    <a:cubicBezTo>
                      <a:pt x="905" y="1046"/>
                      <a:pt x="830" y="1045"/>
                      <a:pt x="756" y="1045"/>
                    </a:cubicBezTo>
                    <a:cubicBezTo>
                      <a:pt x="750" y="1045"/>
                      <a:pt x="744" y="1046"/>
                      <a:pt x="735" y="1046"/>
                    </a:cubicBezTo>
                    <a:cubicBezTo>
                      <a:pt x="768" y="1124"/>
                      <a:pt x="767" y="1199"/>
                      <a:pt x="724" y="1270"/>
                    </a:cubicBezTo>
                    <a:cubicBezTo>
                      <a:pt x="681" y="1343"/>
                      <a:pt x="615" y="1381"/>
                      <a:pt x="532" y="1384"/>
                    </a:cubicBezTo>
                    <a:cubicBezTo>
                      <a:pt x="466" y="1387"/>
                      <a:pt x="407" y="1363"/>
                      <a:pt x="361" y="1316"/>
                    </a:cubicBezTo>
                    <a:cubicBezTo>
                      <a:pt x="286" y="1238"/>
                      <a:pt x="277" y="1146"/>
                      <a:pt x="314" y="1047"/>
                    </a:cubicBezTo>
                    <a:cubicBezTo>
                      <a:pt x="308" y="1046"/>
                      <a:pt x="305" y="1045"/>
                      <a:pt x="302" y="1045"/>
                    </a:cubicBezTo>
                    <a:cubicBezTo>
                      <a:pt x="219" y="1045"/>
                      <a:pt x="136" y="1045"/>
                      <a:pt x="51" y="1045"/>
                    </a:cubicBezTo>
                    <a:close/>
                    <a:moveTo>
                      <a:pt x="1314" y="993"/>
                    </a:moveTo>
                    <a:cubicBezTo>
                      <a:pt x="1280" y="913"/>
                      <a:pt x="1281" y="838"/>
                      <a:pt x="1324" y="766"/>
                    </a:cubicBezTo>
                    <a:cubicBezTo>
                      <a:pt x="1369" y="694"/>
                      <a:pt x="1436" y="656"/>
                      <a:pt x="1520" y="654"/>
                    </a:cubicBezTo>
                    <a:cubicBezTo>
                      <a:pt x="1587" y="652"/>
                      <a:pt x="1646" y="678"/>
                      <a:pt x="1692" y="728"/>
                    </a:cubicBezTo>
                    <a:cubicBezTo>
                      <a:pt x="1763" y="806"/>
                      <a:pt x="1770" y="895"/>
                      <a:pt x="1734" y="991"/>
                    </a:cubicBezTo>
                    <a:cubicBezTo>
                      <a:pt x="1823" y="991"/>
                      <a:pt x="1910" y="991"/>
                      <a:pt x="1997" y="991"/>
                    </a:cubicBezTo>
                    <a:cubicBezTo>
                      <a:pt x="1998" y="984"/>
                      <a:pt x="1998" y="979"/>
                      <a:pt x="1998" y="973"/>
                    </a:cubicBezTo>
                    <a:cubicBezTo>
                      <a:pt x="1998" y="671"/>
                      <a:pt x="1998" y="369"/>
                      <a:pt x="1998" y="68"/>
                    </a:cubicBezTo>
                    <a:cubicBezTo>
                      <a:pt x="1998" y="47"/>
                      <a:pt x="1990" y="45"/>
                      <a:pt x="1974" y="45"/>
                    </a:cubicBezTo>
                    <a:cubicBezTo>
                      <a:pt x="1673" y="45"/>
                      <a:pt x="1373" y="45"/>
                      <a:pt x="1072" y="45"/>
                    </a:cubicBezTo>
                    <a:cubicBezTo>
                      <a:pt x="1052" y="45"/>
                      <a:pt x="1046" y="51"/>
                      <a:pt x="1046" y="71"/>
                    </a:cubicBezTo>
                    <a:cubicBezTo>
                      <a:pt x="1047" y="163"/>
                      <a:pt x="1047" y="255"/>
                      <a:pt x="1046" y="347"/>
                    </a:cubicBezTo>
                    <a:cubicBezTo>
                      <a:pt x="1046" y="357"/>
                      <a:pt x="1041" y="373"/>
                      <a:pt x="1034" y="377"/>
                    </a:cubicBezTo>
                    <a:cubicBezTo>
                      <a:pt x="1026" y="381"/>
                      <a:pt x="1011" y="376"/>
                      <a:pt x="1002" y="370"/>
                    </a:cubicBezTo>
                    <a:cubicBezTo>
                      <a:pt x="963" y="344"/>
                      <a:pt x="921" y="333"/>
                      <a:pt x="874" y="336"/>
                    </a:cubicBezTo>
                    <a:cubicBezTo>
                      <a:pt x="801" y="342"/>
                      <a:pt x="711" y="405"/>
                      <a:pt x="707" y="516"/>
                    </a:cubicBezTo>
                    <a:cubicBezTo>
                      <a:pt x="704" y="591"/>
                      <a:pt x="738" y="650"/>
                      <a:pt x="805" y="686"/>
                    </a:cubicBezTo>
                    <a:cubicBezTo>
                      <a:pt x="872" y="723"/>
                      <a:pt x="939" y="717"/>
                      <a:pt x="1003" y="673"/>
                    </a:cubicBezTo>
                    <a:cubicBezTo>
                      <a:pt x="1011" y="668"/>
                      <a:pt x="1026" y="663"/>
                      <a:pt x="1032" y="667"/>
                    </a:cubicBezTo>
                    <a:cubicBezTo>
                      <a:pt x="1040" y="672"/>
                      <a:pt x="1045" y="686"/>
                      <a:pt x="1046" y="696"/>
                    </a:cubicBezTo>
                    <a:cubicBezTo>
                      <a:pt x="1047" y="781"/>
                      <a:pt x="1046" y="865"/>
                      <a:pt x="1046" y="950"/>
                    </a:cubicBezTo>
                    <a:cubicBezTo>
                      <a:pt x="1046" y="993"/>
                      <a:pt x="1046" y="993"/>
                      <a:pt x="1090" y="993"/>
                    </a:cubicBezTo>
                    <a:cubicBezTo>
                      <a:pt x="1163" y="993"/>
                      <a:pt x="1235" y="993"/>
                      <a:pt x="1314" y="993"/>
                    </a:cubicBezTo>
                    <a:close/>
                    <a:moveTo>
                      <a:pt x="1048" y="1726"/>
                    </a:moveTo>
                    <a:cubicBezTo>
                      <a:pt x="1047" y="1735"/>
                      <a:pt x="1046" y="1742"/>
                      <a:pt x="1046" y="1749"/>
                    </a:cubicBezTo>
                    <a:cubicBezTo>
                      <a:pt x="1046" y="1822"/>
                      <a:pt x="1047" y="1894"/>
                      <a:pt x="1046" y="1967"/>
                    </a:cubicBezTo>
                    <a:cubicBezTo>
                      <a:pt x="1045" y="1987"/>
                      <a:pt x="1051" y="1993"/>
                      <a:pt x="1072" y="1993"/>
                    </a:cubicBezTo>
                    <a:cubicBezTo>
                      <a:pt x="1372" y="1993"/>
                      <a:pt x="1673" y="1993"/>
                      <a:pt x="1973" y="1993"/>
                    </a:cubicBezTo>
                    <a:cubicBezTo>
                      <a:pt x="1992" y="1993"/>
                      <a:pt x="1998" y="1988"/>
                      <a:pt x="1998" y="1969"/>
                    </a:cubicBezTo>
                    <a:cubicBezTo>
                      <a:pt x="1998" y="1668"/>
                      <a:pt x="1998" y="1368"/>
                      <a:pt x="1998" y="1067"/>
                    </a:cubicBezTo>
                    <a:cubicBezTo>
                      <a:pt x="1998" y="1060"/>
                      <a:pt x="1997" y="1053"/>
                      <a:pt x="1997" y="1045"/>
                    </a:cubicBezTo>
                    <a:cubicBezTo>
                      <a:pt x="1987" y="1045"/>
                      <a:pt x="1979" y="1045"/>
                      <a:pt x="1972" y="1045"/>
                    </a:cubicBezTo>
                    <a:cubicBezTo>
                      <a:pt x="1882" y="1045"/>
                      <a:pt x="1792" y="1046"/>
                      <a:pt x="1702" y="1044"/>
                    </a:cubicBezTo>
                    <a:cubicBezTo>
                      <a:pt x="1690" y="1044"/>
                      <a:pt x="1674" y="1038"/>
                      <a:pt x="1667" y="1029"/>
                    </a:cubicBezTo>
                    <a:cubicBezTo>
                      <a:pt x="1663" y="1023"/>
                      <a:pt x="1670" y="1006"/>
                      <a:pt x="1676" y="996"/>
                    </a:cubicBezTo>
                    <a:cubicBezTo>
                      <a:pt x="1705" y="951"/>
                      <a:pt x="1716" y="903"/>
                      <a:pt x="1706" y="850"/>
                    </a:cubicBezTo>
                    <a:cubicBezTo>
                      <a:pt x="1686" y="748"/>
                      <a:pt x="1584" y="683"/>
                      <a:pt x="1479" y="706"/>
                    </a:cubicBezTo>
                    <a:cubicBezTo>
                      <a:pt x="1382" y="727"/>
                      <a:pt x="1316" y="830"/>
                      <a:pt x="1341" y="927"/>
                    </a:cubicBezTo>
                    <a:cubicBezTo>
                      <a:pt x="1347" y="953"/>
                      <a:pt x="1362" y="978"/>
                      <a:pt x="1375" y="1002"/>
                    </a:cubicBezTo>
                    <a:cubicBezTo>
                      <a:pt x="1388" y="1026"/>
                      <a:pt x="1380" y="1043"/>
                      <a:pt x="1353" y="1045"/>
                    </a:cubicBezTo>
                    <a:cubicBezTo>
                      <a:pt x="1348" y="1045"/>
                      <a:pt x="1343" y="1045"/>
                      <a:pt x="1337" y="1045"/>
                    </a:cubicBezTo>
                    <a:cubicBezTo>
                      <a:pt x="1247" y="1045"/>
                      <a:pt x="1157" y="1045"/>
                      <a:pt x="1067" y="1045"/>
                    </a:cubicBezTo>
                    <a:cubicBezTo>
                      <a:pt x="1051" y="1045"/>
                      <a:pt x="1046" y="1050"/>
                      <a:pt x="1046" y="1066"/>
                    </a:cubicBezTo>
                    <a:cubicBezTo>
                      <a:pt x="1047" y="1139"/>
                      <a:pt x="1046" y="1212"/>
                      <a:pt x="1046" y="1284"/>
                    </a:cubicBezTo>
                    <a:cubicBezTo>
                      <a:pt x="1046" y="1291"/>
                      <a:pt x="1048" y="1297"/>
                      <a:pt x="1049" y="1306"/>
                    </a:cubicBezTo>
                    <a:cubicBezTo>
                      <a:pt x="1106" y="1283"/>
                      <a:pt x="1163" y="1276"/>
                      <a:pt x="1220" y="1292"/>
                    </a:cubicBezTo>
                    <a:cubicBezTo>
                      <a:pt x="1279" y="1309"/>
                      <a:pt x="1325" y="1343"/>
                      <a:pt x="1355" y="1395"/>
                    </a:cubicBezTo>
                    <a:cubicBezTo>
                      <a:pt x="1404" y="1478"/>
                      <a:pt x="1405" y="1563"/>
                      <a:pt x="1351" y="1642"/>
                    </a:cubicBezTo>
                    <a:cubicBezTo>
                      <a:pt x="1276" y="1751"/>
                      <a:pt x="1171" y="1772"/>
                      <a:pt x="1048" y="1726"/>
                    </a:cubicBezTo>
                    <a:close/>
                    <a:moveTo>
                      <a:pt x="1000" y="312"/>
                    </a:moveTo>
                    <a:cubicBezTo>
                      <a:pt x="1001" y="303"/>
                      <a:pt x="1002" y="296"/>
                      <a:pt x="1002" y="289"/>
                    </a:cubicBezTo>
                    <a:cubicBezTo>
                      <a:pt x="1002" y="216"/>
                      <a:pt x="1001" y="143"/>
                      <a:pt x="1002" y="71"/>
                    </a:cubicBezTo>
                    <a:cubicBezTo>
                      <a:pt x="1003" y="50"/>
                      <a:pt x="996" y="45"/>
                      <a:pt x="976" y="45"/>
                    </a:cubicBezTo>
                    <a:cubicBezTo>
                      <a:pt x="676" y="45"/>
                      <a:pt x="376" y="45"/>
                      <a:pt x="76" y="45"/>
                    </a:cubicBezTo>
                    <a:cubicBezTo>
                      <a:pt x="50" y="45"/>
                      <a:pt x="50" y="45"/>
                      <a:pt x="50" y="72"/>
                    </a:cubicBezTo>
                    <a:cubicBezTo>
                      <a:pt x="50" y="370"/>
                      <a:pt x="50" y="669"/>
                      <a:pt x="50" y="967"/>
                    </a:cubicBezTo>
                    <a:cubicBezTo>
                      <a:pt x="50" y="975"/>
                      <a:pt x="50" y="983"/>
                      <a:pt x="50" y="993"/>
                    </a:cubicBezTo>
                    <a:cubicBezTo>
                      <a:pt x="61" y="993"/>
                      <a:pt x="68" y="993"/>
                      <a:pt x="76" y="993"/>
                    </a:cubicBezTo>
                    <a:cubicBezTo>
                      <a:pt x="167" y="993"/>
                      <a:pt x="258" y="992"/>
                      <a:pt x="348" y="994"/>
                    </a:cubicBezTo>
                    <a:cubicBezTo>
                      <a:pt x="360" y="994"/>
                      <a:pt x="375" y="1000"/>
                      <a:pt x="381" y="1009"/>
                    </a:cubicBezTo>
                    <a:cubicBezTo>
                      <a:pt x="385" y="1015"/>
                      <a:pt x="379" y="1032"/>
                      <a:pt x="373" y="1041"/>
                    </a:cubicBezTo>
                    <a:cubicBezTo>
                      <a:pt x="328" y="1107"/>
                      <a:pt x="326" y="1188"/>
                      <a:pt x="368" y="1253"/>
                    </a:cubicBezTo>
                    <a:cubicBezTo>
                      <a:pt x="412" y="1318"/>
                      <a:pt x="487" y="1349"/>
                      <a:pt x="565" y="1333"/>
                    </a:cubicBezTo>
                    <a:cubicBezTo>
                      <a:pt x="649" y="1316"/>
                      <a:pt x="723" y="1232"/>
                      <a:pt x="710" y="1128"/>
                    </a:cubicBezTo>
                    <a:cubicBezTo>
                      <a:pt x="706" y="1094"/>
                      <a:pt x="693" y="1065"/>
                      <a:pt x="674" y="1037"/>
                    </a:cubicBezTo>
                    <a:cubicBezTo>
                      <a:pt x="657" y="1013"/>
                      <a:pt x="668" y="994"/>
                      <a:pt x="697" y="993"/>
                    </a:cubicBezTo>
                    <a:cubicBezTo>
                      <a:pt x="702" y="993"/>
                      <a:pt x="706" y="993"/>
                      <a:pt x="711" y="993"/>
                    </a:cubicBezTo>
                    <a:cubicBezTo>
                      <a:pt x="800" y="993"/>
                      <a:pt x="890" y="993"/>
                      <a:pt x="979" y="993"/>
                    </a:cubicBezTo>
                    <a:cubicBezTo>
                      <a:pt x="996" y="993"/>
                      <a:pt x="1002" y="989"/>
                      <a:pt x="1002" y="971"/>
                    </a:cubicBezTo>
                    <a:cubicBezTo>
                      <a:pt x="1001" y="899"/>
                      <a:pt x="1002" y="827"/>
                      <a:pt x="1002" y="755"/>
                    </a:cubicBezTo>
                    <a:cubicBezTo>
                      <a:pt x="1002" y="748"/>
                      <a:pt x="1000" y="741"/>
                      <a:pt x="999" y="733"/>
                    </a:cubicBezTo>
                    <a:cubicBezTo>
                      <a:pt x="876" y="776"/>
                      <a:pt x="771" y="758"/>
                      <a:pt x="696" y="647"/>
                    </a:cubicBezTo>
                    <a:cubicBezTo>
                      <a:pt x="644" y="570"/>
                      <a:pt x="641" y="485"/>
                      <a:pt x="691" y="406"/>
                    </a:cubicBezTo>
                    <a:cubicBezTo>
                      <a:pt x="764" y="289"/>
                      <a:pt x="872" y="265"/>
                      <a:pt x="1000" y="312"/>
                    </a:cubicBezTo>
                    <a:close/>
                  </a:path>
                </a:pathLst>
              </a:custGeom>
              <a:solidFill>
                <a:schemeClr val="bg1"/>
              </a:solidFill>
              <a:ln>
                <a:solidFill>
                  <a:schemeClr val="bg1">
                    <a:lumMod val="50000"/>
                  </a:schemeClr>
                </a:solidFill>
              </a:ln>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rgbClr val="FFFFFF"/>
                  </a:solidFill>
                  <a:latin typeface="Segoe UI Light" panose="020B0502040204020203" pitchFamily="34" charset="0"/>
                </a:endParaRPr>
              </a:p>
            </p:txBody>
          </p:sp>
        </p:grpSp>
        <p:cxnSp>
          <p:nvCxnSpPr>
            <p:cNvPr id="25" name="Straight Connector 24">
              <a:extLst>
                <a:ext uri="{FF2B5EF4-FFF2-40B4-BE49-F238E27FC236}">
                  <a16:creationId xmlns:a16="http://schemas.microsoft.com/office/drawing/2014/main" id="{667770F4-4666-714D-974A-A399929CA569}"/>
                </a:ext>
              </a:extLst>
            </p:cNvPr>
            <p:cNvCxnSpPr>
              <a:cxnSpLocks/>
              <a:stCxn id="23" idx="3"/>
              <a:endCxn id="26" idx="0"/>
            </p:cNvCxnSpPr>
            <p:nvPr/>
          </p:nvCxnSpPr>
          <p:spPr>
            <a:xfrm flipH="1">
              <a:off x="4967114" y="2645190"/>
              <a:ext cx="1264" cy="203101"/>
            </a:xfrm>
            <a:prstGeom prst="line">
              <a:avLst/>
            </a:prstGeom>
            <a:ln w="12700">
              <a:solidFill>
                <a:schemeClr val="accent5"/>
              </a:solidFill>
              <a:headEnd type="oval" w="sm" len="sm"/>
              <a:tailEnd w="sm" len="sm"/>
            </a:ln>
          </p:spPr>
          <p:style>
            <a:lnRef idx="1">
              <a:schemeClr val="accent1"/>
            </a:lnRef>
            <a:fillRef idx="0">
              <a:schemeClr val="accent1"/>
            </a:fillRef>
            <a:effectRef idx="0">
              <a:schemeClr val="accent1"/>
            </a:effectRef>
            <a:fontRef idx="minor">
              <a:schemeClr val="tx1"/>
            </a:fontRef>
          </p:style>
        </p:cxnSp>
        <p:sp>
          <p:nvSpPr>
            <p:cNvPr id="26" name="Freeform 25">
              <a:extLst>
                <a:ext uri="{FF2B5EF4-FFF2-40B4-BE49-F238E27FC236}">
                  <a16:creationId xmlns:a16="http://schemas.microsoft.com/office/drawing/2014/main" id="{DB3CAAF7-9414-6C44-824E-78EB65A2F680}"/>
                </a:ext>
              </a:extLst>
            </p:cNvPr>
            <p:cNvSpPr>
              <a:spLocks/>
            </p:cNvSpPr>
            <p:nvPr/>
          </p:nvSpPr>
          <p:spPr bwMode="auto">
            <a:xfrm>
              <a:off x="4691174" y="2848291"/>
              <a:ext cx="552501" cy="637499"/>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grpSp>
          <p:nvGrpSpPr>
            <p:cNvPr id="27" name="Group 26">
              <a:extLst>
                <a:ext uri="{FF2B5EF4-FFF2-40B4-BE49-F238E27FC236}">
                  <a16:creationId xmlns:a16="http://schemas.microsoft.com/office/drawing/2014/main" id="{E879E08F-EB57-F948-8177-400E3BDBDF18}"/>
                </a:ext>
              </a:extLst>
            </p:cNvPr>
            <p:cNvGrpSpPr>
              <a:grpSpLocks noChangeAspect="1"/>
            </p:cNvGrpSpPr>
            <p:nvPr/>
          </p:nvGrpSpPr>
          <p:grpSpPr bwMode="auto">
            <a:xfrm>
              <a:off x="4817093" y="2960073"/>
              <a:ext cx="299215" cy="355298"/>
              <a:chOff x="1844" y="950"/>
              <a:chExt cx="2038" cy="2420"/>
            </a:xfrm>
            <a:solidFill>
              <a:schemeClr val="bg1"/>
            </a:solidFill>
          </p:grpSpPr>
          <p:sp>
            <p:nvSpPr>
              <p:cNvPr id="28" name="Freeform 27">
                <a:extLst>
                  <a:ext uri="{FF2B5EF4-FFF2-40B4-BE49-F238E27FC236}">
                    <a16:creationId xmlns:a16="http://schemas.microsoft.com/office/drawing/2014/main" id="{3AA10547-E9A2-F842-87C3-7F1DC8CB01AF}"/>
                  </a:ext>
                </a:extLst>
              </p:cNvPr>
              <p:cNvSpPr>
                <a:spLocks noEditPoints="1"/>
              </p:cNvSpPr>
              <p:nvPr/>
            </p:nvSpPr>
            <p:spPr bwMode="auto">
              <a:xfrm>
                <a:off x="1844" y="950"/>
                <a:ext cx="2038" cy="2420"/>
              </a:xfrm>
              <a:custGeom>
                <a:avLst/>
                <a:gdLst>
                  <a:gd name="T0" fmla="*/ 130 w 863"/>
                  <a:gd name="T1" fmla="*/ 1024 h 1024"/>
                  <a:gd name="T2" fmla="*/ 107 w 863"/>
                  <a:gd name="T3" fmla="*/ 1018 h 1024"/>
                  <a:gd name="T4" fmla="*/ 18 w 863"/>
                  <a:gd name="T5" fmla="*/ 866 h 1024"/>
                  <a:gd name="T6" fmla="*/ 108 w 863"/>
                  <a:gd name="T7" fmla="*/ 666 h 1024"/>
                  <a:gd name="T8" fmla="*/ 301 w 863"/>
                  <a:gd name="T9" fmla="*/ 356 h 1024"/>
                  <a:gd name="T10" fmla="*/ 311 w 863"/>
                  <a:gd name="T11" fmla="*/ 327 h 1024"/>
                  <a:gd name="T12" fmla="*/ 311 w 863"/>
                  <a:gd name="T13" fmla="*/ 61 h 1024"/>
                  <a:gd name="T14" fmla="*/ 297 w 863"/>
                  <a:gd name="T15" fmla="*/ 40 h 1024"/>
                  <a:gd name="T16" fmla="*/ 270 w 863"/>
                  <a:gd name="T17" fmla="*/ 10 h 1024"/>
                  <a:gd name="T18" fmla="*/ 270 w 863"/>
                  <a:gd name="T19" fmla="*/ 0 h 1024"/>
                  <a:gd name="T20" fmla="*/ 606 w 863"/>
                  <a:gd name="T21" fmla="*/ 0 h 1024"/>
                  <a:gd name="T22" fmla="*/ 606 w 863"/>
                  <a:gd name="T23" fmla="*/ 16 h 1024"/>
                  <a:gd name="T24" fmla="*/ 583 w 863"/>
                  <a:gd name="T25" fmla="*/ 40 h 1024"/>
                  <a:gd name="T26" fmla="*/ 564 w 863"/>
                  <a:gd name="T27" fmla="*/ 59 h 1024"/>
                  <a:gd name="T28" fmla="*/ 565 w 863"/>
                  <a:gd name="T29" fmla="*/ 331 h 1024"/>
                  <a:gd name="T30" fmla="*/ 578 w 863"/>
                  <a:gd name="T31" fmla="*/ 361 h 1024"/>
                  <a:gd name="T32" fmla="*/ 800 w 863"/>
                  <a:gd name="T33" fmla="*/ 724 h 1024"/>
                  <a:gd name="T34" fmla="*/ 854 w 863"/>
                  <a:gd name="T35" fmla="*/ 853 h 1024"/>
                  <a:gd name="T36" fmla="*/ 859 w 863"/>
                  <a:gd name="T37" fmla="*/ 927 h 1024"/>
                  <a:gd name="T38" fmla="*/ 765 w 863"/>
                  <a:gd name="T39" fmla="*/ 1019 h 1024"/>
                  <a:gd name="T40" fmla="*/ 746 w 863"/>
                  <a:gd name="T41" fmla="*/ 1024 h 1024"/>
                  <a:gd name="T42" fmla="*/ 130 w 863"/>
                  <a:gd name="T43" fmla="*/ 1024 h 1024"/>
                  <a:gd name="T44" fmla="*/ 437 w 863"/>
                  <a:gd name="T45" fmla="*/ 984 h 1024"/>
                  <a:gd name="T46" fmla="*/ 719 w 863"/>
                  <a:gd name="T47" fmla="*/ 984 h 1024"/>
                  <a:gd name="T48" fmla="*/ 747 w 863"/>
                  <a:gd name="T49" fmla="*/ 982 h 1024"/>
                  <a:gd name="T50" fmla="*/ 820 w 863"/>
                  <a:gd name="T51" fmla="*/ 873 h 1024"/>
                  <a:gd name="T52" fmla="*/ 786 w 863"/>
                  <a:gd name="T53" fmla="*/ 784 h 1024"/>
                  <a:gd name="T54" fmla="*/ 544 w 863"/>
                  <a:gd name="T55" fmla="*/ 382 h 1024"/>
                  <a:gd name="T56" fmla="*/ 525 w 863"/>
                  <a:gd name="T57" fmla="*/ 323 h 1024"/>
                  <a:gd name="T58" fmla="*/ 526 w 863"/>
                  <a:gd name="T59" fmla="*/ 63 h 1024"/>
                  <a:gd name="T60" fmla="*/ 503 w 863"/>
                  <a:gd name="T61" fmla="*/ 40 h 1024"/>
                  <a:gd name="T62" fmla="*/ 375 w 863"/>
                  <a:gd name="T63" fmla="*/ 40 h 1024"/>
                  <a:gd name="T64" fmla="*/ 350 w 863"/>
                  <a:gd name="T65" fmla="*/ 66 h 1024"/>
                  <a:gd name="T66" fmla="*/ 350 w 863"/>
                  <a:gd name="T67" fmla="*/ 334 h 1024"/>
                  <a:gd name="T68" fmla="*/ 338 w 863"/>
                  <a:gd name="T69" fmla="*/ 372 h 1024"/>
                  <a:gd name="T70" fmla="*/ 130 w 863"/>
                  <a:gd name="T71" fmla="*/ 706 h 1024"/>
                  <a:gd name="T72" fmla="*/ 56 w 863"/>
                  <a:gd name="T73" fmla="*/ 874 h 1024"/>
                  <a:gd name="T74" fmla="*/ 133 w 863"/>
                  <a:gd name="T75" fmla="*/ 983 h 1024"/>
                  <a:gd name="T76" fmla="*/ 155 w 863"/>
                  <a:gd name="T77" fmla="*/ 984 h 1024"/>
                  <a:gd name="T78" fmla="*/ 437 w 863"/>
                  <a:gd name="T79" fmla="*/ 98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3" h="1024">
                    <a:moveTo>
                      <a:pt x="130" y="1024"/>
                    </a:moveTo>
                    <a:cubicBezTo>
                      <a:pt x="122" y="1022"/>
                      <a:pt x="115" y="1020"/>
                      <a:pt x="107" y="1018"/>
                    </a:cubicBezTo>
                    <a:cubicBezTo>
                      <a:pt x="37" y="1000"/>
                      <a:pt x="0" y="939"/>
                      <a:pt x="18" y="866"/>
                    </a:cubicBezTo>
                    <a:cubicBezTo>
                      <a:pt x="35" y="794"/>
                      <a:pt x="70" y="729"/>
                      <a:pt x="108" y="666"/>
                    </a:cubicBezTo>
                    <a:cubicBezTo>
                      <a:pt x="171" y="562"/>
                      <a:pt x="237" y="460"/>
                      <a:pt x="301" y="356"/>
                    </a:cubicBezTo>
                    <a:cubicBezTo>
                      <a:pt x="307" y="348"/>
                      <a:pt x="311" y="337"/>
                      <a:pt x="311" y="327"/>
                    </a:cubicBezTo>
                    <a:cubicBezTo>
                      <a:pt x="312" y="238"/>
                      <a:pt x="311" y="150"/>
                      <a:pt x="311" y="61"/>
                    </a:cubicBezTo>
                    <a:cubicBezTo>
                      <a:pt x="311" y="51"/>
                      <a:pt x="312" y="42"/>
                      <a:pt x="297" y="40"/>
                    </a:cubicBezTo>
                    <a:cubicBezTo>
                      <a:pt x="269" y="38"/>
                      <a:pt x="270" y="37"/>
                      <a:pt x="270" y="10"/>
                    </a:cubicBezTo>
                    <a:cubicBezTo>
                      <a:pt x="270" y="7"/>
                      <a:pt x="270" y="3"/>
                      <a:pt x="270" y="0"/>
                    </a:cubicBezTo>
                    <a:cubicBezTo>
                      <a:pt x="382" y="0"/>
                      <a:pt x="494" y="0"/>
                      <a:pt x="606" y="0"/>
                    </a:cubicBezTo>
                    <a:cubicBezTo>
                      <a:pt x="606" y="5"/>
                      <a:pt x="606" y="11"/>
                      <a:pt x="606" y="16"/>
                    </a:cubicBezTo>
                    <a:cubicBezTo>
                      <a:pt x="608" y="34"/>
                      <a:pt x="602" y="43"/>
                      <a:pt x="583" y="40"/>
                    </a:cubicBezTo>
                    <a:cubicBezTo>
                      <a:pt x="570" y="39"/>
                      <a:pt x="564" y="45"/>
                      <a:pt x="564" y="59"/>
                    </a:cubicBezTo>
                    <a:cubicBezTo>
                      <a:pt x="565" y="150"/>
                      <a:pt x="564" y="240"/>
                      <a:pt x="565" y="331"/>
                    </a:cubicBezTo>
                    <a:cubicBezTo>
                      <a:pt x="565" y="341"/>
                      <a:pt x="572" y="352"/>
                      <a:pt x="578" y="361"/>
                    </a:cubicBezTo>
                    <a:cubicBezTo>
                      <a:pt x="657" y="479"/>
                      <a:pt x="735" y="598"/>
                      <a:pt x="800" y="724"/>
                    </a:cubicBezTo>
                    <a:cubicBezTo>
                      <a:pt x="821" y="765"/>
                      <a:pt x="839" y="809"/>
                      <a:pt x="854" y="853"/>
                    </a:cubicBezTo>
                    <a:cubicBezTo>
                      <a:pt x="862" y="876"/>
                      <a:pt x="863" y="903"/>
                      <a:pt x="859" y="927"/>
                    </a:cubicBezTo>
                    <a:cubicBezTo>
                      <a:pt x="851" y="979"/>
                      <a:pt x="814" y="1007"/>
                      <a:pt x="765" y="1019"/>
                    </a:cubicBezTo>
                    <a:cubicBezTo>
                      <a:pt x="759" y="1020"/>
                      <a:pt x="752" y="1022"/>
                      <a:pt x="746" y="1024"/>
                    </a:cubicBezTo>
                    <a:cubicBezTo>
                      <a:pt x="541" y="1024"/>
                      <a:pt x="335" y="1024"/>
                      <a:pt x="130" y="1024"/>
                    </a:cubicBezTo>
                    <a:close/>
                    <a:moveTo>
                      <a:pt x="437" y="984"/>
                    </a:moveTo>
                    <a:cubicBezTo>
                      <a:pt x="531" y="984"/>
                      <a:pt x="625" y="984"/>
                      <a:pt x="719" y="984"/>
                    </a:cubicBezTo>
                    <a:cubicBezTo>
                      <a:pt x="728" y="984"/>
                      <a:pt x="737" y="983"/>
                      <a:pt x="747" y="982"/>
                    </a:cubicBezTo>
                    <a:cubicBezTo>
                      <a:pt x="805" y="974"/>
                      <a:pt x="836" y="931"/>
                      <a:pt x="820" y="873"/>
                    </a:cubicBezTo>
                    <a:cubicBezTo>
                      <a:pt x="812" y="843"/>
                      <a:pt x="800" y="813"/>
                      <a:pt x="786" y="784"/>
                    </a:cubicBezTo>
                    <a:cubicBezTo>
                      <a:pt x="718" y="643"/>
                      <a:pt x="633" y="511"/>
                      <a:pt x="544" y="382"/>
                    </a:cubicBezTo>
                    <a:cubicBezTo>
                      <a:pt x="531" y="364"/>
                      <a:pt x="525" y="346"/>
                      <a:pt x="525" y="323"/>
                    </a:cubicBezTo>
                    <a:cubicBezTo>
                      <a:pt x="526" y="237"/>
                      <a:pt x="525" y="150"/>
                      <a:pt x="526" y="63"/>
                    </a:cubicBezTo>
                    <a:cubicBezTo>
                      <a:pt x="526" y="46"/>
                      <a:pt x="520" y="40"/>
                      <a:pt x="503" y="40"/>
                    </a:cubicBezTo>
                    <a:cubicBezTo>
                      <a:pt x="460" y="41"/>
                      <a:pt x="418" y="41"/>
                      <a:pt x="375" y="40"/>
                    </a:cubicBezTo>
                    <a:cubicBezTo>
                      <a:pt x="355" y="39"/>
                      <a:pt x="350" y="47"/>
                      <a:pt x="350" y="66"/>
                    </a:cubicBezTo>
                    <a:cubicBezTo>
                      <a:pt x="351" y="155"/>
                      <a:pt x="351" y="244"/>
                      <a:pt x="350" y="334"/>
                    </a:cubicBezTo>
                    <a:cubicBezTo>
                      <a:pt x="350" y="346"/>
                      <a:pt x="345" y="361"/>
                      <a:pt x="338" y="372"/>
                    </a:cubicBezTo>
                    <a:cubicBezTo>
                      <a:pt x="269" y="484"/>
                      <a:pt x="197" y="593"/>
                      <a:pt x="130" y="706"/>
                    </a:cubicBezTo>
                    <a:cubicBezTo>
                      <a:pt x="100" y="759"/>
                      <a:pt x="76" y="816"/>
                      <a:pt x="56" y="874"/>
                    </a:cubicBezTo>
                    <a:cubicBezTo>
                      <a:pt x="37" y="931"/>
                      <a:pt x="73" y="977"/>
                      <a:pt x="133" y="983"/>
                    </a:cubicBezTo>
                    <a:cubicBezTo>
                      <a:pt x="140" y="984"/>
                      <a:pt x="148" y="984"/>
                      <a:pt x="155" y="984"/>
                    </a:cubicBezTo>
                    <a:cubicBezTo>
                      <a:pt x="249" y="984"/>
                      <a:pt x="343" y="984"/>
                      <a:pt x="437" y="9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sp>
            <p:nvSpPr>
              <p:cNvPr id="29" name="Freeform 28">
                <a:extLst>
                  <a:ext uri="{FF2B5EF4-FFF2-40B4-BE49-F238E27FC236}">
                    <a16:creationId xmlns:a16="http://schemas.microsoft.com/office/drawing/2014/main" id="{C42FABE2-0900-424C-A4FD-E90953FCE163}"/>
                  </a:ext>
                </a:extLst>
              </p:cNvPr>
              <p:cNvSpPr>
                <a:spLocks/>
              </p:cNvSpPr>
              <p:nvPr/>
            </p:nvSpPr>
            <p:spPr bwMode="auto">
              <a:xfrm>
                <a:off x="2605" y="2311"/>
                <a:ext cx="366" cy="371"/>
              </a:xfrm>
              <a:custGeom>
                <a:avLst/>
                <a:gdLst>
                  <a:gd name="T0" fmla="*/ 1 w 155"/>
                  <a:gd name="T1" fmla="*/ 78 h 157"/>
                  <a:gd name="T2" fmla="*/ 78 w 155"/>
                  <a:gd name="T3" fmla="*/ 1 h 157"/>
                  <a:gd name="T4" fmla="*/ 155 w 155"/>
                  <a:gd name="T5" fmla="*/ 81 h 157"/>
                  <a:gd name="T6" fmla="*/ 76 w 155"/>
                  <a:gd name="T7" fmla="*/ 156 h 157"/>
                  <a:gd name="T8" fmla="*/ 1 w 155"/>
                  <a:gd name="T9" fmla="*/ 78 h 157"/>
                </a:gdLst>
                <a:ahLst/>
                <a:cxnLst>
                  <a:cxn ang="0">
                    <a:pos x="T0" y="T1"/>
                  </a:cxn>
                  <a:cxn ang="0">
                    <a:pos x="T2" y="T3"/>
                  </a:cxn>
                  <a:cxn ang="0">
                    <a:pos x="T4" y="T5"/>
                  </a:cxn>
                  <a:cxn ang="0">
                    <a:pos x="T6" y="T7"/>
                  </a:cxn>
                  <a:cxn ang="0">
                    <a:pos x="T8" y="T9"/>
                  </a:cxn>
                </a:cxnLst>
                <a:rect l="0" t="0" r="r" b="b"/>
                <a:pathLst>
                  <a:path w="155" h="157">
                    <a:moveTo>
                      <a:pt x="1" y="78"/>
                    </a:moveTo>
                    <a:cubicBezTo>
                      <a:pt x="1" y="36"/>
                      <a:pt x="36" y="0"/>
                      <a:pt x="78" y="1"/>
                    </a:cubicBezTo>
                    <a:cubicBezTo>
                      <a:pt x="120" y="2"/>
                      <a:pt x="155" y="39"/>
                      <a:pt x="155" y="81"/>
                    </a:cubicBezTo>
                    <a:cubicBezTo>
                      <a:pt x="154" y="123"/>
                      <a:pt x="119" y="157"/>
                      <a:pt x="76" y="156"/>
                    </a:cubicBezTo>
                    <a:cubicBezTo>
                      <a:pt x="32" y="156"/>
                      <a:pt x="0" y="123"/>
                      <a:pt x="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sp>
            <p:nvSpPr>
              <p:cNvPr id="30" name="Freeform 29">
                <a:extLst>
                  <a:ext uri="{FF2B5EF4-FFF2-40B4-BE49-F238E27FC236}">
                    <a16:creationId xmlns:a16="http://schemas.microsoft.com/office/drawing/2014/main" id="{AA71755F-1B9F-A448-9129-915C76AA4459}"/>
                  </a:ext>
                </a:extLst>
              </p:cNvPr>
              <p:cNvSpPr>
                <a:spLocks/>
              </p:cNvSpPr>
              <p:nvPr/>
            </p:nvSpPr>
            <p:spPr bwMode="auto">
              <a:xfrm>
                <a:off x="2909" y="2899"/>
                <a:ext cx="263" cy="260"/>
              </a:xfrm>
              <a:custGeom>
                <a:avLst/>
                <a:gdLst>
                  <a:gd name="T0" fmla="*/ 111 w 111"/>
                  <a:gd name="T1" fmla="*/ 55 h 110"/>
                  <a:gd name="T2" fmla="*/ 57 w 111"/>
                  <a:gd name="T3" fmla="*/ 110 h 110"/>
                  <a:gd name="T4" fmla="*/ 1 w 111"/>
                  <a:gd name="T5" fmla="*/ 55 h 110"/>
                  <a:gd name="T6" fmla="*/ 58 w 111"/>
                  <a:gd name="T7" fmla="*/ 0 h 110"/>
                  <a:gd name="T8" fmla="*/ 111 w 111"/>
                  <a:gd name="T9" fmla="*/ 55 h 110"/>
                </a:gdLst>
                <a:ahLst/>
                <a:cxnLst>
                  <a:cxn ang="0">
                    <a:pos x="T0" y="T1"/>
                  </a:cxn>
                  <a:cxn ang="0">
                    <a:pos x="T2" y="T3"/>
                  </a:cxn>
                  <a:cxn ang="0">
                    <a:pos x="T4" y="T5"/>
                  </a:cxn>
                  <a:cxn ang="0">
                    <a:pos x="T6" y="T7"/>
                  </a:cxn>
                  <a:cxn ang="0">
                    <a:pos x="T8" y="T9"/>
                  </a:cxn>
                </a:cxnLst>
                <a:rect l="0" t="0" r="r" b="b"/>
                <a:pathLst>
                  <a:path w="111" h="110">
                    <a:moveTo>
                      <a:pt x="111" y="55"/>
                    </a:moveTo>
                    <a:cubicBezTo>
                      <a:pt x="111" y="86"/>
                      <a:pt x="88" y="110"/>
                      <a:pt x="57" y="110"/>
                    </a:cubicBezTo>
                    <a:cubicBezTo>
                      <a:pt x="26" y="110"/>
                      <a:pt x="0" y="85"/>
                      <a:pt x="1" y="55"/>
                    </a:cubicBezTo>
                    <a:cubicBezTo>
                      <a:pt x="1" y="24"/>
                      <a:pt x="27" y="0"/>
                      <a:pt x="58" y="0"/>
                    </a:cubicBezTo>
                    <a:cubicBezTo>
                      <a:pt x="88" y="1"/>
                      <a:pt x="111" y="24"/>
                      <a:pt x="111"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sp>
            <p:nvSpPr>
              <p:cNvPr id="31" name="Freeform 30">
                <a:extLst>
                  <a:ext uri="{FF2B5EF4-FFF2-40B4-BE49-F238E27FC236}">
                    <a16:creationId xmlns:a16="http://schemas.microsoft.com/office/drawing/2014/main" id="{8064EF5C-DA40-684F-AAAA-358AA00EDC2B}"/>
                  </a:ext>
                </a:extLst>
              </p:cNvPr>
              <p:cNvSpPr>
                <a:spLocks/>
              </p:cNvSpPr>
              <p:nvPr/>
            </p:nvSpPr>
            <p:spPr bwMode="auto">
              <a:xfrm>
                <a:off x="2690" y="2727"/>
                <a:ext cx="243" cy="246"/>
              </a:xfrm>
              <a:custGeom>
                <a:avLst/>
                <a:gdLst>
                  <a:gd name="T0" fmla="*/ 0 w 103"/>
                  <a:gd name="T1" fmla="*/ 52 h 104"/>
                  <a:gd name="T2" fmla="*/ 50 w 103"/>
                  <a:gd name="T3" fmla="*/ 1 h 104"/>
                  <a:gd name="T4" fmla="*/ 103 w 103"/>
                  <a:gd name="T5" fmla="*/ 51 h 104"/>
                  <a:gd name="T6" fmla="*/ 52 w 103"/>
                  <a:gd name="T7" fmla="*/ 103 h 104"/>
                  <a:gd name="T8" fmla="*/ 0 w 103"/>
                  <a:gd name="T9" fmla="*/ 52 h 104"/>
                </a:gdLst>
                <a:ahLst/>
                <a:cxnLst>
                  <a:cxn ang="0">
                    <a:pos x="T0" y="T1"/>
                  </a:cxn>
                  <a:cxn ang="0">
                    <a:pos x="T2" y="T3"/>
                  </a:cxn>
                  <a:cxn ang="0">
                    <a:pos x="T4" y="T5"/>
                  </a:cxn>
                  <a:cxn ang="0">
                    <a:pos x="T6" y="T7"/>
                  </a:cxn>
                  <a:cxn ang="0">
                    <a:pos x="T8" y="T9"/>
                  </a:cxn>
                </a:cxnLst>
                <a:rect l="0" t="0" r="r" b="b"/>
                <a:pathLst>
                  <a:path w="103" h="104">
                    <a:moveTo>
                      <a:pt x="0" y="52"/>
                    </a:moveTo>
                    <a:cubicBezTo>
                      <a:pt x="0" y="23"/>
                      <a:pt x="21" y="1"/>
                      <a:pt x="50" y="1"/>
                    </a:cubicBezTo>
                    <a:cubicBezTo>
                      <a:pt x="79" y="0"/>
                      <a:pt x="102" y="22"/>
                      <a:pt x="103" y="51"/>
                    </a:cubicBezTo>
                    <a:cubicBezTo>
                      <a:pt x="103" y="79"/>
                      <a:pt x="81" y="102"/>
                      <a:pt x="52" y="103"/>
                    </a:cubicBezTo>
                    <a:cubicBezTo>
                      <a:pt x="23" y="104"/>
                      <a:pt x="0" y="82"/>
                      <a:pt x="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sp>
            <p:nvSpPr>
              <p:cNvPr id="32" name="Freeform 31">
                <a:extLst>
                  <a:ext uri="{FF2B5EF4-FFF2-40B4-BE49-F238E27FC236}">
                    <a16:creationId xmlns:a16="http://schemas.microsoft.com/office/drawing/2014/main" id="{5372B59B-437F-D546-A35D-5F0DF8991DBF}"/>
                  </a:ext>
                </a:extLst>
              </p:cNvPr>
              <p:cNvSpPr>
                <a:spLocks/>
              </p:cNvSpPr>
              <p:nvPr/>
            </p:nvSpPr>
            <p:spPr bwMode="auto">
              <a:xfrm>
                <a:off x="3077" y="2418"/>
                <a:ext cx="189" cy="191"/>
              </a:xfrm>
              <a:custGeom>
                <a:avLst/>
                <a:gdLst>
                  <a:gd name="T0" fmla="*/ 40 w 80"/>
                  <a:gd name="T1" fmla="*/ 0 h 81"/>
                  <a:gd name="T2" fmla="*/ 79 w 80"/>
                  <a:gd name="T3" fmla="*/ 40 h 81"/>
                  <a:gd name="T4" fmla="*/ 39 w 80"/>
                  <a:gd name="T5" fmla="*/ 80 h 81"/>
                  <a:gd name="T6" fmla="*/ 0 w 80"/>
                  <a:gd name="T7" fmla="*/ 40 h 81"/>
                  <a:gd name="T8" fmla="*/ 40 w 80"/>
                  <a:gd name="T9" fmla="*/ 0 h 81"/>
                </a:gdLst>
                <a:ahLst/>
                <a:cxnLst>
                  <a:cxn ang="0">
                    <a:pos x="T0" y="T1"/>
                  </a:cxn>
                  <a:cxn ang="0">
                    <a:pos x="T2" y="T3"/>
                  </a:cxn>
                  <a:cxn ang="0">
                    <a:pos x="T4" y="T5"/>
                  </a:cxn>
                  <a:cxn ang="0">
                    <a:pos x="T6" y="T7"/>
                  </a:cxn>
                  <a:cxn ang="0">
                    <a:pos x="T8" y="T9"/>
                  </a:cxn>
                </a:cxnLst>
                <a:rect l="0" t="0" r="r" b="b"/>
                <a:pathLst>
                  <a:path w="80" h="81">
                    <a:moveTo>
                      <a:pt x="40" y="0"/>
                    </a:moveTo>
                    <a:cubicBezTo>
                      <a:pt x="63" y="0"/>
                      <a:pt x="80" y="17"/>
                      <a:pt x="79" y="40"/>
                    </a:cubicBezTo>
                    <a:cubicBezTo>
                      <a:pt x="79" y="64"/>
                      <a:pt x="62" y="81"/>
                      <a:pt x="39" y="80"/>
                    </a:cubicBezTo>
                    <a:cubicBezTo>
                      <a:pt x="17" y="80"/>
                      <a:pt x="0" y="63"/>
                      <a:pt x="0" y="40"/>
                    </a:cubicBezTo>
                    <a:cubicBezTo>
                      <a:pt x="0" y="17"/>
                      <a:pt x="16"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dirty="0">
                  <a:solidFill>
                    <a:schemeClr val="tx2"/>
                  </a:solidFill>
                  <a:latin typeface="Segoe UI Light" panose="020B0502040204020203" pitchFamily="34" charset="0"/>
                </a:endParaRPr>
              </a:p>
            </p:txBody>
          </p:sp>
          <p:sp>
            <p:nvSpPr>
              <p:cNvPr id="33" name="Freeform 32">
                <a:extLst>
                  <a:ext uri="{FF2B5EF4-FFF2-40B4-BE49-F238E27FC236}">
                    <a16:creationId xmlns:a16="http://schemas.microsoft.com/office/drawing/2014/main" id="{D46137A9-1AE0-074B-8DE2-D597977F4127}"/>
                  </a:ext>
                </a:extLst>
              </p:cNvPr>
              <p:cNvSpPr>
                <a:spLocks/>
              </p:cNvSpPr>
              <p:nvPr/>
            </p:nvSpPr>
            <p:spPr bwMode="auto">
              <a:xfrm>
                <a:off x="2380" y="2793"/>
                <a:ext cx="192" cy="189"/>
              </a:xfrm>
              <a:custGeom>
                <a:avLst/>
                <a:gdLst>
                  <a:gd name="T0" fmla="*/ 42 w 81"/>
                  <a:gd name="T1" fmla="*/ 1 h 80"/>
                  <a:gd name="T2" fmla="*/ 81 w 81"/>
                  <a:gd name="T3" fmla="*/ 40 h 80"/>
                  <a:gd name="T4" fmla="*/ 40 w 81"/>
                  <a:gd name="T5" fmla="*/ 80 h 80"/>
                  <a:gd name="T6" fmla="*/ 0 w 81"/>
                  <a:gd name="T7" fmla="*/ 39 h 80"/>
                  <a:gd name="T8" fmla="*/ 42 w 81"/>
                  <a:gd name="T9" fmla="*/ 1 h 80"/>
                </a:gdLst>
                <a:ahLst/>
                <a:cxnLst>
                  <a:cxn ang="0">
                    <a:pos x="T0" y="T1"/>
                  </a:cxn>
                  <a:cxn ang="0">
                    <a:pos x="T2" y="T3"/>
                  </a:cxn>
                  <a:cxn ang="0">
                    <a:pos x="T4" y="T5"/>
                  </a:cxn>
                  <a:cxn ang="0">
                    <a:pos x="T6" y="T7"/>
                  </a:cxn>
                  <a:cxn ang="0">
                    <a:pos x="T8" y="T9"/>
                  </a:cxn>
                </a:cxnLst>
                <a:rect l="0" t="0" r="r" b="b"/>
                <a:pathLst>
                  <a:path w="81" h="80">
                    <a:moveTo>
                      <a:pt x="42" y="1"/>
                    </a:moveTo>
                    <a:cubicBezTo>
                      <a:pt x="63" y="1"/>
                      <a:pt x="81" y="19"/>
                      <a:pt x="81" y="40"/>
                    </a:cubicBezTo>
                    <a:cubicBezTo>
                      <a:pt x="81" y="62"/>
                      <a:pt x="62" y="80"/>
                      <a:pt x="40" y="80"/>
                    </a:cubicBezTo>
                    <a:cubicBezTo>
                      <a:pt x="16" y="80"/>
                      <a:pt x="0" y="62"/>
                      <a:pt x="0" y="39"/>
                    </a:cubicBezTo>
                    <a:cubicBezTo>
                      <a:pt x="1" y="16"/>
                      <a:pt x="18" y="0"/>
                      <a:pt x="4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sp>
            <p:nvSpPr>
              <p:cNvPr id="34" name="Freeform 33">
                <a:extLst>
                  <a:ext uri="{FF2B5EF4-FFF2-40B4-BE49-F238E27FC236}">
                    <a16:creationId xmlns:a16="http://schemas.microsoft.com/office/drawing/2014/main" id="{D732292B-7BE4-614B-B4B8-8722685251FF}"/>
                  </a:ext>
                </a:extLst>
              </p:cNvPr>
              <p:cNvSpPr>
                <a:spLocks/>
              </p:cNvSpPr>
              <p:nvPr/>
            </p:nvSpPr>
            <p:spPr bwMode="auto">
              <a:xfrm>
                <a:off x="3051" y="2689"/>
                <a:ext cx="121" cy="121"/>
              </a:xfrm>
              <a:custGeom>
                <a:avLst/>
                <a:gdLst>
                  <a:gd name="T0" fmla="*/ 26 w 51"/>
                  <a:gd name="T1" fmla="*/ 51 h 51"/>
                  <a:gd name="T2" fmla="*/ 1 w 51"/>
                  <a:gd name="T3" fmla="*/ 27 h 51"/>
                  <a:gd name="T4" fmla="*/ 27 w 51"/>
                  <a:gd name="T5" fmla="*/ 1 h 51"/>
                  <a:gd name="T6" fmla="*/ 51 w 51"/>
                  <a:gd name="T7" fmla="*/ 27 h 51"/>
                  <a:gd name="T8" fmla="*/ 26 w 51"/>
                  <a:gd name="T9" fmla="*/ 51 h 51"/>
                </a:gdLst>
                <a:ahLst/>
                <a:cxnLst>
                  <a:cxn ang="0">
                    <a:pos x="T0" y="T1"/>
                  </a:cxn>
                  <a:cxn ang="0">
                    <a:pos x="T2" y="T3"/>
                  </a:cxn>
                  <a:cxn ang="0">
                    <a:pos x="T4" y="T5"/>
                  </a:cxn>
                  <a:cxn ang="0">
                    <a:pos x="T6" y="T7"/>
                  </a:cxn>
                  <a:cxn ang="0">
                    <a:pos x="T8" y="T9"/>
                  </a:cxn>
                </a:cxnLst>
                <a:rect l="0" t="0" r="r" b="b"/>
                <a:pathLst>
                  <a:path w="51" h="51">
                    <a:moveTo>
                      <a:pt x="26" y="51"/>
                    </a:moveTo>
                    <a:cubicBezTo>
                      <a:pt x="10" y="51"/>
                      <a:pt x="2" y="42"/>
                      <a:pt x="1" y="27"/>
                    </a:cubicBezTo>
                    <a:cubicBezTo>
                      <a:pt x="0" y="12"/>
                      <a:pt x="13" y="0"/>
                      <a:pt x="27" y="1"/>
                    </a:cubicBezTo>
                    <a:cubicBezTo>
                      <a:pt x="43" y="2"/>
                      <a:pt x="51" y="11"/>
                      <a:pt x="51" y="27"/>
                    </a:cubicBezTo>
                    <a:cubicBezTo>
                      <a:pt x="51" y="43"/>
                      <a:pt x="42"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30" tIns="40614" rIns="81230" bIns="40614"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AU" sz="1600">
                  <a:solidFill>
                    <a:schemeClr val="tx2"/>
                  </a:solidFill>
                  <a:latin typeface="Segoe UI Light" panose="020B0502040204020203" pitchFamily="34" charset="0"/>
                </a:endParaRPr>
              </a:p>
            </p:txBody>
          </p:sp>
        </p:grpSp>
        <p:grpSp>
          <p:nvGrpSpPr>
            <p:cNvPr id="35" name="Group 34">
              <a:extLst>
                <a:ext uri="{FF2B5EF4-FFF2-40B4-BE49-F238E27FC236}">
                  <a16:creationId xmlns:a16="http://schemas.microsoft.com/office/drawing/2014/main" id="{CCE5122F-93B9-794C-AAFA-C3CE8A9DF6BE}"/>
                </a:ext>
              </a:extLst>
            </p:cNvPr>
            <p:cNvGrpSpPr/>
            <p:nvPr/>
          </p:nvGrpSpPr>
          <p:grpSpPr>
            <a:xfrm>
              <a:off x="4684581" y="3580990"/>
              <a:ext cx="552374" cy="637498"/>
              <a:chOff x="10263203" y="3003614"/>
              <a:chExt cx="534981" cy="617425"/>
            </a:xfrm>
          </p:grpSpPr>
          <p:sp>
            <p:nvSpPr>
              <p:cNvPr id="36" name="Freeform 35">
                <a:extLst>
                  <a:ext uri="{FF2B5EF4-FFF2-40B4-BE49-F238E27FC236}">
                    <a16:creationId xmlns:a16="http://schemas.microsoft.com/office/drawing/2014/main" id="{8E2E9DCB-CD57-6741-A35A-2752F2DEE23D}"/>
                  </a:ext>
                </a:extLst>
              </p:cNvPr>
              <p:cNvSpPr>
                <a:spLocks/>
              </p:cNvSpPr>
              <p:nvPr/>
            </p:nvSpPr>
            <p:spPr bwMode="auto">
              <a:xfrm>
                <a:off x="10263203" y="3003614"/>
                <a:ext cx="534981" cy="617425"/>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17375E"/>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sp>
            <p:nvSpPr>
              <p:cNvPr id="37" name="Freeform 36">
                <a:extLst>
                  <a:ext uri="{FF2B5EF4-FFF2-40B4-BE49-F238E27FC236}">
                    <a16:creationId xmlns:a16="http://schemas.microsoft.com/office/drawing/2014/main" id="{1B08ACEB-CED4-6C41-9226-BAB9BA4375FD}"/>
                  </a:ext>
                </a:extLst>
              </p:cNvPr>
              <p:cNvSpPr>
                <a:spLocks/>
              </p:cNvSpPr>
              <p:nvPr/>
            </p:nvSpPr>
            <p:spPr bwMode="auto">
              <a:xfrm>
                <a:off x="10393462" y="3177707"/>
                <a:ext cx="110194" cy="100881"/>
              </a:xfrm>
              <a:custGeom>
                <a:avLst/>
                <a:gdLst>
                  <a:gd name="T0" fmla="*/ 37 w 120"/>
                  <a:gd name="T1" fmla="*/ 110 h 110"/>
                  <a:gd name="T2" fmla="*/ 1 w 120"/>
                  <a:gd name="T3" fmla="*/ 59 h 110"/>
                  <a:gd name="T4" fmla="*/ 1 w 120"/>
                  <a:gd name="T5" fmla="*/ 55 h 110"/>
                  <a:gd name="T6" fmla="*/ 3 w 120"/>
                  <a:gd name="T7" fmla="*/ 52 h 110"/>
                  <a:gd name="T8" fmla="*/ 104 w 120"/>
                  <a:gd name="T9" fmla="*/ 1 h 110"/>
                  <a:gd name="T10" fmla="*/ 109 w 120"/>
                  <a:gd name="T11" fmla="*/ 2 h 110"/>
                  <a:gd name="T12" fmla="*/ 120 w 120"/>
                  <a:gd name="T13" fmla="*/ 15 h 110"/>
                  <a:gd name="T14" fmla="*/ 113 w 120"/>
                  <a:gd name="T15" fmla="*/ 21 h 110"/>
                  <a:gd name="T16" fmla="*/ 104 w 120"/>
                  <a:gd name="T17" fmla="*/ 10 h 110"/>
                  <a:gd name="T18" fmla="*/ 11 w 120"/>
                  <a:gd name="T19" fmla="*/ 57 h 110"/>
                  <a:gd name="T20" fmla="*/ 44 w 120"/>
                  <a:gd name="T21" fmla="*/ 105 h 110"/>
                  <a:gd name="T22" fmla="*/ 37 w 120"/>
                  <a:gd name="T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110">
                    <a:moveTo>
                      <a:pt x="37" y="110"/>
                    </a:moveTo>
                    <a:cubicBezTo>
                      <a:pt x="1" y="59"/>
                      <a:pt x="1" y="59"/>
                      <a:pt x="1" y="59"/>
                    </a:cubicBezTo>
                    <a:cubicBezTo>
                      <a:pt x="0" y="57"/>
                      <a:pt x="0" y="56"/>
                      <a:pt x="1" y="55"/>
                    </a:cubicBezTo>
                    <a:cubicBezTo>
                      <a:pt x="1" y="53"/>
                      <a:pt x="2" y="52"/>
                      <a:pt x="3" y="52"/>
                    </a:cubicBezTo>
                    <a:cubicBezTo>
                      <a:pt x="104" y="1"/>
                      <a:pt x="104" y="1"/>
                      <a:pt x="104" y="1"/>
                    </a:cubicBezTo>
                    <a:cubicBezTo>
                      <a:pt x="106" y="0"/>
                      <a:pt x="108" y="1"/>
                      <a:pt x="109" y="2"/>
                    </a:cubicBezTo>
                    <a:cubicBezTo>
                      <a:pt x="120" y="15"/>
                      <a:pt x="120" y="15"/>
                      <a:pt x="120" y="15"/>
                    </a:cubicBezTo>
                    <a:cubicBezTo>
                      <a:pt x="113" y="21"/>
                      <a:pt x="113" y="21"/>
                      <a:pt x="113" y="21"/>
                    </a:cubicBezTo>
                    <a:cubicBezTo>
                      <a:pt x="104" y="10"/>
                      <a:pt x="104" y="10"/>
                      <a:pt x="104" y="10"/>
                    </a:cubicBezTo>
                    <a:cubicBezTo>
                      <a:pt x="11" y="57"/>
                      <a:pt x="11" y="57"/>
                      <a:pt x="11" y="57"/>
                    </a:cubicBezTo>
                    <a:cubicBezTo>
                      <a:pt x="44" y="105"/>
                      <a:pt x="44" y="105"/>
                      <a:pt x="44" y="105"/>
                    </a:cubicBezTo>
                    <a:lnTo>
                      <a:pt x="37" y="110"/>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38" name="Freeform 37">
                <a:extLst>
                  <a:ext uri="{FF2B5EF4-FFF2-40B4-BE49-F238E27FC236}">
                    <a16:creationId xmlns:a16="http://schemas.microsoft.com/office/drawing/2014/main" id="{C1EC3CE0-1F07-3540-8289-08E5D7384D40}"/>
                  </a:ext>
                </a:extLst>
              </p:cNvPr>
              <p:cNvSpPr>
                <a:spLocks/>
              </p:cNvSpPr>
              <p:nvPr/>
            </p:nvSpPr>
            <p:spPr bwMode="auto">
              <a:xfrm>
                <a:off x="10549441" y="3177707"/>
                <a:ext cx="116402" cy="100881"/>
              </a:xfrm>
              <a:custGeom>
                <a:avLst/>
                <a:gdLst>
                  <a:gd name="T0" fmla="*/ 90 w 127"/>
                  <a:gd name="T1" fmla="*/ 110 h 110"/>
                  <a:gd name="T2" fmla="*/ 83 w 127"/>
                  <a:gd name="T3" fmla="*/ 105 h 110"/>
                  <a:gd name="T4" fmla="*/ 116 w 127"/>
                  <a:gd name="T5" fmla="*/ 57 h 110"/>
                  <a:gd name="T6" fmla="*/ 15 w 127"/>
                  <a:gd name="T7" fmla="*/ 10 h 110"/>
                  <a:gd name="T8" fmla="*/ 7 w 127"/>
                  <a:gd name="T9" fmla="*/ 21 h 110"/>
                  <a:gd name="T10" fmla="*/ 0 w 127"/>
                  <a:gd name="T11" fmla="*/ 16 h 110"/>
                  <a:gd name="T12" fmla="*/ 9 w 127"/>
                  <a:gd name="T13" fmla="*/ 3 h 110"/>
                  <a:gd name="T14" fmla="*/ 15 w 127"/>
                  <a:gd name="T15" fmla="*/ 1 h 110"/>
                  <a:gd name="T16" fmla="*/ 124 w 127"/>
                  <a:gd name="T17" fmla="*/ 51 h 110"/>
                  <a:gd name="T18" fmla="*/ 126 w 127"/>
                  <a:gd name="T19" fmla="*/ 55 h 110"/>
                  <a:gd name="T20" fmla="*/ 126 w 127"/>
                  <a:gd name="T21" fmla="*/ 59 h 110"/>
                  <a:gd name="T22" fmla="*/ 90 w 127"/>
                  <a:gd name="T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10">
                    <a:moveTo>
                      <a:pt x="90" y="110"/>
                    </a:moveTo>
                    <a:cubicBezTo>
                      <a:pt x="83" y="105"/>
                      <a:pt x="83" y="105"/>
                      <a:pt x="83" y="105"/>
                    </a:cubicBezTo>
                    <a:cubicBezTo>
                      <a:pt x="116" y="57"/>
                      <a:pt x="116" y="57"/>
                      <a:pt x="116" y="57"/>
                    </a:cubicBezTo>
                    <a:cubicBezTo>
                      <a:pt x="15" y="10"/>
                      <a:pt x="15" y="10"/>
                      <a:pt x="15" y="10"/>
                    </a:cubicBezTo>
                    <a:cubicBezTo>
                      <a:pt x="7" y="21"/>
                      <a:pt x="7" y="21"/>
                      <a:pt x="7" y="21"/>
                    </a:cubicBezTo>
                    <a:cubicBezTo>
                      <a:pt x="0" y="16"/>
                      <a:pt x="0" y="16"/>
                      <a:pt x="0" y="16"/>
                    </a:cubicBezTo>
                    <a:cubicBezTo>
                      <a:pt x="9" y="3"/>
                      <a:pt x="9" y="3"/>
                      <a:pt x="9" y="3"/>
                    </a:cubicBezTo>
                    <a:cubicBezTo>
                      <a:pt x="11" y="1"/>
                      <a:pt x="13" y="0"/>
                      <a:pt x="15" y="1"/>
                    </a:cubicBezTo>
                    <a:cubicBezTo>
                      <a:pt x="124" y="51"/>
                      <a:pt x="124" y="51"/>
                      <a:pt x="124" y="51"/>
                    </a:cubicBezTo>
                    <a:cubicBezTo>
                      <a:pt x="125" y="52"/>
                      <a:pt x="126" y="53"/>
                      <a:pt x="126" y="55"/>
                    </a:cubicBezTo>
                    <a:cubicBezTo>
                      <a:pt x="127" y="56"/>
                      <a:pt x="126" y="57"/>
                      <a:pt x="126" y="59"/>
                    </a:cubicBezTo>
                    <a:lnTo>
                      <a:pt x="90" y="110"/>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39" name="Freeform 38">
                <a:extLst>
                  <a:ext uri="{FF2B5EF4-FFF2-40B4-BE49-F238E27FC236}">
                    <a16:creationId xmlns:a16="http://schemas.microsoft.com/office/drawing/2014/main" id="{74B3DD6E-DBB5-0E40-B023-101A6A3EB5C2}"/>
                  </a:ext>
                </a:extLst>
              </p:cNvPr>
              <p:cNvSpPr>
                <a:spLocks/>
              </p:cNvSpPr>
              <p:nvPr/>
            </p:nvSpPr>
            <p:spPr bwMode="auto">
              <a:xfrm>
                <a:off x="10609970" y="3262292"/>
                <a:ext cx="22892" cy="15520"/>
              </a:xfrm>
              <a:custGeom>
                <a:avLst/>
                <a:gdLst>
                  <a:gd name="T0" fmla="*/ 17 w 25"/>
                  <a:gd name="T1" fmla="*/ 17 h 17"/>
                  <a:gd name="T2" fmla="*/ 0 w 25"/>
                  <a:gd name="T3" fmla="*/ 7 h 17"/>
                  <a:gd name="T4" fmla="*/ 3 w 25"/>
                  <a:gd name="T5" fmla="*/ 0 h 17"/>
                  <a:gd name="T6" fmla="*/ 22 w 25"/>
                  <a:gd name="T7" fmla="*/ 11 h 17"/>
                  <a:gd name="T8" fmla="*/ 25 w 25"/>
                  <a:gd name="T9" fmla="*/ 15 h 17"/>
                  <a:gd name="T10" fmla="*/ 25 w 25"/>
                  <a:gd name="T11" fmla="*/ 17 h 17"/>
                  <a:gd name="T12" fmla="*/ 18 w 25"/>
                  <a:gd name="T13" fmla="*/ 17 h 17"/>
                  <a:gd name="T14" fmla="*/ 17 w 25"/>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7">
                    <a:moveTo>
                      <a:pt x="17" y="17"/>
                    </a:moveTo>
                    <a:cubicBezTo>
                      <a:pt x="0" y="7"/>
                      <a:pt x="0" y="7"/>
                      <a:pt x="0" y="7"/>
                    </a:cubicBezTo>
                    <a:cubicBezTo>
                      <a:pt x="3" y="0"/>
                      <a:pt x="3" y="0"/>
                      <a:pt x="3" y="0"/>
                    </a:cubicBezTo>
                    <a:cubicBezTo>
                      <a:pt x="22" y="11"/>
                      <a:pt x="22" y="11"/>
                      <a:pt x="22" y="11"/>
                    </a:cubicBezTo>
                    <a:cubicBezTo>
                      <a:pt x="24" y="12"/>
                      <a:pt x="25" y="13"/>
                      <a:pt x="25" y="15"/>
                    </a:cubicBezTo>
                    <a:cubicBezTo>
                      <a:pt x="25" y="17"/>
                      <a:pt x="25" y="17"/>
                      <a:pt x="25" y="17"/>
                    </a:cubicBezTo>
                    <a:cubicBezTo>
                      <a:pt x="18" y="17"/>
                      <a:pt x="18" y="17"/>
                      <a:pt x="18" y="17"/>
                    </a:cubicBezTo>
                    <a:lnTo>
                      <a:pt x="17" y="17"/>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0" name="Freeform 39">
                <a:extLst>
                  <a:ext uri="{FF2B5EF4-FFF2-40B4-BE49-F238E27FC236}">
                    <a16:creationId xmlns:a16="http://schemas.microsoft.com/office/drawing/2014/main" id="{A9FB00BB-6F69-E44F-A5A6-2EDF9F455ACD}"/>
                  </a:ext>
                </a:extLst>
              </p:cNvPr>
              <p:cNvSpPr>
                <a:spLocks/>
              </p:cNvSpPr>
              <p:nvPr/>
            </p:nvSpPr>
            <p:spPr bwMode="auto">
              <a:xfrm>
                <a:off x="10429159" y="3261516"/>
                <a:ext cx="18624" cy="16296"/>
              </a:xfrm>
              <a:custGeom>
                <a:avLst/>
                <a:gdLst>
                  <a:gd name="T0" fmla="*/ 6 w 20"/>
                  <a:gd name="T1" fmla="*/ 18 h 18"/>
                  <a:gd name="T2" fmla="*/ 5 w 20"/>
                  <a:gd name="T3" fmla="*/ 17 h 18"/>
                  <a:gd name="T4" fmla="*/ 0 w 20"/>
                  <a:gd name="T5" fmla="*/ 17 h 18"/>
                  <a:gd name="T6" fmla="*/ 0 w 20"/>
                  <a:gd name="T7" fmla="*/ 14 h 18"/>
                  <a:gd name="T8" fmla="*/ 2 w 20"/>
                  <a:gd name="T9" fmla="*/ 11 h 18"/>
                  <a:gd name="T10" fmla="*/ 20 w 20"/>
                  <a:gd name="T11" fmla="*/ 0 h 18"/>
                  <a:gd name="T12" fmla="*/ 20 w 20"/>
                  <a:gd name="T13" fmla="*/ 9 h 18"/>
                  <a:gd name="T14" fmla="*/ 7 w 20"/>
                  <a:gd name="T15" fmla="*/ 17 h 18"/>
                  <a:gd name="T16" fmla="*/ 7 w 20"/>
                  <a:gd name="T17" fmla="*/ 17 h 18"/>
                  <a:gd name="T18" fmla="*/ 6 w 20"/>
                  <a:gd name="T19" fmla="*/ 17 h 18"/>
                  <a:gd name="T20" fmla="*/ 6 w 20"/>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8">
                    <a:moveTo>
                      <a:pt x="6" y="18"/>
                    </a:moveTo>
                    <a:cubicBezTo>
                      <a:pt x="5" y="17"/>
                      <a:pt x="5" y="17"/>
                      <a:pt x="5" y="17"/>
                    </a:cubicBezTo>
                    <a:cubicBezTo>
                      <a:pt x="0" y="17"/>
                      <a:pt x="0" y="17"/>
                      <a:pt x="0" y="17"/>
                    </a:cubicBezTo>
                    <a:cubicBezTo>
                      <a:pt x="0" y="14"/>
                      <a:pt x="0" y="14"/>
                      <a:pt x="0" y="14"/>
                    </a:cubicBezTo>
                    <a:cubicBezTo>
                      <a:pt x="0" y="13"/>
                      <a:pt x="1" y="12"/>
                      <a:pt x="2" y="11"/>
                    </a:cubicBezTo>
                    <a:cubicBezTo>
                      <a:pt x="20" y="0"/>
                      <a:pt x="20" y="0"/>
                      <a:pt x="20" y="0"/>
                    </a:cubicBezTo>
                    <a:cubicBezTo>
                      <a:pt x="20" y="9"/>
                      <a:pt x="20" y="9"/>
                      <a:pt x="20" y="9"/>
                    </a:cubicBezTo>
                    <a:cubicBezTo>
                      <a:pt x="7" y="17"/>
                      <a:pt x="7" y="17"/>
                      <a:pt x="7" y="17"/>
                    </a:cubicBezTo>
                    <a:cubicBezTo>
                      <a:pt x="7" y="17"/>
                      <a:pt x="7" y="17"/>
                      <a:pt x="7" y="17"/>
                    </a:cubicBezTo>
                    <a:cubicBezTo>
                      <a:pt x="6" y="17"/>
                      <a:pt x="6" y="17"/>
                      <a:pt x="6" y="17"/>
                    </a:cubicBezTo>
                    <a:lnTo>
                      <a:pt x="6" y="18"/>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1" name="Freeform 40">
                <a:extLst>
                  <a:ext uri="{FF2B5EF4-FFF2-40B4-BE49-F238E27FC236}">
                    <a16:creationId xmlns:a16="http://schemas.microsoft.com/office/drawing/2014/main" id="{CAB4A559-EBC0-3A4D-BFC4-EAA6BD7A65C7}"/>
                  </a:ext>
                </a:extLst>
              </p:cNvPr>
              <p:cNvSpPr>
                <a:spLocks noEditPoints="1"/>
              </p:cNvSpPr>
              <p:nvPr/>
            </p:nvSpPr>
            <p:spPr bwMode="auto">
              <a:xfrm>
                <a:off x="10443903" y="3187019"/>
                <a:ext cx="171499" cy="144726"/>
              </a:xfrm>
              <a:custGeom>
                <a:avLst/>
                <a:gdLst>
                  <a:gd name="T0" fmla="*/ 1 w 187"/>
                  <a:gd name="T1" fmla="*/ 105 h 158"/>
                  <a:gd name="T2" fmla="*/ 8 w 187"/>
                  <a:gd name="T3" fmla="*/ 93 h 158"/>
                  <a:gd name="T4" fmla="*/ 41 w 187"/>
                  <a:gd name="T5" fmla="*/ 65 h 158"/>
                  <a:gd name="T6" fmla="*/ 41 w 187"/>
                  <a:gd name="T7" fmla="*/ 121 h 158"/>
                  <a:gd name="T8" fmla="*/ 41 w 187"/>
                  <a:gd name="T9" fmla="*/ 128 h 158"/>
                  <a:gd name="T10" fmla="*/ 42 w 187"/>
                  <a:gd name="T11" fmla="*/ 129 h 158"/>
                  <a:gd name="T12" fmla="*/ 49 w 187"/>
                  <a:gd name="T13" fmla="*/ 128 h 158"/>
                  <a:gd name="T14" fmla="*/ 90 w 187"/>
                  <a:gd name="T15" fmla="*/ 156 h 158"/>
                  <a:gd name="T16" fmla="*/ 97 w 187"/>
                  <a:gd name="T17" fmla="*/ 156 h 158"/>
                  <a:gd name="T18" fmla="*/ 138 w 187"/>
                  <a:gd name="T19" fmla="*/ 128 h 158"/>
                  <a:gd name="T20" fmla="*/ 144 w 187"/>
                  <a:gd name="T21" fmla="*/ 130 h 158"/>
                  <a:gd name="T22" fmla="*/ 148 w 187"/>
                  <a:gd name="T23" fmla="*/ 128 h 158"/>
                  <a:gd name="T24" fmla="*/ 146 w 187"/>
                  <a:gd name="T25" fmla="*/ 121 h 158"/>
                  <a:gd name="T26" fmla="*/ 146 w 187"/>
                  <a:gd name="T27" fmla="*/ 65 h 158"/>
                  <a:gd name="T28" fmla="*/ 179 w 187"/>
                  <a:gd name="T29" fmla="*/ 93 h 158"/>
                  <a:gd name="T30" fmla="*/ 186 w 187"/>
                  <a:gd name="T31" fmla="*/ 107 h 158"/>
                  <a:gd name="T32" fmla="*/ 186 w 187"/>
                  <a:gd name="T33" fmla="*/ 101 h 158"/>
                  <a:gd name="T34" fmla="*/ 186 w 187"/>
                  <a:gd name="T35" fmla="*/ 85 h 158"/>
                  <a:gd name="T36" fmla="*/ 93 w 187"/>
                  <a:gd name="T37" fmla="*/ 0 h 158"/>
                  <a:gd name="T38" fmla="*/ 0 w 187"/>
                  <a:gd name="T39" fmla="*/ 85 h 158"/>
                  <a:gd name="T40" fmla="*/ 0 w 187"/>
                  <a:gd name="T41" fmla="*/ 101 h 158"/>
                  <a:gd name="T42" fmla="*/ 171 w 187"/>
                  <a:gd name="T43" fmla="*/ 58 h 158"/>
                  <a:gd name="T44" fmla="*/ 121 w 187"/>
                  <a:gd name="T45" fmla="*/ 12 h 158"/>
                  <a:gd name="T46" fmla="*/ 97 w 187"/>
                  <a:gd name="T47" fmla="*/ 8 h 158"/>
                  <a:gd name="T48" fmla="*/ 138 w 187"/>
                  <a:gd name="T49" fmla="*/ 58 h 158"/>
                  <a:gd name="T50" fmla="*/ 97 w 187"/>
                  <a:gd name="T51" fmla="*/ 8 h 158"/>
                  <a:gd name="T52" fmla="*/ 139 w 187"/>
                  <a:gd name="T53" fmla="*/ 65 h 158"/>
                  <a:gd name="T54" fmla="*/ 139 w 187"/>
                  <a:gd name="T55" fmla="*/ 121 h 158"/>
                  <a:gd name="T56" fmla="*/ 97 w 187"/>
                  <a:gd name="T57" fmla="*/ 65 h 158"/>
                  <a:gd name="T58" fmla="*/ 47 w 187"/>
                  <a:gd name="T59" fmla="*/ 121 h 158"/>
                  <a:gd name="T60" fmla="*/ 47 w 187"/>
                  <a:gd name="T61" fmla="*/ 65 h 158"/>
                  <a:gd name="T62" fmla="*/ 90 w 187"/>
                  <a:gd name="T63" fmla="*/ 121 h 158"/>
                  <a:gd name="T64" fmla="*/ 90 w 187"/>
                  <a:gd name="T65" fmla="*/ 8 h 158"/>
                  <a:gd name="T66" fmla="*/ 49 w 187"/>
                  <a:gd name="T67" fmla="*/ 58 h 158"/>
                  <a:gd name="T68" fmla="*/ 66 w 187"/>
                  <a:gd name="T69" fmla="*/ 12 h 158"/>
                  <a:gd name="T70" fmla="*/ 15 w 187"/>
                  <a:gd name="T7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7" h="158">
                    <a:moveTo>
                      <a:pt x="0" y="102"/>
                    </a:moveTo>
                    <a:cubicBezTo>
                      <a:pt x="0" y="103"/>
                      <a:pt x="1" y="104"/>
                      <a:pt x="1" y="105"/>
                    </a:cubicBezTo>
                    <a:cubicBezTo>
                      <a:pt x="9" y="110"/>
                      <a:pt x="9" y="110"/>
                      <a:pt x="9" y="110"/>
                    </a:cubicBezTo>
                    <a:cubicBezTo>
                      <a:pt x="8" y="104"/>
                      <a:pt x="8" y="99"/>
                      <a:pt x="8" y="93"/>
                    </a:cubicBezTo>
                    <a:cubicBezTo>
                      <a:pt x="8" y="83"/>
                      <a:pt x="9" y="74"/>
                      <a:pt x="13" y="65"/>
                    </a:cubicBezTo>
                    <a:cubicBezTo>
                      <a:pt x="41" y="65"/>
                      <a:pt x="41" y="65"/>
                      <a:pt x="41" y="65"/>
                    </a:cubicBezTo>
                    <a:cubicBezTo>
                      <a:pt x="39" y="74"/>
                      <a:pt x="38" y="83"/>
                      <a:pt x="38" y="93"/>
                    </a:cubicBezTo>
                    <a:cubicBezTo>
                      <a:pt x="38" y="103"/>
                      <a:pt x="39" y="112"/>
                      <a:pt x="41" y="121"/>
                    </a:cubicBezTo>
                    <a:cubicBezTo>
                      <a:pt x="30" y="121"/>
                      <a:pt x="30" y="121"/>
                      <a:pt x="30" y="121"/>
                    </a:cubicBezTo>
                    <a:cubicBezTo>
                      <a:pt x="41" y="128"/>
                      <a:pt x="41" y="128"/>
                      <a:pt x="41" y="128"/>
                    </a:cubicBezTo>
                    <a:cubicBezTo>
                      <a:pt x="42" y="128"/>
                      <a:pt x="42" y="128"/>
                      <a:pt x="42" y="128"/>
                    </a:cubicBezTo>
                    <a:cubicBezTo>
                      <a:pt x="42" y="128"/>
                      <a:pt x="42" y="128"/>
                      <a:pt x="42" y="129"/>
                    </a:cubicBezTo>
                    <a:cubicBezTo>
                      <a:pt x="50" y="133"/>
                      <a:pt x="50" y="133"/>
                      <a:pt x="50" y="133"/>
                    </a:cubicBezTo>
                    <a:cubicBezTo>
                      <a:pt x="50" y="132"/>
                      <a:pt x="49" y="130"/>
                      <a:pt x="49" y="128"/>
                    </a:cubicBezTo>
                    <a:cubicBezTo>
                      <a:pt x="90" y="128"/>
                      <a:pt x="90" y="128"/>
                      <a:pt x="90" y="128"/>
                    </a:cubicBezTo>
                    <a:cubicBezTo>
                      <a:pt x="90" y="156"/>
                      <a:pt x="90" y="156"/>
                      <a:pt x="90" y="156"/>
                    </a:cubicBezTo>
                    <a:cubicBezTo>
                      <a:pt x="93" y="158"/>
                      <a:pt x="93" y="158"/>
                      <a:pt x="93" y="158"/>
                    </a:cubicBezTo>
                    <a:cubicBezTo>
                      <a:pt x="97" y="156"/>
                      <a:pt x="97" y="156"/>
                      <a:pt x="97" y="156"/>
                    </a:cubicBezTo>
                    <a:cubicBezTo>
                      <a:pt x="97" y="128"/>
                      <a:pt x="97" y="128"/>
                      <a:pt x="97" y="128"/>
                    </a:cubicBezTo>
                    <a:cubicBezTo>
                      <a:pt x="138" y="128"/>
                      <a:pt x="138" y="128"/>
                      <a:pt x="138" y="128"/>
                    </a:cubicBezTo>
                    <a:cubicBezTo>
                      <a:pt x="137" y="130"/>
                      <a:pt x="137" y="132"/>
                      <a:pt x="136" y="135"/>
                    </a:cubicBezTo>
                    <a:cubicBezTo>
                      <a:pt x="144" y="130"/>
                      <a:pt x="144" y="130"/>
                      <a:pt x="144" y="130"/>
                    </a:cubicBezTo>
                    <a:cubicBezTo>
                      <a:pt x="144" y="129"/>
                      <a:pt x="145" y="129"/>
                      <a:pt x="145" y="128"/>
                    </a:cubicBezTo>
                    <a:cubicBezTo>
                      <a:pt x="148" y="128"/>
                      <a:pt x="148" y="128"/>
                      <a:pt x="148" y="128"/>
                    </a:cubicBezTo>
                    <a:cubicBezTo>
                      <a:pt x="160" y="121"/>
                      <a:pt x="160" y="121"/>
                      <a:pt x="160" y="121"/>
                    </a:cubicBezTo>
                    <a:cubicBezTo>
                      <a:pt x="146" y="121"/>
                      <a:pt x="146" y="121"/>
                      <a:pt x="146" y="121"/>
                    </a:cubicBezTo>
                    <a:cubicBezTo>
                      <a:pt x="148" y="112"/>
                      <a:pt x="149" y="103"/>
                      <a:pt x="149" y="93"/>
                    </a:cubicBezTo>
                    <a:cubicBezTo>
                      <a:pt x="149" y="83"/>
                      <a:pt x="148" y="74"/>
                      <a:pt x="146" y="65"/>
                    </a:cubicBezTo>
                    <a:cubicBezTo>
                      <a:pt x="174" y="65"/>
                      <a:pt x="174" y="65"/>
                      <a:pt x="174" y="65"/>
                    </a:cubicBezTo>
                    <a:cubicBezTo>
                      <a:pt x="177" y="74"/>
                      <a:pt x="179" y="83"/>
                      <a:pt x="179" y="93"/>
                    </a:cubicBezTo>
                    <a:cubicBezTo>
                      <a:pt x="179" y="100"/>
                      <a:pt x="178" y="106"/>
                      <a:pt x="177" y="112"/>
                    </a:cubicBezTo>
                    <a:cubicBezTo>
                      <a:pt x="186" y="107"/>
                      <a:pt x="186" y="107"/>
                      <a:pt x="186" y="107"/>
                    </a:cubicBezTo>
                    <a:cubicBezTo>
                      <a:pt x="186" y="105"/>
                      <a:pt x="186" y="104"/>
                      <a:pt x="186" y="102"/>
                    </a:cubicBezTo>
                    <a:cubicBezTo>
                      <a:pt x="186" y="101"/>
                      <a:pt x="186" y="101"/>
                      <a:pt x="186" y="101"/>
                    </a:cubicBezTo>
                    <a:cubicBezTo>
                      <a:pt x="187" y="98"/>
                      <a:pt x="187" y="96"/>
                      <a:pt x="187" y="93"/>
                    </a:cubicBezTo>
                    <a:cubicBezTo>
                      <a:pt x="187" y="90"/>
                      <a:pt x="187" y="88"/>
                      <a:pt x="186" y="85"/>
                    </a:cubicBezTo>
                    <a:cubicBezTo>
                      <a:pt x="186" y="85"/>
                      <a:pt x="186" y="85"/>
                      <a:pt x="186" y="85"/>
                    </a:cubicBezTo>
                    <a:cubicBezTo>
                      <a:pt x="182" y="37"/>
                      <a:pt x="142" y="0"/>
                      <a:pt x="93" y="0"/>
                    </a:cubicBezTo>
                    <a:cubicBezTo>
                      <a:pt x="45" y="0"/>
                      <a:pt x="5" y="37"/>
                      <a:pt x="0" y="85"/>
                    </a:cubicBezTo>
                    <a:cubicBezTo>
                      <a:pt x="0" y="85"/>
                      <a:pt x="0" y="85"/>
                      <a:pt x="0" y="85"/>
                    </a:cubicBezTo>
                    <a:cubicBezTo>
                      <a:pt x="0" y="88"/>
                      <a:pt x="0" y="90"/>
                      <a:pt x="0" y="93"/>
                    </a:cubicBezTo>
                    <a:cubicBezTo>
                      <a:pt x="0" y="96"/>
                      <a:pt x="0" y="98"/>
                      <a:pt x="0" y="101"/>
                    </a:cubicBezTo>
                    <a:cubicBezTo>
                      <a:pt x="0" y="101"/>
                      <a:pt x="0" y="101"/>
                      <a:pt x="0" y="102"/>
                    </a:cubicBezTo>
                    <a:moveTo>
                      <a:pt x="171" y="58"/>
                    </a:moveTo>
                    <a:cubicBezTo>
                      <a:pt x="145" y="58"/>
                      <a:pt x="145" y="58"/>
                      <a:pt x="145" y="58"/>
                    </a:cubicBezTo>
                    <a:cubicBezTo>
                      <a:pt x="140" y="38"/>
                      <a:pt x="132" y="22"/>
                      <a:pt x="121" y="12"/>
                    </a:cubicBezTo>
                    <a:cubicBezTo>
                      <a:pt x="143" y="20"/>
                      <a:pt x="162" y="36"/>
                      <a:pt x="171" y="58"/>
                    </a:cubicBezTo>
                    <a:moveTo>
                      <a:pt x="97" y="8"/>
                    </a:moveTo>
                    <a:cubicBezTo>
                      <a:pt x="98" y="8"/>
                      <a:pt x="100" y="8"/>
                      <a:pt x="102" y="8"/>
                    </a:cubicBezTo>
                    <a:cubicBezTo>
                      <a:pt x="118" y="13"/>
                      <a:pt x="131" y="32"/>
                      <a:pt x="138" y="58"/>
                    </a:cubicBezTo>
                    <a:cubicBezTo>
                      <a:pt x="97" y="58"/>
                      <a:pt x="97" y="58"/>
                      <a:pt x="97" y="58"/>
                    </a:cubicBezTo>
                    <a:lnTo>
                      <a:pt x="97" y="8"/>
                    </a:lnTo>
                    <a:close/>
                    <a:moveTo>
                      <a:pt x="97" y="65"/>
                    </a:moveTo>
                    <a:cubicBezTo>
                      <a:pt x="139" y="65"/>
                      <a:pt x="139" y="65"/>
                      <a:pt x="139" y="65"/>
                    </a:cubicBezTo>
                    <a:cubicBezTo>
                      <a:pt x="141" y="74"/>
                      <a:pt x="142" y="83"/>
                      <a:pt x="142" y="93"/>
                    </a:cubicBezTo>
                    <a:cubicBezTo>
                      <a:pt x="142" y="103"/>
                      <a:pt x="141" y="112"/>
                      <a:pt x="139" y="121"/>
                    </a:cubicBezTo>
                    <a:cubicBezTo>
                      <a:pt x="97" y="121"/>
                      <a:pt x="97" y="121"/>
                      <a:pt x="97" y="121"/>
                    </a:cubicBezTo>
                    <a:lnTo>
                      <a:pt x="97" y="65"/>
                    </a:lnTo>
                    <a:close/>
                    <a:moveTo>
                      <a:pt x="90" y="121"/>
                    </a:moveTo>
                    <a:cubicBezTo>
                      <a:pt x="47" y="121"/>
                      <a:pt x="47" y="121"/>
                      <a:pt x="47" y="121"/>
                    </a:cubicBezTo>
                    <a:cubicBezTo>
                      <a:pt x="46" y="112"/>
                      <a:pt x="45" y="103"/>
                      <a:pt x="45" y="93"/>
                    </a:cubicBezTo>
                    <a:cubicBezTo>
                      <a:pt x="45" y="83"/>
                      <a:pt x="46" y="74"/>
                      <a:pt x="47" y="65"/>
                    </a:cubicBezTo>
                    <a:cubicBezTo>
                      <a:pt x="90" y="65"/>
                      <a:pt x="90" y="65"/>
                      <a:pt x="90" y="65"/>
                    </a:cubicBezTo>
                    <a:lnTo>
                      <a:pt x="90" y="121"/>
                    </a:lnTo>
                    <a:close/>
                    <a:moveTo>
                      <a:pt x="85" y="8"/>
                    </a:moveTo>
                    <a:cubicBezTo>
                      <a:pt x="87" y="8"/>
                      <a:pt x="88" y="8"/>
                      <a:pt x="90" y="8"/>
                    </a:cubicBezTo>
                    <a:cubicBezTo>
                      <a:pt x="90" y="58"/>
                      <a:pt x="90" y="58"/>
                      <a:pt x="90" y="58"/>
                    </a:cubicBezTo>
                    <a:cubicBezTo>
                      <a:pt x="49" y="58"/>
                      <a:pt x="49" y="58"/>
                      <a:pt x="49" y="58"/>
                    </a:cubicBezTo>
                    <a:cubicBezTo>
                      <a:pt x="55" y="32"/>
                      <a:pt x="69" y="13"/>
                      <a:pt x="85" y="8"/>
                    </a:cubicBezTo>
                    <a:moveTo>
                      <a:pt x="66" y="12"/>
                    </a:moveTo>
                    <a:cubicBezTo>
                      <a:pt x="55" y="22"/>
                      <a:pt x="47" y="38"/>
                      <a:pt x="42" y="58"/>
                    </a:cubicBezTo>
                    <a:cubicBezTo>
                      <a:pt x="15" y="58"/>
                      <a:pt x="15" y="58"/>
                      <a:pt x="15" y="58"/>
                    </a:cubicBezTo>
                    <a:cubicBezTo>
                      <a:pt x="25" y="36"/>
                      <a:pt x="43" y="20"/>
                      <a:pt x="66" y="12"/>
                    </a:cubicBezTo>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2" name="Freeform 41">
                <a:extLst>
                  <a:ext uri="{FF2B5EF4-FFF2-40B4-BE49-F238E27FC236}">
                    <a16:creationId xmlns:a16="http://schemas.microsoft.com/office/drawing/2014/main" id="{85C230A4-A81C-0242-A3E6-2C958615B650}"/>
                  </a:ext>
                </a:extLst>
              </p:cNvPr>
              <p:cNvSpPr>
                <a:spLocks/>
              </p:cNvSpPr>
              <p:nvPr/>
            </p:nvSpPr>
            <p:spPr bwMode="auto">
              <a:xfrm>
                <a:off x="10428383" y="3273156"/>
                <a:ext cx="102822" cy="63245"/>
              </a:xfrm>
              <a:custGeom>
                <a:avLst/>
                <a:gdLst>
                  <a:gd name="T0" fmla="*/ 255 w 265"/>
                  <a:gd name="T1" fmla="*/ 163 h 163"/>
                  <a:gd name="T2" fmla="*/ 0 w 265"/>
                  <a:gd name="T3" fmla="*/ 17 h 163"/>
                  <a:gd name="T4" fmla="*/ 9 w 265"/>
                  <a:gd name="T5" fmla="*/ 0 h 163"/>
                  <a:gd name="T6" fmla="*/ 265 w 265"/>
                  <a:gd name="T7" fmla="*/ 147 h 163"/>
                  <a:gd name="T8" fmla="*/ 255 w 265"/>
                  <a:gd name="T9" fmla="*/ 163 h 163"/>
                </a:gdLst>
                <a:ahLst/>
                <a:cxnLst>
                  <a:cxn ang="0">
                    <a:pos x="T0" y="T1"/>
                  </a:cxn>
                  <a:cxn ang="0">
                    <a:pos x="T2" y="T3"/>
                  </a:cxn>
                  <a:cxn ang="0">
                    <a:pos x="T4" y="T5"/>
                  </a:cxn>
                  <a:cxn ang="0">
                    <a:pos x="T6" y="T7"/>
                  </a:cxn>
                  <a:cxn ang="0">
                    <a:pos x="T8" y="T9"/>
                  </a:cxn>
                </a:cxnLst>
                <a:rect l="0" t="0" r="r" b="b"/>
                <a:pathLst>
                  <a:path w="265" h="163">
                    <a:moveTo>
                      <a:pt x="255" y="163"/>
                    </a:moveTo>
                    <a:lnTo>
                      <a:pt x="0" y="17"/>
                    </a:lnTo>
                    <a:lnTo>
                      <a:pt x="9" y="0"/>
                    </a:lnTo>
                    <a:lnTo>
                      <a:pt x="265" y="147"/>
                    </a:lnTo>
                    <a:lnTo>
                      <a:pt x="255" y="163"/>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3" name="Freeform 42">
                <a:extLst>
                  <a:ext uri="{FF2B5EF4-FFF2-40B4-BE49-F238E27FC236}">
                    <a16:creationId xmlns:a16="http://schemas.microsoft.com/office/drawing/2014/main" id="{1FA8BB50-69C6-764A-BF4C-2449D7988EDA}"/>
                  </a:ext>
                </a:extLst>
              </p:cNvPr>
              <p:cNvSpPr>
                <a:spLocks/>
              </p:cNvSpPr>
              <p:nvPr/>
            </p:nvSpPr>
            <p:spPr bwMode="auto">
              <a:xfrm>
                <a:off x="10426443" y="3338341"/>
                <a:ext cx="206420" cy="113686"/>
              </a:xfrm>
              <a:custGeom>
                <a:avLst/>
                <a:gdLst>
                  <a:gd name="T0" fmla="*/ 113 w 225"/>
                  <a:gd name="T1" fmla="*/ 124 h 124"/>
                  <a:gd name="T2" fmla="*/ 110 w 225"/>
                  <a:gd name="T3" fmla="*/ 124 h 124"/>
                  <a:gd name="T4" fmla="*/ 2 w 225"/>
                  <a:gd name="T5" fmla="*/ 61 h 124"/>
                  <a:gd name="T6" fmla="*/ 0 w 225"/>
                  <a:gd name="T7" fmla="*/ 57 h 124"/>
                  <a:gd name="T8" fmla="*/ 0 w 225"/>
                  <a:gd name="T9" fmla="*/ 3 h 124"/>
                  <a:gd name="T10" fmla="*/ 8 w 225"/>
                  <a:gd name="T11" fmla="*/ 3 h 124"/>
                  <a:gd name="T12" fmla="*/ 8 w 225"/>
                  <a:gd name="T13" fmla="*/ 55 h 124"/>
                  <a:gd name="T14" fmla="*/ 113 w 225"/>
                  <a:gd name="T15" fmla="*/ 115 h 124"/>
                  <a:gd name="T16" fmla="*/ 217 w 225"/>
                  <a:gd name="T17" fmla="*/ 55 h 124"/>
                  <a:gd name="T18" fmla="*/ 217 w 225"/>
                  <a:gd name="T19" fmla="*/ 0 h 124"/>
                  <a:gd name="T20" fmla="*/ 225 w 225"/>
                  <a:gd name="T21" fmla="*/ 0 h 124"/>
                  <a:gd name="T22" fmla="*/ 225 w 225"/>
                  <a:gd name="T23" fmla="*/ 57 h 124"/>
                  <a:gd name="T24" fmla="*/ 223 w 225"/>
                  <a:gd name="T25" fmla="*/ 61 h 124"/>
                  <a:gd name="T26" fmla="*/ 115 w 225"/>
                  <a:gd name="T27" fmla="*/ 124 h 124"/>
                  <a:gd name="T28" fmla="*/ 113 w 225"/>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124">
                    <a:moveTo>
                      <a:pt x="113" y="124"/>
                    </a:moveTo>
                    <a:cubicBezTo>
                      <a:pt x="112" y="124"/>
                      <a:pt x="111" y="124"/>
                      <a:pt x="110" y="124"/>
                    </a:cubicBezTo>
                    <a:cubicBezTo>
                      <a:pt x="2" y="61"/>
                      <a:pt x="2" y="61"/>
                      <a:pt x="2" y="61"/>
                    </a:cubicBezTo>
                    <a:cubicBezTo>
                      <a:pt x="1" y="60"/>
                      <a:pt x="0" y="59"/>
                      <a:pt x="0" y="57"/>
                    </a:cubicBezTo>
                    <a:cubicBezTo>
                      <a:pt x="0" y="3"/>
                      <a:pt x="0" y="3"/>
                      <a:pt x="0" y="3"/>
                    </a:cubicBezTo>
                    <a:cubicBezTo>
                      <a:pt x="8" y="3"/>
                      <a:pt x="8" y="3"/>
                      <a:pt x="8" y="3"/>
                    </a:cubicBezTo>
                    <a:cubicBezTo>
                      <a:pt x="8" y="55"/>
                      <a:pt x="8" y="55"/>
                      <a:pt x="8" y="55"/>
                    </a:cubicBezTo>
                    <a:cubicBezTo>
                      <a:pt x="113" y="115"/>
                      <a:pt x="113" y="115"/>
                      <a:pt x="113" y="115"/>
                    </a:cubicBezTo>
                    <a:cubicBezTo>
                      <a:pt x="217" y="55"/>
                      <a:pt x="217" y="55"/>
                      <a:pt x="217" y="55"/>
                    </a:cubicBezTo>
                    <a:cubicBezTo>
                      <a:pt x="217" y="0"/>
                      <a:pt x="217" y="0"/>
                      <a:pt x="217" y="0"/>
                    </a:cubicBezTo>
                    <a:cubicBezTo>
                      <a:pt x="225" y="0"/>
                      <a:pt x="225" y="0"/>
                      <a:pt x="225" y="0"/>
                    </a:cubicBezTo>
                    <a:cubicBezTo>
                      <a:pt x="225" y="57"/>
                      <a:pt x="225" y="57"/>
                      <a:pt x="225" y="57"/>
                    </a:cubicBezTo>
                    <a:cubicBezTo>
                      <a:pt x="225" y="59"/>
                      <a:pt x="225" y="60"/>
                      <a:pt x="223" y="61"/>
                    </a:cubicBezTo>
                    <a:cubicBezTo>
                      <a:pt x="115" y="124"/>
                      <a:pt x="115" y="124"/>
                      <a:pt x="115" y="124"/>
                    </a:cubicBezTo>
                    <a:cubicBezTo>
                      <a:pt x="114" y="124"/>
                      <a:pt x="113" y="124"/>
                      <a:pt x="113" y="124"/>
                    </a:cubicBezTo>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4" name="Freeform 43">
                <a:extLst>
                  <a:ext uri="{FF2B5EF4-FFF2-40B4-BE49-F238E27FC236}">
                    <a16:creationId xmlns:a16="http://schemas.microsoft.com/office/drawing/2014/main" id="{33E94D33-5DE4-1B48-9C8D-21F402CD1989}"/>
                  </a:ext>
                </a:extLst>
              </p:cNvPr>
              <p:cNvSpPr>
                <a:spLocks/>
              </p:cNvSpPr>
              <p:nvPr/>
            </p:nvSpPr>
            <p:spPr bwMode="auto">
              <a:xfrm>
                <a:off x="10525384" y="3334849"/>
                <a:ext cx="105538" cy="117178"/>
              </a:xfrm>
              <a:custGeom>
                <a:avLst/>
                <a:gdLst>
                  <a:gd name="T0" fmla="*/ 5 w 115"/>
                  <a:gd name="T1" fmla="*/ 128 h 128"/>
                  <a:gd name="T2" fmla="*/ 2 w 115"/>
                  <a:gd name="T3" fmla="*/ 128 h 128"/>
                  <a:gd name="T4" fmla="*/ 0 w 115"/>
                  <a:gd name="T5" fmla="*/ 123 h 128"/>
                  <a:gd name="T6" fmla="*/ 0 w 115"/>
                  <a:gd name="T7" fmla="*/ 0 h 128"/>
                  <a:gd name="T8" fmla="*/ 9 w 115"/>
                  <a:gd name="T9" fmla="*/ 0 h 128"/>
                  <a:gd name="T10" fmla="*/ 9 w 115"/>
                  <a:gd name="T11" fmla="*/ 116 h 128"/>
                  <a:gd name="T12" fmla="*/ 111 w 115"/>
                  <a:gd name="T13" fmla="*/ 58 h 128"/>
                  <a:gd name="T14" fmla="*/ 115 w 115"/>
                  <a:gd name="T15" fmla="*/ 65 h 128"/>
                  <a:gd name="T16" fmla="*/ 7 w 115"/>
                  <a:gd name="T17" fmla="*/ 128 h 128"/>
                  <a:gd name="T18" fmla="*/ 5 w 115"/>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28">
                    <a:moveTo>
                      <a:pt x="5" y="128"/>
                    </a:moveTo>
                    <a:cubicBezTo>
                      <a:pt x="4" y="128"/>
                      <a:pt x="3" y="128"/>
                      <a:pt x="2" y="128"/>
                    </a:cubicBezTo>
                    <a:cubicBezTo>
                      <a:pt x="1" y="127"/>
                      <a:pt x="0" y="125"/>
                      <a:pt x="0" y="123"/>
                    </a:cubicBezTo>
                    <a:cubicBezTo>
                      <a:pt x="0" y="0"/>
                      <a:pt x="0" y="0"/>
                      <a:pt x="0" y="0"/>
                    </a:cubicBezTo>
                    <a:cubicBezTo>
                      <a:pt x="9" y="0"/>
                      <a:pt x="9" y="0"/>
                      <a:pt x="9" y="0"/>
                    </a:cubicBezTo>
                    <a:cubicBezTo>
                      <a:pt x="9" y="116"/>
                      <a:pt x="9" y="116"/>
                      <a:pt x="9" y="116"/>
                    </a:cubicBezTo>
                    <a:cubicBezTo>
                      <a:pt x="111" y="58"/>
                      <a:pt x="111" y="58"/>
                      <a:pt x="111" y="58"/>
                    </a:cubicBezTo>
                    <a:cubicBezTo>
                      <a:pt x="115" y="65"/>
                      <a:pt x="115" y="65"/>
                      <a:pt x="115" y="65"/>
                    </a:cubicBezTo>
                    <a:cubicBezTo>
                      <a:pt x="7" y="128"/>
                      <a:pt x="7" y="128"/>
                      <a:pt x="7" y="128"/>
                    </a:cubicBezTo>
                    <a:cubicBezTo>
                      <a:pt x="6" y="128"/>
                      <a:pt x="5" y="128"/>
                      <a:pt x="5" y="128"/>
                    </a:cubicBezTo>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5" name="Freeform 44">
                <a:extLst>
                  <a:ext uri="{FF2B5EF4-FFF2-40B4-BE49-F238E27FC236}">
                    <a16:creationId xmlns:a16="http://schemas.microsoft.com/office/drawing/2014/main" id="{33A44EA3-8802-3F47-BF33-E043E735ECF5}"/>
                  </a:ext>
                </a:extLst>
              </p:cNvPr>
              <p:cNvSpPr>
                <a:spLocks noEditPoints="1"/>
              </p:cNvSpPr>
              <p:nvPr/>
            </p:nvSpPr>
            <p:spPr bwMode="auto">
              <a:xfrm>
                <a:off x="10524608" y="3271604"/>
                <a:ext cx="134639" cy="114462"/>
              </a:xfrm>
              <a:custGeom>
                <a:avLst/>
                <a:gdLst>
                  <a:gd name="T0" fmla="*/ 34 w 147"/>
                  <a:gd name="T1" fmla="*/ 125 h 125"/>
                  <a:gd name="T2" fmla="*/ 33 w 147"/>
                  <a:gd name="T3" fmla="*/ 125 h 125"/>
                  <a:gd name="T4" fmla="*/ 30 w 147"/>
                  <a:gd name="T5" fmla="*/ 123 h 125"/>
                  <a:gd name="T6" fmla="*/ 1 w 147"/>
                  <a:gd name="T7" fmla="*/ 71 h 125"/>
                  <a:gd name="T8" fmla="*/ 3 w 147"/>
                  <a:gd name="T9" fmla="*/ 64 h 125"/>
                  <a:gd name="T10" fmla="*/ 111 w 147"/>
                  <a:gd name="T11" fmla="*/ 1 h 125"/>
                  <a:gd name="T12" fmla="*/ 115 w 147"/>
                  <a:gd name="T13" fmla="*/ 1 h 125"/>
                  <a:gd name="T14" fmla="*/ 118 w 147"/>
                  <a:gd name="T15" fmla="*/ 3 h 125"/>
                  <a:gd name="T16" fmla="*/ 146 w 147"/>
                  <a:gd name="T17" fmla="*/ 56 h 125"/>
                  <a:gd name="T18" fmla="*/ 144 w 147"/>
                  <a:gd name="T19" fmla="*/ 62 h 125"/>
                  <a:gd name="T20" fmla="*/ 36 w 147"/>
                  <a:gd name="T21" fmla="*/ 124 h 125"/>
                  <a:gd name="T22" fmla="*/ 34 w 147"/>
                  <a:gd name="T23" fmla="*/ 125 h 125"/>
                  <a:gd name="T24" fmla="*/ 10 w 147"/>
                  <a:gd name="T25" fmla="*/ 71 h 125"/>
                  <a:gd name="T26" fmla="*/ 35 w 147"/>
                  <a:gd name="T27" fmla="*/ 115 h 125"/>
                  <a:gd name="T28" fmla="*/ 137 w 147"/>
                  <a:gd name="T29" fmla="*/ 56 h 125"/>
                  <a:gd name="T30" fmla="*/ 113 w 147"/>
                  <a:gd name="T31" fmla="*/ 11 h 125"/>
                  <a:gd name="T32" fmla="*/ 10 w 147"/>
                  <a:gd name="T33"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25">
                    <a:moveTo>
                      <a:pt x="34" y="125"/>
                    </a:moveTo>
                    <a:cubicBezTo>
                      <a:pt x="33" y="125"/>
                      <a:pt x="33" y="125"/>
                      <a:pt x="33" y="125"/>
                    </a:cubicBezTo>
                    <a:cubicBezTo>
                      <a:pt x="31" y="125"/>
                      <a:pt x="30" y="124"/>
                      <a:pt x="30" y="123"/>
                    </a:cubicBezTo>
                    <a:cubicBezTo>
                      <a:pt x="1" y="71"/>
                      <a:pt x="1" y="71"/>
                      <a:pt x="1" y="71"/>
                    </a:cubicBezTo>
                    <a:cubicBezTo>
                      <a:pt x="0" y="69"/>
                      <a:pt x="1" y="66"/>
                      <a:pt x="3" y="64"/>
                    </a:cubicBezTo>
                    <a:cubicBezTo>
                      <a:pt x="111" y="1"/>
                      <a:pt x="111" y="1"/>
                      <a:pt x="111" y="1"/>
                    </a:cubicBezTo>
                    <a:cubicBezTo>
                      <a:pt x="112" y="0"/>
                      <a:pt x="114" y="0"/>
                      <a:pt x="115" y="1"/>
                    </a:cubicBezTo>
                    <a:cubicBezTo>
                      <a:pt x="116" y="1"/>
                      <a:pt x="117" y="2"/>
                      <a:pt x="118" y="3"/>
                    </a:cubicBezTo>
                    <a:cubicBezTo>
                      <a:pt x="146" y="56"/>
                      <a:pt x="146" y="56"/>
                      <a:pt x="146" y="56"/>
                    </a:cubicBezTo>
                    <a:cubicBezTo>
                      <a:pt x="147" y="58"/>
                      <a:pt x="147" y="61"/>
                      <a:pt x="144" y="62"/>
                    </a:cubicBezTo>
                    <a:cubicBezTo>
                      <a:pt x="36" y="124"/>
                      <a:pt x="36" y="124"/>
                      <a:pt x="36" y="124"/>
                    </a:cubicBezTo>
                    <a:cubicBezTo>
                      <a:pt x="36" y="125"/>
                      <a:pt x="35" y="125"/>
                      <a:pt x="34" y="125"/>
                    </a:cubicBezTo>
                    <a:moveTo>
                      <a:pt x="10" y="71"/>
                    </a:moveTo>
                    <a:cubicBezTo>
                      <a:pt x="35" y="115"/>
                      <a:pt x="35" y="115"/>
                      <a:pt x="35" y="115"/>
                    </a:cubicBezTo>
                    <a:cubicBezTo>
                      <a:pt x="137" y="56"/>
                      <a:pt x="137" y="56"/>
                      <a:pt x="137" y="56"/>
                    </a:cubicBezTo>
                    <a:cubicBezTo>
                      <a:pt x="113" y="11"/>
                      <a:pt x="113" y="11"/>
                      <a:pt x="113" y="11"/>
                    </a:cubicBezTo>
                    <a:lnTo>
                      <a:pt x="10" y="71"/>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sp>
            <p:nvSpPr>
              <p:cNvPr id="46" name="Freeform 45">
                <a:extLst>
                  <a:ext uri="{FF2B5EF4-FFF2-40B4-BE49-F238E27FC236}">
                    <a16:creationId xmlns:a16="http://schemas.microsoft.com/office/drawing/2014/main" id="{B901A823-59B3-EF4F-9C30-9A10707A5CC5}"/>
                  </a:ext>
                </a:extLst>
              </p:cNvPr>
              <p:cNvSpPr>
                <a:spLocks noEditPoints="1"/>
              </p:cNvSpPr>
              <p:nvPr/>
            </p:nvSpPr>
            <p:spPr bwMode="auto">
              <a:xfrm>
                <a:off x="10400059" y="3271604"/>
                <a:ext cx="132698" cy="114462"/>
              </a:xfrm>
              <a:custGeom>
                <a:avLst/>
                <a:gdLst>
                  <a:gd name="T0" fmla="*/ 112 w 145"/>
                  <a:gd name="T1" fmla="*/ 125 h 125"/>
                  <a:gd name="T2" fmla="*/ 109 w 145"/>
                  <a:gd name="T3" fmla="*/ 124 h 125"/>
                  <a:gd name="T4" fmla="*/ 3 w 145"/>
                  <a:gd name="T5" fmla="*/ 62 h 125"/>
                  <a:gd name="T6" fmla="*/ 1 w 145"/>
                  <a:gd name="T7" fmla="*/ 56 h 125"/>
                  <a:gd name="T8" fmla="*/ 29 w 145"/>
                  <a:gd name="T9" fmla="*/ 3 h 125"/>
                  <a:gd name="T10" fmla="*/ 32 w 145"/>
                  <a:gd name="T11" fmla="*/ 1 h 125"/>
                  <a:gd name="T12" fmla="*/ 36 w 145"/>
                  <a:gd name="T13" fmla="*/ 1 h 125"/>
                  <a:gd name="T14" fmla="*/ 142 w 145"/>
                  <a:gd name="T15" fmla="*/ 64 h 125"/>
                  <a:gd name="T16" fmla="*/ 144 w 145"/>
                  <a:gd name="T17" fmla="*/ 71 h 125"/>
                  <a:gd name="T18" fmla="*/ 116 w 145"/>
                  <a:gd name="T19" fmla="*/ 122 h 125"/>
                  <a:gd name="T20" fmla="*/ 113 w 145"/>
                  <a:gd name="T21" fmla="*/ 125 h 125"/>
                  <a:gd name="T22" fmla="*/ 112 w 145"/>
                  <a:gd name="T23" fmla="*/ 125 h 125"/>
                  <a:gd name="T24" fmla="*/ 9 w 145"/>
                  <a:gd name="T25" fmla="*/ 57 h 125"/>
                  <a:gd name="T26" fmla="*/ 110 w 145"/>
                  <a:gd name="T27" fmla="*/ 116 h 125"/>
                  <a:gd name="T28" fmla="*/ 136 w 145"/>
                  <a:gd name="T29" fmla="*/ 69 h 125"/>
                  <a:gd name="T30" fmla="*/ 35 w 145"/>
                  <a:gd name="T31" fmla="*/ 9 h 125"/>
                  <a:gd name="T32" fmla="*/ 9 w 145"/>
                  <a:gd name="T33" fmla="*/ 5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125">
                    <a:moveTo>
                      <a:pt x="112" y="125"/>
                    </a:moveTo>
                    <a:cubicBezTo>
                      <a:pt x="111" y="125"/>
                      <a:pt x="110" y="125"/>
                      <a:pt x="109" y="124"/>
                    </a:cubicBezTo>
                    <a:cubicBezTo>
                      <a:pt x="3" y="62"/>
                      <a:pt x="3" y="62"/>
                      <a:pt x="3" y="62"/>
                    </a:cubicBezTo>
                    <a:cubicBezTo>
                      <a:pt x="1" y="61"/>
                      <a:pt x="0" y="58"/>
                      <a:pt x="1" y="56"/>
                    </a:cubicBezTo>
                    <a:cubicBezTo>
                      <a:pt x="29" y="3"/>
                      <a:pt x="29" y="3"/>
                      <a:pt x="29" y="3"/>
                    </a:cubicBezTo>
                    <a:cubicBezTo>
                      <a:pt x="30" y="2"/>
                      <a:pt x="31" y="1"/>
                      <a:pt x="32" y="1"/>
                    </a:cubicBezTo>
                    <a:cubicBezTo>
                      <a:pt x="33" y="0"/>
                      <a:pt x="34" y="1"/>
                      <a:pt x="36" y="1"/>
                    </a:cubicBezTo>
                    <a:cubicBezTo>
                      <a:pt x="142" y="64"/>
                      <a:pt x="142" y="64"/>
                      <a:pt x="142" y="64"/>
                    </a:cubicBezTo>
                    <a:cubicBezTo>
                      <a:pt x="144" y="66"/>
                      <a:pt x="145" y="69"/>
                      <a:pt x="144" y="71"/>
                    </a:cubicBezTo>
                    <a:cubicBezTo>
                      <a:pt x="116" y="122"/>
                      <a:pt x="116" y="122"/>
                      <a:pt x="116" y="122"/>
                    </a:cubicBezTo>
                    <a:cubicBezTo>
                      <a:pt x="115" y="123"/>
                      <a:pt x="114" y="124"/>
                      <a:pt x="113" y="125"/>
                    </a:cubicBezTo>
                    <a:cubicBezTo>
                      <a:pt x="112" y="125"/>
                      <a:pt x="112" y="125"/>
                      <a:pt x="112" y="125"/>
                    </a:cubicBezTo>
                    <a:moveTo>
                      <a:pt x="9" y="57"/>
                    </a:moveTo>
                    <a:cubicBezTo>
                      <a:pt x="110" y="116"/>
                      <a:pt x="110" y="116"/>
                      <a:pt x="110" y="116"/>
                    </a:cubicBezTo>
                    <a:cubicBezTo>
                      <a:pt x="136" y="69"/>
                      <a:pt x="136" y="69"/>
                      <a:pt x="136" y="69"/>
                    </a:cubicBezTo>
                    <a:cubicBezTo>
                      <a:pt x="35" y="9"/>
                      <a:pt x="35" y="9"/>
                      <a:pt x="35" y="9"/>
                    </a:cubicBezTo>
                    <a:lnTo>
                      <a:pt x="9" y="57"/>
                    </a:lnTo>
                    <a:close/>
                  </a:path>
                </a:pathLst>
              </a:custGeom>
              <a:solidFill>
                <a:schemeClr val="bg1"/>
              </a:solid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solidFill>
                    <a:srgbClr val="000000"/>
                  </a:solidFill>
                  <a:latin typeface="Segoe UI Light" panose="020B0502040204020203" pitchFamily="34" charset="0"/>
                  <a:cs typeface="Segoe UI Light" panose="020B0502040204020203" pitchFamily="34" charset="0"/>
                </a:endParaRPr>
              </a:p>
            </p:txBody>
          </p:sp>
        </p:grpSp>
        <p:cxnSp>
          <p:nvCxnSpPr>
            <p:cNvPr id="47" name="Straight Connector 46">
              <a:extLst>
                <a:ext uri="{FF2B5EF4-FFF2-40B4-BE49-F238E27FC236}">
                  <a16:creationId xmlns:a16="http://schemas.microsoft.com/office/drawing/2014/main" id="{1A5C1393-8FDD-A245-B8E4-E42B2CC87BEB}"/>
                </a:ext>
              </a:extLst>
            </p:cNvPr>
            <p:cNvCxnSpPr>
              <a:cxnSpLocks/>
              <a:stCxn id="26" idx="3"/>
              <a:endCxn id="36" idx="0"/>
            </p:cNvCxnSpPr>
            <p:nvPr/>
          </p:nvCxnSpPr>
          <p:spPr>
            <a:xfrm flipH="1">
              <a:off x="4960457" y="3485790"/>
              <a:ext cx="0" cy="182880"/>
            </a:xfrm>
            <a:prstGeom prst="line">
              <a:avLst/>
            </a:prstGeom>
            <a:ln w="12700">
              <a:solidFill>
                <a:srgbClr val="17375E"/>
              </a:solidFill>
              <a:headEnd type="oval" w="sm" len="sm"/>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520B694-D8AB-5A41-A971-EBBAA9AC3A4C}"/>
                </a:ext>
              </a:extLst>
            </p:cNvPr>
            <p:cNvSpPr txBox="1"/>
            <p:nvPr/>
          </p:nvSpPr>
          <p:spPr>
            <a:xfrm>
              <a:off x="5249590" y="2223155"/>
              <a:ext cx="471042" cy="242375"/>
            </a:xfrm>
            <a:prstGeom prst="rect">
              <a:avLst/>
            </a:prstGeom>
            <a:noFill/>
          </p:spPr>
          <p:txBody>
            <a:bodyPr wrap="none" rtlCol="0">
              <a:spAutoFit/>
            </a:bodyPr>
            <a:lstStyle>
              <a:defPPr>
                <a:defRPr lang="en-US"/>
              </a:defPPr>
              <a:lvl1pPr>
                <a:defRPr sz="900">
                  <a:latin typeface="Century Gothic" panose="020B0502020202020204" pitchFamily="34" charset="0"/>
                </a:defRPr>
              </a:lvl1pPr>
            </a:lstStyle>
            <a:p>
              <a:r>
                <a:rPr lang="en-US" sz="800" dirty="0"/>
                <a:t>Build</a:t>
              </a:r>
            </a:p>
          </p:txBody>
        </p:sp>
        <p:sp>
          <p:nvSpPr>
            <p:cNvPr id="59" name="TextBox 58">
              <a:extLst>
                <a:ext uri="{FF2B5EF4-FFF2-40B4-BE49-F238E27FC236}">
                  <a16:creationId xmlns:a16="http://schemas.microsoft.com/office/drawing/2014/main" id="{3FEF8426-836D-2C4C-9863-85B967678248}"/>
                </a:ext>
              </a:extLst>
            </p:cNvPr>
            <p:cNvSpPr txBox="1"/>
            <p:nvPr/>
          </p:nvSpPr>
          <p:spPr>
            <a:xfrm>
              <a:off x="5196995" y="3080759"/>
              <a:ext cx="416941" cy="242375"/>
            </a:xfrm>
            <a:prstGeom prst="rect">
              <a:avLst/>
            </a:prstGeom>
            <a:noFill/>
          </p:spPr>
          <p:txBody>
            <a:bodyPr wrap="none" rtlCol="0">
              <a:spAutoFit/>
            </a:bodyPr>
            <a:lstStyle>
              <a:defPPr>
                <a:defRPr lang="en-US"/>
              </a:defPPr>
              <a:lvl1pPr>
                <a:defRPr sz="900">
                  <a:latin typeface="Century Gothic" panose="020B0502020202020204" pitchFamily="34" charset="0"/>
                </a:defRPr>
              </a:lvl1pPr>
            </a:lstStyle>
            <a:p>
              <a:r>
                <a:rPr lang="en-US" sz="800" dirty="0"/>
                <a:t>Test</a:t>
              </a:r>
            </a:p>
          </p:txBody>
        </p:sp>
        <p:sp>
          <p:nvSpPr>
            <p:cNvPr id="60" name="TextBox 59">
              <a:extLst>
                <a:ext uri="{FF2B5EF4-FFF2-40B4-BE49-F238E27FC236}">
                  <a16:creationId xmlns:a16="http://schemas.microsoft.com/office/drawing/2014/main" id="{C6170DF0-2199-E945-AC2F-EBB853C55778}"/>
                </a:ext>
              </a:extLst>
            </p:cNvPr>
            <p:cNvSpPr txBox="1"/>
            <p:nvPr/>
          </p:nvSpPr>
          <p:spPr>
            <a:xfrm>
              <a:off x="5182998" y="3784324"/>
              <a:ext cx="819095" cy="242375"/>
            </a:xfrm>
            <a:prstGeom prst="rect">
              <a:avLst/>
            </a:prstGeom>
            <a:noFill/>
          </p:spPr>
          <p:txBody>
            <a:bodyPr wrap="none" rtlCol="0">
              <a:spAutoFit/>
            </a:bodyPr>
            <a:lstStyle/>
            <a:p>
              <a:r>
                <a:rPr lang="en-US" sz="800" dirty="0">
                  <a:latin typeface="Century Gothic" panose="020B0502020202020204" pitchFamily="34" charset="0"/>
                </a:rPr>
                <a:t>Integration</a:t>
              </a:r>
            </a:p>
          </p:txBody>
        </p:sp>
      </p:grpSp>
      <p:sp>
        <p:nvSpPr>
          <p:cNvPr id="61" name="TextBox 47">
            <a:extLst>
              <a:ext uri="{FF2B5EF4-FFF2-40B4-BE49-F238E27FC236}">
                <a16:creationId xmlns:a16="http://schemas.microsoft.com/office/drawing/2014/main" id="{D2B673EF-9E29-504D-A41A-EB0748C25815}"/>
              </a:ext>
            </a:extLst>
          </p:cNvPr>
          <p:cNvSpPr txBox="1"/>
          <p:nvPr/>
        </p:nvSpPr>
        <p:spPr>
          <a:xfrm>
            <a:off x="6088059" y="1411696"/>
            <a:ext cx="1007312" cy="191591"/>
          </a:xfrm>
          <a:prstGeom prst="rect">
            <a:avLst/>
          </a:prstGeom>
          <a:noFill/>
        </p:spPr>
        <p:txBody>
          <a:bodyPr wrap="square" lIns="0" tIns="0" rIns="0" bIns="0"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r>
              <a:rPr lang="en-US" sz="1245" kern="0" dirty="0">
                <a:solidFill>
                  <a:prstClr val="black"/>
                </a:solidFill>
                <a:latin typeface="Century Gothic" panose="020B0502020202020204" pitchFamily="34" charset="0"/>
                <a:cs typeface="Calibri" panose="020F0502020204030204" pitchFamily="34" charset="0"/>
              </a:rPr>
              <a:t>Build</a:t>
            </a:r>
          </a:p>
        </p:txBody>
      </p:sp>
      <p:sp>
        <p:nvSpPr>
          <p:cNvPr id="62" name="TextBox 47">
            <a:extLst>
              <a:ext uri="{FF2B5EF4-FFF2-40B4-BE49-F238E27FC236}">
                <a16:creationId xmlns:a16="http://schemas.microsoft.com/office/drawing/2014/main" id="{61BA661B-0EB1-814A-80A6-E5B6D5876730}"/>
              </a:ext>
            </a:extLst>
          </p:cNvPr>
          <p:cNvSpPr txBox="1"/>
          <p:nvPr/>
        </p:nvSpPr>
        <p:spPr>
          <a:xfrm>
            <a:off x="7942232" y="1411696"/>
            <a:ext cx="1007312" cy="191591"/>
          </a:xfrm>
          <a:prstGeom prst="rect">
            <a:avLst/>
          </a:prstGeom>
          <a:noFill/>
        </p:spPr>
        <p:txBody>
          <a:bodyPr wrap="square" lIns="0" tIns="0" rIns="0" bIns="0"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r>
              <a:rPr lang="en-US" sz="1245" kern="0" dirty="0">
                <a:solidFill>
                  <a:prstClr val="black"/>
                </a:solidFill>
                <a:latin typeface="Century Gothic" panose="020B0502020202020204" pitchFamily="34" charset="0"/>
                <a:cs typeface="Calibri" panose="020F0502020204030204" pitchFamily="34" charset="0"/>
              </a:rPr>
              <a:t>Release</a:t>
            </a:r>
          </a:p>
        </p:txBody>
      </p:sp>
      <p:cxnSp>
        <p:nvCxnSpPr>
          <p:cNvPr id="89" name="Straight Connector 88">
            <a:extLst>
              <a:ext uri="{FF2B5EF4-FFF2-40B4-BE49-F238E27FC236}">
                <a16:creationId xmlns:a16="http://schemas.microsoft.com/office/drawing/2014/main" id="{57710D5D-5D1D-EE47-A1A0-FCFF6650A434}"/>
              </a:ext>
            </a:extLst>
          </p:cNvPr>
          <p:cNvCxnSpPr/>
          <p:nvPr/>
        </p:nvCxnSpPr>
        <p:spPr>
          <a:xfrm>
            <a:off x="5502055" y="1750618"/>
            <a:ext cx="0" cy="211328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25FBC274-6C57-9947-9086-5CA38785687C}"/>
              </a:ext>
            </a:extLst>
          </p:cNvPr>
          <p:cNvCxnSpPr/>
          <p:nvPr/>
        </p:nvCxnSpPr>
        <p:spPr>
          <a:xfrm>
            <a:off x="7365826" y="1762757"/>
            <a:ext cx="0" cy="2113280"/>
          </a:xfrm>
          <a:prstGeom prst="line">
            <a:avLst/>
          </a:prstGeom>
          <a:solidFill>
            <a:schemeClr val="accent1"/>
          </a:solidFill>
          <a:ln w="9525" cap="flat" cmpd="sng" algn="ctr">
            <a:solidFill>
              <a:schemeClr val="bg1">
                <a:lumMod val="50000"/>
              </a:schemeClr>
            </a:solidFill>
            <a:prstDash val="sysDash"/>
            <a:round/>
            <a:headEnd type="none" w="med" len="med"/>
            <a:tailEnd type="none" w="med" len="med"/>
          </a:ln>
          <a:effectLst/>
        </p:spPr>
      </p:cxnSp>
      <p:sp>
        <p:nvSpPr>
          <p:cNvPr id="91" name="TextBox 90">
            <a:extLst>
              <a:ext uri="{FF2B5EF4-FFF2-40B4-BE49-F238E27FC236}">
                <a16:creationId xmlns:a16="http://schemas.microsoft.com/office/drawing/2014/main" id="{1C5696F0-BAC8-2342-9306-248261E96022}"/>
              </a:ext>
            </a:extLst>
          </p:cNvPr>
          <p:cNvSpPr txBox="1"/>
          <p:nvPr/>
        </p:nvSpPr>
        <p:spPr bwMode="auto">
          <a:xfrm>
            <a:off x="3812037" y="3863887"/>
            <a:ext cx="1784134" cy="1240853"/>
          </a:xfrm>
          <a:prstGeom prst="rect">
            <a:avLst/>
          </a:prstGeom>
          <a:noFill/>
          <a:ln w="9525">
            <a:noFill/>
            <a:miter lim="800000"/>
            <a:headEnd/>
            <a:tailEnd/>
          </a:ln>
        </p:spPr>
        <p:txBody>
          <a:bodyPr wrap="square" rtlCol="0">
            <a:prstTxWarp prst="textNoShape">
              <a:avLst/>
            </a:prstTxWarp>
            <a:spAutoFit/>
          </a:bodyPr>
          <a:lstStyle/>
          <a:p>
            <a:pPr marL="253996" indent="-253996" defTabSz="1083527" fontAlgn="base">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Continuous Planning &amp; Prioritization</a:t>
            </a:r>
          </a:p>
          <a:p>
            <a:pPr marL="253996" indent="-253996" defTabSz="1083527" fontAlgn="base">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Value driven release planning with focus on Architectural backlog as well </a:t>
            </a:r>
          </a:p>
          <a:p>
            <a:pPr marL="253996" indent="-253996" defTabSz="1083527" fontAlgn="base">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Faster feedback loops and pivot as necessary</a:t>
            </a:r>
          </a:p>
        </p:txBody>
      </p:sp>
      <p:sp>
        <p:nvSpPr>
          <p:cNvPr id="111" name="Freeform 110">
            <a:extLst>
              <a:ext uri="{FF2B5EF4-FFF2-40B4-BE49-F238E27FC236}">
                <a16:creationId xmlns:a16="http://schemas.microsoft.com/office/drawing/2014/main" id="{43141059-FC51-244A-9A1C-5F87AFE8C9B4}"/>
              </a:ext>
            </a:extLst>
          </p:cNvPr>
          <p:cNvSpPr>
            <a:spLocks/>
          </p:cNvSpPr>
          <p:nvPr/>
        </p:nvSpPr>
        <p:spPr bwMode="auto">
          <a:xfrm>
            <a:off x="824081" y="2450430"/>
            <a:ext cx="475539" cy="548822"/>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chemeClr val="accent1"/>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grpSp>
        <p:nvGrpSpPr>
          <p:cNvPr id="112" name="Group 107">
            <a:extLst>
              <a:ext uri="{FF2B5EF4-FFF2-40B4-BE49-F238E27FC236}">
                <a16:creationId xmlns:a16="http://schemas.microsoft.com/office/drawing/2014/main" id="{32C3A4B4-F594-1B42-83A9-EEDCBDCCAD42}"/>
              </a:ext>
            </a:extLst>
          </p:cNvPr>
          <p:cNvGrpSpPr>
            <a:grpSpLocks noChangeAspect="1"/>
          </p:cNvGrpSpPr>
          <p:nvPr/>
        </p:nvGrpSpPr>
        <p:grpSpPr bwMode="auto">
          <a:xfrm>
            <a:off x="931047" y="2602458"/>
            <a:ext cx="230559" cy="243840"/>
            <a:chOff x="3622" y="1928"/>
            <a:chExt cx="434" cy="459"/>
          </a:xfrm>
          <a:solidFill>
            <a:schemeClr val="bg1"/>
          </a:solidFill>
        </p:grpSpPr>
        <p:sp>
          <p:nvSpPr>
            <p:cNvPr id="113" name="Freeform 108">
              <a:extLst>
                <a:ext uri="{FF2B5EF4-FFF2-40B4-BE49-F238E27FC236}">
                  <a16:creationId xmlns:a16="http://schemas.microsoft.com/office/drawing/2014/main" id="{E28747C4-4D3D-4048-89A4-98B4592817B9}"/>
                </a:ext>
              </a:extLst>
            </p:cNvPr>
            <p:cNvSpPr>
              <a:spLocks/>
            </p:cNvSpPr>
            <p:nvPr/>
          </p:nvSpPr>
          <p:spPr bwMode="auto">
            <a:xfrm>
              <a:off x="3794" y="2318"/>
              <a:ext cx="262" cy="19"/>
            </a:xfrm>
            <a:custGeom>
              <a:avLst/>
              <a:gdLst>
                <a:gd name="T0" fmla="*/ 107 w 111"/>
                <a:gd name="T1" fmla="*/ 0 h 8"/>
                <a:gd name="T2" fmla="*/ 4 w 111"/>
                <a:gd name="T3" fmla="*/ 0 h 8"/>
                <a:gd name="T4" fmla="*/ 0 w 111"/>
                <a:gd name="T5" fmla="*/ 4 h 8"/>
                <a:gd name="T6" fmla="*/ 4 w 111"/>
                <a:gd name="T7" fmla="*/ 8 h 8"/>
                <a:gd name="T8" fmla="*/ 107 w 111"/>
                <a:gd name="T9" fmla="*/ 8 h 8"/>
                <a:gd name="T10" fmla="*/ 111 w 111"/>
                <a:gd name="T11" fmla="*/ 4 h 8"/>
                <a:gd name="T12" fmla="*/ 107 w 1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1" h="8">
                  <a:moveTo>
                    <a:pt x="107" y="0"/>
                  </a:moveTo>
                  <a:cubicBezTo>
                    <a:pt x="4" y="0"/>
                    <a:pt x="4" y="0"/>
                    <a:pt x="4" y="0"/>
                  </a:cubicBezTo>
                  <a:cubicBezTo>
                    <a:pt x="2" y="0"/>
                    <a:pt x="0" y="1"/>
                    <a:pt x="0" y="4"/>
                  </a:cubicBezTo>
                  <a:cubicBezTo>
                    <a:pt x="0" y="6"/>
                    <a:pt x="2" y="8"/>
                    <a:pt x="4" y="8"/>
                  </a:cubicBezTo>
                  <a:cubicBezTo>
                    <a:pt x="107" y="8"/>
                    <a:pt x="107" y="8"/>
                    <a:pt x="107" y="8"/>
                  </a:cubicBezTo>
                  <a:cubicBezTo>
                    <a:pt x="109" y="8"/>
                    <a:pt x="111" y="6"/>
                    <a:pt x="111" y="4"/>
                  </a:cubicBezTo>
                  <a:cubicBezTo>
                    <a:pt x="111" y="1"/>
                    <a:pt x="109" y="0"/>
                    <a:pt x="1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sp>
          <p:nvSpPr>
            <p:cNvPr id="114" name="Freeform 109">
              <a:extLst>
                <a:ext uri="{FF2B5EF4-FFF2-40B4-BE49-F238E27FC236}">
                  <a16:creationId xmlns:a16="http://schemas.microsoft.com/office/drawing/2014/main" id="{2BADC040-0684-F045-A5C5-FE4FCA3861C1}"/>
                </a:ext>
              </a:extLst>
            </p:cNvPr>
            <p:cNvSpPr>
              <a:spLocks/>
            </p:cNvSpPr>
            <p:nvPr/>
          </p:nvSpPr>
          <p:spPr bwMode="auto">
            <a:xfrm>
              <a:off x="3794" y="2155"/>
              <a:ext cx="262" cy="19"/>
            </a:xfrm>
            <a:custGeom>
              <a:avLst/>
              <a:gdLst>
                <a:gd name="T0" fmla="*/ 107 w 111"/>
                <a:gd name="T1" fmla="*/ 0 h 8"/>
                <a:gd name="T2" fmla="*/ 4 w 111"/>
                <a:gd name="T3" fmla="*/ 0 h 8"/>
                <a:gd name="T4" fmla="*/ 0 w 111"/>
                <a:gd name="T5" fmla="*/ 4 h 8"/>
                <a:gd name="T6" fmla="*/ 4 w 111"/>
                <a:gd name="T7" fmla="*/ 8 h 8"/>
                <a:gd name="T8" fmla="*/ 107 w 111"/>
                <a:gd name="T9" fmla="*/ 8 h 8"/>
                <a:gd name="T10" fmla="*/ 111 w 111"/>
                <a:gd name="T11" fmla="*/ 4 h 8"/>
                <a:gd name="T12" fmla="*/ 107 w 1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1" h="8">
                  <a:moveTo>
                    <a:pt x="107" y="0"/>
                  </a:moveTo>
                  <a:cubicBezTo>
                    <a:pt x="4" y="0"/>
                    <a:pt x="4" y="0"/>
                    <a:pt x="4" y="0"/>
                  </a:cubicBezTo>
                  <a:cubicBezTo>
                    <a:pt x="2" y="0"/>
                    <a:pt x="0" y="2"/>
                    <a:pt x="0" y="4"/>
                  </a:cubicBezTo>
                  <a:cubicBezTo>
                    <a:pt x="0" y="6"/>
                    <a:pt x="2" y="8"/>
                    <a:pt x="4" y="8"/>
                  </a:cubicBezTo>
                  <a:cubicBezTo>
                    <a:pt x="107" y="8"/>
                    <a:pt x="107" y="8"/>
                    <a:pt x="107" y="8"/>
                  </a:cubicBezTo>
                  <a:cubicBezTo>
                    <a:pt x="109" y="8"/>
                    <a:pt x="111" y="6"/>
                    <a:pt x="111" y="4"/>
                  </a:cubicBezTo>
                  <a:cubicBezTo>
                    <a:pt x="111" y="2"/>
                    <a:pt x="109" y="0"/>
                    <a:pt x="1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sp>
          <p:nvSpPr>
            <p:cNvPr id="115" name="Freeform 110">
              <a:extLst>
                <a:ext uri="{FF2B5EF4-FFF2-40B4-BE49-F238E27FC236}">
                  <a16:creationId xmlns:a16="http://schemas.microsoft.com/office/drawing/2014/main" id="{B8221E3B-97CC-754E-A608-6B2121FCE68A}"/>
                </a:ext>
              </a:extLst>
            </p:cNvPr>
            <p:cNvSpPr>
              <a:spLocks/>
            </p:cNvSpPr>
            <p:nvPr/>
          </p:nvSpPr>
          <p:spPr bwMode="auto">
            <a:xfrm>
              <a:off x="3794" y="1992"/>
              <a:ext cx="262" cy="19"/>
            </a:xfrm>
            <a:custGeom>
              <a:avLst/>
              <a:gdLst>
                <a:gd name="T0" fmla="*/ 4 w 111"/>
                <a:gd name="T1" fmla="*/ 8 h 8"/>
                <a:gd name="T2" fmla="*/ 107 w 111"/>
                <a:gd name="T3" fmla="*/ 8 h 8"/>
                <a:gd name="T4" fmla="*/ 111 w 111"/>
                <a:gd name="T5" fmla="*/ 4 h 8"/>
                <a:gd name="T6" fmla="*/ 107 w 111"/>
                <a:gd name="T7" fmla="*/ 0 h 8"/>
                <a:gd name="T8" fmla="*/ 4 w 111"/>
                <a:gd name="T9" fmla="*/ 0 h 8"/>
                <a:gd name="T10" fmla="*/ 0 w 111"/>
                <a:gd name="T11" fmla="*/ 4 h 8"/>
                <a:gd name="T12" fmla="*/ 4 w 11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1" h="8">
                  <a:moveTo>
                    <a:pt x="4" y="8"/>
                  </a:moveTo>
                  <a:cubicBezTo>
                    <a:pt x="107" y="8"/>
                    <a:pt x="107" y="8"/>
                    <a:pt x="107" y="8"/>
                  </a:cubicBezTo>
                  <a:cubicBezTo>
                    <a:pt x="109" y="8"/>
                    <a:pt x="111" y="6"/>
                    <a:pt x="111" y="4"/>
                  </a:cubicBezTo>
                  <a:cubicBezTo>
                    <a:pt x="111" y="2"/>
                    <a:pt x="109" y="0"/>
                    <a:pt x="107"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sp>
          <p:nvSpPr>
            <p:cNvPr id="116" name="Freeform 111">
              <a:extLst>
                <a:ext uri="{FF2B5EF4-FFF2-40B4-BE49-F238E27FC236}">
                  <a16:creationId xmlns:a16="http://schemas.microsoft.com/office/drawing/2014/main" id="{010A2A02-0BDE-6F47-B8BE-1E32500449A6}"/>
                </a:ext>
              </a:extLst>
            </p:cNvPr>
            <p:cNvSpPr>
              <a:spLocks noEditPoints="1"/>
            </p:cNvSpPr>
            <p:nvPr/>
          </p:nvSpPr>
          <p:spPr bwMode="auto">
            <a:xfrm>
              <a:off x="3624" y="2106"/>
              <a:ext cx="118" cy="118"/>
            </a:xfrm>
            <a:custGeom>
              <a:avLst/>
              <a:gdLst>
                <a:gd name="T0" fmla="*/ 46 w 50"/>
                <a:gd name="T1" fmla="*/ 0 h 50"/>
                <a:gd name="T2" fmla="*/ 4 w 50"/>
                <a:gd name="T3" fmla="*/ 0 h 50"/>
                <a:gd name="T4" fmla="*/ 0 w 50"/>
                <a:gd name="T5" fmla="*/ 4 h 50"/>
                <a:gd name="T6" fmla="*/ 0 w 50"/>
                <a:gd name="T7" fmla="*/ 46 h 50"/>
                <a:gd name="T8" fmla="*/ 4 w 50"/>
                <a:gd name="T9" fmla="*/ 50 h 50"/>
                <a:gd name="T10" fmla="*/ 46 w 50"/>
                <a:gd name="T11" fmla="*/ 50 h 50"/>
                <a:gd name="T12" fmla="*/ 50 w 50"/>
                <a:gd name="T13" fmla="*/ 46 h 50"/>
                <a:gd name="T14" fmla="*/ 50 w 50"/>
                <a:gd name="T15" fmla="*/ 4 h 50"/>
                <a:gd name="T16" fmla="*/ 46 w 50"/>
                <a:gd name="T17" fmla="*/ 0 h 50"/>
                <a:gd name="T18" fmla="*/ 42 w 50"/>
                <a:gd name="T19" fmla="*/ 42 h 50"/>
                <a:gd name="T20" fmla="*/ 8 w 50"/>
                <a:gd name="T21" fmla="*/ 42 h 50"/>
                <a:gd name="T22" fmla="*/ 8 w 50"/>
                <a:gd name="T23" fmla="*/ 8 h 50"/>
                <a:gd name="T24" fmla="*/ 42 w 50"/>
                <a:gd name="T25" fmla="*/ 8 h 50"/>
                <a:gd name="T26" fmla="*/ 42 w 50"/>
                <a:gd name="T27"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6" y="0"/>
                  </a:moveTo>
                  <a:cubicBezTo>
                    <a:pt x="4" y="0"/>
                    <a:pt x="4" y="0"/>
                    <a:pt x="4" y="0"/>
                  </a:cubicBezTo>
                  <a:cubicBezTo>
                    <a:pt x="2" y="0"/>
                    <a:pt x="0" y="1"/>
                    <a:pt x="0" y="4"/>
                  </a:cubicBezTo>
                  <a:cubicBezTo>
                    <a:pt x="0" y="46"/>
                    <a:pt x="0" y="46"/>
                    <a:pt x="0" y="46"/>
                  </a:cubicBezTo>
                  <a:cubicBezTo>
                    <a:pt x="0" y="48"/>
                    <a:pt x="2" y="50"/>
                    <a:pt x="4" y="50"/>
                  </a:cubicBezTo>
                  <a:cubicBezTo>
                    <a:pt x="46" y="50"/>
                    <a:pt x="46" y="50"/>
                    <a:pt x="46" y="50"/>
                  </a:cubicBezTo>
                  <a:cubicBezTo>
                    <a:pt x="48" y="50"/>
                    <a:pt x="50" y="48"/>
                    <a:pt x="50" y="46"/>
                  </a:cubicBezTo>
                  <a:cubicBezTo>
                    <a:pt x="50" y="4"/>
                    <a:pt x="50" y="4"/>
                    <a:pt x="50" y="4"/>
                  </a:cubicBezTo>
                  <a:cubicBezTo>
                    <a:pt x="50" y="1"/>
                    <a:pt x="48" y="0"/>
                    <a:pt x="46" y="0"/>
                  </a:cubicBezTo>
                  <a:close/>
                  <a:moveTo>
                    <a:pt x="42" y="42"/>
                  </a:moveTo>
                  <a:cubicBezTo>
                    <a:pt x="8" y="42"/>
                    <a:pt x="8" y="42"/>
                    <a:pt x="8" y="42"/>
                  </a:cubicBezTo>
                  <a:cubicBezTo>
                    <a:pt x="8" y="8"/>
                    <a:pt x="8" y="8"/>
                    <a:pt x="8" y="8"/>
                  </a:cubicBezTo>
                  <a:cubicBezTo>
                    <a:pt x="42" y="8"/>
                    <a:pt x="42" y="8"/>
                    <a:pt x="42" y="8"/>
                  </a:cubicBezTo>
                  <a:lnTo>
                    <a:pt x="4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sp>
          <p:nvSpPr>
            <p:cNvPr id="117" name="Freeform 112">
              <a:extLst>
                <a:ext uri="{FF2B5EF4-FFF2-40B4-BE49-F238E27FC236}">
                  <a16:creationId xmlns:a16="http://schemas.microsoft.com/office/drawing/2014/main" id="{B4A67E2D-30E3-984E-91E6-6275EEF8F298}"/>
                </a:ext>
              </a:extLst>
            </p:cNvPr>
            <p:cNvSpPr>
              <a:spLocks noEditPoints="1"/>
            </p:cNvSpPr>
            <p:nvPr/>
          </p:nvSpPr>
          <p:spPr bwMode="auto">
            <a:xfrm>
              <a:off x="3624" y="2266"/>
              <a:ext cx="118" cy="121"/>
            </a:xfrm>
            <a:custGeom>
              <a:avLst/>
              <a:gdLst>
                <a:gd name="T0" fmla="*/ 46 w 50"/>
                <a:gd name="T1" fmla="*/ 0 h 51"/>
                <a:gd name="T2" fmla="*/ 4 w 50"/>
                <a:gd name="T3" fmla="*/ 0 h 51"/>
                <a:gd name="T4" fmla="*/ 0 w 50"/>
                <a:gd name="T5" fmla="*/ 4 h 51"/>
                <a:gd name="T6" fmla="*/ 0 w 50"/>
                <a:gd name="T7" fmla="*/ 47 h 51"/>
                <a:gd name="T8" fmla="*/ 4 w 50"/>
                <a:gd name="T9" fmla="*/ 51 h 51"/>
                <a:gd name="T10" fmla="*/ 46 w 50"/>
                <a:gd name="T11" fmla="*/ 51 h 51"/>
                <a:gd name="T12" fmla="*/ 50 w 50"/>
                <a:gd name="T13" fmla="*/ 47 h 51"/>
                <a:gd name="T14" fmla="*/ 50 w 50"/>
                <a:gd name="T15" fmla="*/ 4 h 51"/>
                <a:gd name="T16" fmla="*/ 46 w 50"/>
                <a:gd name="T17" fmla="*/ 0 h 51"/>
                <a:gd name="T18" fmla="*/ 42 w 50"/>
                <a:gd name="T19" fmla="*/ 43 h 51"/>
                <a:gd name="T20" fmla="*/ 8 w 50"/>
                <a:gd name="T21" fmla="*/ 43 h 51"/>
                <a:gd name="T22" fmla="*/ 8 w 50"/>
                <a:gd name="T23" fmla="*/ 8 h 51"/>
                <a:gd name="T24" fmla="*/ 42 w 50"/>
                <a:gd name="T25" fmla="*/ 8 h 51"/>
                <a:gd name="T26" fmla="*/ 42 w 50"/>
                <a:gd name="T27"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1">
                  <a:moveTo>
                    <a:pt x="46" y="0"/>
                  </a:moveTo>
                  <a:cubicBezTo>
                    <a:pt x="4" y="0"/>
                    <a:pt x="4" y="0"/>
                    <a:pt x="4" y="0"/>
                  </a:cubicBezTo>
                  <a:cubicBezTo>
                    <a:pt x="2" y="0"/>
                    <a:pt x="0" y="2"/>
                    <a:pt x="0" y="4"/>
                  </a:cubicBezTo>
                  <a:cubicBezTo>
                    <a:pt x="0" y="47"/>
                    <a:pt x="0" y="47"/>
                    <a:pt x="0" y="47"/>
                  </a:cubicBezTo>
                  <a:cubicBezTo>
                    <a:pt x="0" y="49"/>
                    <a:pt x="2" y="51"/>
                    <a:pt x="4" y="51"/>
                  </a:cubicBezTo>
                  <a:cubicBezTo>
                    <a:pt x="46" y="51"/>
                    <a:pt x="46" y="51"/>
                    <a:pt x="46" y="51"/>
                  </a:cubicBezTo>
                  <a:cubicBezTo>
                    <a:pt x="48" y="51"/>
                    <a:pt x="50" y="49"/>
                    <a:pt x="50" y="47"/>
                  </a:cubicBezTo>
                  <a:cubicBezTo>
                    <a:pt x="50" y="4"/>
                    <a:pt x="50" y="4"/>
                    <a:pt x="50" y="4"/>
                  </a:cubicBezTo>
                  <a:cubicBezTo>
                    <a:pt x="50" y="2"/>
                    <a:pt x="48" y="0"/>
                    <a:pt x="46" y="0"/>
                  </a:cubicBezTo>
                  <a:close/>
                  <a:moveTo>
                    <a:pt x="42" y="43"/>
                  </a:moveTo>
                  <a:cubicBezTo>
                    <a:pt x="8" y="43"/>
                    <a:pt x="8" y="43"/>
                    <a:pt x="8" y="43"/>
                  </a:cubicBezTo>
                  <a:cubicBezTo>
                    <a:pt x="8" y="8"/>
                    <a:pt x="8" y="8"/>
                    <a:pt x="8" y="8"/>
                  </a:cubicBezTo>
                  <a:cubicBezTo>
                    <a:pt x="42" y="8"/>
                    <a:pt x="42" y="8"/>
                    <a:pt x="42" y="8"/>
                  </a:cubicBezTo>
                  <a:lnTo>
                    <a:pt x="4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sp>
          <p:nvSpPr>
            <p:cNvPr id="118" name="Freeform 113">
              <a:extLst>
                <a:ext uri="{FF2B5EF4-FFF2-40B4-BE49-F238E27FC236}">
                  <a16:creationId xmlns:a16="http://schemas.microsoft.com/office/drawing/2014/main" id="{5A31AA76-123F-2145-8C2D-22C926D53C28}"/>
                </a:ext>
              </a:extLst>
            </p:cNvPr>
            <p:cNvSpPr>
              <a:spLocks/>
            </p:cNvSpPr>
            <p:nvPr/>
          </p:nvSpPr>
          <p:spPr bwMode="auto">
            <a:xfrm>
              <a:off x="3622" y="1928"/>
              <a:ext cx="146" cy="130"/>
            </a:xfrm>
            <a:custGeom>
              <a:avLst/>
              <a:gdLst>
                <a:gd name="T0" fmla="*/ 55 w 62"/>
                <a:gd name="T1" fmla="*/ 2 h 55"/>
                <a:gd name="T2" fmla="*/ 20 w 62"/>
                <a:gd name="T3" fmla="*/ 45 h 55"/>
                <a:gd name="T4" fmla="*/ 8 w 62"/>
                <a:gd name="T5" fmla="*/ 32 h 55"/>
                <a:gd name="T6" fmla="*/ 2 w 62"/>
                <a:gd name="T7" fmla="*/ 32 h 55"/>
                <a:gd name="T8" fmla="*/ 2 w 62"/>
                <a:gd name="T9" fmla="*/ 37 h 55"/>
                <a:gd name="T10" fmla="*/ 17 w 62"/>
                <a:gd name="T11" fmla="*/ 54 h 55"/>
                <a:gd name="T12" fmla="*/ 20 w 62"/>
                <a:gd name="T13" fmla="*/ 55 h 55"/>
                <a:gd name="T14" fmla="*/ 20 w 62"/>
                <a:gd name="T15" fmla="*/ 55 h 55"/>
                <a:gd name="T16" fmla="*/ 23 w 62"/>
                <a:gd name="T17" fmla="*/ 54 h 55"/>
                <a:gd name="T18" fmla="*/ 61 w 62"/>
                <a:gd name="T19" fmla="*/ 7 h 55"/>
                <a:gd name="T20" fmla="*/ 60 w 62"/>
                <a:gd name="T21" fmla="*/ 1 h 55"/>
                <a:gd name="T22" fmla="*/ 55 w 62"/>
                <a:gd name="T23" fmla="*/ 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55">
                  <a:moveTo>
                    <a:pt x="55" y="2"/>
                  </a:moveTo>
                  <a:cubicBezTo>
                    <a:pt x="20" y="45"/>
                    <a:pt x="20" y="45"/>
                    <a:pt x="20" y="45"/>
                  </a:cubicBezTo>
                  <a:cubicBezTo>
                    <a:pt x="8" y="32"/>
                    <a:pt x="8" y="32"/>
                    <a:pt x="8" y="32"/>
                  </a:cubicBezTo>
                  <a:cubicBezTo>
                    <a:pt x="6" y="30"/>
                    <a:pt x="4" y="30"/>
                    <a:pt x="2" y="32"/>
                  </a:cubicBezTo>
                  <a:cubicBezTo>
                    <a:pt x="1" y="33"/>
                    <a:pt x="0" y="36"/>
                    <a:pt x="2" y="37"/>
                  </a:cubicBezTo>
                  <a:cubicBezTo>
                    <a:pt x="17" y="54"/>
                    <a:pt x="17" y="54"/>
                    <a:pt x="17" y="54"/>
                  </a:cubicBezTo>
                  <a:cubicBezTo>
                    <a:pt x="17" y="55"/>
                    <a:pt x="19" y="55"/>
                    <a:pt x="20" y="55"/>
                  </a:cubicBezTo>
                  <a:cubicBezTo>
                    <a:pt x="20" y="55"/>
                    <a:pt x="20" y="55"/>
                    <a:pt x="20" y="55"/>
                  </a:cubicBezTo>
                  <a:cubicBezTo>
                    <a:pt x="21" y="55"/>
                    <a:pt x="22" y="55"/>
                    <a:pt x="23" y="54"/>
                  </a:cubicBezTo>
                  <a:cubicBezTo>
                    <a:pt x="61" y="7"/>
                    <a:pt x="61" y="7"/>
                    <a:pt x="61" y="7"/>
                  </a:cubicBezTo>
                  <a:cubicBezTo>
                    <a:pt x="62" y="5"/>
                    <a:pt x="62" y="3"/>
                    <a:pt x="60" y="1"/>
                  </a:cubicBezTo>
                  <a:cubicBezTo>
                    <a:pt x="59" y="0"/>
                    <a:pt x="56" y="0"/>
                    <a:pt x="5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US" sz="1600"/>
            </a:p>
          </p:txBody>
        </p:sp>
      </p:grpSp>
      <p:grpSp>
        <p:nvGrpSpPr>
          <p:cNvPr id="126" name="Group 125">
            <a:extLst>
              <a:ext uri="{FF2B5EF4-FFF2-40B4-BE49-F238E27FC236}">
                <a16:creationId xmlns:a16="http://schemas.microsoft.com/office/drawing/2014/main" id="{A0B3F178-28E7-6B45-BF42-D8F71A666F84}"/>
              </a:ext>
            </a:extLst>
          </p:cNvPr>
          <p:cNvGrpSpPr/>
          <p:nvPr/>
        </p:nvGrpSpPr>
        <p:grpSpPr>
          <a:xfrm>
            <a:off x="1635406" y="2986301"/>
            <a:ext cx="752129" cy="793980"/>
            <a:chOff x="1954471" y="3372111"/>
            <a:chExt cx="846145" cy="893227"/>
          </a:xfrm>
        </p:grpSpPr>
        <p:grpSp>
          <p:nvGrpSpPr>
            <p:cNvPr id="120" name="Group 119">
              <a:extLst>
                <a:ext uri="{FF2B5EF4-FFF2-40B4-BE49-F238E27FC236}">
                  <a16:creationId xmlns:a16="http://schemas.microsoft.com/office/drawing/2014/main" id="{7A794BBB-2C14-8847-9E20-42161DC10E09}"/>
                </a:ext>
              </a:extLst>
            </p:cNvPr>
            <p:cNvGrpSpPr/>
            <p:nvPr/>
          </p:nvGrpSpPr>
          <p:grpSpPr>
            <a:xfrm>
              <a:off x="2153825" y="3372111"/>
              <a:ext cx="534981" cy="617425"/>
              <a:chOff x="2903863" y="4630293"/>
              <a:chExt cx="534981" cy="617425"/>
            </a:xfrm>
          </p:grpSpPr>
          <p:sp>
            <p:nvSpPr>
              <p:cNvPr id="121" name="Freeform 120">
                <a:extLst>
                  <a:ext uri="{FF2B5EF4-FFF2-40B4-BE49-F238E27FC236}">
                    <a16:creationId xmlns:a16="http://schemas.microsoft.com/office/drawing/2014/main" id="{E3D943CB-1897-0544-8CFD-F02ADED183E4}"/>
                  </a:ext>
                </a:extLst>
              </p:cNvPr>
              <p:cNvSpPr>
                <a:spLocks/>
              </p:cNvSpPr>
              <p:nvPr/>
            </p:nvSpPr>
            <p:spPr bwMode="auto">
              <a:xfrm>
                <a:off x="2903863" y="4630293"/>
                <a:ext cx="534981" cy="617425"/>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C6D9F1"/>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grpSp>
            <p:nvGrpSpPr>
              <p:cNvPr id="122" name="Group 4">
                <a:extLst>
                  <a:ext uri="{FF2B5EF4-FFF2-40B4-BE49-F238E27FC236}">
                    <a16:creationId xmlns:a16="http://schemas.microsoft.com/office/drawing/2014/main" id="{BADD065D-B416-234F-9B88-BEAA9BC3DBDF}"/>
                  </a:ext>
                </a:extLst>
              </p:cNvPr>
              <p:cNvGrpSpPr>
                <a:grpSpLocks noChangeAspect="1"/>
              </p:cNvGrpSpPr>
              <p:nvPr/>
            </p:nvGrpSpPr>
            <p:grpSpPr bwMode="auto">
              <a:xfrm>
                <a:off x="2969936" y="4714889"/>
                <a:ext cx="402834" cy="365760"/>
                <a:chOff x="3392" y="1750"/>
                <a:chExt cx="891" cy="809"/>
              </a:xfrm>
              <a:solidFill>
                <a:schemeClr val="tx1"/>
              </a:solidFill>
            </p:grpSpPr>
            <p:sp>
              <p:nvSpPr>
                <p:cNvPr id="123" name="Freeform 5">
                  <a:extLst>
                    <a:ext uri="{FF2B5EF4-FFF2-40B4-BE49-F238E27FC236}">
                      <a16:creationId xmlns:a16="http://schemas.microsoft.com/office/drawing/2014/main" id="{77DB2EE2-E170-E846-8F89-C33C4A212ACA}"/>
                    </a:ext>
                  </a:extLst>
                </p:cNvPr>
                <p:cNvSpPr>
                  <a:spLocks noEditPoints="1"/>
                </p:cNvSpPr>
                <p:nvPr/>
              </p:nvSpPr>
              <p:spPr bwMode="auto">
                <a:xfrm>
                  <a:off x="3392" y="1750"/>
                  <a:ext cx="891" cy="809"/>
                </a:xfrm>
                <a:custGeom>
                  <a:avLst/>
                  <a:gdLst>
                    <a:gd name="T0" fmla="*/ 288 w 374"/>
                    <a:gd name="T1" fmla="*/ 110 h 339"/>
                    <a:gd name="T2" fmla="*/ 234 w 374"/>
                    <a:gd name="T3" fmla="*/ 9 h 339"/>
                    <a:gd name="T4" fmla="*/ 139 w 374"/>
                    <a:gd name="T5" fmla="*/ 9 h 339"/>
                    <a:gd name="T6" fmla="*/ 85 w 374"/>
                    <a:gd name="T7" fmla="*/ 110 h 339"/>
                    <a:gd name="T8" fmla="*/ 85 w 374"/>
                    <a:gd name="T9" fmla="*/ 233 h 339"/>
                    <a:gd name="T10" fmla="*/ 100 w 374"/>
                    <a:gd name="T11" fmla="*/ 336 h 339"/>
                    <a:gd name="T12" fmla="*/ 187 w 374"/>
                    <a:gd name="T13" fmla="*/ 298 h 339"/>
                    <a:gd name="T14" fmla="*/ 289 w 374"/>
                    <a:gd name="T15" fmla="*/ 233 h 339"/>
                    <a:gd name="T16" fmla="*/ 197 w 374"/>
                    <a:gd name="T17" fmla="*/ 54 h 339"/>
                    <a:gd name="T18" fmla="*/ 274 w 374"/>
                    <a:gd name="T19" fmla="*/ 107 h 339"/>
                    <a:gd name="T20" fmla="*/ 230 w 374"/>
                    <a:gd name="T21" fmla="*/ 101 h 339"/>
                    <a:gd name="T22" fmla="*/ 114 w 374"/>
                    <a:gd name="T23" fmla="*/ 188 h 339"/>
                    <a:gd name="T24" fmla="*/ 136 w 374"/>
                    <a:gd name="T25" fmla="*/ 227 h 339"/>
                    <a:gd name="T26" fmla="*/ 102 w 374"/>
                    <a:gd name="T27" fmla="*/ 222 h 339"/>
                    <a:gd name="T28" fmla="*/ 103 w 374"/>
                    <a:gd name="T29" fmla="*/ 120 h 339"/>
                    <a:gd name="T30" fmla="*/ 121 w 374"/>
                    <a:gd name="T31" fmla="*/ 138 h 339"/>
                    <a:gd name="T32" fmla="*/ 103 w 374"/>
                    <a:gd name="T33" fmla="*/ 121 h 339"/>
                    <a:gd name="T34" fmla="*/ 121 w 374"/>
                    <a:gd name="T35" fmla="*/ 170 h 339"/>
                    <a:gd name="T36" fmla="*/ 151 w 374"/>
                    <a:gd name="T37" fmla="*/ 114 h 339"/>
                    <a:gd name="T38" fmla="*/ 240 w 374"/>
                    <a:gd name="T39" fmla="*/ 144 h 339"/>
                    <a:gd name="T40" fmla="*/ 239 w 374"/>
                    <a:gd name="T41" fmla="*/ 199 h 339"/>
                    <a:gd name="T42" fmla="*/ 187 w 374"/>
                    <a:gd name="T43" fmla="*/ 231 h 339"/>
                    <a:gd name="T44" fmla="*/ 134 w 374"/>
                    <a:gd name="T45" fmla="*/ 199 h 339"/>
                    <a:gd name="T46" fmla="*/ 260 w 374"/>
                    <a:gd name="T47" fmla="*/ 188 h 339"/>
                    <a:gd name="T48" fmla="*/ 272 w 374"/>
                    <a:gd name="T49" fmla="*/ 222 h 339"/>
                    <a:gd name="T50" fmla="*/ 260 w 374"/>
                    <a:gd name="T51" fmla="*/ 153 h 339"/>
                    <a:gd name="T52" fmla="*/ 240 w 374"/>
                    <a:gd name="T53" fmla="*/ 115 h 339"/>
                    <a:gd name="T54" fmla="*/ 271 w 374"/>
                    <a:gd name="T55" fmla="*/ 121 h 339"/>
                    <a:gd name="T56" fmla="*/ 187 w 374"/>
                    <a:gd name="T57" fmla="*/ 65 h 339"/>
                    <a:gd name="T58" fmla="*/ 187 w 374"/>
                    <a:gd name="T59" fmla="*/ 98 h 339"/>
                    <a:gd name="T60" fmla="*/ 187 w 374"/>
                    <a:gd name="T61" fmla="*/ 65 h 339"/>
                    <a:gd name="T62" fmla="*/ 178 w 374"/>
                    <a:gd name="T63" fmla="*/ 54 h 339"/>
                    <a:gd name="T64" fmla="*/ 143 w 374"/>
                    <a:gd name="T65" fmla="*/ 101 h 339"/>
                    <a:gd name="T66" fmla="*/ 100 w 374"/>
                    <a:gd name="T67" fmla="*/ 107 h 339"/>
                    <a:gd name="T68" fmla="*/ 34 w 374"/>
                    <a:gd name="T69" fmla="*/ 197 h 339"/>
                    <a:gd name="T70" fmla="*/ 89 w 374"/>
                    <a:gd name="T71" fmla="*/ 123 h 339"/>
                    <a:gd name="T72" fmla="*/ 106 w 374"/>
                    <a:gd name="T73" fmla="*/ 170 h 339"/>
                    <a:gd name="T74" fmla="*/ 107 w 374"/>
                    <a:gd name="T75" fmla="*/ 324 h 339"/>
                    <a:gd name="T76" fmla="*/ 98 w 374"/>
                    <a:gd name="T77" fmla="*/ 236 h 339"/>
                    <a:gd name="T78" fmla="*/ 178 w 374"/>
                    <a:gd name="T79" fmla="*/ 287 h 339"/>
                    <a:gd name="T80" fmla="*/ 187 w 374"/>
                    <a:gd name="T81" fmla="*/ 276 h 339"/>
                    <a:gd name="T82" fmla="*/ 187 w 374"/>
                    <a:gd name="T83" fmla="*/ 244 h 339"/>
                    <a:gd name="T84" fmla="*/ 187 w 374"/>
                    <a:gd name="T85" fmla="*/ 276 h 339"/>
                    <a:gd name="T86" fmla="*/ 197 w 374"/>
                    <a:gd name="T87" fmla="*/ 287 h 339"/>
                    <a:gd name="T88" fmla="*/ 229 w 374"/>
                    <a:gd name="T89" fmla="*/ 243 h 339"/>
                    <a:gd name="T90" fmla="*/ 276 w 374"/>
                    <a:gd name="T91" fmla="*/ 236 h 339"/>
                    <a:gd name="T92" fmla="*/ 285 w 374"/>
                    <a:gd name="T93" fmla="*/ 219 h 339"/>
                    <a:gd name="T94" fmla="*/ 284 w 374"/>
                    <a:gd name="T95" fmla="*/ 123 h 339"/>
                    <a:gd name="T96" fmla="*/ 359 w 374"/>
                    <a:gd name="T9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39">
                      <a:moveTo>
                        <a:pt x="351" y="207"/>
                      </a:moveTo>
                      <a:cubicBezTo>
                        <a:pt x="365" y="196"/>
                        <a:pt x="374" y="184"/>
                        <a:pt x="374" y="171"/>
                      </a:cubicBezTo>
                      <a:cubicBezTo>
                        <a:pt x="374" y="146"/>
                        <a:pt x="342" y="123"/>
                        <a:pt x="288" y="110"/>
                      </a:cubicBezTo>
                      <a:cubicBezTo>
                        <a:pt x="288" y="110"/>
                        <a:pt x="288" y="110"/>
                        <a:pt x="288" y="110"/>
                      </a:cubicBezTo>
                      <a:cubicBezTo>
                        <a:pt x="288" y="110"/>
                        <a:pt x="288" y="110"/>
                        <a:pt x="288" y="110"/>
                      </a:cubicBezTo>
                      <a:cubicBezTo>
                        <a:pt x="294" y="84"/>
                        <a:pt x="296" y="61"/>
                        <a:pt x="294" y="43"/>
                      </a:cubicBezTo>
                      <a:cubicBezTo>
                        <a:pt x="291" y="24"/>
                        <a:pt x="284" y="12"/>
                        <a:pt x="273" y="6"/>
                      </a:cubicBezTo>
                      <a:cubicBezTo>
                        <a:pt x="263" y="0"/>
                        <a:pt x="249" y="2"/>
                        <a:pt x="234" y="9"/>
                      </a:cubicBezTo>
                      <a:cubicBezTo>
                        <a:pt x="219" y="15"/>
                        <a:pt x="203" y="28"/>
                        <a:pt x="187" y="45"/>
                      </a:cubicBezTo>
                      <a:cubicBezTo>
                        <a:pt x="187" y="45"/>
                        <a:pt x="187" y="45"/>
                        <a:pt x="187" y="45"/>
                      </a:cubicBezTo>
                      <a:cubicBezTo>
                        <a:pt x="187" y="45"/>
                        <a:pt x="187" y="45"/>
                        <a:pt x="187" y="45"/>
                      </a:cubicBezTo>
                      <a:cubicBezTo>
                        <a:pt x="170" y="28"/>
                        <a:pt x="155" y="15"/>
                        <a:pt x="139" y="9"/>
                      </a:cubicBezTo>
                      <a:cubicBezTo>
                        <a:pt x="125" y="2"/>
                        <a:pt x="112" y="0"/>
                        <a:pt x="101" y="6"/>
                      </a:cubicBezTo>
                      <a:cubicBezTo>
                        <a:pt x="90" y="12"/>
                        <a:pt x="83" y="24"/>
                        <a:pt x="81" y="43"/>
                      </a:cubicBezTo>
                      <a:cubicBezTo>
                        <a:pt x="78" y="61"/>
                        <a:pt x="79" y="84"/>
                        <a:pt x="85" y="110"/>
                      </a:cubicBezTo>
                      <a:cubicBezTo>
                        <a:pt x="85" y="110"/>
                        <a:pt x="85" y="110"/>
                        <a:pt x="85" y="110"/>
                      </a:cubicBezTo>
                      <a:cubicBezTo>
                        <a:pt x="85" y="110"/>
                        <a:pt x="85" y="110"/>
                        <a:pt x="85" y="110"/>
                      </a:cubicBezTo>
                      <a:cubicBezTo>
                        <a:pt x="33" y="123"/>
                        <a:pt x="0" y="146"/>
                        <a:pt x="0" y="171"/>
                      </a:cubicBezTo>
                      <a:cubicBezTo>
                        <a:pt x="0" y="184"/>
                        <a:pt x="9" y="196"/>
                        <a:pt x="23" y="207"/>
                      </a:cubicBezTo>
                      <a:cubicBezTo>
                        <a:pt x="37" y="218"/>
                        <a:pt x="59" y="226"/>
                        <a:pt x="85" y="233"/>
                      </a:cubicBezTo>
                      <a:cubicBezTo>
                        <a:pt x="85" y="233"/>
                        <a:pt x="85" y="233"/>
                        <a:pt x="85" y="233"/>
                      </a:cubicBezTo>
                      <a:cubicBezTo>
                        <a:pt x="85" y="233"/>
                        <a:pt x="85" y="233"/>
                        <a:pt x="85" y="233"/>
                      </a:cubicBezTo>
                      <a:cubicBezTo>
                        <a:pt x="78" y="258"/>
                        <a:pt x="77" y="281"/>
                        <a:pt x="79" y="299"/>
                      </a:cubicBezTo>
                      <a:cubicBezTo>
                        <a:pt x="82" y="318"/>
                        <a:pt x="89" y="330"/>
                        <a:pt x="100" y="336"/>
                      </a:cubicBezTo>
                      <a:cubicBezTo>
                        <a:pt x="104" y="338"/>
                        <a:pt x="109" y="339"/>
                        <a:pt x="115" y="339"/>
                      </a:cubicBezTo>
                      <a:cubicBezTo>
                        <a:pt x="136" y="339"/>
                        <a:pt x="161" y="325"/>
                        <a:pt x="187" y="298"/>
                      </a:cubicBezTo>
                      <a:cubicBezTo>
                        <a:pt x="187" y="298"/>
                        <a:pt x="187" y="298"/>
                        <a:pt x="187" y="298"/>
                      </a:cubicBezTo>
                      <a:cubicBezTo>
                        <a:pt x="187" y="298"/>
                        <a:pt x="187" y="298"/>
                        <a:pt x="187" y="298"/>
                      </a:cubicBezTo>
                      <a:cubicBezTo>
                        <a:pt x="213" y="325"/>
                        <a:pt x="239" y="339"/>
                        <a:pt x="259" y="339"/>
                      </a:cubicBezTo>
                      <a:cubicBezTo>
                        <a:pt x="264" y="339"/>
                        <a:pt x="270" y="338"/>
                        <a:pt x="273" y="336"/>
                      </a:cubicBezTo>
                      <a:cubicBezTo>
                        <a:pt x="285" y="330"/>
                        <a:pt x="292" y="318"/>
                        <a:pt x="295" y="299"/>
                      </a:cubicBezTo>
                      <a:cubicBezTo>
                        <a:pt x="297" y="281"/>
                        <a:pt x="295" y="258"/>
                        <a:pt x="289" y="233"/>
                      </a:cubicBezTo>
                      <a:cubicBezTo>
                        <a:pt x="289" y="233"/>
                        <a:pt x="289" y="233"/>
                        <a:pt x="289" y="233"/>
                      </a:cubicBezTo>
                      <a:cubicBezTo>
                        <a:pt x="289" y="233"/>
                        <a:pt x="289" y="233"/>
                        <a:pt x="289" y="233"/>
                      </a:cubicBezTo>
                      <a:cubicBezTo>
                        <a:pt x="315" y="226"/>
                        <a:pt x="336" y="218"/>
                        <a:pt x="351" y="207"/>
                      </a:cubicBezTo>
                      <a:close/>
                      <a:moveTo>
                        <a:pt x="197" y="54"/>
                      </a:moveTo>
                      <a:cubicBezTo>
                        <a:pt x="219" y="30"/>
                        <a:pt x="242" y="16"/>
                        <a:pt x="258" y="16"/>
                      </a:cubicBezTo>
                      <a:cubicBezTo>
                        <a:pt x="260" y="16"/>
                        <a:pt x="264" y="17"/>
                        <a:pt x="266" y="18"/>
                      </a:cubicBezTo>
                      <a:cubicBezTo>
                        <a:pt x="274" y="22"/>
                        <a:pt x="279" y="33"/>
                        <a:pt x="280" y="48"/>
                      </a:cubicBezTo>
                      <a:cubicBezTo>
                        <a:pt x="282" y="64"/>
                        <a:pt x="279" y="84"/>
                        <a:pt x="274" y="107"/>
                      </a:cubicBezTo>
                      <a:cubicBezTo>
                        <a:pt x="274" y="107"/>
                        <a:pt x="274" y="107"/>
                        <a:pt x="274" y="107"/>
                      </a:cubicBezTo>
                      <a:cubicBezTo>
                        <a:pt x="274" y="107"/>
                        <a:pt x="274" y="107"/>
                        <a:pt x="274" y="107"/>
                      </a:cubicBezTo>
                      <a:cubicBezTo>
                        <a:pt x="260" y="104"/>
                        <a:pt x="246" y="102"/>
                        <a:pt x="230" y="101"/>
                      </a:cubicBezTo>
                      <a:cubicBezTo>
                        <a:pt x="230" y="101"/>
                        <a:pt x="230" y="101"/>
                        <a:pt x="230" y="101"/>
                      </a:cubicBezTo>
                      <a:cubicBezTo>
                        <a:pt x="230" y="101"/>
                        <a:pt x="230" y="101"/>
                        <a:pt x="230" y="101"/>
                      </a:cubicBezTo>
                      <a:cubicBezTo>
                        <a:pt x="219" y="84"/>
                        <a:pt x="209" y="68"/>
                        <a:pt x="197" y="54"/>
                      </a:cubicBezTo>
                      <a:cubicBezTo>
                        <a:pt x="197" y="54"/>
                        <a:pt x="197" y="54"/>
                        <a:pt x="197" y="54"/>
                      </a:cubicBezTo>
                      <a:close/>
                      <a:moveTo>
                        <a:pt x="114" y="188"/>
                      </a:moveTo>
                      <a:cubicBezTo>
                        <a:pt x="114" y="188"/>
                        <a:pt x="114" y="188"/>
                        <a:pt x="114" y="188"/>
                      </a:cubicBezTo>
                      <a:cubicBezTo>
                        <a:pt x="116" y="194"/>
                        <a:pt x="120" y="199"/>
                        <a:pt x="122" y="205"/>
                      </a:cubicBezTo>
                      <a:cubicBezTo>
                        <a:pt x="127" y="213"/>
                        <a:pt x="131" y="220"/>
                        <a:pt x="136" y="227"/>
                      </a:cubicBezTo>
                      <a:cubicBezTo>
                        <a:pt x="136" y="227"/>
                        <a:pt x="136" y="227"/>
                        <a:pt x="136" y="227"/>
                      </a:cubicBezTo>
                      <a:cubicBezTo>
                        <a:pt x="136" y="227"/>
                        <a:pt x="136" y="227"/>
                        <a:pt x="136" y="227"/>
                      </a:cubicBezTo>
                      <a:cubicBezTo>
                        <a:pt x="124" y="226"/>
                        <a:pt x="113" y="225"/>
                        <a:pt x="102" y="222"/>
                      </a:cubicBezTo>
                      <a:cubicBezTo>
                        <a:pt x="102" y="222"/>
                        <a:pt x="102" y="222"/>
                        <a:pt x="102" y="222"/>
                      </a:cubicBezTo>
                      <a:cubicBezTo>
                        <a:pt x="102" y="222"/>
                        <a:pt x="102" y="222"/>
                        <a:pt x="102" y="222"/>
                      </a:cubicBezTo>
                      <a:cubicBezTo>
                        <a:pt x="106" y="212"/>
                        <a:pt x="109" y="200"/>
                        <a:pt x="114" y="188"/>
                      </a:cubicBezTo>
                      <a:close/>
                      <a:moveTo>
                        <a:pt x="103" y="121"/>
                      </a:moveTo>
                      <a:cubicBezTo>
                        <a:pt x="103" y="120"/>
                        <a:pt x="103" y="120"/>
                        <a:pt x="103" y="120"/>
                      </a:cubicBezTo>
                      <a:cubicBezTo>
                        <a:pt x="103" y="120"/>
                        <a:pt x="103" y="120"/>
                        <a:pt x="103" y="120"/>
                      </a:cubicBezTo>
                      <a:cubicBezTo>
                        <a:pt x="113" y="119"/>
                        <a:pt x="124" y="116"/>
                        <a:pt x="134" y="115"/>
                      </a:cubicBezTo>
                      <a:cubicBezTo>
                        <a:pt x="134" y="115"/>
                        <a:pt x="134" y="115"/>
                        <a:pt x="134" y="115"/>
                      </a:cubicBezTo>
                      <a:cubicBezTo>
                        <a:pt x="134" y="116"/>
                        <a:pt x="134" y="116"/>
                        <a:pt x="134" y="116"/>
                      </a:cubicBezTo>
                      <a:cubicBezTo>
                        <a:pt x="130" y="123"/>
                        <a:pt x="126" y="131"/>
                        <a:pt x="121" y="138"/>
                      </a:cubicBezTo>
                      <a:cubicBezTo>
                        <a:pt x="119" y="142"/>
                        <a:pt x="116" y="147"/>
                        <a:pt x="114" y="152"/>
                      </a:cubicBezTo>
                      <a:cubicBezTo>
                        <a:pt x="114" y="153"/>
                        <a:pt x="114" y="153"/>
                        <a:pt x="114" y="153"/>
                      </a:cubicBezTo>
                      <a:cubicBezTo>
                        <a:pt x="114" y="152"/>
                        <a:pt x="114" y="152"/>
                        <a:pt x="114" y="152"/>
                      </a:cubicBezTo>
                      <a:cubicBezTo>
                        <a:pt x="109" y="141"/>
                        <a:pt x="106" y="131"/>
                        <a:pt x="103" y="121"/>
                      </a:cubicBezTo>
                      <a:close/>
                      <a:moveTo>
                        <a:pt x="134" y="199"/>
                      </a:moveTo>
                      <a:cubicBezTo>
                        <a:pt x="130" y="189"/>
                        <a:pt x="126" y="179"/>
                        <a:pt x="121" y="170"/>
                      </a:cubicBezTo>
                      <a:cubicBezTo>
                        <a:pt x="121" y="170"/>
                        <a:pt x="121" y="170"/>
                        <a:pt x="121" y="170"/>
                      </a:cubicBezTo>
                      <a:cubicBezTo>
                        <a:pt x="121" y="170"/>
                        <a:pt x="121" y="170"/>
                        <a:pt x="121" y="170"/>
                      </a:cubicBezTo>
                      <a:cubicBezTo>
                        <a:pt x="125" y="162"/>
                        <a:pt x="130" y="152"/>
                        <a:pt x="134" y="144"/>
                      </a:cubicBezTo>
                      <a:cubicBezTo>
                        <a:pt x="139" y="134"/>
                        <a:pt x="145" y="123"/>
                        <a:pt x="151" y="114"/>
                      </a:cubicBezTo>
                      <a:cubicBezTo>
                        <a:pt x="151" y="114"/>
                        <a:pt x="151" y="114"/>
                        <a:pt x="151" y="114"/>
                      </a:cubicBezTo>
                      <a:cubicBezTo>
                        <a:pt x="151" y="114"/>
                        <a:pt x="151" y="114"/>
                        <a:pt x="151" y="114"/>
                      </a:cubicBezTo>
                      <a:cubicBezTo>
                        <a:pt x="175" y="113"/>
                        <a:pt x="199" y="113"/>
                        <a:pt x="223" y="114"/>
                      </a:cubicBezTo>
                      <a:cubicBezTo>
                        <a:pt x="223" y="114"/>
                        <a:pt x="223" y="114"/>
                        <a:pt x="223" y="114"/>
                      </a:cubicBezTo>
                      <a:cubicBezTo>
                        <a:pt x="223" y="114"/>
                        <a:pt x="223" y="114"/>
                        <a:pt x="223" y="114"/>
                      </a:cubicBezTo>
                      <a:cubicBezTo>
                        <a:pt x="229" y="123"/>
                        <a:pt x="235" y="134"/>
                        <a:pt x="240" y="144"/>
                      </a:cubicBezTo>
                      <a:cubicBezTo>
                        <a:pt x="245" y="152"/>
                        <a:pt x="248" y="162"/>
                        <a:pt x="253" y="170"/>
                      </a:cubicBezTo>
                      <a:cubicBezTo>
                        <a:pt x="253" y="170"/>
                        <a:pt x="253" y="170"/>
                        <a:pt x="253" y="170"/>
                      </a:cubicBezTo>
                      <a:cubicBezTo>
                        <a:pt x="253" y="170"/>
                        <a:pt x="253" y="170"/>
                        <a:pt x="253" y="170"/>
                      </a:cubicBezTo>
                      <a:cubicBezTo>
                        <a:pt x="248" y="179"/>
                        <a:pt x="243" y="189"/>
                        <a:pt x="239" y="199"/>
                      </a:cubicBezTo>
                      <a:cubicBezTo>
                        <a:pt x="234" y="209"/>
                        <a:pt x="228" y="219"/>
                        <a:pt x="222" y="230"/>
                      </a:cubicBezTo>
                      <a:cubicBezTo>
                        <a:pt x="222" y="230"/>
                        <a:pt x="222" y="230"/>
                        <a:pt x="222" y="230"/>
                      </a:cubicBezTo>
                      <a:cubicBezTo>
                        <a:pt x="222" y="230"/>
                        <a:pt x="222" y="230"/>
                        <a:pt x="222" y="230"/>
                      </a:cubicBezTo>
                      <a:cubicBezTo>
                        <a:pt x="210" y="230"/>
                        <a:pt x="198" y="231"/>
                        <a:pt x="187" y="231"/>
                      </a:cubicBezTo>
                      <a:cubicBezTo>
                        <a:pt x="175" y="231"/>
                        <a:pt x="164" y="230"/>
                        <a:pt x="152" y="230"/>
                      </a:cubicBezTo>
                      <a:cubicBezTo>
                        <a:pt x="152" y="230"/>
                        <a:pt x="152" y="230"/>
                        <a:pt x="152" y="230"/>
                      </a:cubicBezTo>
                      <a:cubicBezTo>
                        <a:pt x="152" y="230"/>
                        <a:pt x="152" y="230"/>
                        <a:pt x="152" y="230"/>
                      </a:cubicBezTo>
                      <a:cubicBezTo>
                        <a:pt x="146" y="219"/>
                        <a:pt x="140" y="209"/>
                        <a:pt x="134" y="199"/>
                      </a:cubicBezTo>
                      <a:close/>
                      <a:moveTo>
                        <a:pt x="239" y="227"/>
                      </a:moveTo>
                      <a:cubicBezTo>
                        <a:pt x="243" y="220"/>
                        <a:pt x="247" y="213"/>
                        <a:pt x="251" y="205"/>
                      </a:cubicBezTo>
                      <a:cubicBezTo>
                        <a:pt x="254" y="199"/>
                        <a:pt x="257" y="194"/>
                        <a:pt x="260" y="188"/>
                      </a:cubicBezTo>
                      <a:cubicBezTo>
                        <a:pt x="260" y="188"/>
                        <a:pt x="260" y="188"/>
                        <a:pt x="260" y="188"/>
                      </a:cubicBezTo>
                      <a:cubicBezTo>
                        <a:pt x="260" y="188"/>
                        <a:pt x="260" y="188"/>
                        <a:pt x="260" y="188"/>
                      </a:cubicBezTo>
                      <a:cubicBezTo>
                        <a:pt x="265" y="200"/>
                        <a:pt x="268" y="212"/>
                        <a:pt x="272" y="222"/>
                      </a:cubicBezTo>
                      <a:cubicBezTo>
                        <a:pt x="272" y="222"/>
                        <a:pt x="272" y="222"/>
                        <a:pt x="272" y="222"/>
                      </a:cubicBezTo>
                      <a:cubicBezTo>
                        <a:pt x="272" y="222"/>
                        <a:pt x="272" y="222"/>
                        <a:pt x="272" y="222"/>
                      </a:cubicBezTo>
                      <a:cubicBezTo>
                        <a:pt x="261" y="225"/>
                        <a:pt x="251" y="226"/>
                        <a:pt x="239" y="227"/>
                      </a:cubicBezTo>
                      <a:cubicBezTo>
                        <a:pt x="239" y="227"/>
                        <a:pt x="239" y="227"/>
                        <a:pt x="239" y="227"/>
                      </a:cubicBezTo>
                      <a:close/>
                      <a:moveTo>
                        <a:pt x="260" y="152"/>
                      </a:moveTo>
                      <a:cubicBezTo>
                        <a:pt x="260" y="153"/>
                        <a:pt x="260" y="153"/>
                        <a:pt x="260" y="153"/>
                      </a:cubicBezTo>
                      <a:cubicBezTo>
                        <a:pt x="260" y="152"/>
                        <a:pt x="260" y="152"/>
                        <a:pt x="260" y="152"/>
                      </a:cubicBezTo>
                      <a:cubicBezTo>
                        <a:pt x="257" y="147"/>
                        <a:pt x="254" y="142"/>
                        <a:pt x="252" y="138"/>
                      </a:cubicBezTo>
                      <a:cubicBezTo>
                        <a:pt x="248" y="131"/>
                        <a:pt x="245" y="123"/>
                        <a:pt x="240" y="116"/>
                      </a:cubicBezTo>
                      <a:cubicBezTo>
                        <a:pt x="240" y="115"/>
                        <a:pt x="240" y="115"/>
                        <a:pt x="240" y="115"/>
                      </a:cubicBezTo>
                      <a:cubicBezTo>
                        <a:pt x="240" y="115"/>
                        <a:pt x="240" y="115"/>
                        <a:pt x="240" y="115"/>
                      </a:cubicBezTo>
                      <a:cubicBezTo>
                        <a:pt x="251" y="116"/>
                        <a:pt x="261" y="119"/>
                        <a:pt x="271" y="120"/>
                      </a:cubicBezTo>
                      <a:cubicBezTo>
                        <a:pt x="271" y="120"/>
                        <a:pt x="271" y="120"/>
                        <a:pt x="271" y="120"/>
                      </a:cubicBezTo>
                      <a:cubicBezTo>
                        <a:pt x="271" y="121"/>
                        <a:pt x="271" y="121"/>
                        <a:pt x="271" y="121"/>
                      </a:cubicBezTo>
                      <a:cubicBezTo>
                        <a:pt x="267" y="131"/>
                        <a:pt x="264" y="141"/>
                        <a:pt x="260" y="152"/>
                      </a:cubicBezTo>
                      <a:close/>
                      <a:moveTo>
                        <a:pt x="187" y="65"/>
                      </a:moveTo>
                      <a:cubicBezTo>
                        <a:pt x="187" y="65"/>
                        <a:pt x="187" y="65"/>
                        <a:pt x="187" y="65"/>
                      </a:cubicBezTo>
                      <a:cubicBezTo>
                        <a:pt x="187" y="65"/>
                        <a:pt x="187" y="65"/>
                        <a:pt x="187" y="65"/>
                      </a:cubicBezTo>
                      <a:cubicBezTo>
                        <a:pt x="195" y="76"/>
                        <a:pt x="205" y="86"/>
                        <a:pt x="213" y="100"/>
                      </a:cubicBezTo>
                      <a:cubicBezTo>
                        <a:pt x="213" y="100"/>
                        <a:pt x="213" y="100"/>
                        <a:pt x="213" y="100"/>
                      </a:cubicBezTo>
                      <a:cubicBezTo>
                        <a:pt x="213" y="100"/>
                        <a:pt x="213" y="100"/>
                        <a:pt x="213" y="100"/>
                      </a:cubicBezTo>
                      <a:cubicBezTo>
                        <a:pt x="204" y="100"/>
                        <a:pt x="195" y="98"/>
                        <a:pt x="187" y="98"/>
                      </a:cubicBezTo>
                      <a:cubicBezTo>
                        <a:pt x="179" y="98"/>
                        <a:pt x="169" y="100"/>
                        <a:pt x="161" y="100"/>
                      </a:cubicBezTo>
                      <a:cubicBezTo>
                        <a:pt x="161" y="100"/>
                        <a:pt x="161" y="100"/>
                        <a:pt x="161" y="100"/>
                      </a:cubicBezTo>
                      <a:cubicBezTo>
                        <a:pt x="161" y="100"/>
                        <a:pt x="161" y="100"/>
                        <a:pt x="161" y="100"/>
                      </a:cubicBezTo>
                      <a:cubicBezTo>
                        <a:pt x="169" y="86"/>
                        <a:pt x="178" y="76"/>
                        <a:pt x="187" y="65"/>
                      </a:cubicBezTo>
                      <a:close/>
                      <a:moveTo>
                        <a:pt x="94" y="48"/>
                      </a:moveTo>
                      <a:cubicBezTo>
                        <a:pt x="95" y="33"/>
                        <a:pt x="100" y="22"/>
                        <a:pt x="107" y="18"/>
                      </a:cubicBezTo>
                      <a:cubicBezTo>
                        <a:pt x="110" y="17"/>
                        <a:pt x="113" y="16"/>
                        <a:pt x="116" y="16"/>
                      </a:cubicBezTo>
                      <a:cubicBezTo>
                        <a:pt x="132" y="16"/>
                        <a:pt x="155" y="30"/>
                        <a:pt x="178" y="54"/>
                      </a:cubicBezTo>
                      <a:cubicBezTo>
                        <a:pt x="178" y="54"/>
                        <a:pt x="178" y="54"/>
                        <a:pt x="178" y="54"/>
                      </a:cubicBezTo>
                      <a:cubicBezTo>
                        <a:pt x="178" y="54"/>
                        <a:pt x="178" y="54"/>
                        <a:pt x="178" y="54"/>
                      </a:cubicBezTo>
                      <a:cubicBezTo>
                        <a:pt x="166" y="68"/>
                        <a:pt x="154" y="84"/>
                        <a:pt x="143" y="101"/>
                      </a:cubicBezTo>
                      <a:cubicBezTo>
                        <a:pt x="143" y="101"/>
                        <a:pt x="143" y="101"/>
                        <a:pt x="143" y="101"/>
                      </a:cubicBezTo>
                      <a:cubicBezTo>
                        <a:pt x="143" y="101"/>
                        <a:pt x="143" y="101"/>
                        <a:pt x="143" y="101"/>
                      </a:cubicBezTo>
                      <a:cubicBezTo>
                        <a:pt x="128" y="102"/>
                        <a:pt x="113" y="104"/>
                        <a:pt x="100" y="107"/>
                      </a:cubicBezTo>
                      <a:cubicBezTo>
                        <a:pt x="100" y="107"/>
                        <a:pt x="100" y="107"/>
                        <a:pt x="100" y="107"/>
                      </a:cubicBezTo>
                      <a:cubicBezTo>
                        <a:pt x="100" y="107"/>
                        <a:pt x="100" y="107"/>
                        <a:pt x="100" y="107"/>
                      </a:cubicBezTo>
                      <a:cubicBezTo>
                        <a:pt x="94" y="84"/>
                        <a:pt x="91" y="64"/>
                        <a:pt x="94" y="48"/>
                      </a:cubicBezTo>
                      <a:close/>
                      <a:moveTo>
                        <a:pt x="89" y="219"/>
                      </a:moveTo>
                      <a:cubicBezTo>
                        <a:pt x="89" y="219"/>
                        <a:pt x="89" y="219"/>
                        <a:pt x="89" y="219"/>
                      </a:cubicBezTo>
                      <a:cubicBezTo>
                        <a:pt x="66" y="214"/>
                        <a:pt x="47" y="206"/>
                        <a:pt x="34" y="197"/>
                      </a:cubicBezTo>
                      <a:cubicBezTo>
                        <a:pt x="21" y="189"/>
                        <a:pt x="13" y="181"/>
                        <a:pt x="13" y="171"/>
                      </a:cubicBezTo>
                      <a:cubicBezTo>
                        <a:pt x="13" y="163"/>
                        <a:pt x="21" y="153"/>
                        <a:pt x="34" y="145"/>
                      </a:cubicBezTo>
                      <a:cubicBezTo>
                        <a:pt x="47" y="137"/>
                        <a:pt x="66" y="129"/>
                        <a:pt x="89" y="123"/>
                      </a:cubicBezTo>
                      <a:cubicBezTo>
                        <a:pt x="89" y="123"/>
                        <a:pt x="89" y="123"/>
                        <a:pt x="89" y="123"/>
                      </a:cubicBezTo>
                      <a:cubicBezTo>
                        <a:pt x="89" y="123"/>
                        <a:pt x="89" y="123"/>
                        <a:pt x="89" y="123"/>
                      </a:cubicBezTo>
                      <a:cubicBezTo>
                        <a:pt x="94" y="139"/>
                        <a:pt x="100" y="154"/>
                        <a:pt x="106" y="170"/>
                      </a:cubicBezTo>
                      <a:cubicBezTo>
                        <a:pt x="106" y="170"/>
                        <a:pt x="106" y="170"/>
                        <a:pt x="106" y="170"/>
                      </a:cubicBezTo>
                      <a:cubicBezTo>
                        <a:pt x="106" y="170"/>
                        <a:pt x="106" y="170"/>
                        <a:pt x="106" y="170"/>
                      </a:cubicBezTo>
                      <a:cubicBezTo>
                        <a:pt x="98" y="187"/>
                        <a:pt x="93" y="203"/>
                        <a:pt x="89" y="219"/>
                      </a:cubicBezTo>
                      <a:close/>
                      <a:moveTo>
                        <a:pt x="178" y="287"/>
                      </a:moveTo>
                      <a:cubicBezTo>
                        <a:pt x="154" y="312"/>
                        <a:pt x="131" y="326"/>
                        <a:pt x="115" y="326"/>
                      </a:cubicBezTo>
                      <a:cubicBezTo>
                        <a:pt x="112" y="326"/>
                        <a:pt x="109" y="325"/>
                        <a:pt x="107" y="324"/>
                      </a:cubicBezTo>
                      <a:cubicBezTo>
                        <a:pt x="98" y="320"/>
                        <a:pt x="94" y="310"/>
                        <a:pt x="93" y="294"/>
                      </a:cubicBezTo>
                      <a:cubicBezTo>
                        <a:pt x="91" y="279"/>
                        <a:pt x="93" y="258"/>
                        <a:pt x="98" y="236"/>
                      </a:cubicBezTo>
                      <a:cubicBezTo>
                        <a:pt x="98" y="236"/>
                        <a:pt x="98" y="236"/>
                        <a:pt x="98" y="236"/>
                      </a:cubicBezTo>
                      <a:cubicBezTo>
                        <a:pt x="98" y="236"/>
                        <a:pt x="98" y="236"/>
                        <a:pt x="98" y="236"/>
                      </a:cubicBezTo>
                      <a:cubicBezTo>
                        <a:pt x="113" y="239"/>
                        <a:pt x="128" y="240"/>
                        <a:pt x="144" y="243"/>
                      </a:cubicBezTo>
                      <a:cubicBezTo>
                        <a:pt x="144" y="243"/>
                        <a:pt x="144" y="243"/>
                        <a:pt x="144" y="243"/>
                      </a:cubicBezTo>
                      <a:cubicBezTo>
                        <a:pt x="144" y="243"/>
                        <a:pt x="144" y="243"/>
                        <a:pt x="144" y="243"/>
                      </a:cubicBezTo>
                      <a:cubicBezTo>
                        <a:pt x="155" y="258"/>
                        <a:pt x="166" y="274"/>
                        <a:pt x="178" y="287"/>
                      </a:cubicBezTo>
                      <a:cubicBezTo>
                        <a:pt x="178" y="287"/>
                        <a:pt x="178" y="287"/>
                        <a:pt x="178" y="287"/>
                      </a:cubicBezTo>
                      <a:close/>
                      <a:moveTo>
                        <a:pt x="187" y="276"/>
                      </a:moveTo>
                      <a:cubicBezTo>
                        <a:pt x="187" y="276"/>
                        <a:pt x="187" y="276"/>
                        <a:pt x="187" y="276"/>
                      </a:cubicBezTo>
                      <a:cubicBezTo>
                        <a:pt x="187" y="276"/>
                        <a:pt x="187" y="276"/>
                        <a:pt x="187" y="276"/>
                      </a:cubicBezTo>
                      <a:cubicBezTo>
                        <a:pt x="179" y="267"/>
                        <a:pt x="170" y="256"/>
                        <a:pt x="162" y="244"/>
                      </a:cubicBezTo>
                      <a:cubicBezTo>
                        <a:pt x="162" y="244"/>
                        <a:pt x="162" y="244"/>
                        <a:pt x="162" y="244"/>
                      </a:cubicBezTo>
                      <a:cubicBezTo>
                        <a:pt x="162" y="244"/>
                        <a:pt x="162" y="244"/>
                        <a:pt x="162" y="244"/>
                      </a:cubicBezTo>
                      <a:cubicBezTo>
                        <a:pt x="170" y="244"/>
                        <a:pt x="179" y="244"/>
                        <a:pt x="187" y="244"/>
                      </a:cubicBezTo>
                      <a:cubicBezTo>
                        <a:pt x="195" y="244"/>
                        <a:pt x="204" y="244"/>
                        <a:pt x="212" y="244"/>
                      </a:cubicBezTo>
                      <a:cubicBezTo>
                        <a:pt x="212" y="244"/>
                        <a:pt x="212" y="244"/>
                        <a:pt x="212" y="244"/>
                      </a:cubicBezTo>
                      <a:cubicBezTo>
                        <a:pt x="212" y="244"/>
                        <a:pt x="212" y="244"/>
                        <a:pt x="212" y="244"/>
                      </a:cubicBezTo>
                      <a:cubicBezTo>
                        <a:pt x="204" y="256"/>
                        <a:pt x="195" y="267"/>
                        <a:pt x="187" y="276"/>
                      </a:cubicBezTo>
                      <a:close/>
                      <a:moveTo>
                        <a:pt x="282" y="294"/>
                      </a:moveTo>
                      <a:cubicBezTo>
                        <a:pt x="280" y="310"/>
                        <a:pt x="274" y="320"/>
                        <a:pt x="267" y="324"/>
                      </a:cubicBezTo>
                      <a:cubicBezTo>
                        <a:pt x="265" y="325"/>
                        <a:pt x="261" y="326"/>
                        <a:pt x="258" y="326"/>
                      </a:cubicBezTo>
                      <a:cubicBezTo>
                        <a:pt x="242" y="326"/>
                        <a:pt x="221" y="312"/>
                        <a:pt x="197" y="287"/>
                      </a:cubicBezTo>
                      <a:cubicBezTo>
                        <a:pt x="197" y="287"/>
                        <a:pt x="197" y="287"/>
                        <a:pt x="197" y="287"/>
                      </a:cubicBezTo>
                      <a:cubicBezTo>
                        <a:pt x="197" y="287"/>
                        <a:pt x="197" y="287"/>
                        <a:pt x="197" y="287"/>
                      </a:cubicBezTo>
                      <a:cubicBezTo>
                        <a:pt x="207" y="274"/>
                        <a:pt x="218" y="258"/>
                        <a:pt x="229" y="243"/>
                      </a:cubicBezTo>
                      <a:cubicBezTo>
                        <a:pt x="229" y="243"/>
                        <a:pt x="229" y="243"/>
                        <a:pt x="229" y="243"/>
                      </a:cubicBezTo>
                      <a:cubicBezTo>
                        <a:pt x="229" y="243"/>
                        <a:pt x="229" y="243"/>
                        <a:pt x="229" y="243"/>
                      </a:cubicBezTo>
                      <a:cubicBezTo>
                        <a:pt x="246" y="240"/>
                        <a:pt x="261" y="239"/>
                        <a:pt x="276" y="236"/>
                      </a:cubicBezTo>
                      <a:cubicBezTo>
                        <a:pt x="276" y="236"/>
                        <a:pt x="276" y="236"/>
                        <a:pt x="276" y="236"/>
                      </a:cubicBezTo>
                      <a:cubicBezTo>
                        <a:pt x="276" y="236"/>
                        <a:pt x="276" y="236"/>
                        <a:pt x="276" y="236"/>
                      </a:cubicBezTo>
                      <a:cubicBezTo>
                        <a:pt x="280" y="258"/>
                        <a:pt x="283" y="279"/>
                        <a:pt x="282" y="294"/>
                      </a:cubicBezTo>
                      <a:close/>
                      <a:moveTo>
                        <a:pt x="285" y="219"/>
                      </a:moveTo>
                      <a:cubicBezTo>
                        <a:pt x="285" y="219"/>
                        <a:pt x="285" y="219"/>
                        <a:pt x="285" y="219"/>
                      </a:cubicBezTo>
                      <a:cubicBezTo>
                        <a:pt x="285" y="219"/>
                        <a:pt x="285" y="219"/>
                        <a:pt x="285" y="219"/>
                      </a:cubicBezTo>
                      <a:cubicBezTo>
                        <a:pt x="280" y="203"/>
                        <a:pt x="274" y="187"/>
                        <a:pt x="267" y="170"/>
                      </a:cubicBezTo>
                      <a:cubicBezTo>
                        <a:pt x="267" y="170"/>
                        <a:pt x="267" y="170"/>
                        <a:pt x="267" y="170"/>
                      </a:cubicBezTo>
                      <a:cubicBezTo>
                        <a:pt x="267" y="170"/>
                        <a:pt x="267" y="170"/>
                        <a:pt x="267" y="170"/>
                      </a:cubicBezTo>
                      <a:cubicBezTo>
                        <a:pt x="274" y="154"/>
                        <a:pt x="280" y="139"/>
                        <a:pt x="284" y="123"/>
                      </a:cubicBezTo>
                      <a:cubicBezTo>
                        <a:pt x="284" y="123"/>
                        <a:pt x="284" y="123"/>
                        <a:pt x="284" y="123"/>
                      </a:cubicBezTo>
                      <a:cubicBezTo>
                        <a:pt x="284" y="123"/>
                        <a:pt x="284" y="123"/>
                        <a:pt x="284" y="123"/>
                      </a:cubicBezTo>
                      <a:cubicBezTo>
                        <a:pt x="307" y="129"/>
                        <a:pt x="326" y="137"/>
                        <a:pt x="339" y="145"/>
                      </a:cubicBezTo>
                      <a:cubicBezTo>
                        <a:pt x="352" y="153"/>
                        <a:pt x="359" y="163"/>
                        <a:pt x="359" y="171"/>
                      </a:cubicBezTo>
                      <a:cubicBezTo>
                        <a:pt x="359" y="181"/>
                        <a:pt x="352" y="189"/>
                        <a:pt x="340" y="197"/>
                      </a:cubicBezTo>
                      <a:cubicBezTo>
                        <a:pt x="327" y="206"/>
                        <a:pt x="308" y="214"/>
                        <a:pt x="285"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24" name="Freeform 6">
                  <a:extLst>
                    <a:ext uri="{FF2B5EF4-FFF2-40B4-BE49-F238E27FC236}">
                      <a16:creationId xmlns:a16="http://schemas.microsoft.com/office/drawing/2014/main" id="{E1BE91C7-FEC1-8E45-9D10-2973A3840A99}"/>
                    </a:ext>
                  </a:extLst>
                </p:cNvPr>
                <p:cNvSpPr>
                  <a:spLocks noEditPoints="1"/>
                </p:cNvSpPr>
                <p:nvPr/>
              </p:nvSpPr>
              <p:spPr bwMode="auto">
                <a:xfrm>
                  <a:off x="3761" y="2082"/>
                  <a:ext cx="153" cy="15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1 h 64"/>
                    <a:gd name="T12" fmla="*/ 14 w 64"/>
                    <a:gd name="T13" fmla="*/ 32 h 64"/>
                    <a:gd name="T14" fmla="*/ 32 w 64"/>
                    <a:gd name="T15" fmla="*/ 14 h 64"/>
                    <a:gd name="T16" fmla="*/ 51 w 64"/>
                    <a:gd name="T17" fmla="*/ 32 h 64"/>
                    <a:gd name="T18" fmla="*/ 32 w 64"/>
                    <a:gd name="T19" fmla="*/ 5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50" y="64"/>
                        <a:pt x="64" y="50"/>
                        <a:pt x="64" y="32"/>
                      </a:cubicBezTo>
                      <a:cubicBezTo>
                        <a:pt x="64" y="14"/>
                        <a:pt x="50" y="0"/>
                        <a:pt x="32" y="0"/>
                      </a:cubicBezTo>
                      <a:close/>
                      <a:moveTo>
                        <a:pt x="32" y="51"/>
                      </a:moveTo>
                      <a:cubicBezTo>
                        <a:pt x="23" y="51"/>
                        <a:pt x="14" y="42"/>
                        <a:pt x="14" y="32"/>
                      </a:cubicBezTo>
                      <a:cubicBezTo>
                        <a:pt x="14" y="22"/>
                        <a:pt x="23" y="14"/>
                        <a:pt x="32" y="14"/>
                      </a:cubicBezTo>
                      <a:cubicBezTo>
                        <a:pt x="43" y="14"/>
                        <a:pt x="51" y="22"/>
                        <a:pt x="51" y="32"/>
                      </a:cubicBezTo>
                      <a:cubicBezTo>
                        <a:pt x="51" y="42"/>
                        <a:pt x="43" y="51"/>
                        <a:pt x="3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grpSp>
        </p:grpSp>
        <p:sp>
          <p:nvSpPr>
            <p:cNvPr id="125" name="TextBox 124">
              <a:extLst>
                <a:ext uri="{FF2B5EF4-FFF2-40B4-BE49-F238E27FC236}">
                  <a16:creationId xmlns:a16="http://schemas.microsoft.com/office/drawing/2014/main" id="{5FA320F2-C840-4242-B3D7-E22CDBACA687}"/>
                </a:ext>
              </a:extLst>
            </p:cNvPr>
            <p:cNvSpPr txBox="1"/>
            <p:nvPr/>
          </p:nvSpPr>
          <p:spPr bwMode="auto">
            <a:xfrm>
              <a:off x="1954471" y="3976725"/>
              <a:ext cx="846145" cy="288613"/>
            </a:xfrm>
            <a:prstGeom prst="rect">
              <a:avLst/>
            </a:prstGeom>
            <a:noFill/>
            <a:ln w="9525">
              <a:noFill/>
              <a:miter lim="800000"/>
              <a:headEnd/>
              <a:tailEnd/>
            </a:ln>
          </p:spPr>
          <p:txBody>
            <a:bodyPr wrap="none" rtlCol="0">
              <a:prstTxWarp prst="textNoShape">
                <a:avLst/>
              </a:prstTxWarp>
              <a:spAutoFit/>
            </a:bodyPr>
            <a:lstStyle/>
            <a:p>
              <a:pPr eaLnBrk="0" hangingPunct="0"/>
              <a:r>
                <a:rPr lang="en-US" sz="1067" dirty="0" smtClean="0">
                  <a:latin typeface="Century Gothic" panose="020B0502020202020204" pitchFamily="34" charset="0"/>
                  <a:cs typeface="Calibri" panose="020F0502020204030204" pitchFamily="34" charset="0"/>
                </a:rPr>
                <a:t>Break Fix</a:t>
              </a:r>
              <a:endParaRPr lang="en-US" sz="1067" dirty="0">
                <a:latin typeface="Century Gothic" panose="020B0502020202020204" pitchFamily="34" charset="0"/>
                <a:cs typeface="Calibri" panose="020F0502020204030204" pitchFamily="34" charset="0"/>
              </a:endParaRPr>
            </a:p>
          </p:txBody>
        </p:sp>
      </p:grpSp>
      <p:grpSp>
        <p:nvGrpSpPr>
          <p:cNvPr id="127" name="Group 15">
            <a:extLst>
              <a:ext uri="{FF2B5EF4-FFF2-40B4-BE49-F238E27FC236}">
                <a16:creationId xmlns:a16="http://schemas.microsoft.com/office/drawing/2014/main" id="{66C2D1EC-2C85-A84F-9F2B-0B1A2F3AA54C}"/>
              </a:ext>
            </a:extLst>
          </p:cNvPr>
          <p:cNvGrpSpPr>
            <a:grpSpLocks noChangeAspect="1"/>
          </p:cNvGrpSpPr>
          <p:nvPr/>
        </p:nvGrpSpPr>
        <p:grpSpPr bwMode="auto">
          <a:xfrm>
            <a:off x="2965339" y="2122765"/>
            <a:ext cx="309033" cy="258233"/>
            <a:chOff x="2239" y="3329"/>
            <a:chExt cx="219" cy="183"/>
          </a:xfrm>
          <a:solidFill>
            <a:schemeClr val="tx1"/>
          </a:solidFill>
        </p:grpSpPr>
        <p:sp>
          <p:nvSpPr>
            <p:cNvPr id="128" name="Freeform 16">
              <a:extLst>
                <a:ext uri="{FF2B5EF4-FFF2-40B4-BE49-F238E27FC236}">
                  <a16:creationId xmlns:a16="http://schemas.microsoft.com/office/drawing/2014/main" id="{C2AE501C-4C0D-7C4C-956F-021CA9A47BA0}"/>
                </a:ext>
              </a:extLst>
            </p:cNvPr>
            <p:cNvSpPr>
              <a:spLocks/>
            </p:cNvSpPr>
            <p:nvPr/>
          </p:nvSpPr>
          <p:spPr bwMode="auto">
            <a:xfrm>
              <a:off x="2239" y="3366"/>
              <a:ext cx="192" cy="9"/>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29" name="Oval 17">
              <a:extLst>
                <a:ext uri="{FF2B5EF4-FFF2-40B4-BE49-F238E27FC236}">
                  <a16:creationId xmlns:a16="http://schemas.microsoft.com/office/drawing/2014/main" id="{EBA3242B-96C5-9A46-9855-899BB02BEC10}"/>
                </a:ext>
              </a:extLst>
            </p:cNvPr>
            <p:cNvSpPr>
              <a:spLocks noChangeArrowheads="1"/>
            </p:cNvSpPr>
            <p:nvPr/>
          </p:nvSpPr>
          <p:spPr bwMode="auto">
            <a:xfrm>
              <a:off x="2266" y="3347"/>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0" name="Oval 18">
              <a:extLst>
                <a:ext uri="{FF2B5EF4-FFF2-40B4-BE49-F238E27FC236}">
                  <a16:creationId xmlns:a16="http://schemas.microsoft.com/office/drawing/2014/main" id="{1B1EDFC0-8F39-FA4A-88AE-741F3F57E2A0}"/>
                </a:ext>
              </a:extLst>
            </p:cNvPr>
            <p:cNvSpPr>
              <a:spLocks noChangeArrowheads="1"/>
            </p:cNvSpPr>
            <p:nvPr/>
          </p:nvSpPr>
          <p:spPr bwMode="auto">
            <a:xfrm>
              <a:off x="2284" y="3347"/>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1" name="Oval 19">
              <a:extLst>
                <a:ext uri="{FF2B5EF4-FFF2-40B4-BE49-F238E27FC236}">
                  <a16:creationId xmlns:a16="http://schemas.microsoft.com/office/drawing/2014/main" id="{BA28EFEA-4F3E-F545-A794-1B9A2078BDEB}"/>
                </a:ext>
              </a:extLst>
            </p:cNvPr>
            <p:cNvSpPr>
              <a:spLocks noChangeArrowheads="1"/>
            </p:cNvSpPr>
            <p:nvPr/>
          </p:nvSpPr>
          <p:spPr bwMode="auto">
            <a:xfrm>
              <a:off x="2303" y="3347"/>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2" name="Freeform 20">
              <a:extLst>
                <a:ext uri="{FF2B5EF4-FFF2-40B4-BE49-F238E27FC236}">
                  <a16:creationId xmlns:a16="http://schemas.microsoft.com/office/drawing/2014/main" id="{AD5AD739-7FDD-A447-B5A6-A2891BC65108}"/>
                </a:ext>
              </a:extLst>
            </p:cNvPr>
            <p:cNvSpPr>
              <a:spLocks noEditPoints="1"/>
            </p:cNvSpPr>
            <p:nvPr/>
          </p:nvSpPr>
          <p:spPr bwMode="auto">
            <a:xfrm>
              <a:off x="2239" y="3329"/>
              <a:ext cx="192" cy="147"/>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3" name="Freeform 21">
              <a:extLst>
                <a:ext uri="{FF2B5EF4-FFF2-40B4-BE49-F238E27FC236}">
                  <a16:creationId xmlns:a16="http://schemas.microsoft.com/office/drawing/2014/main" id="{244088F2-067D-124E-A3EA-E592A9E55E08}"/>
                </a:ext>
              </a:extLst>
            </p:cNvPr>
            <p:cNvSpPr>
              <a:spLocks/>
            </p:cNvSpPr>
            <p:nvPr/>
          </p:nvSpPr>
          <p:spPr bwMode="auto">
            <a:xfrm>
              <a:off x="2422" y="3402"/>
              <a:ext cx="36" cy="10"/>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4" name="Freeform 22">
              <a:extLst>
                <a:ext uri="{FF2B5EF4-FFF2-40B4-BE49-F238E27FC236}">
                  <a16:creationId xmlns:a16="http://schemas.microsoft.com/office/drawing/2014/main" id="{B30D76C0-322E-1448-A6F5-CDAB2C60AC4B}"/>
                </a:ext>
              </a:extLst>
            </p:cNvPr>
            <p:cNvSpPr>
              <a:spLocks/>
            </p:cNvSpPr>
            <p:nvPr/>
          </p:nvSpPr>
          <p:spPr bwMode="auto">
            <a:xfrm>
              <a:off x="2266" y="3366"/>
              <a:ext cx="192" cy="146"/>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grpSp>
      <p:grpSp>
        <p:nvGrpSpPr>
          <p:cNvPr id="135" name="Group 134">
            <a:extLst>
              <a:ext uri="{FF2B5EF4-FFF2-40B4-BE49-F238E27FC236}">
                <a16:creationId xmlns:a16="http://schemas.microsoft.com/office/drawing/2014/main" id="{9282B365-D4F1-0542-9E01-71F07A432D31}"/>
              </a:ext>
            </a:extLst>
          </p:cNvPr>
          <p:cNvGrpSpPr>
            <a:grpSpLocks noChangeAspect="1"/>
          </p:cNvGrpSpPr>
          <p:nvPr/>
        </p:nvGrpSpPr>
        <p:grpSpPr bwMode="auto">
          <a:xfrm>
            <a:off x="2897003" y="3086402"/>
            <a:ext cx="326085" cy="325120"/>
            <a:chOff x="4524" y="1625"/>
            <a:chExt cx="338" cy="337"/>
          </a:xfrm>
          <a:solidFill>
            <a:schemeClr val="tx1"/>
          </a:solidFill>
        </p:grpSpPr>
        <p:sp>
          <p:nvSpPr>
            <p:cNvPr id="136" name="Freeform 5">
              <a:extLst>
                <a:ext uri="{FF2B5EF4-FFF2-40B4-BE49-F238E27FC236}">
                  <a16:creationId xmlns:a16="http://schemas.microsoft.com/office/drawing/2014/main" id="{FB89F2F0-EB0B-2841-9C2D-41122CD8AA91}"/>
                </a:ext>
              </a:extLst>
            </p:cNvPr>
            <p:cNvSpPr>
              <a:spLocks noEditPoints="1"/>
            </p:cNvSpPr>
            <p:nvPr/>
          </p:nvSpPr>
          <p:spPr bwMode="auto">
            <a:xfrm>
              <a:off x="4524" y="1850"/>
              <a:ext cx="309" cy="112"/>
            </a:xfrm>
            <a:custGeom>
              <a:avLst/>
              <a:gdLst>
                <a:gd name="T0" fmla="*/ 200 w 314"/>
                <a:gd name="T1" fmla="*/ 43 h 114"/>
                <a:gd name="T2" fmla="*/ 175 w 314"/>
                <a:gd name="T3" fmla="*/ 43 h 114"/>
                <a:gd name="T4" fmla="*/ 174 w 314"/>
                <a:gd name="T5" fmla="*/ 42 h 114"/>
                <a:gd name="T6" fmla="*/ 114 w 314"/>
                <a:gd name="T7" fmla="*/ 14 h 114"/>
                <a:gd name="T8" fmla="*/ 72 w 314"/>
                <a:gd name="T9" fmla="*/ 14 h 114"/>
                <a:gd name="T10" fmla="*/ 72 w 314"/>
                <a:gd name="T11" fmla="*/ 7 h 114"/>
                <a:gd name="T12" fmla="*/ 64 w 314"/>
                <a:gd name="T13" fmla="*/ 0 h 114"/>
                <a:gd name="T14" fmla="*/ 7 w 314"/>
                <a:gd name="T15" fmla="*/ 0 h 114"/>
                <a:gd name="T16" fmla="*/ 0 w 314"/>
                <a:gd name="T17" fmla="*/ 7 h 114"/>
                <a:gd name="T18" fmla="*/ 0 w 314"/>
                <a:gd name="T19" fmla="*/ 107 h 114"/>
                <a:gd name="T20" fmla="*/ 7 w 314"/>
                <a:gd name="T21" fmla="*/ 114 h 114"/>
                <a:gd name="T22" fmla="*/ 64 w 314"/>
                <a:gd name="T23" fmla="*/ 114 h 114"/>
                <a:gd name="T24" fmla="*/ 72 w 314"/>
                <a:gd name="T25" fmla="*/ 107 h 114"/>
                <a:gd name="T26" fmla="*/ 72 w 314"/>
                <a:gd name="T27" fmla="*/ 100 h 114"/>
                <a:gd name="T28" fmla="*/ 307 w 314"/>
                <a:gd name="T29" fmla="*/ 100 h 114"/>
                <a:gd name="T30" fmla="*/ 314 w 314"/>
                <a:gd name="T31" fmla="*/ 93 h 114"/>
                <a:gd name="T32" fmla="*/ 200 w 314"/>
                <a:gd name="T33" fmla="*/ 43 h 114"/>
                <a:gd name="T34" fmla="*/ 57 w 314"/>
                <a:gd name="T35" fmla="*/ 100 h 114"/>
                <a:gd name="T36" fmla="*/ 14 w 314"/>
                <a:gd name="T37" fmla="*/ 100 h 114"/>
                <a:gd name="T38" fmla="*/ 14 w 314"/>
                <a:gd name="T39" fmla="*/ 14 h 114"/>
                <a:gd name="T40" fmla="*/ 57 w 314"/>
                <a:gd name="T41" fmla="*/ 14 h 114"/>
                <a:gd name="T42" fmla="*/ 57 w 314"/>
                <a:gd name="T43" fmla="*/ 100 h 114"/>
                <a:gd name="T44" fmla="*/ 72 w 314"/>
                <a:gd name="T45" fmla="*/ 86 h 114"/>
                <a:gd name="T46" fmla="*/ 72 w 314"/>
                <a:gd name="T47" fmla="*/ 28 h 114"/>
                <a:gd name="T48" fmla="*/ 114 w 314"/>
                <a:gd name="T49" fmla="*/ 28 h 114"/>
                <a:gd name="T50" fmla="*/ 154 w 314"/>
                <a:gd name="T51" fmla="*/ 43 h 114"/>
                <a:gd name="T52" fmla="*/ 100 w 314"/>
                <a:gd name="T53" fmla="*/ 43 h 114"/>
                <a:gd name="T54" fmla="*/ 93 w 314"/>
                <a:gd name="T55" fmla="*/ 50 h 114"/>
                <a:gd name="T56" fmla="*/ 100 w 314"/>
                <a:gd name="T57" fmla="*/ 57 h 114"/>
                <a:gd name="T58" fmla="*/ 200 w 314"/>
                <a:gd name="T59" fmla="*/ 57 h 114"/>
                <a:gd name="T60" fmla="*/ 297 w 314"/>
                <a:gd name="T61" fmla="*/ 86 h 114"/>
                <a:gd name="T62" fmla="*/ 72 w 314"/>
                <a:gd name="T63" fmla="*/ 8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4" h="114">
                  <a:moveTo>
                    <a:pt x="200" y="43"/>
                  </a:moveTo>
                  <a:cubicBezTo>
                    <a:pt x="175" y="43"/>
                    <a:pt x="175" y="43"/>
                    <a:pt x="175" y="43"/>
                  </a:cubicBezTo>
                  <a:cubicBezTo>
                    <a:pt x="174" y="42"/>
                    <a:pt x="174" y="42"/>
                    <a:pt x="174" y="42"/>
                  </a:cubicBezTo>
                  <a:cubicBezTo>
                    <a:pt x="166" y="33"/>
                    <a:pt x="148" y="14"/>
                    <a:pt x="114" y="14"/>
                  </a:cubicBezTo>
                  <a:cubicBezTo>
                    <a:pt x="72" y="14"/>
                    <a:pt x="72" y="14"/>
                    <a:pt x="72" y="14"/>
                  </a:cubicBezTo>
                  <a:cubicBezTo>
                    <a:pt x="72" y="7"/>
                    <a:pt x="72" y="7"/>
                    <a:pt x="72" y="7"/>
                  </a:cubicBezTo>
                  <a:cubicBezTo>
                    <a:pt x="72" y="3"/>
                    <a:pt x="68" y="0"/>
                    <a:pt x="64" y="0"/>
                  </a:cubicBezTo>
                  <a:cubicBezTo>
                    <a:pt x="7" y="0"/>
                    <a:pt x="7" y="0"/>
                    <a:pt x="7" y="0"/>
                  </a:cubicBezTo>
                  <a:cubicBezTo>
                    <a:pt x="3" y="0"/>
                    <a:pt x="0" y="3"/>
                    <a:pt x="0" y="7"/>
                  </a:cubicBezTo>
                  <a:cubicBezTo>
                    <a:pt x="0" y="107"/>
                    <a:pt x="0" y="107"/>
                    <a:pt x="0" y="107"/>
                  </a:cubicBezTo>
                  <a:cubicBezTo>
                    <a:pt x="0" y="111"/>
                    <a:pt x="3" y="114"/>
                    <a:pt x="7" y="114"/>
                  </a:cubicBezTo>
                  <a:cubicBezTo>
                    <a:pt x="64" y="114"/>
                    <a:pt x="64" y="114"/>
                    <a:pt x="64" y="114"/>
                  </a:cubicBezTo>
                  <a:cubicBezTo>
                    <a:pt x="68" y="114"/>
                    <a:pt x="72" y="111"/>
                    <a:pt x="72" y="107"/>
                  </a:cubicBezTo>
                  <a:cubicBezTo>
                    <a:pt x="72" y="100"/>
                    <a:pt x="72" y="100"/>
                    <a:pt x="72" y="100"/>
                  </a:cubicBezTo>
                  <a:cubicBezTo>
                    <a:pt x="307" y="100"/>
                    <a:pt x="307" y="100"/>
                    <a:pt x="307" y="100"/>
                  </a:cubicBezTo>
                  <a:cubicBezTo>
                    <a:pt x="311" y="100"/>
                    <a:pt x="314" y="97"/>
                    <a:pt x="314" y="93"/>
                  </a:cubicBezTo>
                  <a:cubicBezTo>
                    <a:pt x="314" y="63"/>
                    <a:pt x="254" y="43"/>
                    <a:pt x="200" y="43"/>
                  </a:cubicBezTo>
                  <a:close/>
                  <a:moveTo>
                    <a:pt x="57" y="100"/>
                  </a:moveTo>
                  <a:cubicBezTo>
                    <a:pt x="14" y="100"/>
                    <a:pt x="14" y="100"/>
                    <a:pt x="14" y="100"/>
                  </a:cubicBezTo>
                  <a:cubicBezTo>
                    <a:pt x="14" y="14"/>
                    <a:pt x="14" y="14"/>
                    <a:pt x="14" y="14"/>
                  </a:cubicBezTo>
                  <a:cubicBezTo>
                    <a:pt x="57" y="14"/>
                    <a:pt x="57" y="14"/>
                    <a:pt x="57" y="14"/>
                  </a:cubicBezTo>
                  <a:lnTo>
                    <a:pt x="57" y="100"/>
                  </a:lnTo>
                  <a:close/>
                  <a:moveTo>
                    <a:pt x="72" y="86"/>
                  </a:moveTo>
                  <a:cubicBezTo>
                    <a:pt x="72" y="28"/>
                    <a:pt x="72" y="28"/>
                    <a:pt x="72" y="28"/>
                  </a:cubicBezTo>
                  <a:cubicBezTo>
                    <a:pt x="114" y="28"/>
                    <a:pt x="114" y="28"/>
                    <a:pt x="114" y="28"/>
                  </a:cubicBezTo>
                  <a:cubicBezTo>
                    <a:pt x="133" y="28"/>
                    <a:pt x="145" y="36"/>
                    <a:pt x="154" y="43"/>
                  </a:cubicBezTo>
                  <a:cubicBezTo>
                    <a:pt x="100" y="43"/>
                    <a:pt x="100" y="43"/>
                    <a:pt x="100" y="43"/>
                  </a:cubicBezTo>
                  <a:cubicBezTo>
                    <a:pt x="96" y="43"/>
                    <a:pt x="93" y="46"/>
                    <a:pt x="93" y="50"/>
                  </a:cubicBezTo>
                  <a:cubicBezTo>
                    <a:pt x="93" y="54"/>
                    <a:pt x="96" y="57"/>
                    <a:pt x="100" y="57"/>
                  </a:cubicBezTo>
                  <a:cubicBezTo>
                    <a:pt x="200" y="57"/>
                    <a:pt x="200" y="57"/>
                    <a:pt x="200" y="57"/>
                  </a:cubicBezTo>
                  <a:cubicBezTo>
                    <a:pt x="248" y="57"/>
                    <a:pt x="286" y="72"/>
                    <a:pt x="297" y="86"/>
                  </a:cubicBezTo>
                  <a:lnTo>
                    <a:pt x="7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7" name="Freeform 6">
              <a:extLst>
                <a:ext uri="{FF2B5EF4-FFF2-40B4-BE49-F238E27FC236}">
                  <a16:creationId xmlns:a16="http://schemas.microsoft.com/office/drawing/2014/main" id="{B7D96DF5-5BF8-8E4C-BA3E-891CBEFE60CA}"/>
                </a:ext>
              </a:extLst>
            </p:cNvPr>
            <p:cNvSpPr>
              <a:spLocks noEditPoints="1"/>
            </p:cNvSpPr>
            <p:nvPr/>
          </p:nvSpPr>
          <p:spPr bwMode="auto">
            <a:xfrm>
              <a:off x="4693" y="1695"/>
              <a:ext cx="99" cy="99"/>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50 w 100"/>
                <a:gd name="T11" fmla="*/ 86 h 100"/>
                <a:gd name="T12" fmla="*/ 14 w 100"/>
                <a:gd name="T13" fmla="*/ 50 h 100"/>
                <a:gd name="T14" fmla="*/ 50 w 100"/>
                <a:gd name="T15" fmla="*/ 14 h 100"/>
                <a:gd name="T16" fmla="*/ 85 w 100"/>
                <a:gd name="T17" fmla="*/ 50 h 100"/>
                <a:gd name="T18" fmla="*/ 50 w 100"/>
                <a:gd name="T1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50" y="0"/>
                  </a:moveTo>
                  <a:cubicBezTo>
                    <a:pt x="22" y="0"/>
                    <a:pt x="0" y="22"/>
                    <a:pt x="0" y="50"/>
                  </a:cubicBezTo>
                  <a:cubicBezTo>
                    <a:pt x="0" y="77"/>
                    <a:pt x="22" y="100"/>
                    <a:pt x="50" y="100"/>
                  </a:cubicBezTo>
                  <a:cubicBezTo>
                    <a:pt x="77" y="100"/>
                    <a:pt x="100" y="77"/>
                    <a:pt x="100" y="50"/>
                  </a:cubicBezTo>
                  <a:cubicBezTo>
                    <a:pt x="100" y="22"/>
                    <a:pt x="77" y="0"/>
                    <a:pt x="50" y="0"/>
                  </a:cubicBezTo>
                  <a:close/>
                  <a:moveTo>
                    <a:pt x="50" y="86"/>
                  </a:moveTo>
                  <a:cubicBezTo>
                    <a:pt x="30" y="86"/>
                    <a:pt x="14" y="70"/>
                    <a:pt x="14" y="50"/>
                  </a:cubicBezTo>
                  <a:cubicBezTo>
                    <a:pt x="14" y="30"/>
                    <a:pt x="30" y="14"/>
                    <a:pt x="50" y="14"/>
                  </a:cubicBezTo>
                  <a:cubicBezTo>
                    <a:pt x="69" y="14"/>
                    <a:pt x="85" y="30"/>
                    <a:pt x="85" y="50"/>
                  </a:cubicBezTo>
                  <a:cubicBezTo>
                    <a:pt x="85" y="70"/>
                    <a:pt x="69" y="86"/>
                    <a:pt x="5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sp>
          <p:nvSpPr>
            <p:cNvPr id="138" name="Freeform 7">
              <a:extLst>
                <a:ext uri="{FF2B5EF4-FFF2-40B4-BE49-F238E27FC236}">
                  <a16:creationId xmlns:a16="http://schemas.microsoft.com/office/drawing/2014/main" id="{BD88932A-541C-B346-9B5F-C055CCC60996}"/>
                </a:ext>
              </a:extLst>
            </p:cNvPr>
            <p:cNvSpPr>
              <a:spLocks noEditPoints="1"/>
            </p:cNvSpPr>
            <p:nvPr/>
          </p:nvSpPr>
          <p:spPr bwMode="auto">
            <a:xfrm>
              <a:off x="4623" y="1625"/>
              <a:ext cx="239" cy="239"/>
            </a:xfrm>
            <a:custGeom>
              <a:avLst/>
              <a:gdLst>
                <a:gd name="T0" fmla="*/ 220 w 243"/>
                <a:gd name="T1" fmla="*/ 137 h 242"/>
                <a:gd name="T2" fmla="*/ 220 w 243"/>
                <a:gd name="T3" fmla="*/ 105 h 242"/>
                <a:gd name="T4" fmla="*/ 241 w 243"/>
                <a:gd name="T5" fmla="*/ 85 h 242"/>
                <a:gd name="T6" fmla="*/ 208 w 243"/>
                <a:gd name="T7" fmla="*/ 32 h 242"/>
                <a:gd name="T8" fmla="*/ 185 w 243"/>
                <a:gd name="T9" fmla="*/ 43 h 242"/>
                <a:gd name="T10" fmla="*/ 158 w 243"/>
                <a:gd name="T11" fmla="*/ 7 h 242"/>
                <a:gd name="T12" fmla="*/ 94 w 243"/>
                <a:gd name="T13" fmla="*/ 0 h 242"/>
                <a:gd name="T14" fmla="*/ 87 w 243"/>
                <a:gd name="T15" fmla="*/ 27 h 242"/>
                <a:gd name="T16" fmla="*/ 41 w 243"/>
                <a:gd name="T17" fmla="*/ 33 h 242"/>
                <a:gd name="T18" fmla="*/ 2 w 243"/>
                <a:gd name="T19" fmla="*/ 85 h 242"/>
                <a:gd name="T20" fmla="*/ 5 w 243"/>
                <a:gd name="T21" fmla="*/ 95 h 242"/>
                <a:gd name="T22" fmla="*/ 22 w 243"/>
                <a:gd name="T23" fmla="*/ 121 h 242"/>
                <a:gd name="T24" fmla="*/ 5 w 243"/>
                <a:gd name="T25" fmla="*/ 147 h 242"/>
                <a:gd name="T26" fmla="*/ 31 w 243"/>
                <a:gd name="T27" fmla="*/ 206 h 242"/>
                <a:gd name="T28" fmla="*/ 59 w 243"/>
                <a:gd name="T29" fmla="*/ 198 h 242"/>
                <a:gd name="T30" fmla="*/ 87 w 243"/>
                <a:gd name="T31" fmla="*/ 235 h 242"/>
                <a:gd name="T32" fmla="*/ 151 w 243"/>
                <a:gd name="T33" fmla="*/ 242 h 242"/>
                <a:gd name="T34" fmla="*/ 158 w 243"/>
                <a:gd name="T35" fmla="*/ 214 h 242"/>
                <a:gd name="T36" fmla="*/ 203 w 243"/>
                <a:gd name="T37" fmla="*/ 209 h 242"/>
                <a:gd name="T38" fmla="*/ 213 w 243"/>
                <a:gd name="T39" fmla="*/ 206 h 242"/>
                <a:gd name="T40" fmla="*/ 238 w 243"/>
                <a:gd name="T41" fmla="*/ 147 h 242"/>
                <a:gd name="T42" fmla="*/ 188 w 243"/>
                <a:gd name="T43" fmla="*/ 184 h 242"/>
                <a:gd name="T44" fmla="*/ 149 w 243"/>
                <a:gd name="T45" fmla="*/ 202 h 242"/>
                <a:gd name="T46" fmla="*/ 144 w 243"/>
                <a:gd name="T47" fmla="*/ 228 h 242"/>
                <a:gd name="T48" fmla="*/ 101 w 243"/>
                <a:gd name="T49" fmla="*/ 209 h 242"/>
                <a:gd name="T50" fmla="*/ 65 w 243"/>
                <a:gd name="T51" fmla="*/ 184 h 242"/>
                <a:gd name="T52" fmla="*/ 40 w 243"/>
                <a:gd name="T53" fmla="*/ 193 h 242"/>
                <a:gd name="T54" fmla="*/ 34 w 243"/>
                <a:gd name="T55" fmla="*/ 146 h 242"/>
                <a:gd name="T56" fmla="*/ 36 w 243"/>
                <a:gd name="T57" fmla="*/ 121 h 242"/>
                <a:gd name="T58" fmla="*/ 35 w 243"/>
                <a:gd name="T59" fmla="*/ 95 h 242"/>
                <a:gd name="T60" fmla="*/ 40 w 243"/>
                <a:gd name="T61" fmla="*/ 49 h 242"/>
                <a:gd name="T62" fmla="*/ 65 w 243"/>
                <a:gd name="T63" fmla="*/ 57 h 242"/>
                <a:gd name="T64" fmla="*/ 101 w 243"/>
                <a:gd name="T65" fmla="*/ 33 h 242"/>
                <a:gd name="T66" fmla="*/ 144 w 243"/>
                <a:gd name="T67" fmla="*/ 14 h 242"/>
                <a:gd name="T68" fmla="*/ 149 w 243"/>
                <a:gd name="T69" fmla="*/ 40 h 242"/>
                <a:gd name="T70" fmla="*/ 188 w 243"/>
                <a:gd name="T71" fmla="*/ 58 h 242"/>
                <a:gd name="T72" fmla="*/ 225 w 243"/>
                <a:gd name="T73" fmla="*/ 86 h 242"/>
                <a:gd name="T74" fmla="*/ 205 w 243"/>
                <a:gd name="T75" fmla="*/ 103 h 242"/>
                <a:gd name="T76" fmla="*/ 205 w 243"/>
                <a:gd name="T77" fmla="*/ 139 h 242"/>
                <a:gd name="T78" fmla="*/ 225 w 243"/>
                <a:gd name="T79" fmla="*/ 15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3" h="242">
                  <a:moveTo>
                    <a:pt x="238" y="147"/>
                  </a:moveTo>
                  <a:cubicBezTo>
                    <a:pt x="220" y="137"/>
                    <a:pt x="220" y="137"/>
                    <a:pt x="220" y="137"/>
                  </a:cubicBezTo>
                  <a:cubicBezTo>
                    <a:pt x="221" y="131"/>
                    <a:pt x="221" y="126"/>
                    <a:pt x="221" y="121"/>
                  </a:cubicBezTo>
                  <a:cubicBezTo>
                    <a:pt x="221" y="116"/>
                    <a:pt x="221" y="110"/>
                    <a:pt x="220" y="105"/>
                  </a:cubicBezTo>
                  <a:cubicBezTo>
                    <a:pt x="238" y="95"/>
                    <a:pt x="238" y="95"/>
                    <a:pt x="238" y="95"/>
                  </a:cubicBezTo>
                  <a:cubicBezTo>
                    <a:pt x="242" y="93"/>
                    <a:pt x="243" y="88"/>
                    <a:pt x="241" y="85"/>
                  </a:cubicBezTo>
                  <a:cubicBezTo>
                    <a:pt x="212" y="36"/>
                    <a:pt x="212" y="36"/>
                    <a:pt x="212" y="36"/>
                  </a:cubicBezTo>
                  <a:cubicBezTo>
                    <a:pt x="211" y="34"/>
                    <a:pt x="210" y="33"/>
                    <a:pt x="208" y="32"/>
                  </a:cubicBezTo>
                  <a:cubicBezTo>
                    <a:pt x="206" y="32"/>
                    <a:pt x="204" y="32"/>
                    <a:pt x="203" y="33"/>
                  </a:cubicBezTo>
                  <a:cubicBezTo>
                    <a:pt x="185" y="43"/>
                    <a:pt x="185" y="43"/>
                    <a:pt x="185" y="43"/>
                  </a:cubicBezTo>
                  <a:cubicBezTo>
                    <a:pt x="177" y="37"/>
                    <a:pt x="169" y="31"/>
                    <a:pt x="158" y="27"/>
                  </a:cubicBezTo>
                  <a:cubicBezTo>
                    <a:pt x="158" y="7"/>
                    <a:pt x="158" y="7"/>
                    <a:pt x="158" y="7"/>
                  </a:cubicBezTo>
                  <a:cubicBezTo>
                    <a:pt x="158" y="3"/>
                    <a:pt x="155" y="0"/>
                    <a:pt x="151" y="0"/>
                  </a:cubicBezTo>
                  <a:cubicBezTo>
                    <a:pt x="94" y="0"/>
                    <a:pt x="94" y="0"/>
                    <a:pt x="94" y="0"/>
                  </a:cubicBezTo>
                  <a:cubicBezTo>
                    <a:pt x="90" y="0"/>
                    <a:pt x="87" y="3"/>
                    <a:pt x="87" y="7"/>
                  </a:cubicBezTo>
                  <a:cubicBezTo>
                    <a:pt x="87" y="27"/>
                    <a:pt x="87" y="27"/>
                    <a:pt x="87" y="27"/>
                  </a:cubicBezTo>
                  <a:cubicBezTo>
                    <a:pt x="77" y="31"/>
                    <a:pt x="68" y="36"/>
                    <a:pt x="59" y="43"/>
                  </a:cubicBezTo>
                  <a:cubicBezTo>
                    <a:pt x="41" y="33"/>
                    <a:pt x="41" y="33"/>
                    <a:pt x="41" y="33"/>
                  </a:cubicBezTo>
                  <a:cubicBezTo>
                    <a:pt x="37" y="31"/>
                    <a:pt x="33" y="32"/>
                    <a:pt x="31" y="36"/>
                  </a:cubicBezTo>
                  <a:cubicBezTo>
                    <a:pt x="2" y="85"/>
                    <a:pt x="2" y="85"/>
                    <a:pt x="2" y="85"/>
                  </a:cubicBezTo>
                  <a:cubicBezTo>
                    <a:pt x="1" y="87"/>
                    <a:pt x="1" y="89"/>
                    <a:pt x="2" y="90"/>
                  </a:cubicBezTo>
                  <a:cubicBezTo>
                    <a:pt x="2" y="92"/>
                    <a:pt x="3" y="94"/>
                    <a:pt x="5" y="95"/>
                  </a:cubicBezTo>
                  <a:cubicBezTo>
                    <a:pt x="23" y="105"/>
                    <a:pt x="23" y="105"/>
                    <a:pt x="23" y="105"/>
                  </a:cubicBezTo>
                  <a:cubicBezTo>
                    <a:pt x="22" y="110"/>
                    <a:pt x="22" y="116"/>
                    <a:pt x="22" y="121"/>
                  </a:cubicBezTo>
                  <a:cubicBezTo>
                    <a:pt x="22" y="126"/>
                    <a:pt x="22" y="131"/>
                    <a:pt x="23" y="137"/>
                  </a:cubicBezTo>
                  <a:cubicBezTo>
                    <a:pt x="5" y="147"/>
                    <a:pt x="5" y="147"/>
                    <a:pt x="5" y="147"/>
                  </a:cubicBezTo>
                  <a:cubicBezTo>
                    <a:pt x="1" y="149"/>
                    <a:pt x="0" y="153"/>
                    <a:pt x="2" y="157"/>
                  </a:cubicBezTo>
                  <a:cubicBezTo>
                    <a:pt x="31" y="206"/>
                    <a:pt x="31" y="206"/>
                    <a:pt x="31" y="206"/>
                  </a:cubicBezTo>
                  <a:cubicBezTo>
                    <a:pt x="33" y="210"/>
                    <a:pt x="37" y="211"/>
                    <a:pt x="40" y="209"/>
                  </a:cubicBezTo>
                  <a:cubicBezTo>
                    <a:pt x="59" y="198"/>
                    <a:pt x="59" y="198"/>
                    <a:pt x="59" y="198"/>
                  </a:cubicBezTo>
                  <a:cubicBezTo>
                    <a:pt x="68" y="206"/>
                    <a:pt x="77" y="211"/>
                    <a:pt x="87" y="214"/>
                  </a:cubicBezTo>
                  <a:cubicBezTo>
                    <a:pt x="87" y="235"/>
                    <a:pt x="87" y="235"/>
                    <a:pt x="87" y="235"/>
                  </a:cubicBezTo>
                  <a:cubicBezTo>
                    <a:pt x="87" y="239"/>
                    <a:pt x="90" y="242"/>
                    <a:pt x="94" y="242"/>
                  </a:cubicBezTo>
                  <a:cubicBezTo>
                    <a:pt x="151" y="242"/>
                    <a:pt x="151" y="242"/>
                    <a:pt x="151" y="242"/>
                  </a:cubicBezTo>
                  <a:cubicBezTo>
                    <a:pt x="155" y="242"/>
                    <a:pt x="158" y="239"/>
                    <a:pt x="158" y="235"/>
                  </a:cubicBezTo>
                  <a:cubicBezTo>
                    <a:pt x="158" y="214"/>
                    <a:pt x="158" y="214"/>
                    <a:pt x="158" y="214"/>
                  </a:cubicBezTo>
                  <a:cubicBezTo>
                    <a:pt x="169" y="211"/>
                    <a:pt x="177" y="205"/>
                    <a:pt x="185" y="198"/>
                  </a:cubicBezTo>
                  <a:cubicBezTo>
                    <a:pt x="203" y="209"/>
                    <a:pt x="203" y="209"/>
                    <a:pt x="203" y="209"/>
                  </a:cubicBezTo>
                  <a:cubicBezTo>
                    <a:pt x="205" y="210"/>
                    <a:pt x="206" y="210"/>
                    <a:pt x="208" y="210"/>
                  </a:cubicBezTo>
                  <a:cubicBezTo>
                    <a:pt x="210" y="209"/>
                    <a:pt x="212" y="208"/>
                    <a:pt x="213" y="206"/>
                  </a:cubicBezTo>
                  <a:cubicBezTo>
                    <a:pt x="241" y="157"/>
                    <a:pt x="241" y="157"/>
                    <a:pt x="241" y="157"/>
                  </a:cubicBezTo>
                  <a:cubicBezTo>
                    <a:pt x="243" y="153"/>
                    <a:pt x="242" y="149"/>
                    <a:pt x="238" y="147"/>
                  </a:cubicBezTo>
                  <a:close/>
                  <a:moveTo>
                    <a:pt x="204" y="193"/>
                  </a:moveTo>
                  <a:cubicBezTo>
                    <a:pt x="188" y="184"/>
                    <a:pt x="188" y="184"/>
                    <a:pt x="188" y="184"/>
                  </a:cubicBezTo>
                  <a:cubicBezTo>
                    <a:pt x="185" y="182"/>
                    <a:pt x="182" y="182"/>
                    <a:pt x="179" y="184"/>
                  </a:cubicBezTo>
                  <a:cubicBezTo>
                    <a:pt x="170" y="193"/>
                    <a:pt x="162" y="199"/>
                    <a:pt x="149" y="202"/>
                  </a:cubicBezTo>
                  <a:cubicBezTo>
                    <a:pt x="146" y="203"/>
                    <a:pt x="144" y="206"/>
                    <a:pt x="144" y="209"/>
                  </a:cubicBezTo>
                  <a:cubicBezTo>
                    <a:pt x="144" y="228"/>
                    <a:pt x="144" y="228"/>
                    <a:pt x="144" y="228"/>
                  </a:cubicBezTo>
                  <a:cubicBezTo>
                    <a:pt x="101" y="228"/>
                    <a:pt x="101" y="228"/>
                    <a:pt x="101" y="228"/>
                  </a:cubicBezTo>
                  <a:cubicBezTo>
                    <a:pt x="101" y="209"/>
                    <a:pt x="101" y="209"/>
                    <a:pt x="101" y="209"/>
                  </a:cubicBezTo>
                  <a:cubicBezTo>
                    <a:pt x="101" y="206"/>
                    <a:pt x="99" y="203"/>
                    <a:pt x="96" y="202"/>
                  </a:cubicBezTo>
                  <a:cubicBezTo>
                    <a:pt x="84" y="199"/>
                    <a:pt x="75" y="194"/>
                    <a:pt x="65" y="184"/>
                  </a:cubicBezTo>
                  <a:cubicBezTo>
                    <a:pt x="63" y="182"/>
                    <a:pt x="59" y="182"/>
                    <a:pt x="57" y="183"/>
                  </a:cubicBezTo>
                  <a:cubicBezTo>
                    <a:pt x="40" y="193"/>
                    <a:pt x="40" y="193"/>
                    <a:pt x="40" y="193"/>
                  </a:cubicBezTo>
                  <a:cubicBezTo>
                    <a:pt x="18" y="156"/>
                    <a:pt x="18" y="156"/>
                    <a:pt x="18" y="156"/>
                  </a:cubicBezTo>
                  <a:cubicBezTo>
                    <a:pt x="34" y="146"/>
                    <a:pt x="34" y="146"/>
                    <a:pt x="34" y="146"/>
                  </a:cubicBezTo>
                  <a:cubicBezTo>
                    <a:pt x="37" y="145"/>
                    <a:pt x="39" y="142"/>
                    <a:pt x="38" y="139"/>
                  </a:cubicBezTo>
                  <a:cubicBezTo>
                    <a:pt x="37" y="133"/>
                    <a:pt x="36" y="127"/>
                    <a:pt x="36" y="121"/>
                  </a:cubicBezTo>
                  <a:cubicBezTo>
                    <a:pt x="36" y="115"/>
                    <a:pt x="37" y="109"/>
                    <a:pt x="38" y="103"/>
                  </a:cubicBezTo>
                  <a:cubicBezTo>
                    <a:pt x="39" y="100"/>
                    <a:pt x="37" y="97"/>
                    <a:pt x="35" y="95"/>
                  </a:cubicBezTo>
                  <a:cubicBezTo>
                    <a:pt x="18" y="86"/>
                    <a:pt x="18" y="86"/>
                    <a:pt x="18" y="86"/>
                  </a:cubicBezTo>
                  <a:cubicBezTo>
                    <a:pt x="40" y="49"/>
                    <a:pt x="40" y="49"/>
                    <a:pt x="40" y="49"/>
                  </a:cubicBezTo>
                  <a:cubicBezTo>
                    <a:pt x="56" y="58"/>
                    <a:pt x="56" y="58"/>
                    <a:pt x="56" y="58"/>
                  </a:cubicBezTo>
                  <a:cubicBezTo>
                    <a:pt x="59" y="60"/>
                    <a:pt x="63" y="59"/>
                    <a:pt x="65" y="57"/>
                  </a:cubicBezTo>
                  <a:cubicBezTo>
                    <a:pt x="75" y="48"/>
                    <a:pt x="84" y="43"/>
                    <a:pt x="96" y="40"/>
                  </a:cubicBezTo>
                  <a:cubicBezTo>
                    <a:pt x="99" y="39"/>
                    <a:pt x="101" y="36"/>
                    <a:pt x="101" y="33"/>
                  </a:cubicBezTo>
                  <a:cubicBezTo>
                    <a:pt x="101" y="14"/>
                    <a:pt x="101" y="14"/>
                    <a:pt x="101" y="14"/>
                  </a:cubicBezTo>
                  <a:cubicBezTo>
                    <a:pt x="144" y="14"/>
                    <a:pt x="144" y="14"/>
                    <a:pt x="144" y="14"/>
                  </a:cubicBezTo>
                  <a:cubicBezTo>
                    <a:pt x="144" y="33"/>
                    <a:pt x="144" y="33"/>
                    <a:pt x="144" y="33"/>
                  </a:cubicBezTo>
                  <a:cubicBezTo>
                    <a:pt x="144" y="36"/>
                    <a:pt x="146" y="39"/>
                    <a:pt x="149" y="40"/>
                  </a:cubicBezTo>
                  <a:cubicBezTo>
                    <a:pt x="162" y="43"/>
                    <a:pt x="170" y="49"/>
                    <a:pt x="179" y="57"/>
                  </a:cubicBezTo>
                  <a:cubicBezTo>
                    <a:pt x="182" y="60"/>
                    <a:pt x="185" y="60"/>
                    <a:pt x="188" y="58"/>
                  </a:cubicBezTo>
                  <a:cubicBezTo>
                    <a:pt x="204" y="49"/>
                    <a:pt x="204" y="49"/>
                    <a:pt x="204" y="49"/>
                  </a:cubicBezTo>
                  <a:cubicBezTo>
                    <a:pt x="225" y="86"/>
                    <a:pt x="225" y="86"/>
                    <a:pt x="225" y="86"/>
                  </a:cubicBezTo>
                  <a:cubicBezTo>
                    <a:pt x="209" y="95"/>
                    <a:pt x="209" y="95"/>
                    <a:pt x="209" y="95"/>
                  </a:cubicBezTo>
                  <a:cubicBezTo>
                    <a:pt x="206" y="97"/>
                    <a:pt x="205" y="100"/>
                    <a:pt x="205" y="103"/>
                  </a:cubicBezTo>
                  <a:cubicBezTo>
                    <a:pt x="207" y="109"/>
                    <a:pt x="207" y="115"/>
                    <a:pt x="207" y="121"/>
                  </a:cubicBezTo>
                  <a:cubicBezTo>
                    <a:pt x="207" y="127"/>
                    <a:pt x="207" y="133"/>
                    <a:pt x="205" y="139"/>
                  </a:cubicBezTo>
                  <a:cubicBezTo>
                    <a:pt x="205" y="142"/>
                    <a:pt x="206" y="145"/>
                    <a:pt x="209" y="146"/>
                  </a:cubicBezTo>
                  <a:cubicBezTo>
                    <a:pt x="225" y="156"/>
                    <a:pt x="225" y="156"/>
                    <a:pt x="225" y="156"/>
                  </a:cubicBezTo>
                  <a:lnTo>
                    <a:pt x="204"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endParaRPr lang="en-AU" sz="1600"/>
            </a:p>
          </p:txBody>
        </p:sp>
      </p:grpSp>
      <p:sp>
        <p:nvSpPr>
          <p:cNvPr id="139" name="TextBox 138">
            <a:extLst>
              <a:ext uri="{FF2B5EF4-FFF2-40B4-BE49-F238E27FC236}">
                <a16:creationId xmlns:a16="http://schemas.microsoft.com/office/drawing/2014/main" id="{193BC38A-B87E-9D44-97A5-8E10D15DCC22}"/>
              </a:ext>
            </a:extLst>
          </p:cNvPr>
          <p:cNvSpPr txBox="1"/>
          <p:nvPr/>
        </p:nvSpPr>
        <p:spPr bwMode="auto">
          <a:xfrm>
            <a:off x="2650471" y="2466152"/>
            <a:ext cx="859531" cy="256545"/>
          </a:xfrm>
          <a:prstGeom prst="rect">
            <a:avLst/>
          </a:prstGeom>
          <a:noFill/>
          <a:ln w="9525">
            <a:noFill/>
            <a:miter lim="800000"/>
            <a:headEnd/>
            <a:tailEnd/>
          </a:ln>
        </p:spPr>
        <p:txBody>
          <a:bodyPr wrap="none" rtlCol="0">
            <a:prstTxWarp prst="textNoShape">
              <a:avLst/>
            </a:prstTxWarp>
            <a:spAutoFit/>
          </a:bodyPr>
          <a:lstStyle/>
          <a:p>
            <a:pPr eaLnBrk="0" hangingPunct="0"/>
            <a:r>
              <a:rPr lang="en-US" sz="1067" dirty="0">
                <a:latin typeface="Century Gothic" panose="020B0502020202020204" pitchFamily="34" charset="0"/>
                <a:cs typeface="Calibri" panose="020F0502020204030204" pitchFamily="34" charset="0"/>
              </a:rPr>
              <a:t>Templates</a:t>
            </a:r>
          </a:p>
        </p:txBody>
      </p:sp>
      <p:sp>
        <p:nvSpPr>
          <p:cNvPr id="140" name="TextBox 139">
            <a:extLst>
              <a:ext uri="{FF2B5EF4-FFF2-40B4-BE49-F238E27FC236}">
                <a16:creationId xmlns:a16="http://schemas.microsoft.com/office/drawing/2014/main" id="{9922C174-0894-B44A-B625-A5AEEE3A46FF}"/>
              </a:ext>
            </a:extLst>
          </p:cNvPr>
          <p:cNvSpPr txBox="1"/>
          <p:nvPr/>
        </p:nvSpPr>
        <p:spPr bwMode="auto">
          <a:xfrm>
            <a:off x="2850949" y="3540565"/>
            <a:ext cx="992579" cy="256545"/>
          </a:xfrm>
          <a:prstGeom prst="rect">
            <a:avLst/>
          </a:prstGeom>
          <a:noFill/>
          <a:ln w="9525">
            <a:noFill/>
            <a:miter lim="800000"/>
            <a:headEnd/>
            <a:tailEnd/>
          </a:ln>
        </p:spPr>
        <p:txBody>
          <a:bodyPr wrap="none" rtlCol="0">
            <a:prstTxWarp prst="textNoShape">
              <a:avLst/>
            </a:prstTxWarp>
            <a:spAutoFit/>
          </a:bodyPr>
          <a:lstStyle/>
          <a:p>
            <a:pPr eaLnBrk="0" hangingPunct="0"/>
            <a:r>
              <a:rPr lang="en-US" sz="1067" dirty="0" smtClean="0">
                <a:latin typeface="Century Gothic" panose="020B0502020202020204" pitchFamily="34" charset="0"/>
                <a:cs typeface="Calibri" panose="020F0502020204030204" pitchFamily="34" charset="0"/>
              </a:rPr>
              <a:t>Error Budget</a:t>
            </a:r>
            <a:endParaRPr lang="en-US" sz="1067" dirty="0">
              <a:latin typeface="Century Gothic" panose="020B0502020202020204" pitchFamily="34" charset="0"/>
              <a:cs typeface="Calibri" panose="020F0502020204030204" pitchFamily="34" charset="0"/>
            </a:endParaRPr>
          </a:p>
        </p:txBody>
      </p:sp>
      <p:cxnSp>
        <p:nvCxnSpPr>
          <p:cNvPr id="142" name="Straight Connector 141">
            <a:extLst>
              <a:ext uri="{FF2B5EF4-FFF2-40B4-BE49-F238E27FC236}">
                <a16:creationId xmlns:a16="http://schemas.microsoft.com/office/drawing/2014/main" id="{D6B9E3BC-4551-9A4F-BABC-8A205994E1A5}"/>
              </a:ext>
            </a:extLst>
          </p:cNvPr>
          <p:cNvCxnSpPr/>
          <p:nvPr/>
        </p:nvCxnSpPr>
        <p:spPr>
          <a:xfrm>
            <a:off x="3831014" y="1804281"/>
            <a:ext cx="0" cy="2113280"/>
          </a:xfrm>
          <a:prstGeom prst="line">
            <a:avLst/>
          </a:prstGeom>
          <a:solidFill>
            <a:schemeClr val="accent1"/>
          </a:solidFill>
          <a:ln w="9525" cap="flat" cmpd="sng" algn="ctr">
            <a:solidFill>
              <a:schemeClr val="bg1">
                <a:lumMod val="50000"/>
              </a:schemeClr>
            </a:solidFill>
            <a:prstDash val="sysDash"/>
            <a:round/>
            <a:headEnd type="none" w="med" len="med"/>
            <a:tailEnd type="none" w="med" len="med"/>
          </a:ln>
          <a:effectLst/>
        </p:spPr>
      </p:cxnSp>
      <p:grpSp>
        <p:nvGrpSpPr>
          <p:cNvPr id="172" name="Group 171">
            <a:extLst>
              <a:ext uri="{FF2B5EF4-FFF2-40B4-BE49-F238E27FC236}">
                <a16:creationId xmlns:a16="http://schemas.microsoft.com/office/drawing/2014/main" id="{ACEB0C2B-D859-714A-9639-E6D7C075B3B9}"/>
              </a:ext>
            </a:extLst>
          </p:cNvPr>
          <p:cNvGrpSpPr/>
          <p:nvPr/>
        </p:nvGrpSpPr>
        <p:grpSpPr>
          <a:xfrm>
            <a:off x="5633441" y="2100418"/>
            <a:ext cx="548011" cy="1334957"/>
            <a:chOff x="4444398" y="2586187"/>
            <a:chExt cx="616512" cy="1501827"/>
          </a:xfrm>
        </p:grpSpPr>
        <p:sp>
          <p:nvSpPr>
            <p:cNvPr id="168" name="TextBox 167">
              <a:extLst>
                <a:ext uri="{FF2B5EF4-FFF2-40B4-BE49-F238E27FC236}">
                  <a16:creationId xmlns:a16="http://schemas.microsoft.com/office/drawing/2014/main" id="{01E816A3-8D6C-D940-9189-D674F9F2B98C}"/>
                </a:ext>
              </a:extLst>
            </p:cNvPr>
            <p:cNvSpPr txBox="1"/>
            <p:nvPr/>
          </p:nvSpPr>
          <p:spPr>
            <a:xfrm>
              <a:off x="4452811" y="3021009"/>
              <a:ext cx="608099" cy="242375"/>
            </a:xfrm>
            <a:prstGeom prst="rect">
              <a:avLst/>
            </a:prstGeom>
            <a:noFill/>
          </p:spPr>
          <p:txBody>
            <a:bodyPr wrap="none" rtlCol="0">
              <a:spAutoFit/>
            </a:bodyPr>
            <a:lstStyle/>
            <a:p>
              <a:r>
                <a:rPr lang="en-US" sz="800" dirty="0">
                  <a:latin typeface="Century Gothic" panose="020B0502020202020204" pitchFamily="34" charset="0"/>
                </a:rPr>
                <a:t>Sprint 1</a:t>
              </a:r>
            </a:p>
          </p:txBody>
        </p:sp>
        <p:sp>
          <p:nvSpPr>
            <p:cNvPr id="169" name="TextBox 168">
              <a:extLst>
                <a:ext uri="{FF2B5EF4-FFF2-40B4-BE49-F238E27FC236}">
                  <a16:creationId xmlns:a16="http://schemas.microsoft.com/office/drawing/2014/main" id="{880587E3-1766-7E43-9A02-3C4F6C7A2165}"/>
                </a:ext>
              </a:extLst>
            </p:cNvPr>
            <p:cNvSpPr txBox="1"/>
            <p:nvPr/>
          </p:nvSpPr>
          <p:spPr>
            <a:xfrm>
              <a:off x="4444398" y="3485076"/>
              <a:ext cx="613509" cy="242375"/>
            </a:xfrm>
            <a:prstGeom prst="rect">
              <a:avLst/>
            </a:prstGeom>
            <a:noFill/>
          </p:spPr>
          <p:txBody>
            <a:bodyPr wrap="none" rtlCol="0">
              <a:spAutoFit/>
            </a:bodyPr>
            <a:lstStyle/>
            <a:p>
              <a:r>
                <a:rPr lang="en-US" sz="800" dirty="0">
                  <a:latin typeface="Century Gothic" panose="020B0502020202020204" pitchFamily="34" charset="0"/>
                </a:rPr>
                <a:t>Sprint</a:t>
              </a:r>
              <a:r>
                <a:rPr lang="en-US" sz="800" b="1" dirty="0">
                  <a:latin typeface="Century Gothic" panose="020B0502020202020204" pitchFamily="34" charset="0"/>
                </a:rPr>
                <a:t> n</a:t>
              </a:r>
            </a:p>
          </p:txBody>
        </p:sp>
        <p:grpSp>
          <p:nvGrpSpPr>
            <p:cNvPr id="171" name="Group 170">
              <a:extLst>
                <a:ext uri="{FF2B5EF4-FFF2-40B4-BE49-F238E27FC236}">
                  <a16:creationId xmlns:a16="http://schemas.microsoft.com/office/drawing/2014/main" id="{C84DFABB-DA02-7A41-9D13-DE3A0A931559}"/>
                </a:ext>
              </a:extLst>
            </p:cNvPr>
            <p:cNvGrpSpPr/>
            <p:nvPr/>
          </p:nvGrpSpPr>
          <p:grpSpPr>
            <a:xfrm>
              <a:off x="4538751" y="2586187"/>
              <a:ext cx="465645" cy="1501827"/>
              <a:chOff x="4538751" y="2586187"/>
              <a:chExt cx="465645" cy="1501827"/>
            </a:xfrm>
          </p:grpSpPr>
          <p:grpSp>
            <p:nvGrpSpPr>
              <p:cNvPr id="144" name="Group 143">
                <a:extLst>
                  <a:ext uri="{FF2B5EF4-FFF2-40B4-BE49-F238E27FC236}">
                    <a16:creationId xmlns:a16="http://schemas.microsoft.com/office/drawing/2014/main" id="{886D9EAB-CEEF-A848-990B-4FE502095A26}"/>
                  </a:ext>
                </a:extLst>
              </p:cNvPr>
              <p:cNvGrpSpPr/>
              <p:nvPr/>
            </p:nvGrpSpPr>
            <p:grpSpPr>
              <a:xfrm>
                <a:off x="4538751" y="2586187"/>
                <a:ext cx="457200" cy="457200"/>
                <a:chOff x="4121717" y="2928223"/>
                <a:chExt cx="457200" cy="457200"/>
              </a:xfrm>
            </p:grpSpPr>
            <p:grpSp>
              <p:nvGrpSpPr>
                <p:cNvPr id="145" name="Group 144">
                  <a:extLst>
                    <a:ext uri="{FF2B5EF4-FFF2-40B4-BE49-F238E27FC236}">
                      <a16:creationId xmlns:a16="http://schemas.microsoft.com/office/drawing/2014/main" id="{BC642C4D-E6D6-BF47-AF1F-0915FA88196D}"/>
                    </a:ext>
                  </a:extLst>
                </p:cNvPr>
                <p:cNvGrpSpPr/>
                <p:nvPr/>
              </p:nvGrpSpPr>
              <p:grpSpPr>
                <a:xfrm rot="17725496">
                  <a:off x="4121717" y="2928223"/>
                  <a:ext cx="457200" cy="457200"/>
                  <a:chOff x="2328863" y="1267685"/>
                  <a:chExt cx="1113566" cy="1113565"/>
                </a:xfrm>
              </p:grpSpPr>
              <p:sp>
                <p:nvSpPr>
                  <p:cNvPr id="151" name="Arc 150">
                    <a:extLst>
                      <a:ext uri="{FF2B5EF4-FFF2-40B4-BE49-F238E27FC236}">
                        <a16:creationId xmlns:a16="http://schemas.microsoft.com/office/drawing/2014/main" id="{87C850A6-1512-DB46-85AF-2A51E68CE47E}"/>
                      </a:ext>
                    </a:extLst>
                  </p:cNvPr>
                  <p:cNvSpPr/>
                  <p:nvPr/>
                </p:nvSpPr>
                <p:spPr>
                  <a:xfrm flipH="1">
                    <a:off x="2328864" y="1267685"/>
                    <a:ext cx="1113565" cy="1113564"/>
                  </a:xfrm>
                  <a:prstGeom prst="arc">
                    <a:avLst>
                      <a:gd name="adj1" fmla="val 14433215"/>
                      <a:gd name="adj2" fmla="val 966411"/>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52" name="Arc 151">
                    <a:extLst>
                      <a:ext uri="{FF2B5EF4-FFF2-40B4-BE49-F238E27FC236}">
                        <a16:creationId xmlns:a16="http://schemas.microsoft.com/office/drawing/2014/main" id="{0B6BA0A7-FBFE-A34A-9859-5A289FBC62B1}"/>
                      </a:ext>
                    </a:extLst>
                  </p:cNvPr>
                  <p:cNvSpPr/>
                  <p:nvPr/>
                </p:nvSpPr>
                <p:spPr>
                  <a:xfrm flipV="1">
                    <a:off x="2328863" y="1267686"/>
                    <a:ext cx="1113564" cy="1113564"/>
                  </a:xfrm>
                  <a:prstGeom prst="arc">
                    <a:avLst>
                      <a:gd name="adj1" fmla="val 13043803"/>
                      <a:gd name="adj2" fmla="val 1792412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53" name="Arc 152">
                    <a:extLst>
                      <a:ext uri="{FF2B5EF4-FFF2-40B4-BE49-F238E27FC236}">
                        <a16:creationId xmlns:a16="http://schemas.microsoft.com/office/drawing/2014/main" id="{1DFB0E3F-683F-A24D-8114-7F7C271E9B66}"/>
                      </a:ext>
                    </a:extLst>
                  </p:cNvPr>
                  <p:cNvSpPr/>
                  <p:nvPr/>
                </p:nvSpPr>
                <p:spPr>
                  <a:xfrm>
                    <a:off x="2395537" y="1343885"/>
                    <a:ext cx="961164" cy="961164"/>
                  </a:xfrm>
                  <a:prstGeom prst="arc">
                    <a:avLst>
                      <a:gd name="adj1" fmla="val 16200000"/>
                      <a:gd name="adj2" fmla="val 1356754"/>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54" name="Arc 153">
                    <a:extLst>
                      <a:ext uri="{FF2B5EF4-FFF2-40B4-BE49-F238E27FC236}">
                        <a16:creationId xmlns:a16="http://schemas.microsoft.com/office/drawing/2014/main" id="{12F0EC01-19AC-A945-B34D-0FFAF404DEA0}"/>
                      </a:ext>
                    </a:extLst>
                  </p:cNvPr>
                  <p:cNvSpPr/>
                  <p:nvPr/>
                </p:nvSpPr>
                <p:spPr>
                  <a:xfrm flipH="1" flipV="1">
                    <a:off x="2414889" y="1334210"/>
                    <a:ext cx="961164" cy="961164"/>
                  </a:xfrm>
                  <a:prstGeom prst="arc">
                    <a:avLst>
                      <a:gd name="adj1" fmla="val 16665816"/>
                      <a:gd name="adj2" fmla="val 463372"/>
                    </a:avLst>
                  </a:prstGeom>
                  <a:ln w="1270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55" name="Oval 154">
                    <a:extLst>
                      <a:ext uri="{FF2B5EF4-FFF2-40B4-BE49-F238E27FC236}">
                        <a16:creationId xmlns:a16="http://schemas.microsoft.com/office/drawing/2014/main" id="{95E76002-2AE7-244D-AA53-87B4195606A5}"/>
                      </a:ext>
                    </a:extLst>
                  </p:cNvPr>
                  <p:cNvSpPr/>
                  <p:nvPr/>
                </p:nvSpPr>
                <p:spPr>
                  <a:xfrm>
                    <a:off x="2490357" y="1429181"/>
                    <a:ext cx="790575" cy="790575"/>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93" algn="l" rtl="0" fontAlgn="base">
                      <a:spcBef>
                        <a:spcPct val="0"/>
                      </a:spcBef>
                      <a:spcAft>
                        <a:spcPct val="0"/>
                      </a:spcAft>
                      <a:defRPr kern="1200">
                        <a:solidFill>
                          <a:schemeClr val="lt1"/>
                        </a:solidFill>
                        <a:latin typeface="+mn-lt"/>
                        <a:ea typeface="+mn-ea"/>
                        <a:cs typeface="+mn-cs"/>
                      </a:defRPr>
                    </a:lvl2pPr>
                    <a:lvl3pPr marL="1218987" algn="l" rtl="0" fontAlgn="base">
                      <a:spcBef>
                        <a:spcPct val="0"/>
                      </a:spcBef>
                      <a:spcAft>
                        <a:spcPct val="0"/>
                      </a:spcAft>
                      <a:defRPr kern="1200">
                        <a:solidFill>
                          <a:schemeClr val="lt1"/>
                        </a:solidFill>
                        <a:latin typeface="+mn-lt"/>
                        <a:ea typeface="+mn-ea"/>
                        <a:cs typeface="+mn-cs"/>
                      </a:defRPr>
                    </a:lvl3pPr>
                    <a:lvl4pPr marL="1828480" algn="l" rtl="0" fontAlgn="base">
                      <a:spcBef>
                        <a:spcPct val="0"/>
                      </a:spcBef>
                      <a:spcAft>
                        <a:spcPct val="0"/>
                      </a:spcAft>
                      <a:defRPr kern="1200">
                        <a:solidFill>
                          <a:schemeClr val="lt1"/>
                        </a:solidFill>
                        <a:latin typeface="+mn-lt"/>
                        <a:ea typeface="+mn-ea"/>
                        <a:cs typeface="+mn-cs"/>
                      </a:defRPr>
                    </a:lvl4pPr>
                    <a:lvl5pPr marL="2437973" algn="l" rtl="0" fontAlgn="base">
                      <a:spcBef>
                        <a:spcPct val="0"/>
                      </a:spcBef>
                      <a:spcAft>
                        <a:spcPct val="0"/>
                      </a:spcAft>
                      <a:defRPr kern="1200">
                        <a:solidFill>
                          <a:schemeClr val="lt1"/>
                        </a:solidFill>
                        <a:latin typeface="+mn-lt"/>
                        <a:ea typeface="+mn-ea"/>
                        <a:cs typeface="+mn-cs"/>
                      </a:defRPr>
                    </a:lvl5pPr>
                    <a:lvl6pPr marL="3047467" algn="l" defTabSz="1218987" rtl="0" eaLnBrk="1" latinLnBrk="0" hangingPunct="1">
                      <a:defRPr kern="1200">
                        <a:solidFill>
                          <a:schemeClr val="lt1"/>
                        </a:solidFill>
                        <a:latin typeface="+mn-lt"/>
                        <a:ea typeface="+mn-ea"/>
                        <a:cs typeface="+mn-cs"/>
                      </a:defRPr>
                    </a:lvl6pPr>
                    <a:lvl7pPr marL="3656960" algn="l" defTabSz="1218987" rtl="0" eaLnBrk="1" latinLnBrk="0" hangingPunct="1">
                      <a:defRPr kern="1200">
                        <a:solidFill>
                          <a:schemeClr val="lt1"/>
                        </a:solidFill>
                        <a:latin typeface="+mn-lt"/>
                        <a:ea typeface="+mn-ea"/>
                        <a:cs typeface="+mn-cs"/>
                      </a:defRPr>
                    </a:lvl7pPr>
                    <a:lvl8pPr marL="4266453" algn="l" defTabSz="1218987" rtl="0" eaLnBrk="1" latinLnBrk="0" hangingPunct="1">
                      <a:defRPr kern="1200">
                        <a:solidFill>
                          <a:schemeClr val="lt1"/>
                        </a:solidFill>
                        <a:latin typeface="+mn-lt"/>
                        <a:ea typeface="+mn-ea"/>
                        <a:cs typeface="+mn-cs"/>
                      </a:defRPr>
                    </a:lvl8pPr>
                    <a:lvl9pPr marL="4875947" algn="l" defTabSz="1218987" rtl="0" eaLnBrk="1" latinLnBrk="0" hangingPunct="1">
                      <a:defRPr kern="1200">
                        <a:solidFill>
                          <a:schemeClr val="lt1"/>
                        </a:solidFill>
                        <a:latin typeface="+mn-lt"/>
                        <a:ea typeface="+mn-ea"/>
                        <a:cs typeface="+mn-cs"/>
                      </a:defRPr>
                    </a:lvl9pPr>
                  </a:lstStyle>
                  <a:p>
                    <a:pPr algn="ctr"/>
                    <a:endParaRPr lang="en-US" sz="1600" dirty="0"/>
                  </a:p>
                </p:txBody>
              </p:sp>
            </p:grpSp>
            <p:grpSp>
              <p:nvGrpSpPr>
                <p:cNvPr id="146" name="Group 145">
                  <a:extLst>
                    <a:ext uri="{FF2B5EF4-FFF2-40B4-BE49-F238E27FC236}">
                      <a16:creationId xmlns:a16="http://schemas.microsoft.com/office/drawing/2014/main" id="{07BCDFED-778D-D144-8F18-F3E82C2059F4}"/>
                    </a:ext>
                  </a:extLst>
                </p:cNvPr>
                <p:cNvGrpSpPr/>
                <p:nvPr/>
              </p:nvGrpSpPr>
              <p:grpSpPr>
                <a:xfrm>
                  <a:off x="4267128" y="3063194"/>
                  <a:ext cx="168817" cy="218532"/>
                  <a:chOff x="-8269288" y="-584200"/>
                  <a:chExt cx="6199188" cy="8024813"/>
                </a:xfrm>
                <a:solidFill>
                  <a:schemeClr val="accent1"/>
                </a:solidFill>
              </p:grpSpPr>
              <p:sp>
                <p:nvSpPr>
                  <p:cNvPr id="147" name="Freeform 146">
                    <a:extLst>
                      <a:ext uri="{FF2B5EF4-FFF2-40B4-BE49-F238E27FC236}">
                        <a16:creationId xmlns:a16="http://schemas.microsoft.com/office/drawing/2014/main" id="{9495322E-9022-134F-B030-F0B71F833136}"/>
                      </a:ext>
                    </a:extLst>
                  </p:cNvPr>
                  <p:cNvSpPr>
                    <a:spLocks/>
                  </p:cNvSpPr>
                  <p:nvPr/>
                </p:nvSpPr>
                <p:spPr bwMode="auto">
                  <a:xfrm>
                    <a:off x="-4497388" y="1574800"/>
                    <a:ext cx="2427288" cy="1819275"/>
                  </a:xfrm>
                  <a:custGeom>
                    <a:avLst/>
                    <a:gdLst>
                      <a:gd name="T0" fmla="*/ 592 w 647"/>
                      <a:gd name="T1" fmla="*/ 306 h 485"/>
                      <a:gd name="T2" fmla="*/ 629 w 647"/>
                      <a:gd name="T3" fmla="*/ 180 h 485"/>
                      <a:gd name="T4" fmla="*/ 491 w 647"/>
                      <a:gd name="T5" fmla="*/ 120 h 485"/>
                      <a:gd name="T6" fmla="*/ 205 w 647"/>
                      <a:gd name="T7" fmla="*/ 233 h 485"/>
                      <a:gd name="T8" fmla="*/ 102 w 647"/>
                      <a:gd name="T9" fmla="*/ 0 h 485"/>
                      <a:gd name="T10" fmla="*/ 76 w 647"/>
                      <a:gd name="T11" fmla="*/ 101 h 485"/>
                      <a:gd name="T12" fmla="*/ 0 w 647"/>
                      <a:gd name="T13" fmla="*/ 302 h 485"/>
                      <a:gd name="T14" fmla="*/ 63 w 647"/>
                      <a:gd name="T15" fmla="*/ 418 h 485"/>
                      <a:gd name="T16" fmla="*/ 195 w 647"/>
                      <a:gd name="T17" fmla="*/ 465 h 485"/>
                      <a:gd name="T18" fmla="*/ 569 w 647"/>
                      <a:gd name="T19" fmla="*/ 318 h 485"/>
                      <a:gd name="T20" fmla="*/ 592 w 647"/>
                      <a:gd name="T21" fmla="*/ 30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485">
                        <a:moveTo>
                          <a:pt x="592" y="306"/>
                        </a:moveTo>
                        <a:cubicBezTo>
                          <a:pt x="631" y="278"/>
                          <a:pt x="647" y="227"/>
                          <a:pt x="629" y="180"/>
                        </a:cubicBezTo>
                        <a:cubicBezTo>
                          <a:pt x="607" y="126"/>
                          <a:pt x="545" y="99"/>
                          <a:pt x="491" y="120"/>
                        </a:cubicBezTo>
                        <a:cubicBezTo>
                          <a:pt x="205" y="233"/>
                          <a:pt x="205" y="233"/>
                          <a:pt x="205" y="233"/>
                        </a:cubicBezTo>
                        <a:cubicBezTo>
                          <a:pt x="102" y="0"/>
                          <a:pt x="102" y="0"/>
                          <a:pt x="102" y="0"/>
                        </a:cubicBezTo>
                        <a:cubicBezTo>
                          <a:pt x="99" y="32"/>
                          <a:pt x="91" y="66"/>
                          <a:pt x="76" y="101"/>
                        </a:cubicBezTo>
                        <a:cubicBezTo>
                          <a:pt x="60" y="140"/>
                          <a:pt x="31" y="218"/>
                          <a:pt x="0" y="302"/>
                        </a:cubicBezTo>
                        <a:cubicBezTo>
                          <a:pt x="63" y="418"/>
                          <a:pt x="63" y="418"/>
                          <a:pt x="63" y="418"/>
                        </a:cubicBezTo>
                        <a:cubicBezTo>
                          <a:pt x="89" y="465"/>
                          <a:pt x="146" y="485"/>
                          <a:pt x="195" y="465"/>
                        </a:cubicBezTo>
                        <a:cubicBezTo>
                          <a:pt x="569" y="318"/>
                          <a:pt x="569" y="318"/>
                          <a:pt x="569" y="318"/>
                        </a:cubicBezTo>
                        <a:cubicBezTo>
                          <a:pt x="577" y="315"/>
                          <a:pt x="585" y="311"/>
                          <a:pt x="592" y="306"/>
                        </a:cubicBez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48" name="Freeform 147">
                    <a:extLst>
                      <a:ext uri="{FF2B5EF4-FFF2-40B4-BE49-F238E27FC236}">
                        <a16:creationId xmlns:a16="http://schemas.microsoft.com/office/drawing/2014/main" id="{816A6AFC-C864-1B4E-8E8D-9E8741279EF6}"/>
                      </a:ext>
                    </a:extLst>
                  </p:cNvPr>
                  <p:cNvSpPr>
                    <a:spLocks/>
                  </p:cNvSpPr>
                  <p:nvPr/>
                </p:nvSpPr>
                <p:spPr bwMode="auto">
                  <a:xfrm>
                    <a:off x="-8269288" y="4410075"/>
                    <a:ext cx="2744788" cy="2055813"/>
                  </a:xfrm>
                  <a:custGeom>
                    <a:avLst/>
                    <a:gdLst>
                      <a:gd name="T0" fmla="*/ 482 w 732"/>
                      <a:gd name="T1" fmla="*/ 191 h 548"/>
                      <a:gd name="T2" fmla="*/ 96 w 732"/>
                      <a:gd name="T3" fmla="*/ 318 h 548"/>
                      <a:gd name="T4" fmla="*/ 20 w 732"/>
                      <a:gd name="T5" fmla="*/ 467 h 548"/>
                      <a:gd name="T6" fmla="*/ 132 w 732"/>
                      <a:gd name="T7" fmla="*/ 548 h 548"/>
                      <a:gd name="T8" fmla="*/ 170 w 732"/>
                      <a:gd name="T9" fmla="*/ 542 h 548"/>
                      <a:gd name="T10" fmla="*/ 610 w 732"/>
                      <a:gd name="T11" fmla="*/ 397 h 548"/>
                      <a:gd name="T12" fmla="*/ 684 w 732"/>
                      <a:gd name="T13" fmla="*/ 325 h 548"/>
                      <a:gd name="T14" fmla="*/ 732 w 732"/>
                      <a:gd name="T15" fmla="*/ 192 h 548"/>
                      <a:gd name="T16" fmla="*/ 551 w 732"/>
                      <a:gd name="T17" fmla="*/ 0 h 548"/>
                      <a:gd name="T18" fmla="*/ 482 w 732"/>
                      <a:gd name="T19" fmla="*/ 191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2" h="548">
                        <a:moveTo>
                          <a:pt x="482" y="191"/>
                        </a:moveTo>
                        <a:cubicBezTo>
                          <a:pt x="96" y="318"/>
                          <a:pt x="96" y="318"/>
                          <a:pt x="96" y="318"/>
                        </a:cubicBezTo>
                        <a:cubicBezTo>
                          <a:pt x="34" y="338"/>
                          <a:pt x="0" y="405"/>
                          <a:pt x="20" y="467"/>
                        </a:cubicBezTo>
                        <a:cubicBezTo>
                          <a:pt x="37" y="516"/>
                          <a:pt x="83" y="548"/>
                          <a:pt x="132" y="548"/>
                        </a:cubicBezTo>
                        <a:cubicBezTo>
                          <a:pt x="145" y="548"/>
                          <a:pt x="157" y="546"/>
                          <a:pt x="170" y="542"/>
                        </a:cubicBezTo>
                        <a:cubicBezTo>
                          <a:pt x="610" y="397"/>
                          <a:pt x="610" y="397"/>
                          <a:pt x="610" y="397"/>
                        </a:cubicBezTo>
                        <a:cubicBezTo>
                          <a:pt x="644" y="385"/>
                          <a:pt x="671" y="359"/>
                          <a:pt x="684" y="325"/>
                        </a:cubicBezTo>
                        <a:cubicBezTo>
                          <a:pt x="732" y="192"/>
                          <a:pt x="732" y="192"/>
                          <a:pt x="732" y="192"/>
                        </a:cubicBezTo>
                        <a:cubicBezTo>
                          <a:pt x="551" y="0"/>
                          <a:pt x="551" y="0"/>
                          <a:pt x="551" y="0"/>
                        </a:cubicBezTo>
                        <a:lnTo>
                          <a:pt x="482" y="191"/>
                        </a:ln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49" name="Oval 148">
                    <a:extLst>
                      <a:ext uri="{FF2B5EF4-FFF2-40B4-BE49-F238E27FC236}">
                        <a16:creationId xmlns:a16="http://schemas.microsoft.com/office/drawing/2014/main" id="{DCA68B92-F6BD-174F-A8BE-700E81BFD0C2}"/>
                      </a:ext>
                    </a:extLst>
                  </p:cNvPr>
                  <p:cNvSpPr>
                    <a:spLocks noChangeArrowheads="1"/>
                  </p:cNvSpPr>
                  <p:nvPr/>
                </p:nvSpPr>
                <p:spPr bwMode="auto">
                  <a:xfrm>
                    <a:off x="-4557713" y="-584200"/>
                    <a:ext cx="1535113" cy="1533525"/>
                  </a:xfrm>
                  <a:prstGeom prst="ellipse">
                    <a:avLst/>
                  </a:pr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50" name="Freeform 149">
                    <a:extLst>
                      <a:ext uri="{FF2B5EF4-FFF2-40B4-BE49-F238E27FC236}">
                        <a16:creationId xmlns:a16="http://schemas.microsoft.com/office/drawing/2014/main" id="{BF69A1F8-04E7-3246-AD48-ADDA6BB6CA02}"/>
                      </a:ext>
                    </a:extLst>
                  </p:cNvPr>
                  <p:cNvSpPr>
                    <a:spLocks/>
                  </p:cNvSpPr>
                  <p:nvPr/>
                </p:nvSpPr>
                <p:spPr bwMode="auto">
                  <a:xfrm>
                    <a:off x="-7421563" y="781050"/>
                    <a:ext cx="3381375" cy="6659563"/>
                  </a:xfrm>
                  <a:custGeom>
                    <a:avLst/>
                    <a:gdLst>
                      <a:gd name="T0" fmla="*/ 624 w 902"/>
                      <a:gd name="T1" fmla="*/ 840 h 1776"/>
                      <a:gd name="T2" fmla="*/ 757 w 902"/>
                      <a:gd name="T3" fmla="*/ 473 h 1776"/>
                      <a:gd name="T4" fmla="*/ 823 w 902"/>
                      <a:gd name="T5" fmla="*/ 299 h 1776"/>
                      <a:gd name="T6" fmla="*/ 839 w 902"/>
                      <a:gd name="T7" fmla="*/ 131 h 1776"/>
                      <a:gd name="T8" fmla="*/ 653 w 902"/>
                      <a:gd name="T9" fmla="*/ 0 h 1776"/>
                      <a:gd name="T10" fmla="*/ 613 w 902"/>
                      <a:gd name="T11" fmla="*/ 3 h 1776"/>
                      <a:gd name="T12" fmla="*/ 231 w 902"/>
                      <a:gd name="T13" fmla="*/ 93 h 1776"/>
                      <a:gd name="T14" fmla="*/ 161 w 902"/>
                      <a:gd name="T15" fmla="*/ 158 h 1776"/>
                      <a:gd name="T16" fmla="*/ 20 w 902"/>
                      <a:gd name="T17" fmla="*/ 539 h 1776"/>
                      <a:gd name="T18" fmla="*/ 83 w 902"/>
                      <a:gd name="T19" fmla="*/ 676 h 1776"/>
                      <a:gd name="T20" fmla="*/ 120 w 902"/>
                      <a:gd name="T21" fmla="*/ 683 h 1776"/>
                      <a:gd name="T22" fmla="*/ 220 w 902"/>
                      <a:gd name="T23" fmla="*/ 613 h 1776"/>
                      <a:gd name="T24" fmla="*/ 342 w 902"/>
                      <a:gd name="T25" fmla="*/ 282 h 1776"/>
                      <a:gd name="T26" fmla="*/ 470 w 902"/>
                      <a:gd name="T27" fmla="*/ 244 h 1776"/>
                      <a:gd name="T28" fmla="*/ 295 w 902"/>
                      <a:gd name="T29" fmla="*/ 748 h 1776"/>
                      <a:gd name="T30" fmla="*/ 334 w 902"/>
                      <a:gd name="T31" fmla="*/ 926 h 1776"/>
                      <a:gd name="T32" fmla="*/ 338 w 902"/>
                      <a:gd name="T33" fmla="*/ 931 h 1776"/>
                      <a:gd name="T34" fmla="*/ 520 w 902"/>
                      <a:gd name="T35" fmla="*/ 1122 h 1776"/>
                      <a:gd name="T36" fmla="*/ 648 w 902"/>
                      <a:gd name="T37" fmla="*/ 1257 h 1776"/>
                      <a:gd name="T38" fmla="*/ 539 w 902"/>
                      <a:gd name="T39" fmla="*/ 1624 h 1776"/>
                      <a:gd name="T40" fmla="*/ 618 w 902"/>
                      <a:gd name="T41" fmla="*/ 1771 h 1776"/>
                      <a:gd name="T42" fmla="*/ 652 w 902"/>
                      <a:gd name="T43" fmla="*/ 1776 h 1776"/>
                      <a:gd name="T44" fmla="*/ 765 w 902"/>
                      <a:gd name="T45" fmla="*/ 1691 h 1776"/>
                      <a:gd name="T46" fmla="*/ 891 w 902"/>
                      <a:gd name="T47" fmla="*/ 1266 h 1776"/>
                      <a:gd name="T48" fmla="*/ 871 w 902"/>
                      <a:gd name="T49" fmla="*/ 1160 h 1776"/>
                      <a:gd name="T50" fmla="*/ 624 w 902"/>
                      <a:gd name="T51" fmla="*/ 84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2" h="1776">
                        <a:moveTo>
                          <a:pt x="624" y="840"/>
                        </a:moveTo>
                        <a:cubicBezTo>
                          <a:pt x="624" y="840"/>
                          <a:pt x="697" y="636"/>
                          <a:pt x="757" y="473"/>
                        </a:cubicBezTo>
                        <a:cubicBezTo>
                          <a:pt x="784" y="400"/>
                          <a:pt x="809" y="334"/>
                          <a:pt x="823" y="299"/>
                        </a:cubicBezTo>
                        <a:cubicBezTo>
                          <a:pt x="850" y="236"/>
                          <a:pt x="853" y="179"/>
                          <a:pt x="839" y="131"/>
                        </a:cubicBezTo>
                        <a:cubicBezTo>
                          <a:pt x="816" y="51"/>
                          <a:pt x="744" y="0"/>
                          <a:pt x="653" y="0"/>
                        </a:cubicBezTo>
                        <a:cubicBezTo>
                          <a:pt x="640" y="0"/>
                          <a:pt x="627" y="1"/>
                          <a:pt x="613" y="3"/>
                        </a:cubicBezTo>
                        <a:cubicBezTo>
                          <a:pt x="488" y="23"/>
                          <a:pt x="355" y="57"/>
                          <a:pt x="231" y="93"/>
                        </a:cubicBezTo>
                        <a:cubicBezTo>
                          <a:pt x="198" y="102"/>
                          <a:pt x="172" y="127"/>
                          <a:pt x="161" y="158"/>
                        </a:cubicBezTo>
                        <a:cubicBezTo>
                          <a:pt x="20" y="539"/>
                          <a:pt x="20" y="539"/>
                          <a:pt x="20" y="539"/>
                        </a:cubicBezTo>
                        <a:cubicBezTo>
                          <a:pt x="0" y="595"/>
                          <a:pt x="28" y="656"/>
                          <a:pt x="83" y="676"/>
                        </a:cubicBezTo>
                        <a:cubicBezTo>
                          <a:pt x="95" y="681"/>
                          <a:pt x="108" y="683"/>
                          <a:pt x="120" y="683"/>
                        </a:cubicBezTo>
                        <a:cubicBezTo>
                          <a:pt x="163" y="683"/>
                          <a:pt x="204" y="656"/>
                          <a:pt x="220" y="613"/>
                        </a:cubicBezTo>
                        <a:cubicBezTo>
                          <a:pt x="342" y="282"/>
                          <a:pt x="342" y="282"/>
                          <a:pt x="342" y="282"/>
                        </a:cubicBezTo>
                        <a:cubicBezTo>
                          <a:pt x="470" y="244"/>
                          <a:pt x="470" y="244"/>
                          <a:pt x="470" y="244"/>
                        </a:cubicBezTo>
                        <a:cubicBezTo>
                          <a:pt x="295" y="748"/>
                          <a:pt x="295" y="748"/>
                          <a:pt x="295" y="748"/>
                        </a:cubicBezTo>
                        <a:cubicBezTo>
                          <a:pt x="276" y="804"/>
                          <a:pt x="293" y="883"/>
                          <a:pt x="334" y="926"/>
                        </a:cubicBezTo>
                        <a:cubicBezTo>
                          <a:pt x="338" y="931"/>
                          <a:pt x="338" y="931"/>
                          <a:pt x="338" y="931"/>
                        </a:cubicBezTo>
                        <a:cubicBezTo>
                          <a:pt x="520" y="1122"/>
                          <a:pt x="520" y="1122"/>
                          <a:pt x="520" y="1122"/>
                        </a:cubicBezTo>
                        <a:cubicBezTo>
                          <a:pt x="648" y="1257"/>
                          <a:pt x="648" y="1257"/>
                          <a:pt x="648" y="1257"/>
                        </a:cubicBezTo>
                        <a:cubicBezTo>
                          <a:pt x="539" y="1624"/>
                          <a:pt x="539" y="1624"/>
                          <a:pt x="539" y="1624"/>
                        </a:cubicBezTo>
                        <a:cubicBezTo>
                          <a:pt x="520" y="1687"/>
                          <a:pt x="556" y="1752"/>
                          <a:pt x="618" y="1771"/>
                        </a:cubicBezTo>
                        <a:cubicBezTo>
                          <a:pt x="630" y="1774"/>
                          <a:pt x="641" y="1776"/>
                          <a:pt x="652" y="1776"/>
                        </a:cubicBezTo>
                        <a:cubicBezTo>
                          <a:pt x="703" y="1776"/>
                          <a:pt x="750" y="1742"/>
                          <a:pt x="765" y="1691"/>
                        </a:cubicBezTo>
                        <a:cubicBezTo>
                          <a:pt x="891" y="1266"/>
                          <a:pt x="891" y="1266"/>
                          <a:pt x="891" y="1266"/>
                        </a:cubicBezTo>
                        <a:cubicBezTo>
                          <a:pt x="902" y="1229"/>
                          <a:pt x="894" y="1190"/>
                          <a:pt x="871" y="1160"/>
                        </a:cubicBezTo>
                        <a:lnTo>
                          <a:pt x="624" y="840"/>
                        </a:ln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grpSp>
          </p:grpSp>
          <p:grpSp>
            <p:nvGrpSpPr>
              <p:cNvPr id="156" name="Group 155">
                <a:extLst>
                  <a:ext uri="{FF2B5EF4-FFF2-40B4-BE49-F238E27FC236}">
                    <a16:creationId xmlns:a16="http://schemas.microsoft.com/office/drawing/2014/main" id="{05A39507-5830-C24C-BCAF-F2C4389AEA60}"/>
                  </a:ext>
                </a:extLst>
              </p:cNvPr>
              <p:cNvGrpSpPr/>
              <p:nvPr/>
            </p:nvGrpSpPr>
            <p:grpSpPr>
              <a:xfrm>
                <a:off x="4547196" y="3630814"/>
                <a:ext cx="457200" cy="457200"/>
                <a:chOff x="4121717" y="2928223"/>
                <a:chExt cx="457200" cy="457200"/>
              </a:xfrm>
            </p:grpSpPr>
            <p:grpSp>
              <p:nvGrpSpPr>
                <p:cNvPr id="157" name="Group 156">
                  <a:extLst>
                    <a:ext uri="{FF2B5EF4-FFF2-40B4-BE49-F238E27FC236}">
                      <a16:creationId xmlns:a16="http://schemas.microsoft.com/office/drawing/2014/main" id="{39D759EE-DE66-0B47-A397-AC12BB9DBD2D}"/>
                    </a:ext>
                  </a:extLst>
                </p:cNvPr>
                <p:cNvGrpSpPr/>
                <p:nvPr/>
              </p:nvGrpSpPr>
              <p:grpSpPr>
                <a:xfrm rot="17725496">
                  <a:off x="4121717" y="2928223"/>
                  <a:ext cx="457200" cy="457200"/>
                  <a:chOff x="2328863" y="1267685"/>
                  <a:chExt cx="1113566" cy="1113565"/>
                </a:xfrm>
              </p:grpSpPr>
              <p:sp>
                <p:nvSpPr>
                  <p:cNvPr id="163" name="Arc 162">
                    <a:extLst>
                      <a:ext uri="{FF2B5EF4-FFF2-40B4-BE49-F238E27FC236}">
                        <a16:creationId xmlns:a16="http://schemas.microsoft.com/office/drawing/2014/main" id="{7B6EAB41-8C16-DB4E-97B3-19327738BA91}"/>
                      </a:ext>
                    </a:extLst>
                  </p:cNvPr>
                  <p:cNvSpPr/>
                  <p:nvPr/>
                </p:nvSpPr>
                <p:spPr>
                  <a:xfrm flipH="1">
                    <a:off x="2328864" y="1267685"/>
                    <a:ext cx="1113565" cy="1113564"/>
                  </a:xfrm>
                  <a:prstGeom prst="arc">
                    <a:avLst>
                      <a:gd name="adj1" fmla="val 14433215"/>
                      <a:gd name="adj2" fmla="val 966411"/>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64" name="Arc 163">
                    <a:extLst>
                      <a:ext uri="{FF2B5EF4-FFF2-40B4-BE49-F238E27FC236}">
                        <a16:creationId xmlns:a16="http://schemas.microsoft.com/office/drawing/2014/main" id="{C5021A03-AAFC-2F41-AC98-69EE2861414D}"/>
                      </a:ext>
                    </a:extLst>
                  </p:cNvPr>
                  <p:cNvSpPr/>
                  <p:nvPr/>
                </p:nvSpPr>
                <p:spPr>
                  <a:xfrm flipV="1">
                    <a:off x="2328863" y="1267686"/>
                    <a:ext cx="1113564" cy="1113564"/>
                  </a:xfrm>
                  <a:prstGeom prst="arc">
                    <a:avLst>
                      <a:gd name="adj1" fmla="val 13043803"/>
                      <a:gd name="adj2" fmla="val 1792412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65" name="Arc 164">
                    <a:extLst>
                      <a:ext uri="{FF2B5EF4-FFF2-40B4-BE49-F238E27FC236}">
                        <a16:creationId xmlns:a16="http://schemas.microsoft.com/office/drawing/2014/main" id="{59B44162-170F-F64F-AB44-E20E3CF4C8EA}"/>
                      </a:ext>
                    </a:extLst>
                  </p:cNvPr>
                  <p:cNvSpPr/>
                  <p:nvPr/>
                </p:nvSpPr>
                <p:spPr>
                  <a:xfrm>
                    <a:off x="2395537" y="1343885"/>
                    <a:ext cx="961164" cy="961164"/>
                  </a:xfrm>
                  <a:prstGeom prst="arc">
                    <a:avLst>
                      <a:gd name="adj1" fmla="val 16200000"/>
                      <a:gd name="adj2" fmla="val 1356754"/>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66" name="Arc 165">
                    <a:extLst>
                      <a:ext uri="{FF2B5EF4-FFF2-40B4-BE49-F238E27FC236}">
                        <a16:creationId xmlns:a16="http://schemas.microsoft.com/office/drawing/2014/main" id="{07DD4BB6-CEDC-284A-BD58-1BC60D968330}"/>
                      </a:ext>
                    </a:extLst>
                  </p:cNvPr>
                  <p:cNvSpPr/>
                  <p:nvPr/>
                </p:nvSpPr>
                <p:spPr>
                  <a:xfrm flipH="1" flipV="1">
                    <a:off x="2414889" y="1334210"/>
                    <a:ext cx="961164" cy="961164"/>
                  </a:xfrm>
                  <a:prstGeom prst="arc">
                    <a:avLst>
                      <a:gd name="adj1" fmla="val 16665816"/>
                      <a:gd name="adj2" fmla="val 463372"/>
                    </a:avLst>
                  </a:prstGeom>
                  <a:ln w="1270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kern="1200">
                        <a:solidFill>
                          <a:schemeClr val="tx1"/>
                        </a:solidFill>
                        <a:latin typeface="+mn-lt"/>
                        <a:ea typeface="+mn-ea"/>
                        <a:cs typeface="+mn-cs"/>
                      </a:defRPr>
                    </a:lvl1pPr>
                    <a:lvl2pPr marL="609493" algn="l" rtl="0" fontAlgn="base">
                      <a:spcBef>
                        <a:spcPct val="0"/>
                      </a:spcBef>
                      <a:spcAft>
                        <a:spcPct val="0"/>
                      </a:spcAft>
                      <a:defRPr kern="1200">
                        <a:solidFill>
                          <a:schemeClr val="tx1"/>
                        </a:solidFill>
                        <a:latin typeface="+mn-lt"/>
                        <a:ea typeface="+mn-ea"/>
                        <a:cs typeface="+mn-cs"/>
                      </a:defRPr>
                    </a:lvl2pPr>
                    <a:lvl3pPr marL="1218987" algn="l" rtl="0" fontAlgn="base">
                      <a:spcBef>
                        <a:spcPct val="0"/>
                      </a:spcBef>
                      <a:spcAft>
                        <a:spcPct val="0"/>
                      </a:spcAft>
                      <a:defRPr kern="1200">
                        <a:solidFill>
                          <a:schemeClr val="tx1"/>
                        </a:solidFill>
                        <a:latin typeface="+mn-lt"/>
                        <a:ea typeface="+mn-ea"/>
                        <a:cs typeface="+mn-cs"/>
                      </a:defRPr>
                    </a:lvl3pPr>
                    <a:lvl4pPr marL="1828480" algn="l" rtl="0" fontAlgn="base">
                      <a:spcBef>
                        <a:spcPct val="0"/>
                      </a:spcBef>
                      <a:spcAft>
                        <a:spcPct val="0"/>
                      </a:spcAft>
                      <a:defRPr kern="1200">
                        <a:solidFill>
                          <a:schemeClr val="tx1"/>
                        </a:solidFill>
                        <a:latin typeface="+mn-lt"/>
                        <a:ea typeface="+mn-ea"/>
                        <a:cs typeface="+mn-cs"/>
                      </a:defRPr>
                    </a:lvl4pPr>
                    <a:lvl5pPr marL="2437973" algn="l" rtl="0" fontAlgn="base">
                      <a:spcBef>
                        <a:spcPct val="0"/>
                      </a:spcBef>
                      <a:spcAft>
                        <a:spcPct val="0"/>
                      </a:spcAft>
                      <a:defRPr kern="1200">
                        <a:solidFill>
                          <a:schemeClr val="tx1"/>
                        </a:solidFill>
                        <a:latin typeface="+mn-lt"/>
                        <a:ea typeface="+mn-ea"/>
                        <a:cs typeface="+mn-cs"/>
                      </a:defRPr>
                    </a:lvl5pPr>
                    <a:lvl6pPr marL="3047467" algn="l" defTabSz="1218987" rtl="0" eaLnBrk="1" latinLnBrk="0" hangingPunct="1">
                      <a:defRPr kern="1200">
                        <a:solidFill>
                          <a:schemeClr val="tx1"/>
                        </a:solidFill>
                        <a:latin typeface="+mn-lt"/>
                        <a:ea typeface="+mn-ea"/>
                        <a:cs typeface="+mn-cs"/>
                      </a:defRPr>
                    </a:lvl6pPr>
                    <a:lvl7pPr marL="3656960" algn="l" defTabSz="1218987" rtl="0" eaLnBrk="1" latinLnBrk="0" hangingPunct="1">
                      <a:defRPr kern="1200">
                        <a:solidFill>
                          <a:schemeClr val="tx1"/>
                        </a:solidFill>
                        <a:latin typeface="+mn-lt"/>
                        <a:ea typeface="+mn-ea"/>
                        <a:cs typeface="+mn-cs"/>
                      </a:defRPr>
                    </a:lvl7pPr>
                    <a:lvl8pPr marL="4266453" algn="l" defTabSz="1218987" rtl="0" eaLnBrk="1" latinLnBrk="0" hangingPunct="1">
                      <a:defRPr kern="1200">
                        <a:solidFill>
                          <a:schemeClr val="tx1"/>
                        </a:solidFill>
                        <a:latin typeface="+mn-lt"/>
                        <a:ea typeface="+mn-ea"/>
                        <a:cs typeface="+mn-cs"/>
                      </a:defRPr>
                    </a:lvl8pPr>
                    <a:lvl9pPr marL="4875947" algn="l" defTabSz="1218987" rtl="0" eaLnBrk="1" latinLnBrk="0" hangingPunct="1">
                      <a:defRPr kern="1200">
                        <a:solidFill>
                          <a:schemeClr val="tx1"/>
                        </a:solidFill>
                        <a:latin typeface="+mn-lt"/>
                        <a:ea typeface="+mn-ea"/>
                        <a:cs typeface="+mn-cs"/>
                      </a:defRPr>
                    </a:lvl9pPr>
                  </a:lstStyle>
                  <a:p>
                    <a:pPr algn="ctr"/>
                    <a:endParaRPr lang="en-US" sz="1600" dirty="0"/>
                  </a:p>
                </p:txBody>
              </p:sp>
              <p:sp>
                <p:nvSpPr>
                  <p:cNvPr id="167" name="Oval 166">
                    <a:extLst>
                      <a:ext uri="{FF2B5EF4-FFF2-40B4-BE49-F238E27FC236}">
                        <a16:creationId xmlns:a16="http://schemas.microsoft.com/office/drawing/2014/main" id="{133ED97B-61E4-0A48-8717-242F436E495C}"/>
                      </a:ext>
                    </a:extLst>
                  </p:cNvPr>
                  <p:cNvSpPr/>
                  <p:nvPr/>
                </p:nvSpPr>
                <p:spPr>
                  <a:xfrm>
                    <a:off x="2490357" y="1429181"/>
                    <a:ext cx="790575" cy="790575"/>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93" algn="l" rtl="0" fontAlgn="base">
                      <a:spcBef>
                        <a:spcPct val="0"/>
                      </a:spcBef>
                      <a:spcAft>
                        <a:spcPct val="0"/>
                      </a:spcAft>
                      <a:defRPr kern="1200">
                        <a:solidFill>
                          <a:schemeClr val="lt1"/>
                        </a:solidFill>
                        <a:latin typeface="+mn-lt"/>
                        <a:ea typeface="+mn-ea"/>
                        <a:cs typeface="+mn-cs"/>
                      </a:defRPr>
                    </a:lvl2pPr>
                    <a:lvl3pPr marL="1218987" algn="l" rtl="0" fontAlgn="base">
                      <a:spcBef>
                        <a:spcPct val="0"/>
                      </a:spcBef>
                      <a:spcAft>
                        <a:spcPct val="0"/>
                      </a:spcAft>
                      <a:defRPr kern="1200">
                        <a:solidFill>
                          <a:schemeClr val="lt1"/>
                        </a:solidFill>
                        <a:latin typeface="+mn-lt"/>
                        <a:ea typeface="+mn-ea"/>
                        <a:cs typeface="+mn-cs"/>
                      </a:defRPr>
                    </a:lvl3pPr>
                    <a:lvl4pPr marL="1828480" algn="l" rtl="0" fontAlgn="base">
                      <a:spcBef>
                        <a:spcPct val="0"/>
                      </a:spcBef>
                      <a:spcAft>
                        <a:spcPct val="0"/>
                      </a:spcAft>
                      <a:defRPr kern="1200">
                        <a:solidFill>
                          <a:schemeClr val="lt1"/>
                        </a:solidFill>
                        <a:latin typeface="+mn-lt"/>
                        <a:ea typeface="+mn-ea"/>
                        <a:cs typeface="+mn-cs"/>
                      </a:defRPr>
                    </a:lvl4pPr>
                    <a:lvl5pPr marL="2437973" algn="l" rtl="0" fontAlgn="base">
                      <a:spcBef>
                        <a:spcPct val="0"/>
                      </a:spcBef>
                      <a:spcAft>
                        <a:spcPct val="0"/>
                      </a:spcAft>
                      <a:defRPr kern="1200">
                        <a:solidFill>
                          <a:schemeClr val="lt1"/>
                        </a:solidFill>
                        <a:latin typeface="+mn-lt"/>
                        <a:ea typeface="+mn-ea"/>
                        <a:cs typeface="+mn-cs"/>
                      </a:defRPr>
                    </a:lvl5pPr>
                    <a:lvl6pPr marL="3047467" algn="l" defTabSz="1218987" rtl="0" eaLnBrk="1" latinLnBrk="0" hangingPunct="1">
                      <a:defRPr kern="1200">
                        <a:solidFill>
                          <a:schemeClr val="lt1"/>
                        </a:solidFill>
                        <a:latin typeface="+mn-lt"/>
                        <a:ea typeface="+mn-ea"/>
                        <a:cs typeface="+mn-cs"/>
                      </a:defRPr>
                    </a:lvl6pPr>
                    <a:lvl7pPr marL="3656960" algn="l" defTabSz="1218987" rtl="0" eaLnBrk="1" latinLnBrk="0" hangingPunct="1">
                      <a:defRPr kern="1200">
                        <a:solidFill>
                          <a:schemeClr val="lt1"/>
                        </a:solidFill>
                        <a:latin typeface="+mn-lt"/>
                        <a:ea typeface="+mn-ea"/>
                        <a:cs typeface="+mn-cs"/>
                      </a:defRPr>
                    </a:lvl7pPr>
                    <a:lvl8pPr marL="4266453" algn="l" defTabSz="1218987" rtl="0" eaLnBrk="1" latinLnBrk="0" hangingPunct="1">
                      <a:defRPr kern="1200">
                        <a:solidFill>
                          <a:schemeClr val="lt1"/>
                        </a:solidFill>
                        <a:latin typeface="+mn-lt"/>
                        <a:ea typeface="+mn-ea"/>
                        <a:cs typeface="+mn-cs"/>
                      </a:defRPr>
                    </a:lvl8pPr>
                    <a:lvl9pPr marL="4875947" algn="l" defTabSz="1218987" rtl="0" eaLnBrk="1" latinLnBrk="0" hangingPunct="1">
                      <a:defRPr kern="1200">
                        <a:solidFill>
                          <a:schemeClr val="lt1"/>
                        </a:solidFill>
                        <a:latin typeface="+mn-lt"/>
                        <a:ea typeface="+mn-ea"/>
                        <a:cs typeface="+mn-cs"/>
                      </a:defRPr>
                    </a:lvl9pPr>
                  </a:lstStyle>
                  <a:p>
                    <a:pPr algn="ctr"/>
                    <a:endParaRPr lang="en-US" sz="1600" dirty="0"/>
                  </a:p>
                </p:txBody>
              </p:sp>
            </p:grpSp>
            <p:grpSp>
              <p:nvGrpSpPr>
                <p:cNvPr id="158" name="Group 157">
                  <a:extLst>
                    <a:ext uri="{FF2B5EF4-FFF2-40B4-BE49-F238E27FC236}">
                      <a16:creationId xmlns:a16="http://schemas.microsoft.com/office/drawing/2014/main" id="{30EE464E-DEF6-3746-8B95-82771FC95FC2}"/>
                    </a:ext>
                  </a:extLst>
                </p:cNvPr>
                <p:cNvGrpSpPr/>
                <p:nvPr/>
              </p:nvGrpSpPr>
              <p:grpSpPr>
                <a:xfrm>
                  <a:off x="4267128" y="3063194"/>
                  <a:ext cx="168817" cy="218532"/>
                  <a:chOff x="-8269288" y="-584200"/>
                  <a:chExt cx="6199188" cy="8024813"/>
                </a:xfrm>
                <a:solidFill>
                  <a:schemeClr val="accent1"/>
                </a:solidFill>
              </p:grpSpPr>
              <p:sp>
                <p:nvSpPr>
                  <p:cNvPr id="159" name="Freeform 158">
                    <a:extLst>
                      <a:ext uri="{FF2B5EF4-FFF2-40B4-BE49-F238E27FC236}">
                        <a16:creationId xmlns:a16="http://schemas.microsoft.com/office/drawing/2014/main" id="{EFD66893-93FD-814C-800E-EDAC77C1945E}"/>
                      </a:ext>
                    </a:extLst>
                  </p:cNvPr>
                  <p:cNvSpPr>
                    <a:spLocks/>
                  </p:cNvSpPr>
                  <p:nvPr/>
                </p:nvSpPr>
                <p:spPr bwMode="auto">
                  <a:xfrm>
                    <a:off x="-4497388" y="1574800"/>
                    <a:ext cx="2427288" cy="1819275"/>
                  </a:xfrm>
                  <a:custGeom>
                    <a:avLst/>
                    <a:gdLst>
                      <a:gd name="T0" fmla="*/ 592 w 647"/>
                      <a:gd name="T1" fmla="*/ 306 h 485"/>
                      <a:gd name="T2" fmla="*/ 629 w 647"/>
                      <a:gd name="T3" fmla="*/ 180 h 485"/>
                      <a:gd name="T4" fmla="*/ 491 w 647"/>
                      <a:gd name="T5" fmla="*/ 120 h 485"/>
                      <a:gd name="T6" fmla="*/ 205 w 647"/>
                      <a:gd name="T7" fmla="*/ 233 h 485"/>
                      <a:gd name="T8" fmla="*/ 102 w 647"/>
                      <a:gd name="T9" fmla="*/ 0 h 485"/>
                      <a:gd name="T10" fmla="*/ 76 w 647"/>
                      <a:gd name="T11" fmla="*/ 101 h 485"/>
                      <a:gd name="T12" fmla="*/ 0 w 647"/>
                      <a:gd name="T13" fmla="*/ 302 h 485"/>
                      <a:gd name="T14" fmla="*/ 63 w 647"/>
                      <a:gd name="T15" fmla="*/ 418 h 485"/>
                      <a:gd name="T16" fmla="*/ 195 w 647"/>
                      <a:gd name="T17" fmla="*/ 465 h 485"/>
                      <a:gd name="T18" fmla="*/ 569 w 647"/>
                      <a:gd name="T19" fmla="*/ 318 h 485"/>
                      <a:gd name="T20" fmla="*/ 592 w 647"/>
                      <a:gd name="T21" fmla="*/ 30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485">
                        <a:moveTo>
                          <a:pt x="592" y="306"/>
                        </a:moveTo>
                        <a:cubicBezTo>
                          <a:pt x="631" y="278"/>
                          <a:pt x="647" y="227"/>
                          <a:pt x="629" y="180"/>
                        </a:cubicBezTo>
                        <a:cubicBezTo>
                          <a:pt x="607" y="126"/>
                          <a:pt x="545" y="99"/>
                          <a:pt x="491" y="120"/>
                        </a:cubicBezTo>
                        <a:cubicBezTo>
                          <a:pt x="205" y="233"/>
                          <a:pt x="205" y="233"/>
                          <a:pt x="205" y="233"/>
                        </a:cubicBezTo>
                        <a:cubicBezTo>
                          <a:pt x="102" y="0"/>
                          <a:pt x="102" y="0"/>
                          <a:pt x="102" y="0"/>
                        </a:cubicBezTo>
                        <a:cubicBezTo>
                          <a:pt x="99" y="32"/>
                          <a:pt x="91" y="66"/>
                          <a:pt x="76" y="101"/>
                        </a:cubicBezTo>
                        <a:cubicBezTo>
                          <a:pt x="60" y="140"/>
                          <a:pt x="31" y="218"/>
                          <a:pt x="0" y="302"/>
                        </a:cubicBezTo>
                        <a:cubicBezTo>
                          <a:pt x="63" y="418"/>
                          <a:pt x="63" y="418"/>
                          <a:pt x="63" y="418"/>
                        </a:cubicBezTo>
                        <a:cubicBezTo>
                          <a:pt x="89" y="465"/>
                          <a:pt x="146" y="485"/>
                          <a:pt x="195" y="465"/>
                        </a:cubicBezTo>
                        <a:cubicBezTo>
                          <a:pt x="569" y="318"/>
                          <a:pt x="569" y="318"/>
                          <a:pt x="569" y="318"/>
                        </a:cubicBezTo>
                        <a:cubicBezTo>
                          <a:pt x="577" y="315"/>
                          <a:pt x="585" y="311"/>
                          <a:pt x="592" y="306"/>
                        </a:cubicBez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60" name="Freeform 159">
                    <a:extLst>
                      <a:ext uri="{FF2B5EF4-FFF2-40B4-BE49-F238E27FC236}">
                        <a16:creationId xmlns:a16="http://schemas.microsoft.com/office/drawing/2014/main" id="{73FED222-E57D-DF46-845D-98D41DADB240}"/>
                      </a:ext>
                    </a:extLst>
                  </p:cNvPr>
                  <p:cNvSpPr>
                    <a:spLocks/>
                  </p:cNvSpPr>
                  <p:nvPr/>
                </p:nvSpPr>
                <p:spPr bwMode="auto">
                  <a:xfrm>
                    <a:off x="-8269288" y="4410075"/>
                    <a:ext cx="2744788" cy="2055813"/>
                  </a:xfrm>
                  <a:custGeom>
                    <a:avLst/>
                    <a:gdLst>
                      <a:gd name="T0" fmla="*/ 482 w 732"/>
                      <a:gd name="T1" fmla="*/ 191 h 548"/>
                      <a:gd name="T2" fmla="*/ 96 w 732"/>
                      <a:gd name="T3" fmla="*/ 318 h 548"/>
                      <a:gd name="T4" fmla="*/ 20 w 732"/>
                      <a:gd name="T5" fmla="*/ 467 h 548"/>
                      <a:gd name="T6" fmla="*/ 132 w 732"/>
                      <a:gd name="T7" fmla="*/ 548 h 548"/>
                      <a:gd name="T8" fmla="*/ 170 w 732"/>
                      <a:gd name="T9" fmla="*/ 542 h 548"/>
                      <a:gd name="T10" fmla="*/ 610 w 732"/>
                      <a:gd name="T11" fmla="*/ 397 h 548"/>
                      <a:gd name="T12" fmla="*/ 684 w 732"/>
                      <a:gd name="T13" fmla="*/ 325 h 548"/>
                      <a:gd name="T14" fmla="*/ 732 w 732"/>
                      <a:gd name="T15" fmla="*/ 192 h 548"/>
                      <a:gd name="T16" fmla="*/ 551 w 732"/>
                      <a:gd name="T17" fmla="*/ 0 h 548"/>
                      <a:gd name="T18" fmla="*/ 482 w 732"/>
                      <a:gd name="T19" fmla="*/ 191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2" h="548">
                        <a:moveTo>
                          <a:pt x="482" y="191"/>
                        </a:moveTo>
                        <a:cubicBezTo>
                          <a:pt x="96" y="318"/>
                          <a:pt x="96" y="318"/>
                          <a:pt x="96" y="318"/>
                        </a:cubicBezTo>
                        <a:cubicBezTo>
                          <a:pt x="34" y="338"/>
                          <a:pt x="0" y="405"/>
                          <a:pt x="20" y="467"/>
                        </a:cubicBezTo>
                        <a:cubicBezTo>
                          <a:pt x="37" y="516"/>
                          <a:pt x="83" y="548"/>
                          <a:pt x="132" y="548"/>
                        </a:cubicBezTo>
                        <a:cubicBezTo>
                          <a:pt x="145" y="548"/>
                          <a:pt x="157" y="546"/>
                          <a:pt x="170" y="542"/>
                        </a:cubicBezTo>
                        <a:cubicBezTo>
                          <a:pt x="610" y="397"/>
                          <a:pt x="610" y="397"/>
                          <a:pt x="610" y="397"/>
                        </a:cubicBezTo>
                        <a:cubicBezTo>
                          <a:pt x="644" y="385"/>
                          <a:pt x="671" y="359"/>
                          <a:pt x="684" y="325"/>
                        </a:cubicBezTo>
                        <a:cubicBezTo>
                          <a:pt x="732" y="192"/>
                          <a:pt x="732" y="192"/>
                          <a:pt x="732" y="192"/>
                        </a:cubicBezTo>
                        <a:cubicBezTo>
                          <a:pt x="551" y="0"/>
                          <a:pt x="551" y="0"/>
                          <a:pt x="551" y="0"/>
                        </a:cubicBezTo>
                        <a:lnTo>
                          <a:pt x="482" y="191"/>
                        </a:ln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61" name="Oval 160">
                    <a:extLst>
                      <a:ext uri="{FF2B5EF4-FFF2-40B4-BE49-F238E27FC236}">
                        <a16:creationId xmlns:a16="http://schemas.microsoft.com/office/drawing/2014/main" id="{3094AE9B-32A3-3D44-B6D7-88DF5A1AED6C}"/>
                      </a:ext>
                    </a:extLst>
                  </p:cNvPr>
                  <p:cNvSpPr>
                    <a:spLocks noChangeArrowheads="1"/>
                  </p:cNvSpPr>
                  <p:nvPr/>
                </p:nvSpPr>
                <p:spPr bwMode="auto">
                  <a:xfrm>
                    <a:off x="-4557713" y="-584200"/>
                    <a:ext cx="1535113" cy="1533525"/>
                  </a:xfrm>
                  <a:prstGeom prst="ellipse">
                    <a:avLst/>
                  </a:pr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sp>
                <p:nvSpPr>
                  <p:cNvPr id="162" name="Freeform 161">
                    <a:extLst>
                      <a:ext uri="{FF2B5EF4-FFF2-40B4-BE49-F238E27FC236}">
                        <a16:creationId xmlns:a16="http://schemas.microsoft.com/office/drawing/2014/main" id="{B2C7C80E-DDF8-1841-8866-2F20CE47A0CE}"/>
                      </a:ext>
                    </a:extLst>
                  </p:cNvPr>
                  <p:cNvSpPr>
                    <a:spLocks/>
                  </p:cNvSpPr>
                  <p:nvPr/>
                </p:nvSpPr>
                <p:spPr bwMode="auto">
                  <a:xfrm>
                    <a:off x="-7421563" y="781050"/>
                    <a:ext cx="3381375" cy="6659563"/>
                  </a:xfrm>
                  <a:custGeom>
                    <a:avLst/>
                    <a:gdLst>
                      <a:gd name="T0" fmla="*/ 624 w 902"/>
                      <a:gd name="T1" fmla="*/ 840 h 1776"/>
                      <a:gd name="T2" fmla="*/ 757 w 902"/>
                      <a:gd name="T3" fmla="*/ 473 h 1776"/>
                      <a:gd name="T4" fmla="*/ 823 w 902"/>
                      <a:gd name="T5" fmla="*/ 299 h 1776"/>
                      <a:gd name="T6" fmla="*/ 839 w 902"/>
                      <a:gd name="T7" fmla="*/ 131 h 1776"/>
                      <a:gd name="T8" fmla="*/ 653 w 902"/>
                      <a:gd name="T9" fmla="*/ 0 h 1776"/>
                      <a:gd name="T10" fmla="*/ 613 w 902"/>
                      <a:gd name="T11" fmla="*/ 3 h 1776"/>
                      <a:gd name="T12" fmla="*/ 231 w 902"/>
                      <a:gd name="T13" fmla="*/ 93 h 1776"/>
                      <a:gd name="T14" fmla="*/ 161 w 902"/>
                      <a:gd name="T15" fmla="*/ 158 h 1776"/>
                      <a:gd name="T16" fmla="*/ 20 w 902"/>
                      <a:gd name="T17" fmla="*/ 539 h 1776"/>
                      <a:gd name="T18" fmla="*/ 83 w 902"/>
                      <a:gd name="T19" fmla="*/ 676 h 1776"/>
                      <a:gd name="T20" fmla="*/ 120 w 902"/>
                      <a:gd name="T21" fmla="*/ 683 h 1776"/>
                      <a:gd name="T22" fmla="*/ 220 w 902"/>
                      <a:gd name="T23" fmla="*/ 613 h 1776"/>
                      <a:gd name="T24" fmla="*/ 342 w 902"/>
                      <a:gd name="T25" fmla="*/ 282 h 1776"/>
                      <a:gd name="T26" fmla="*/ 470 w 902"/>
                      <a:gd name="T27" fmla="*/ 244 h 1776"/>
                      <a:gd name="T28" fmla="*/ 295 w 902"/>
                      <a:gd name="T29" fmla="*/ 748 h 1776"/>
                      <a:gd name="T30" fmla="*/ 334 w 902"/>
                      <a:gd name="T31" fmla="*/ 926 h 1776"/>
                      <a:gd name="T32" fmla="*/ 338 w 902"/>
                      <a:gd name="T33" fmla="*/ 931 h 1776"/>
                      <a:gd name="T34" fmla="*/ 520 w 902"/>
                      <a:gd name="T35" fmla="*/ 1122 h 1776"/>
                      <a:gd name="T36" fmla="*/ 648 w 902"/>
                      <a:gd name="T37" fmla="*/ 1257 h 1776"/>
                      <a:gd name="T38" fmla="*/ 539 w 902"/>
                      <a:gd name="T39" fmla="*/ 1624 h 1776"/>
                      <a:gd name="T40" fmla="*/ 618 w 902"/>
                      <a:gd name="T41" fmla="*/ 1771 h 1776"/>
                      <a:gd name="T42" fmla="*/ 652 w 902"/>
                      <a:gd name="T43" fmla="*/ 1776 h 1776"/>
                      <a:gd name="T44" fmla="*/ 765 w 902"/>
                      <a:gd name="T45" fmla="*/ 1691 h 1776"/>
                      <a:gd name="T46" fmla="*/ 891 w 902"/>
                      <a:gd name="T47" fmla="*/ 1266 h 1776"/>
                      <a:gd name="T48" fmla="*/ 871 w 902"/>
                      <a:gd name="T49" fmla="*/ 1160 h 1776"/>
                      <a:gd name="T50" fmla="*/ 624 w 902"/>
                      <a:gd name="T51" fmla="*/ 84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2" h="1776">
                        <a:moveTo>
                          <a:pt x="624" y="840"/>
                        </a:moveTo>
                        <a:cubicBezTo>
                          <a:pt x="624" y="840"/>
                          <a:pt x="697" y="636"/>
                          <a:pt x="757" y="473"/>
                        </a:cubicBezTo>
                        <a:cubicBezTo>
                          <a:pt x="784" y="400"/>
                          <a:pt x="809" y="334"/>
                          <a:pt x="823" y="299"/>
                        </a:cubicBezTo>
                        <a:cubicBezTo>
                          <a:pt x="850" y="236"/>
                          <a:pt x="853" y="179"/>
                          <a:pt x="839" y="131"/>
                        </a:cubicBezTo>
                        <a:cubicBezTo>
                          <a:pt x="816" y="51"/>
                          <a:pt x="744" y="0"/>
                          <a:pt x="653" y="0"/>
                        </a:cubicBezTo>
                        <a:cubicBezTo>
                          <a:pt x="640" y="0"/>
                          <a:pt x="627" y="1"/>
                          <a:pt x="613" y="3"/>
                        </a:cubicBezTo>
                        <a:cubicBezTo>
                          <a:pt x="488" y="23"/>
                          <a:pt x="355" y="57"/>
                          <a:pt x="231" y="93"/>
                        </a:cubicBezTo>
                        <a:cubicBezTo>
                          <a:pt x="198" y="102"/>
                          <a:pt x="172" y="127"/>
                          <a:pt x="161" y="158"/>
                        </a:cubicBezTo>
                        <a:cubicBezTo>
                          <a:pt x="20" y="539"/>
                          <a:pt x="20" y="539"/>
                          <a:pt x="20" y="539"/>
                        </a:cubicBezTo>
                        <a:cubicBezTo>
                          <a:pt x="0" y="595"/>
                          <a:pt x="28" y="656"/>
                          <a:pt x="83" y="676"/>
                        </a:cubicBezTo>
                        <a:cubicBezTo>
                          <a:pt x="95" y="681"/>
                          <a:pt x="108" y="683"/>
                          <a:pt x="120" y="683"/>
                        </a:cubicBezTo>
                        <a:cubicBezTo>
                          <a:pt x="163" y="683"/>
                          <a:pt x="204" y="656"/>
                          <a:pt x="220" y="613"/>
                        </a:cubicBezTo>
                        <a:cubicBezTo>
                          <a:pt x="342" y="282"/>
                          <a:pt x="342" y="282"/>
                          <a:pt x="342" y="282"/>
                        </a:cubicBezTo>
                        <a:cubicBezTo>
                          <a:pt x="470" y="244"/>
                          <a:pt x="470" y="244"/>
                          <a:pt x="470" y="244"/>
                        </a:cubicBezTo>
                        <a:cubicBezTo>
                          <a:pt x="295" y="748"/>
                          <a:pt x="295" y="748"/>
                          <a:pt x="295" y="748"/>
                        </a:cubicBezTo>
                        <a:cubicBezTo>
                          <a:pt x="276" y="804"/>
                          <a:pt x="293" y="883"/>
                          <a:pt x="334" y="926"/>
                        </a:cubicBezTo>
                        <a:cubicBezTo>
                          <a:pt x="338" y="931"/>
                          <a:pt x="338" y="931"/>
                          <a:pt x="338" y="931"/>
                        </a:cubicBezTo>
                        <a:cubicBezTo>
                          <a:pt x="520" y="1122"/>
                          <a:pt x="520" y="1122"/>
                          <a:pt x="520" y="1122"/>
                        </a:cubicBezTo>
                        <a:cubicBezTo>
                          <a:pt x="648" y="1257"/>
                          <a:pt x="648" y="1257"/>
                          <a:pt x="648" y="1257"/>
                        </a:cubicBezTo>
                        <a:cubicBezTo>
                          <a:pt x="539" y="1624"/>
                          <a:pt x="539" y="1624"/>
                          <a:pt x="539" y="1624"/>
                        </a:cubicBezTo>
                        <a:cubicBezTo>
                          <a:pt x="520" y="1687"/>
                          <a:pt x="556" y="1752"/>
                          <a:pt x="618" y="1771"/>
                        </a:cubicBezTo>
                        <a:cubicBezTo>
                          <a:pt x="630" y="1774"/>
                          <a:pt x="641" y="1776"/>
                          <a:pt x="652" y="1776"/>
                        </a:cubicBezTo>
                        <a:cubicBezTo>
                          <a:pt x="703" y="1776"/>
                          <a:pt x="750" y="1742"/>
                          <a:pt x="765" y="1691"/>
                        </a:cubicBezTo>
                        <a:cubicBezTo>
                          <a:pt x="891" y="1266"/>
                          <a:pt x="891" y="1266"/>
                          <a:pt x="891" y="1266"/>
                        </a:cubicBezTo>
                        <a:cubicBezTo>
                          <a:pt x="902" y="1229"/>
                          <a:pt x="894" y="1190"/>
                          <a:pt x="871" y="1160"/>
                        </a:cubicBezTo>
                        <a:lnTo>
                          <a:pt x="624" y="840"/>
                        </a:lnTo>
                        <a:close/>
                      </a:path>
                    </a:pathLst>
                  </a:custGeom>
                  <a:grpFill/>
                  <a:ln>
                    <a:noFill/>
                  </a:ln>
                </p:spPr>
                <p:txBody>
                  <a:bodyPr vert="horz" wrap="square" lIns="81280" tIns="40640" rIns="81280" bIns="4064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dirty="0"/>
                  </a:p>
                </p:txBody>
              </p:sp>
            </p:grpSp>
          </p:grpSp>
          <p:sp>
            <p:nvSpPr>
              <p:cNvPr id="170" name="TextBox 169">
                <a:extLst>
                  <a:ext uri="{FF2B5EF4-FFF2-40B4-BE49-F238E27FC236}">
                    <a16:creationId xmlns:a16="http://schemas.microsoft.com/office/drawing/2014/main" id="{07EC4D1F-ED22-8143-BAF1-94948E05A918}"/>
                  </a:ext>
                </a:extLst>
              </p:cNvPr>
              <p:cNvSpPr txBox="1"/>
              <p:nvPr/>
            </p:nvSpPr>
            <p:spPr>
              <a:xfrm rot="5400000">
                <a:off x="4540274" y="3239017"/>
                <a:ext cx="471042" cy="242374"/>
              </a:xfrm>
              <a:prstGeom prst="rect">
                <a:avLst/>
              </a:prstGeom>
              <a:noFill/>
            </p:spPr>
            <p:txBody>
              <a:bodyPr wrap="none" rtlCol="0">
                <a:spAutoFit/>
              </a:bodyPr>
              <a:lstStyle/>
              <a:p>
                <a:r>
                  <a:rPr lang="en-US" sz="800" b="1" dirty="0">
                    <a:latin typeface="Century Gothic" panose="020B0502020202020204" pitchFamily="34" charset="0"/>
                  </a:rPr>
                  <a:t>…….</a:t>
                </a:r>
              </a:p>
            </p:txBody>
          </p:sp>
        </p:grpSp>
      </p:grpSp>
      <p:sp>
        <p:nvSpPr>
          <p:cNvPr id="198" name="TextBox 197">
            <a:extLst>
              <a:ext uri="{FF2B5EF4-FFF2-40B4-BE49-F238E27FC236}">
                <a16:creationId xmlns:a16="http://schemas.microsoft.com/office/drawing/2014/main" id="{4FD3E023-873C-9A45-8184-99536BA27070}"/>
              </a:ext>
            </a:extLst>
          </p:cNvPr>
          <p:cNvSpPr txBox="1"/>
          <p:nvPr/>
        </p:nvSpPr>
        <p:spPr>
          <a:xfrm>
            <a:off x="3757622" y="2961814"/>
            <a:ext cx="1829347" cy="543803"/>
          </a:xfrm>
          <a:prstGeom prst="rect">
            <a:avLst/>
          </a:prstGeom>
          <a:noFill/>
        </p:spPr>
        <p:txBody>
          <a:bodyPr wrap="none" rtlCol="0">
            <a:spAutoFit/>
          </a:bodyPr>
          <a:lstStyle/>
          <a:p>
            <a:pPr algn="ctr"/>
            <a:r>
              <a:rPr lang="en-US" sz="978" dirty="0" smtClean="0">
                <a:latin typeface="Century Gothic" panose="020B0502020202020204" pitchFamily="34" charset="0"/>
              </a:rPr>
              <a:t>Enhancement  </a:t>
            </a:r>
            <a:r>
              <a:rPr lang="en-US" sz="978" dirty="0">
                <a:latin typeface="Century Gothic" panose="020B0502020202020204" pitchFamily="34" charset="0"/>
              </a:rPr>
              <a:t>Requests +</a:t>
            </a:r>
          </a:p>
          <a:p>
            <a:pPr algn="ctr"/>
            <a:r>
              <a:rPr lang="en-US" sz="978" dirty="0">
                <a:latin typeface="Century Gothic" panose="020B0502020202020204" pitchFamily="34" charset="0"/>
              </a:rPr>
              <a:t>Learn from </a:t>
            </a:r>
            <a:r>
              <a:rPr lang="en-US" sz="978" dirty="0" smtClean="0">
                <a:latin typeface="Century Gothic" panose="020B0502020202020204" pitchFamily="34" charset="0"/>
              </a:rPr>
              <a:t>Measurement +</a:t>
            </a:r>
          </a:p>
          <a:p>
            <a:pPr algn="ctr"/>
            <a:r>
              <a:rPr lang="en-US" sz="978" dirty="0" smtClean="0">
                <a:latin typeface="Century Gothic" panose="020B0502020202020204" pitchFamily="34" charset="0"/>
              </a:rPr>
              <a:t>Error Budget</a:t>
            </a:r>
            <a:endParaRPr lang="en-US" sz="978" dirty="0">
              <a:latin typeface="Century Gothic" panose="020B0502020202020204" pitchFamily="34" charset="0"/>
            </a:endParaRPr>
          </a:p>
        </p:txBody>
      </p:sp>
      <p:grpSp>
        <p:nvGrpSpPr>
          <p:cNvPr id="209" name="Group 208">
            <a:extLst>
              <a:ext uri="{FF2B5EF4-FFF2-40B4-BE49-F238E27FC236}">
                <a16:creationId xmlns:a16="http://schemas.microsoft.com/office/drawing/2014/main" id="{CA9083DD-47DD-ED42-AD84-03963432B235}"/>
              </a:ext>
            </a:extLst>
          </p:cNvPr>
          <p:cNvGrpSpPr/>
          <p:nvPr/>
        </p:nvGrpSpPr>
        <p:grpSpPr>
          <a:xfrm>
            <a:off x="8138353" y="2961916"/>
            <a:ext cx="491112" cy="566666"/>
            <a:chOff x="9115212" y="2799345"/>
            <a:chExt cx="552501" cy="637499"/>
          </a:xfrm>
        </p:grpSpPr>
        <p:sp>
          <p:nvSpPr>
            <p:cNvPr id="200" name="Freeform 199">
              <a:extLst>
                <a:ext uri="{FF2B5EF4-FFF2-40B4-BE49-F238E27FC236}">
                  <a16:creationId xmlns:a16="http://schemas.microsoft.com/office/drawing/2014/main" id="{F99C8600-65BB-E348-B5E3-BF245164676D}"/>
                </a:ext>
              </a:extLst>
            </p:cNvPr>
            <p:cNvSpPr>
              <a:spLocks/>
            </p:cNvSpPr>
            <p:nvPr/>
          </p:nvSpPr>
          <p:spPr bwMode="auto">
            <a:xfrm>
              <a:off x="9115212" y="2799345"/>
              <a:ext cx="552501" cy="637499"/>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grpSp>
          <p:nvGrpSpPr>
            <p:cNvPr id="201" name="Group 200">
              <a:extLst>
                <a:ext uri="{FF2B5EF4-FFF2-40B4-BE49-F238E27FC236}">
                  <a16:creationId xmlns:a16="http://schemas.microsoft.com/office/drawing/2014/main" id="{5DA1C038-B50F-2548-8887-35B6A6E3FFF9}"/>
                </a:ext>
              </a:extLst>
            </p:cNvPr>
            <p:cNvGrpSpPr>
              <a:grpSpLocks noChangeAspect="1"/>
            </p:cNvGrpSpPr>
            <p:nvPr/>
          </p:nvGrpSpPr>
          <p:grpSpPr>
            <a:xfrm>
              <a:off x="9203072" y="2937541"/>
              <a:ext cx="381056" cy="365760"/>
              <a:chOff x="14132561" y="1514194"/>
              <a:chExt cx="1304925" cy="1252538"/>
            </a:xfrm>
            <a:solidFill>
              <a:schemeClr val="tx1"/>
            </a:solidFill>
          </p:grpSpPr>
          <p:sp>
            <p:nvSpPr>
              <p:cNvPr id="202" name="Freeform 9">
                <a:extLst>
                  <a:ext uri="{FF2B5EF4-FFF2-40B4-BE49-F238E27FC236}">
                    <a16:creationId xmlns:a16="http://schemas.microsoft.com/office/drawing/2014/main" id="{4CCEEC5A-C8BB-9A4D-A48C-D626C6C8AFDC}"/>
                  </a:ext>
                </a:extLst>
              </p:cNvPr>
              <p:cNvSpPr>
                <a:spLocks noEditPoints="1"/>
              </p:cNvSpPr>
              <p:nvPr/>
            </p:nvSpPr>
            <p:spPr bwMode="auto">
              <a:xfrm>
                <a:off x="14132561" y="1514194"/>
                <a:ext cx="1304925" cy="1252538"/>
              </a:xfrm>
              <a:custGeom>
                <a:avLst/>
                <a:gdLst>
                  <a:gd name="T0" fmla="*/ 85 w 1645"/>
                  <a:gd name="T1" fmla="*/ 691 h 1577"/>
                  <a:gd name="T2" fmla="*/ 70 w 1645"/>
                  <a:gd name="T3" fmla="*/ 720 h 1577"/>
                  <a:gd name="T4" fmla="*/ 74 w 1645"/>
                  <a:gd name="T5" fmla="*/ 1492 h 1577"/>
                  <a:gd name="T6" fmla="*/ 103 w 1645"/>
                  <a:gd name="T7" fmla="*/ 1510 h 1577"/>
                  <a:gd name="T8" fmla="*/ 670 w 1645"/>
                  <a:gd name="T9" fmla="*/ 1504 h 1577"/>
                  <a:gd name="T10" fmla="*/ 685 w 1645"/>
                  <a:gd name="T11" fmla="*/ 1475 h 1577"/>
                  <a:gd name="T12" fmla="*/ 681 w 1645"/>
                  <a:gd name="T13" fmla="*/ 703 h 1577"/>
                  <a:gd name="T14" fmla="*/ 652 w 1645"/>
                  <a:gd name="T15" fmla="*/ 685 h 1577"/>
                  <a:gd name="T16" fmla="*/ 274 w 1645"/>
                  <a:gd name="T17" fmla="*/ 343 h 1577"/>
                  <a:gd name="T18" fmla="*/ 652 w 1645"/>
                  <a:gd name="T19" fmla="*/ 618 h 1577"/>
                  <a:gd name="T20" fmla="*/ 712 w 1645"/>
                  <a:gd name="T21" fmla="*/ 637 h 1577"/>
                  <a:gd name="T22" fmla="*/ 749 w 1645"/>
                  <a:gd name="T23" fmla="*/ 687 h 1577"/>
                  <a:gd name="T24" fmla="*/ 754 w 1645"/>
                  <a:gd name="T25" fmla="*/ 1029 h 1577"/>
                  <a:gd name="T26" fmla="*/ 1507 w 1645"/>
                  <a:gd name="T27" fmla="*/ 1023 h 1577"/>
                  <a:gd name="T28" fmla="*/ 1557 w 1645"/>
                  <a:gd name="T29" fmla="*/ 986 h 1577"/>
                  <a:gd name="T30" fmla="*/ 1576 w 1645"/>
                  <a:gd name="T31" fmla="*/ 927 h 1577"/>
                  <a:gd name="T32" fmla="*/ 274 w 1645"/>
                  <a:gd name="T33" fmla="*/ 343 h 1577"/>
                  <a:gd name="T34" fmla="*/ 346 w 1645"/>
                  <a:gd name="T35" fmla="*/ 73 h 1577"/>
                  <a:gd name="T36" fmla="*/ 296 w 1645"/>
                  <a:gd name="T37" fmla="*/ 110 h 1577"/>
                  <a:gd name="T38" fmla="*/ 274 w 1645"/>
                  <a:gd name="T39" fmla="*/ 172 h 1577"/>
                  <a:gd name="T40" fmla="*/ 1576 w 1645"/>
                  <a:gd name="T41" fmla="*/ 274 h 1577"/>
                  <a:gd name="T42" fmla="*/ 1572 w 1645"/>
                  <a:gd name="T43" fmla="*/ 139 h 1577"/>
                  <a:gd name="T44" fmla="*/ 1536 w 1645"/>
                  <a:gd name="T45" fmla="*/ 89 h 1577"/>
                  <a:gd name="T46" fmla="*/ 1474 w 1645"/>
                  <a:gd name="T47" fmla="*/ 67 h 1577"/>
                  <a:gd name="T48" fmla="*/ 378 w 1645"/>
                  <a:gd name="T49" fmla="*/ 0 h 1577"/>
                  <a:gd name="T50" fmla="*/ 1514 w 1645"/>
                  <a:gd name="T51" fmla="*/ 4 h 1577"/>
                  <a:gd name="T52" fmla="*/ 1582 w 1645"/>
                  <a:gd name="T53" fmla="*/ 36 h 1577"/>
                  <a:gd name="T54" fmla="*/ 1628 w 1645"/>
                  <a:gd name="T55" fmla="*/ 96 h 1577"/>
                  <a:gd name="T56" fmla="*/ 1645 w 1645"/>
                  <a:gd name="T57" fmla="*/ 172 h 1577"/>
                  <a:gd name="T58" fmla="*/ 1642 w 1645"/>
                  <a:gd name="T59" fmla="*/ 965 h 1577"/>
                  <a:gd name="T60" fmla="*/ 1607 w 1645"/>
                  <a:gd name="T61" fmla="*/ 1033 h 1577"/>
                  <a:gd name="T62" fmla="*/ 1549 w 1645"/>
                  <a:gd name="T63" fmla="*/ 1079 h 1577"/>
                  <a:gd name="T64" fmla="*/ 1474 w 1645"/>
                  <a:gd name="T65" fmla="*/ 1097 h 1577"/>
                  <a:gd name="T66" fmla="*/ 754 w 1645"/>
                  <a:gd name="T67" fmla="*/ 1475 h 1577"/>
                  <a:gd name="T68" fmla="*/ 735 w 1645"/>
                  <a:gd name="T69" fmla="*/ 1535 h 1577"/>
                  <a:gd name="T70" fmla="*/ 685 w 1645"/>
                  <a:gd name="T71" fmla="*/ 1572 h 1577"/>
                  <a:gd name="T72" fmla="*/ 103 w 1645"/>
                  <a:gd name="T73" fmla="*/ 1577 h 1577"/>
                  <a:gd name="T74" fmla="*/ 43 w 1645"/>
                  <a:gd name="T75" fmla="*/ 1558 h 1577"/>
                  <a:gd name="T76" fmla="*/ 6 w 1645"/>
                  <a:gd name="T77" fmla="*/ 1508 h 1577"/>
                  <a:gd name="T78" fmla="*/ 0 w 1645"/>
                  <a:gd name="T79" fmla="*/ 720 h 1577"/>
                  <a:gd name="T80" fmla="*/ 20 w 1645"/>
                  <a:gd name="T81" fmla="*/ 658 h 1577"/>
                  <a:gd name="T82" fmla="*/ 72 w 1645"/>
                  <a:gd name="T83" fmla="*/ 622 h 1577"/>
                  <a:gd name="T84" fmla="*/ 207 w 1645"/>
                  <a:gd name="T85" fmla="*/ 618 h 1577"/>
                  <a:gd name="T86" fmla="*/ 211 w 1645"/>
                  <a:gd name="T87" fmla="*/ 131 h 1577"/>
                  <a:gd name="T88" fmla="*/ 243 w 1645"/>
                  <a:gd name="T89" fmla="*/ 64 h 1577"/>
                  <a:gd name="T90" fmla="*/ 301 w 1645"/>
                  <a:gd name="T91" fmla="*/ 17 h 1577"/>
                  <a:gd name="T92" fmla="*/ 378 w 1645"/>
                  <a:gd name="T93" fmla="*/ 0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5" h="1577">
                    <a:moveTo>
                      <a:pt x="103" y="685"/>
                    </a:moveTo>
                    <a:lnTo>
                      <a:pt x="85" y="691"/>
                    </a:lnTo>
                    <a:lnTo>
                      <a:pt x="74" y="703"/>
                    </a:lnTo>
                    <a:lnTo>
                      <a:pt x="70" y="720"/>
                    </a:lnTo>
                    <a:lnTo>
                      <a:pt x="70" y="1475"/>
                    </a:lnTo>
                    <a:lnTo>
                      <a:pt x="74" y="1492"/>
                    </a:lnTo>
                    <a:lnTo>
                      <a:pt x="85" y="1504"/>
                    </a:lnTo>
                    <a:lnTo>
                      <a:pt x="103" y="1510"/>
                    </a:lnTo>
                    <a:lnTo>
                      <a:pt x="652" y="1510"/>
                    </a:lnTo>
                    <a:lnTo>
                      <a:pt x="670" y="1504"/>
                    </a:lnTo>
                    <a:lnTo>
                      <a:pt x="681" y="1492"/>
                    </a:lnTo>
                    <a:lnTo>
                      <a:pt x="685" y="1475"/>
                    </a:lnTo>
                    <a:lnTo>
                      <a:pt x="685" y="720"/>
                    </a:lnTo>
                    <a:lnTo>
                      <a:pt x="681" y="703"/>
                    </a:lnTo>
                    <a:lnTo>
                      <a:pt x="670" y="691"/>
                    </a:lnTo>
                    <a:lnTo>
                      <a:pt x="652" y="685"/>
                    </a:lnTo>
                    <a:lnTo>
                      <a:pt x="103" y="685"/>
                    </a:lnTo>
                    <a:close/>
                    <a:moveTo>
                      <a:pt x="274" y="343"/>
                    </a:moveTo>
                    <a:lnTo>
                      <a:pt x="274" y="618"/>
                    </a:lnTo>
                    <a:lnTo>
                      <a:pt x="652" y="618"/>
                    </a:lnTo>
                    <a:lnTo>
                      <a:pt x="685" y="622"/>
                    </a:lnTo>
                    <a:lnTo>
                      <a:pt x="712" y="637"/>
                    </a:lnTo>
                    <a:lnTo>
                      <a:pt x="735" y="658"/>
                    </a:lnTo>
                    <a:lnTo>
                      <a:pt x="749" y="687"/>
                    </a:lnTo>
                    <a:lnTo>
                      <a:pt x="754" y="720"/>
                    </a:lnTo>
                    <a:lnTo>
                      <a:pt x="754" y="1029"/>
                    </a:lnTo>
                    <a:lnTo>
                      <a:pt x="1474" y="1029"/>
                    </a:lnTo>
                    <a:lnTo>
                      <a:pt x="1507" y="1023"/>
                    </a:lnTo>
                    <a:lnTo>
                      <a:pt x="1536" y="1010"/>
                    </a:lnTo>
                    <a:lnTo>
                      <a:pt x="1557" y="986"/>
                    </a:lnTo>
                    <a:lnTo>
                      <a:pt x="1572" y="958"/>
                    </a:lnTo>
                    <a:lnTo>
                      <a:pt x="1576" y="927"/>
                    </a:lnTo>
                    <a:lnTo>
                      <a:pt x="1576" y="343"/>
                    </a:lnTo>
                    <a:lnTo>
                      <a:pt x="274" y="343"/>
                    </a:lnTo>
                    <a:close/>
                    <a:moveTo>
                      <a:pt x="378" y="67"/>
                    </a:moveTo>
                    <a:lnTo>
                      <a:pt x="346" y="73"/>
                    </a:lnTo>
                    <a:lnTo>
                      <a:pt x="317" y="89"/>
                    </a:lnTo>
                    <a:lnTo>
                      <a:pt x="296" y="110"/>
                    </a:lnTo>
                    <a:lnTo>
                      <a:pt x="280" y="139"/>
                    </a:lnTo>
                    <a:lnTo>
                      <a:pt x="274" y="172"/>
                    </a:lnTo>
                    <a:lnTo>
                      <a:pt x="274" y="274"/>
                    </a:lnTo>
                    <a:lnTo>
                      <a:pt x="1576" y="274"/>
                    </a:lnTo>
                    <a:lnTo>
                      <a:pt x="1576" y="172"/>
                    </a:lnTo>
                    <a:lnTo>
                      <a:pt x="1572" y="139"/>
                    </a:lnTo>
                    <a:lnTo>
                      <a:pt x="1557" y="110"/>
                    </a:lnTo>
                    <a:lnTo>
                      <a:pt x="1536" y="89"/>
                    </a:lnTo>
                    <a:lnTo>
                      <a:pt x="1507" y="73"/>
                    </a:lnTo>
                    <a:lnTo>
                      <a:pt x="1474" y="67"/>
                    </a:lnTo>
                    <a:lnTo>
                      <a:pt x="378" y="67"/>
                    </a:lnTo>
                    <a:close/>
                    <a:moveTo>
                      <a:pt x="378" y="0"/>
                    </a:moveTo>
                    <a:lnTo>
                      <a:pt x="1474" y="0"/>
                    </a:lnTo>
                    <a:lnTo>
                      <a:pt x="1514" y="4"/>
                    </a:lnTo>
                    <a:lnTo>
                      <a:pt x="1549" y="17"/>
                    </a:lnTo>
                    <a:lnTo>
                      <a:pt x="1582" y="36"/>
                    </a:lnTo>
                    <a:lnTo>
                      <a:pt x="1607" y="64"/>
                    </a:lnTo>
                    <a:lnTo>
                      <a:pt x="1628" y="96"/>
                    </a:lnTo>
                    <a:lnTo>
                      <a:pt x="1642" y="131"/>
                    </a:lnTo>
                    <a:lnTo>
                      <a:pt x="1645" y="172"/>
                    </a:lnTo>
                    <a:lnTo>
                      <a:pt x="1645" y="927"/>
                    </a:lnTo>
                    <a:lnTo>
                      <a:pt x="1642" y="965"/>
                    </a:lnTo>
                    <a:lnTo>
                      <a:pt x="1628" y="1002"/>
                    </a:lnTo>
                    <a:lnTo>
                      <a:pt x="1607" y="1033"/>
                    </a:lnTo>
                    <a:lnTo>
                      <a:pt x="1582" y="1060"/>
                    </a:lnTo>
                    <a:lnTo>
                      <a:pt x="1549" y="1079"/>
                    </a:lnTo>
                    <a:lnTo>
                      <a:pt x="1514" y="1093"/>
                    </a:lnTo>
                    <a:lnTo>
                      <a:pt x="1474" y="1097"/>
                    </a:lnTo>
                    <a:lnTo>
                      <a:pt x="754" y="1097"/>
                    </a:lnTo>
                    <a:lnTo>
                      <a:pt x="754" y="1475"/>
                    </a:lnTo>
                    <a:lnTo>
                      <a:pt x="749" y="1508"/>
                    </a:lnTo>
                    <a:lnTo>
                      <a:pt x="735" y="1535"/>
                    </a:lnTo>
                    <a:lnTo>
                      <a:pt x="712" y="1558"/>
                    </a:lnTo>
                    <a:lnTo>
                      <a:pt x="685" y="1572"/>
                    </a:lnTo>
                    <a:lnTo>
                      <a:pt x="652" y="1577"/>
                    </a:lnTo>
                    <a:lnTo>
                      <a:pt x="103" y="1577"/>
                    </a:lnTo>
                    <a:lnTo>
                      <a:pt x="72" y="1572"/>
                    </a:lnTo>
                    <a:lnTo>
                      <a:pt x="43" y="1558"/>
                    </a:lnTo>
                    <a:lnTo>
                      <a:pt x="20" y="1535"/>
                    </a:lnTo>
                    <a:lnTo>
                      <a:pt x="6" y="1508"/>
                    </a:lnTo>
                    <a:lnTo>
                      <a:pt x="0" y="1475"/>
                    </a:lnTo>
                    <a:lnTo>
                      <a:pt x="0" y="720"/>
                    </a:lnTo>
                    <a:lnTo>
                      <a:pt x="6" y="687"/>
                    </a:lnTo>
                    <a:lnTo>
                      <a:pt x="20" y="658"/>
                    </a:lnTo>
                    <a:lnTo>
                      <a:pt x="43" y="637"/>
                    </a:lnTo>
                    <a:lnTo>
                      <a:pt x="72" y="622"/>
                    </a:lnTo>
                    <a:lnTo>
                      <a:pt x="103" y="618"/>
                    </a:lnTo>
                    <a:lnTo>
                      <a:pt x="207" y="618"/>
                    </a:lnTo>
                    <a:lnTo>
                      <a:pt x="207" y="172"/>
                    </a:lnTo>
                    <a:lnTo>
                      <a:pt x="211" y="131"/>
                    </a:lnTo>
                    <a:lnTo>
                      <a:pt x="224" y="96"/>
                    </a:lnTo>
                    <a:lnTo>
                      <a:pt x="243" y="64"/>
                    </a:lnTo>
                    <a:lnTo>
                      <a:pt x="270" y="36"/>
                    </a:lnTo>
                    <a:lnTo>
                      <a:pt x="301" y="17"/>
                    </a:lnTo>
                    <a:lnTo>
                      <a:pt x="338" y="4"/>
                    </a:lnTo>
                    <a:lnTo>
                      <a:pt x="378"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3" name="Freeform 10">
                <a:extLst>
                  <a:ext uri="{FF2B5EF4-FFF2-40B4-BE49-F238E27FC236}">
                    <a16:creationId xmlns:a16="http://schemas.microsoft.com/office/drawing/2014/main" id="{68789BF8-C8D8-BB43-86F8-343EDF7BFC9F}"/>
                  </a:ext>
                </a:extLst>
              </p:cNvPr>
              <p:cNvSpPr>
                <a:spLocks/>
              </p:cNvSpPr>
              <p:nvPr/>
            </p:nvSpPr>
            <p:spPr bwMode="auto">
              <a:xfrm>
                <a:off x="14457998" y="1622144"/>
                <a:ext cx="55563" cy="53975"/>
              </a:xfrm>
              <a:custGeom>
                <a:avLst/>
                <a:gdLst>
                  <a:gd name="T0" fmla="*/ 35 w 70"/>
                  <a:gd name="T1" fmla="*/ 0 h 67"/>
                  <a:gd name="T2" fmla="*/ 52 w 70"/>
                  <a:gd name="T3" fmla="*/ 4 h 67"/>
                  <a:gd name="T4" fmla="*/ 64 w 70"/>
                  <a:gd name="T5" fmla="*/ 17 h 67"/>
                  <a:gd name="T6" fmla="*/ 70 w 70"/>
                  <a:gd name="T7" fmla="*/ 35 h 67"/>
                  <a:gd name="T8" fmla="*/ 64 w 70"/>
                  <a:gd name="T9" fmla="*/ 52 h 67"/>
                  <a:gd name="T10" fmla="*/ 52 w 70"/>
                  <a:gd name="T11" fmla="*/ 64 h 67"/>
                  <a:gd name="T12" fmla="*/ 35 w 70"/>
                  <a:gd name="T13" fmla="*/ 67 h 67"/>
                  <a:gd name="T14" fmla="*/ 18 w 70"/>
                  <a:gd name="T15" fmla="*/ 64 h 67"/>
                  <a:gd name="T16" fmla="*/ 6 w 70"/>
                  <a:gd name="T17" fmla="*/ 52 h 67"/>
                  <a:gd name="T18" fmla="*/ 0 w 70"/>
                  <a:gd name="T19" fmla="*/ 35 h 67"/>
                  <a:gd name="T20" fmla="*/ 6 w 70"/>
                  <a:gd name="T21" fmla="*/ 17 h 67"/>
                  <a:gd name="T22" fmla="*/ 18 w 70"/>
                  <a:gd name="T23" fmla="*/ 4 h 67"/>
                  <a:gd name="T24" fmla="*/ 35 w 70"/>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7">
                    <a:moveTo>
                      <a:pt x="35" y="0"/>
                    </a:moveTo>
                    <a:lnTo>
                      <a:pt x="52" y="4"/>
                    </a:lnTo>
                    <a:lnTo>
                      <a:pt x="64" y="17"/>
                    </a:lnTo>
                    <a:lnTo>
                      <a:pt x="70" y="35"/>
                    </a:lnTo>
                    <a:lnTo>
                      <a:pt x="64" y="52"/>
                    </a:lnTo>
                    <a:lnTo>
                      <a:pt x="52" y="64"/>
                    </a:lnTo>
                    <a:lnTo>
                      <a:pt x="35" y="67"/>
                    </a:lnTo>
                    <a:lnTo>
                      <a:pt x="18" y="64"/>
                    </a:lnTo>
                    <a:lnTo>
                      <a:pt x="6" y="52"/>
                    </a:lnTo>
                    <a:lnTo>
                      <a:pt x="0" y="35"/>
                    </a:lnTo>
                    <a:lnTo>
                      <a:pt x="6" y="17"/>
                    </a:lnTo>
                    <a:lnTo>
                      <a:pt x="18" y="4"/>
                    </a:lnTo>
                    <a:lnTo>
                      <a:pt x="35"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4" name="Freeform 11">
                <a:extLst>
                  <a:ext uri="{FF2B5EF4-FFF2-40B4-BE49-F238E27FC236}">
                    <a16:creationId xmlns:a16="http://schemas.microsoft.com/office/drawing/2014/main" id="{ABE9B214-ED8E-D34F-8B25-D44034AF1673}"/>
                  </a:ext>
                </a:extLst>
              </p:cNvPr>
              <p:cNvSpPr>
                <a:spLocks/>
              </p:cNvSpPr>
              <p:nvPr/>
            </p:nvSpPr>
            <p:spPr bwMode="auto">
              <a:xfrm>
                <a:off x="14567536" y="1622144"/>
                <a:ext cx="53975" cy="53975"/>
              </a:xfrm>
              <a:custGeom>
                <a:avLst/>
                <a:gdLst>
                  <a:gd name="T0" fmla="*/ 35 w 70"/>
                  <a:gd name="T1" fmla="*/ 0 h 67"/>
                  <a:gd name="T2" fmla="*/ 52 w 70"/>
                  <a:gd name="T3" fmla="*/ 4 h 67"/>
                  <a:gd name="T4" fmla="*/ 64 w 70"/>
                  <a:gd name="T5" fmla="*/ 17 h 67"/>
                  <a:gd name="T6" fmla="*/ 70 w 70"/>
                  <a:gd name="T7" fmla="*/ 35 h 67"/>
                  <a:gd name="T8" fmla="*/ 64 w 70"/>
                  <a:gd name="T9" fmla="*/ 52 h 67"/>
                  <a:gd name="T10" fmla="*/ 52 w 70"/>
                  <a:gd name="T11" fmla="*/ 64 h 67"/>
                  <a:gd name="T12" fmla="*/ 35 w 70"/>
                  <a:gd name="T13" fmla="*/ 67 h 67"/>
                  <a:gd name="T14" fmla="*/ 18 w 70"/>
                  <a:gd name="T15" fmla="*/ 64 h 67"/>
                  <a:gd name="T16" fmla="*/ 6 w 70"/>
                  <a:gd name="T17" fmla="*/ 52 h 67"/>
                  <a:gd name="T18" fmla="*/ 0 w 70"/>
                  <a:gd name="T19" fmla="*/ 35 h 67"/>
                  <a:gd name="T20" fmla="*/ 6 w 70"/>
                  <a:gd name="T21" fmla="*/ 17 h 67"/>
                  <a:gd name="T22" fmla="*/ 18 w 70"/>
                  <a:gd name="T23" fmla="*/ 4 h 67"/>
                  <a:gd name="T24" fmla="*/ 35 w 70"/>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7">
                    <a:moveTo>
                      <a:pt x="35" y="0"/>
                    </a:moveTo>
                    <a:lnTo>
                      <a:pt x="52" y="4"/>
                    </a:lnTo>
                    <a:lnTo>
                      <a:pt x="64" y="17"/>
                    </a:lnTo>
                    <a:lnTo>
                      <a:pt x="70" y="35"/>
                    </a:lnTo>
                    <a:lnTo>
                      <a:pt x="64" y="52"/>
                    </a:lnTo>
                    <a:lnTo>
                      <a:pt x="52" y="64"/>
                    </a:lnTo>
                    <a:lnTo>
                      <a:pt x="35" y="67"/>
                    </a:lnTo>
                    <a:lnTo>
                      <a:pt x="18" y="64"/>
                    </a:lnTo>
                    <a:lnTo>
                      <a:pt x="6" y="52"/>
                    </a:lnTo>
                    <a:lnTo>
                      <a:pt x="0" y="35"/>
                    </a:lnTo>
                    <a:lnTo>
                      <a:pt x="6" y="17"/>
                    </a:lnTo>
                    <a:lnTo>
                      <a:pt x="18" y="4"/>
                    </a:lnTo>
                    <a:lnTo>
                      <a:pt x="35"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5" name="Freeform 12">
                <a:extLst>
                  <a:ext uri="{FF2B5EF4-FFF2-40B4-BE49-F238E27FC236}">
                    <a16:creationId xmlns:a16="http://schemas.microsoft.com/office/drawing/2014/main" id="{B17D3A0F-D61D-9F4E-BBD0-126C1F655770}"/>
                  </a:ext>
                </a:extLst>
              </p:cNvPr>
              <p:cNvSpPr>
                <a:spLocks/>
              </p:cNvSpPr>
              <p:nvPr/>
            </p:nvSpPr>
            <p:spPr bwMode="auto">
              <a:xfrm>
                <a:off x="14675486" y="1622144"/>
                <a:ext cx="55563" cy="53975"/>
              </a:xfrm>
              <a:custGeom>
                <a:avLst/>
                <a:gdLst>
                  <a:gd name="T0" fmla="*/ 35 w 69"/>
                  <a:gd name="T1" fmla="*/ 0 h 67"/>
                  <a:gd name="T2" fmla="*/ 52 w 69"/>
                  <a:gd name="T3" fmla="*/ 4 h 67"/>
                  <a:gd name="T4" fmla="*/ 66 w 69"/>
                  <a:gd name="T5" fmla="*/ 17 h 67"/>
                  <a:gd name="T6" fmla="*/ 69 w 69"/>
                  <a:gd name="T7" fmla="*/ 35 h 67"/>
                  <a:gd name="T8" fmla="*/ 66 w 69"/>
                  <a:gd name="T9" fmla="*/ 52 h 67"/>
                  <a:gd name="T10" fmla="*/ 52 w 69"/>
                  <a:gd name="T11" fmla="*/ 64 h 67"/>
                  <a:gd name="T12" fmla="*/ 35 w 69"/>
                  <a:gd name="T13" fmla="*/ 67 h 67"/>
                  <a:gd name="T14" fmla="*/ 17 w 69"/>
                  <a:gd name="T15" fmla="*/ 64 h 67"/>
                  <a:gd name="T16" fmla="*/ 6 w 69"/>
                  <a:gd name="T17" fmla="*/ 52 h 67"/>
                  <a:gd name="T18" fmla="*/ 0 w 69"/>
                  <a:gd name="T19" fmla="*/ 35 h 67"/>
                  <a:gd name="T20" fmla="*/ 6 w 69"/>
                  <a:gd name="T21" fmla="*/ 17 h 67"/>
                  <a:gd name="T22" fmla="*/ 17 w 69"/>
                  <a:gd name="T23" fmla="*/ 4 h 67"/>
                  <a:gd name="T24" fmla="*/ 35 w 69"/>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67">
                    <a:moveTo>
                      <a:pt x="35" y="0"/>
                    </a:moveTo>
                    <a:lnTo>
                      <a:pt x="52" y="4"/>
                    </a:lnTo>
                    <a:lnTo>
                      <a:pt x="66" y="17"/>
                    </a:lnTo>
                    <a:lnTo>
                      <a:pt x="69" y="35"/>
                    </a:lnTo>
                    <a:lnTo>
                      <a:pt x="66" y="52"/>
                    </a:lnTo>
                    <a:lnTo>
                      <a:pt x="52" y="64"/>
                    </a:lnTo>
                    <a:lnTo>
                      <a:pt x="35" y="67"/>
                    </a:lnTo>
                    <a:lnTo>
                      <a:pt x="17" y="64"/>
                    </a:lnTo>
                    <a:lnTo>
                      <a:pt x="6" y="52"/>
                    </a:lnTo>
                    <a:lnTo>
                      <a:pt x="0" y="35"/>
                    </a:lnTo>
                    <a:lnTo>
                      <a:pt x="6" y="17"/>
                    </a:lnTo>
                    <a:lnTo>
                      <a:pt x="17" y="4"/>
                    </a:lnTo>
                    <a:lnTo>
                      <a:pt x="35"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6" name="Freeform 13">
                <a:extLst>
                  <a:ext uri="{FF2B5EF4-FFF2-40B4-BE49-F238E27FC236}">
                    <a16:creationId xmlns:a16="http://schemas.microsoft.com/office/drawing/2014/main" id="{64096466-1434-7644-9C73-2D58D86E1D55}"/>
                  </a:ext>
                </a:extLst>
              </p:cNvPr>
              <p:cNvSpPr>
                <a:spLocks/>
              </p:cNvSpPr>
              <p:nvPr/>
            </p:nvSpPr>
            <p:spPr bwMode="auto">
              <a:xfrm>
                <a:off x="14351636" y="2112681"/>
                <a:ext cx="188913" cy="325438"/>
              </a:xfrm>
              <a:custGeom>
                <a:avLst/>
                <a:gdLst>
                  <a:gd name="T0" fmla="*/ 41 w 239"/>
                  <a:gd name="T1" fmla="*/ 0 h 409"/>
                  <a:gd name="T2" fmla="*/ 58 w 239"/>
                  <a:gd name="T3" fmla="*/ 9 h 409"/>
                  <a:gd name="T4" fmla="*/ 228 w 239"/>
                  <a:gd name="T5" fmla="*/ 181 h 409"/>
                  <a:gd name="T6" fmla="*/ 234 w 239"/>
                  <a:gd name="T7" fmla="*/ 187 h 409"/>
                  <a:gd name="T8" fmla="*/ 237 w 239"/>
                  <a:gd name="T9" fmla="*/ 197 h 409"/>
                  <a:gd name="T10" fmla="*/ 239 w 239"/>
                  <a:gd name="T11" fmla="*/ 204 h 409"/>
                  <a:gd name="T12" fmla="*/ 237 w 239"/>
                  <a:gd name="T13" fmla="*/ 214 h 409"/>
                  <a:gd name="T14" fmla="*/ 234 w 239"/>
                  <a:gd name="T15" fmla="*/ 222 h 409"/>
                  <a:gd name="T16" fmla="*/ 228 w 239"/>
                  <a:gd name="T17" fmla="*/ 230 h 409"/>
                  <a:gd name="T18" fmla="*/ 58 w 239"/>
                  <a:gd name="T19" fmla="*/ 401 h 409"/>
                  <a:gd name="T20" fmla="*/ 41 w 239"/>
                  <a:gd name="T21" fmla="*/ 409 h 409"/>
                  <a:gd name="T22" fmla="*/ 23 w 239"/>
                  <a:gd name="T23" fmla="*/ 409 h 409"/>
                  <a:gd name="T24" fmla="*/ 8 w 239"/>
                  <a:gd name="T25" fmla="*/ 401 h 409"/>
                  <a:gd name="T26" fmla="*/ 0 w 239"/>
                  <a:gd name="T27" fmla="*/ 386 h 409"/>
                  <a:gd name="T28" fmla="*/ 0 w 239"/>
                  <a:gd name="T29" fmla="*/ 369 h 409"/>
                  <a:gd name="T30" fmla="*/ 8 w 239"/>
                  <a:gd name="T31" fmla="*/ 353 h 409"/>
                  <a:gd name="T32" fmla="*/ 156 w 239"/>
                  <a:gd name="T33" fmla="*/ 204 h 409"/>
                  <a:gd name="T34" fmla="*/ 8 w 239"/>
                  <a:gd name="T35" fmla="*/ 58 h 409"/>
                  <a:gd name="T36" fmla="*/ 8 w 239"/>
                  <a:gd name="T37" fmla="*/ 58 h 409"/>
                  <a:gd name="T38" fmla="*/ 0 w 239"/>
                  <a:gd name="T39" fmla="*/ 42 h 409"/>
                  <a:gd name="T40" fmla="*/ 0 w 239"/>
                  <a:gd name="T41" fmla="*/ 25 h 409"/>
                  <a:gd name="T42" fmla="*/ 8 w 239"/>
                  <a:gd name="T43" fmla="*/ 9 h 409"/>
                  <a:gd name="T44" fmla="*/ 23 w 239"/>
                  <a:gd name="T45" fmla="*/ 0 h 409"/>
                  <a:gd name="T46" fmla="*/ 41 w 239"/>
                  <a:gd name="T47"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9" h="409">
                    <a:moveTo>
                      <a:pt x="41" y="0"/>
                    </a:moveTo>
                    <a:lnTo>
                      <a:pt x="58" y="9"/>
                    </a:lnTo>
                    <a:lnTo>
                      <a:pt x="228" y="181"/>
                    </a:lnTo>
                    <a:lnTo>
                      <a:pt x="234" y="187"/>
                    </a:lnTo>
                    <a:lnTo>
                      <a:pt x="237" y="197"/>
                    </a:lnTo>
                    <a:lnTo>
                      <a:pt x="239" y="204"/>
                    </a:lnTo>
                    <a:lnTo>
                      <a:pt x="237" y="214"/>
                    </a:lnTo>
                    <a:lnTo>
                      <a:pt x="234" y="222"/>
                    </a:lnTo>
                    <a:lnTo>
                      <a:pt x="228" y="230"/>
                    </a:lnTo>
                    <a:lnTo>
                      <a:pt x="58" y="401"/>
                    </a:lnTo>
                    <a:lnTo>
                      <a:pt x="41" y="409"/>
                    </a:lnTo>
                    <a:lnTo>
                      <a:pt x="23" y="409"/>
                    </a:lnTo>
                    <a:lnTo>
                      <a:pt x="8" y="401"/>
                    </a:lnTo>
                    <a:lnTo>
                      <a:pt x="0" y="386"/>
                    </a:lnTo>
                    <a:lnTo>
                      <a:pt x="0" y="369"/>
                    </a:lnTo>
                    <a:lnTo>
                      <a:pt x="8" y="353"/>
                    </a:lnTo>
                    <a:lnTo>
                      <a:pt x="156" y="204"/>
                    </a:lnTo>
                    <a:lnTo>
                      <a:pt x="8" y="58"/>
                    </a:lnTo>
                    <a:lnTo>
                      <a:pt x="8" y="58"/>
                    </a:lnTo>
                    <a:lnTo>
                      <a:pt x="0" y="42"/>
                    </a:lnTo>
                    <a:lnTo>
                      <a:pt x="0" y="25"/>
                    </a:lnTo>
                    <a:lnTo>
                      <a:pt x="8" y="9"/>
                    </a:lnTo>
                    <a:lnTo>
                      <a:pt x="23" y="0"/>
                    </a:lnTo>
                    <a:lnTo>
                      <a:pt x="41"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7" name="Freeform 14">
                <a:extLst>
                  <a:ext uri="{FF2B5EF4-FFF2-40B4-BE49-F238E27FC236}">
                    <a16:creationId xmlns:a16="http://schemas.microsoft.com/office/drawing/2014/main" id="{50F8A74C-F275-EB49-BF9A-4F85D8938FCE}"/>
                  </a:ext>
                </a:extLst>
              </p:cNvPr>
              <p:cNvSpPr>
                <a:spLocks/>
              </p:cNvSpPr>
              <p:nvPr/>
            </p:nvSpPr>
            <p:spPr bwMode="auto">
              <a:xfrm>
                <a:off x="14327823" y="2446056"/>
                <a:ext cx="206375" cy="204788"/>
              </a:xfrm>
              <a:custGeom>
                <a:avLst/>
                <a:gdLst>
                  <a:gd name="T0" fmla="*/ 218 w 261"/>
                  <a:gd name="T1" fmla="*/ 0 h 259"/>
                  <a:gd name="T2" fmla="*/ 236 w 261"/>
                  <a:gd name="T3" fmla="*/ 0 h 259"/>
                  <a:gd name="T4" fmla="*/ 251 w 261"/>
                  <a:gd name="T5" fmla="*/ 8 h 259"/>
                  <a:gd name="T6" fmla="*/ 261 w 261"/>
                  <a:gd name="T7" fmla="*/ 23 h 259"/>
                  <a:gd name="T8" fmla="*/ 261 w 261"/>
                  <a:gd name="T9" fmla="*/ 40 h 259"/>
                  <a:gd name="T10" fmla="*/ 251 w 261"/>
                  <a:gd name="T11" fmla="*/ 56 h 259"/>
                  <a:gd name="T12" fmla="*/ 58 w 261"/>
                  <a:gd name="T13" fmla="*/ 251 h 259"/>
                  <a:gd name="T14" fmla="*/ 43 w 261"/>
                  <a:gd name="T15" fmla="*/ 259 h 259"/>
                  <a:gd name="T16" fmla="*/ 25 w 261"/>
                  <a:gd name="T17" fmla="*/ 259 h 259"/>
                  <a:gd name="T18" fmla="*/ 10 w 261"/>
                  <a:gd name="T19" fmla="*/ 251 h 259"/>
                  <a:gd name="T20" fmla="*/ 0 w 261"/>
                  <a:gd name="T21" fmla="*/ 235 h 259"/>
                  <a:gd name="T22" fmla="*/ 0 w 261"/>
                  <a:gd name="T23" fmla="*/ 218 h 259"/>
                  <a:gd name="T24" fmla="*/ 10 w 261"/>
                  <a:gd name="T25" fmla="*/ 203 h 259"/>
                  <a:gd name="T26" fmla="*/ 203 w 261"/>
                  <a:gd name="T27" fmla="*/ 8 h 259"/>
                  <a:gd name="T28" fmla="*/ 218 w 261"/>
                  <a:gd name="T2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259">
                    <a:moveTo>
                      <a:pt x="218" y="0"/>
                    </a:moveTo>
                    <a:lnTo>
                      <a:pt x="236" y="0"/>
                    </a:lnTo>
                    <a:lnTo>
                      <a:pt x="251" y="8"/>
                    </a:lnTo>
                    <a:lnTo>
                      <a:pt x="261" y="23"/>
                    </a:lnTo>
                    <a:lnTo>
                      <a:pt x="261" y="40"/>
                    </a:lnTo>
                    <a:lnTo>
                      <a:pt x="251" y="56"/>
                    </a:lnTo>
                    <a:lnTo>
                      <a:pt x="58" y="251"/>
                    </a:lnTo>
                    <a:lnTo>
                      <a:pt x="43" y="259"/>
                    </a:lnTo>
                    <a:lnTo>
                      <a:pt x="25" y="259"/>
                    </a:lnTo>
                    <a:lnTo>
                      <a:pt x="10" y="251"/>
                    </a:lnTo>
                    <a:lnTo>
                      <a:pt x="0" y="235"/>
                    </a:lnTo>
                    <a:lnTo>
                      <a:pt x="0" y="218"/>
                    </a:lnTo>
                    <a:lnTo>
                      <a:pt x="10" y="203"/>
                    </a:lnTo>
                    <a:lnTo>
                      <a:pt x="203" y="8"/>
                    </a:lnTo>
                    <a:lnTo>
                      <a:pt x="218"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sp>
            <p:nvSpPr>
              <p:cNvPr id="208" name="Freeform 15">
                <a:extLst>
                  <a:ext uri="{FF2B5EF4-FFF2-40B4-BE49-F238E27FC236}">
                    <a16:creationId xmlns:a16="http://schemas.microsoft.com/office/drawing/2014/main" id="{2B227F54-5C9D-334C-A510-866BD40785D3}"/>
                  </a:ext>
                </a:extLst>
              </p:cNvPr>
              <p:cNvSpPr>
                <a:spLocks/>
              </p:cNvSpPr>
              <p:nvPr/>
            </p:nvSpPr>
            <p:spPr bwMode="auto">
              <a:xfrm>
                <a:off x="14812011" y="2446056"/>
                <a:ext cx="406400" cy="320675"/>
              </a:xfrm>
              <a:custGeom>
                <a:avLst/>
                <a:gdLst>
                  <a:gd name="T0" fmla="*/ 343 w 513"/>
                  <a:gd name="T1" fmla="*/ 0 h 403"/>
                  <a:gd name="T2" fmla="*/ 351 w 513"/>
                  <a:gd name="T3" fmla="*/ 2 h 403"/>
                  <a:gd name="T4" fmla="*/ 351 w 513"/>
                  <a:gd name="T5" fmla="*/ 2 h 403"/>
                  <a:gd name="T6" fmla="*/ 356 w 513"/>
                  <a:gd name="T7" fmla="*/ 4 h 403"/>
                  <a:gd name="T8" fmla="*/ 358 w 513"/>
                  <a:gd name="T9" fmla="*/ 4 h 403"/>
                  <a:gd name="T10" fmla="*/ 362 w 513"/>
                  <a:gd name="T11" fmla="*/ 6 h 403"/>
                  <a:gd name="T12" fmla="*/ 364 w 513"/>
                  <a:gd name="T13" fmla="*/ 9 h 403"/>
                  <a:gd name="T14" fmla="*/ 368 w 513"/>
                  <a:gd name="T15" fmla="*/ 11 h 403"/>
                  <a:gd name="T16" fmla="*/ 505 w 513"/>
                  <a:gd name="T17" fmla="*/ 148 h 403"/>
                  <a:gd name="T18" fmla="*/ 505 w 513"/>
                  <a:gd name="T19" fmla="*/ 148 h 403"/>
                  <a:gd name="T20" fmla="*/ 513 w 513"/>
                  <a:gd name="T21" fmla="*/ 164 h 403"/>
                  <a:gd name="T22" fmla="*/ 513 w 513"/>
                  <a:gd name="T23" fmla="*/ 181 h 403"/>
                  <a:gd name="T24" fmla="*/ 505 w 513"/>
                  <a:gd name="T25" fmla="*/ 197 h 403"/>
                  <a:gd name="T26" fmla="*/ 490 w 513"/>
                  <a:gd name="T27" fmla="*/ 204 h 403"/>
                  <a:gd name="T28" fmla="*/ 472 w 513"/>
                  <a:gd name="T29" fmla="*/ 204 h 403"/>
                  <a:gd name="T30" fmla="*/ 457 w 513"/>
                  <a:gd name="T31" fmla="*/ 197 h 403"/>
                  <a:gd name="T32" fmla="*/ 378 w 513"/>
                  <a:gd name="T33" fmla="*/ 118 h 403"/>
                  <a:gd name="T34" fmla="*/ 378 w 513"/>
                  <a:gd name="T35" fmla="*/ 241 h 403"/>
                  <a:gd name="T36" fmla="*/ 374 w 513"/>
                  <a:gd name="T37" fmla="*/ 280 h 403"/>
                  <a:gd name="T38" fmla="*/ 360 w 513"/>
                  <a:gd name="T39" fmla="*/ 320 h 403"/>
                  <a:gd name="T40" fmla="*/ 349 w 513"/>
                  <a:gd name="T41" fmla="*/ 343 h 403"/>
                  <a:gd name="T42" fmla="*/ 331 w 513"/>
                  <a:gd name="T43" fmla="*/ 367 h 403"/>
                  <a:gd name="T44" fmla="*/ 310 w 513"/>
                  <a:gd name="T45" fmla="*/ 386 h 403"/>
                  <a:gd name="T46" fmla="*/ 283 w 513"/>
                  <a:gd name="T47" fmla="*/ 399 h 403"/>
                  <a:gd name="T48" fmla="*/ 252 w 513"/>
                  <a:gd name="T49" fmla="*/ 403 h 403"/>
                  <a:gd name="T50" fmla="*/ 34 w 513"/>
                  <a:gd name="T51" fmla="*/ 403 h 403"/>
                  <a:gd name="T52" fmla="*/ 34 w 513"/>
                  <a:gd name="T53" fmla="*/ 403 h 403"/>
                  <a:gd name="T54" fmla="*/ 17 w 513"/>
                  <a:gd name="T55" fmla="*/ 399 h 403"/>
                  <a:gd name="T56" fmla="*/ 5 w 513"/>
                  <a:gd name="T57" fmla="*/ 386 h 403"/>
                  <a:gd name="T58" fmla="*/ 0 w 513"/>
                  <a:gd name="T59" fmla="*/ 369 h 403"/>
                  <a:gd name="T60" fmla="*/ 5 w 513"/>
                  <a:gd name="T61" fmla="*/ 351 h 403"/>
                  <a:gd name="T62" fmla="*/ 17 w 513"/>
                  <a:gd name="T63" fmla="*/ 340 h 403"/>
                  <a:gd name="T64" fmla="*/ 34 w 513"/>
                  <a:gd name="T65" fmla="*/ 336 h 403"/>
                  <a:gd name="T66" fmla="*/ 252 w 513"/>
                  <a:gd name="T67" fmla="*/ 336 h 403"/>
                  <a:gd name="T68" fmla="*/ 260 w 513"/>
                  <a:gd name="T69" fmla="*/ 334 h 403"/>
                  <a:gd name="T70" fmla="*/ 266 w 513"/>
                  <a:gd name="T71" fmla="*/ 332 h 403"/>
                  <a:gd name="T72" fmla="*/ 272 w 513"/>
                  <a:gd name="T73" fmla="*/ 330 h 403"/>
                  <a:gd name="T74" fmla="*/ 277 w 513"/>
                  <a:gd name="T75" fmla="*/ 324 h 403"/>
                  <a:gd name="T76" fmla="*/ 283 w 513"/>
                  <a:gd name="T77" fmla="*/ 316 h 403"/>
                  <a:gd name="T78" fmla="*/ 291 w 513"/>
                  <a:gd name="T79" fmla="*/ 309 h 403"/>
                  <a:gd name="T80" fmla="*/ 301 w 513"/>
                  <a:gd name="T81" fmla="*/ 287 h 403"/>
                  <a:gd name="T82" fmla="*/ 306 w 513"/>
                  <a:gd name="T83" fmla="*/ 264 h 403"/>
                  <a:gd name="T84" fmla="*/ 308 w 513"/>
                  <a:gd name="T85" fmla="*/ 241 h 403"/>
                  <a:gd name="T86" fmla="*/ 308 w 513"/>
                  <a:gd name="T87" fmla="*/ 118 h 403"/>
                  <a:gd name="T88" fmla="*/ 229 w 513"/>
                  <a:gd name="T89" fmla="*/ 197 h 403"/>
                  <a:gd name="T90" fmla="*/ 214 w 513"/>
                  <a:gd name="T91" fmla="*/ 204 h 403"/>
                  <a:gd name="T92" fmla="*/ 196 w 513"/>
                  <a:gd name="T93" fmla="*/ 204 h 403"/>
                  <a:gd name="T94" fmla="*/ 181 w 513"/>
                  <a:gd name="T95" fmla="*/ 197 h 403"/>
                  <a:gd name="T96" fmla="*/ 173 w 513"/>
                  <a:gd name="T97" fmla="*/ 181 h 403"/>
                  <a:gd name="T98" fmla="*/ 173 w 513"/>
                  <a:gd name="T99" fmla="*/ 164 h 403"/>
                  <a:gd name="T100" fmla="*/ 181 w 513"/>
                  <a:gd name="T101" fmla="*/ 148 h 403"/>
                  <a:gd name="T102" fmla="*/ 318 w 513"/>
                  <a:gd name="T103" fmla="*/ 11 h 403"/>
                  <a:gd name="T104" fmla="*/ 322 w 513"/>
                  <a:gd name="T105" fmla="*/ 8 h 403"/>
                  <a:gd name="T106" fmla="*/ 324 w 513"/>
                  <a:gd name="T107" fmla="*/ 6 h 403"/>
                  <a:gd name="T108" fmla="*/ 328 w 513"/>
                  <a:gd name="T109" fmla="*/ 4 h 403"/>
                  <a:gd name="T110" fmla="*/ 329 w 513"/>
                  <a:gd name="T111" fmla="*/ 4 h 403"/>
                  <a:gd name="T112" fmla="*/ 335 w 513"/>
                  <a:gd name="T113" fmla="*/ 2 h 403"/>
                  <a:gd name="T114" fmla="*/ 335 w 513"/>
                  <a:gd name="T115" fmla="*/ 2 h 403"/>
                  <a:gd name="T116" fmla="*/ 343 w 513"/>
                  <a:gd name="T117"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3" h="403">
                    <a:moveTo>
                      <a:pt x="343" y="0"/>
                    </a:moveTo>
                    <a:lnTo>
                      <a:pt x="351" y="2"/>
                    </a:lnTo>
                    <a:lnTo>
                      <a:pt x="351" y="2"/>
                    </a:lnTo>
                    <a:lnTo>
                      <a:pt x="356" y="4"/>
                    </a:lnTo>
                    <a:lnTo>
                      <a:pt x="358" y="4"/>
                    </a:lnTo>
                    <a:lnTo>
                      <a:pt x="362" y="6"/>
                    </a:lnTo>
                    <a:lnTo>
                      <a:pt x="364" y="9"/>
                    </a:lnTo>
                    <a:lnTo>
                      <a:pt x="368" y="11"/>
                    </a:lnTo>
                    <a:lnTo>
                      <a:pt x="505" y="148"/>
                    </a:lnTo>
                    <a:lnTo>
                      <a:pt x="505" y="148"/>
                    </a:lnTo>
                    <a:lnTo>
                      <a:pt x="513" y="164"/>
                    </a:lnTo>
                    <a:lnTo>
                      <a:pt x="513" y="181"/>
                    </a:lnTo>
                    <a:lnTo>
                      <a:pt x="505" y="197"/>
                    </a:lnTo>
                    <a:lnTo>
                      <a:pt x="490" y="204"/>
                    </a:lnTo>
                    <a:lnTo>
                      <a:pt x="472" y="204"/>
                    </a:lnTo>
                    <a:lnTo>
                      <a:pt x="457" y="197"/>
                    </a:lnTo>
                    <a:lnTo>
                      <a:pt x="378" y="118"/>
                    </a:lnTo>
                    <a:lnTo>
                      <a:pt x="378" y="241"/>
                    </a:lnTo>
                    <a:lnTo>
                      <a:pt x="374" y="280"/>
                    </a:lnTo>
                    <a:lnTo>
                      <a:pt x="360" y="320"/>
                    </a:lnTo>
                    <a:lnTo>
                      <a:pt x="349" y="343"/>
                    </a:lnTo>
                    <a:lnTo>
                      <a:pt x="331" y="367"/>
                    </a:lnTo>
                    <a:lnTo>
                      <a:pt x="310" y="386"/>
                    </a:lnTo>
                    <a:lnTo>
                      <a:pt x="283" y="399"/>
                    </a:lnTo>
                    <a:lnTo>
                      <a:pt x="252" y="403"/>
                    </a:lnTo>
                    <a:lnTo>
                      <a:pt x="34" y="403"/>
                    </a:lnTo>
                    <a:lnTo>
                      <a:pt x="34" y="403"/>
                    </a:lnTo>
                    <a:lnTo>
                      <a:pt x="17" y="399"/>
                    </a:lnTo>
                    <a:lnTo>
                      <a:pt x="5" y="386"/>
                    </a:lnTo>
                    <a:lnTo>
                      <a:pt x="0" y="369"/>
                    </a:lnTo>
                    <a:lnTo>
                      <a:pt x="5" y="351"/>
                    </a:lnTo>
                    <a:lnTo>
                      <a:pt x="17" y="340"/>
                    </a:lnTo>
                    <a:lnTo>
                      <a:pt x="34" y="336"/>
                    </a:lnTo>
                    <a:lnTo>
                      <a:pt x="252" y="336"/>
                    </a:lnTo>
                    <a:lnTo>
                      <a:pt x="260" y="334"/>
                    </a:lnTo>
                    <a:lnTo>
                      <a:pt x="266" y="332"/>
                    </a:lnTo>
                    <a:lnTo>
                      <a:pt x="272" y="330"/>
                    </a:lnTo>
                    <a:lnTo>
                      <a:pt x="277" y="324"/>
                    </a:lnTo>
                    <a:lnTo>
                      <a:pt x="283" y="316"/>
                    </a:lnTo>
                    <a:lnTo>
                      <a:pt x="291" y="309"/>
                    </a:lnTo>
                    <a:lnTo>
                      <a:pt x="301" y="287"/>
                    </a:lnTo>
                    <a:lnTo>
                      <a:pt x="306" y="264"/>
                    </a:lnTo>
                    <a:lnTo>
                      <a:pt x="308" y="241"/>
                    </a:lnTo>
                    <a:lnTo>
                      <a:pt x="308" y="118"/>
                    </a:lnTo>
                    <a:lnTo>
                      <a:pt x="229" y="197"/>
                    </a:lnTo>
                    <a:lnTo>
                      <a:pt x="214" y="204"/>
                    </a:lnTo>
                    <a:lnTo>
                      <a:pt x="196" y="204"/>
                    </a:lnTo>
                    <a:lnTo>
                      <a:pt x="181" y="197"/>
                    </a:lnTo>
                    <a:lnTo>
                      <a:pt x="173" y="181"/>
                    </a:lnTo>
                    <a:lnTo>
                      <a:pt x="173" y="164"/>
                    </a:lnTo>
                    <a:lnTo>
                      <a:pt x="181" y="148"/>
                    </a:lnTo>
                    <a:lnTo>
                      <a:pt x="318" y="11"/>
                    </a:lnTo>
                    <a:lnTo>
                      <a:pt x="322" y="8"/>
                    </a:lnTo>
                    <a:lnTo>
                      <a:pt x="324" y="6"/>
                    </a:lnTo>
                    <a:lnTo>
                      <a:pt x="328" y="4"/>
                    </a:lnTo>
                    <a:lnTo>
                      <a:pt x="329" y="4"/>
                    </a:lnTo>
                    <a:lnTo>
                      <a:pt x="335" y="2"/>
                    </a:lnTo>
                    <a:lnTo>
                      <a:pt x="335" y="2"/>
                    </a:lnTo>
                    <a:lnTo>
                      <a:pt x="343" y="0"/>
                    </a:lnTo>
                    <a:close/>
                  </a:path>
                </a:pathLst>
              </a:custGeom>
              <a:grpFill/>
              <a:ln w="0">
                <a:noFill/>
                <a:prstDash val="solid"/>
                <a:round/>
                <a:headEnd/>
                <a:tailEnd/>
              </a:ln>
            </p:spPr>
            <p:txBody>
              <a:bodyPr vert="horz" wrap="square" lIns="81280" tIns="40640" rIns="81280" bIns="40640" numCol="1" anchor="t" anchorCtr="0" compatLnSpc="1">
                <a:prstTxWarp prst="textNoShape">
                  <a:avLst/>
                </a:prstTxWarp>
              </a:bodyPr>
              <a:lstStyle/>
              <a:p>
                <a:endParaRPr lang="en-US" sz="1600" dirty="0">
                  <a:solidFill>
                    <a:srgbClr val="000000"/>
                  </a:solidFill>
                </a:endParaRPr>
              </a:p>
            </p:txBody>
          </p:sp>
        </p:grpSp>
      </p:grpSp>
      <p:sp>
        <p:nvSpPr>
          <p:cNvPr id="210" name="TextBox 209">
            <a:extLst>
              <a:ext uri="{FF2B5EF4-FFF2-40B4-BE49-F238E27FC236}">
                <a16:creationId xmlns:a16="http://schemas.microsoft.com/office/drawing/2014/main" id="{F002E067-D53F-5744-A820-E8BB505782ED}"/>
              </a:ext>
            </a:extLst>
          </p:cNvPr>
          <p:cNvSpPr txBox="1"/>
          <p:nvPr/>
        </p:nvSpPr>
        <p:spPr bwMode="auto">
          <a:xfrm>
            <a:off x="7398056" y="3873734"/>
            <a:ext cx="2622895" cy="1240853"/>
          </a:xfrm>
          <a:prstGeom prst="rect">
            <a:avLst/>
          </a:prstGeom>
          <a:noFill/>
          <a:ln w="9525">
            <a:noFill/>
            <a:miter lim="800000"/>
            <a:headEnd/>
            <a:tailEnd/>
          </a:ln>
        </p:spPr>
        <p:txBody>
          <a:bodyPr wrap="square" rtlCol="0">
            <a:prstTxWarp prst="textNoShape">
              <a:avLst/>
            </a:prstTxWarp>
            <a:spAutoFit/>
          </a:bodyPr>
          <a:lstStyle/>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System / Solution test</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Release on Demand</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Well defined Deployment and release strategies </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DevOps Practices</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Continuous Improvement</a:t>
            </a:r>
          </a:p>
          <a:p>
            <a:pPr marL="253996" indent="-253996" defTabSz="1083527">
              <a:buFont typeface="Wingdings" panose="05000000000000000000" pitchFamily="2" charset="2"/>
              <a:buChar char="§"/>
            </a:pPr>
            <a:r>
              <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QuickStart Development</a:t>
            </a:r>
          </a:p>
          <a:p>
            <a:pPr marL="253996" indent="-253996" defTabSz="1083527">
              <a:buFont typeface="Wingdings" panose="05000000000000000000" pitchFamily="2" charset="2"/>
              <a:buChar char="§"/>
            </a:pPr>
            <a:endPar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endParaRPr>
          </a:p>
        </p:txBody>
      </p:sp>
      <p:sp>
        <p:nvSpPr>
          <p:cNvPr id="212" name="Freeform 211">
            <a:extLst>
              <a:ext uri="{FF2B5EF4-FFF2-40B4-BE49-F238E27FC236}">
                <a16:creationId xmlns:a16="http://schemas.microsoft.com/office/drawing/2014/main" id="{99557EC1-F1D9-954D-B6A7-60C1BB2B9B54}"/>
              </a:ext>
            </a:extLst>
          </p:cNvPr>
          <p:cNvSpPr>
            <a:spLocks/>
          </p:cNvSpPr>
          <p:nvPr/>
        </p:nvSpPr>
        <p:spPr bwMode="auto">
          <a:xfrm>
            <a:off x="8090804" y="1826368"/>
            <a:ext cx="491112" cy="566666"/>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pic>
        <p:nvPicPr>
          <p:cNvPr id="221" name="Picture 10" descr="Image result for technology icon png">
            <a:extLst>
              <a:ext uri="{FF2B5EF4-FFF2-40B4-BE49-F238E27FC236}">
                <a16:creationId xmlns:a16="http://schemas.microsoft.com/office/drawing/2014/main" id="{5EEDE91B-EA32-2D47-9C70-10446F06B3F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41112" y="1883674"/>
            <a:ext cx="393630" cy="406400"/>
          </a:xfrm>
          <a:prstGeom prst="rect">
            <a:avLst/>
          </a:prstGeom>
          <a:noFill/>
          <a:extLst>
            <a:ext uri="{909E8E84-426E-40DD-AFC4-6F175D3DCCD1}">
              <a14:hiddenFill xmlns:a14="http://schemas.microsoft.com/office/drawing/2010/main">
                <a:solidFill>
                  <a:srgbClr val="FFFFFF"/>
                </a:solidFill>
              </a14:hiddenFill>
            </a:ext>
          </a:extLst>
        </p:spPr>
      </p:pic>
      <p:sp>
        <p:nvSpPr>
          <p:cNvPr id="222" name="TextBox 221">
            <a:extLst>
              <a:ext uri="{FF2B5EF4-FFF2-40B4-BE49-F238E27FC236}">
                <a16:creationId xmlns:a16="http://schemas.microsoft.com/office/drawing/2014/main" id="{95CBE5D5-D627-BE49-BDD3-EBFE46249D37}"/>
              </a:ext>
            </a:extLst>
          </p:cNvPr>
          <p:cNvSpPr txBox="1"/>
          <p:nvPr/>
        </p:nvSpPr>
        <p:spPr>
          <a:xfrm>
            <a:off x="7783886" y="2360388"/>
            <a:ext cx="1228221" cy="338554"/>
          </a:xfrm>
          <a:prstGeom prst="rect">
            <a:avLst/>
          </a:prstGeom>
          <a:noFill/>
        </p:spPr>
        <p:txBody>
          <a:bodyPr wrap="none" rtlCol="0">
            <a:spAutoFit/>
          </a:bodyPr>
          <a:lstStyle/>
          <a:p>
            <a:r>
              <a:rPr lang="en-US" sz="800" dirty="0">
                <a:latin typeface="Century Gothic" panose="020B0502020202020204" pitchFamily="34" charset="0"/>
              </a:rPr>
              <a:t>Patten Identification </a:t>
            </a:r>
          </a:p>
          <a:p>
            <a:r>
              <a:rPr lang="en-US" sz="800" dirty="0">
                <a:latin typeface="Century Gothic" panose="020B0502020202020204" pitchFamily="34" charset="0"/>
              </a:rPr>
              <a:t>and Augmentation</a:t>
            </a:r>
          </a:p>
        </p:txBody>
      </p:sp>
      <p:sp>
        <p:nvSpPr>
          <p:cNvPr id="224" name="TextBox 223">
            <a:extLst>
              <a:ext uri="{FF2B5EF4-FFF2-40B4-BE49-F238E27FC236}">
                <a16:creationId xmlns:a16="http://schemas.microsoft.com/office/drawing/2014/main" id="{0BD4DA39-FEE5-1E41-AB16-210F6012B589}"/>
              </a:ext>
            </a:extLst>
          </p:cNvPr>
          <p:cNvSpPr txBox="1"/>
          <p:nvPr/>
        </p:nvSpPr>
        <p:spPr>
          <a:xfrm>
            <a:off x="7391759" y="3530523"/>
            <a:ext cx="2419253" cy="338554"/>
          </a:xfrm>
          <a:prstGeom prst="rect">
            <a:avLst/>
          </a:prstGeom>
          <a:noFill/>
        </p:spPr>
        <p:txBody>
          <a:bodyPr wrap="none" rtlCol="0">
            <a:spAutoFit/>
          </a:bodyPr>
          <a:lstStyle/>
          <a:p>
            <a:pPr algn="ctr"/>
            <a:r>
              <a:rPr lang="en-US" sz="800" dirty="0">
                <a:latin typeface="Century Gothic" panose="020B0502020202020204" pitchFamily="34" charset="0"/>
              </a:rPr>
              <a:t>Automated  Provisioning </a:t>
            </a:r>
          </a:p>
          <a:p>
            <a:pPr algn="ctr"/>
            <a:r>
              <a:rPr lang="en-US" sz="800" dirty="0">
                <a:latin typeface="Century Gothic" panose="020B0502020202020204" pitchFamily="34" charset="0"/>
              </a:rPr>
              <a:t>&amp; </a:t>
            </a:r>
            <a:r>
              <a:rPr lang="en-US" sz="800" dirty="0" smtClean="0">
                <a:latin typeface="Century Gothic" panose="020B0502020202020204" pitchFamily="34" charset="0"/>
              </a:rPr>
              <a:t>Deployment leveraging Marriott’s DevOps</a:t>
            </a:r>
            <a:endParaRPr lang="en-US" sz="800" dirty="0">
              <a:latin typeface="Century Gothic" panose="020B0502020202020204" pitchFamily="34" charset="0"/>
            </a:endParaRPr>
          </a:p>
        </p:txBody>
      </p:sp>
      <p:pic>
        <p:nvPicPr>
          <p:cNvPr id="225" name="Picture 224">
            <a:extLst>
              <a:ext uri="{FF2B5EF4-FFF2-40B4-BE49-F238E27FC236}">
                <a16:creationId xmlns:a16="http://schemas.microsoft.com/office/drawing/2014/main" id="{EE77D221-07FA-3441-9670-963844DA01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94871" y="4892796"/>
            <a:ext cx="894080" cy="894080"/>
          </a:xfrm>
          <a:prstGeom prst="rect">
            <a:avLst/>
          </a:prstGeom>
        </p:spPr>
      </p:pic>
      <p:sp>
        <p:nvSpPr>
          <p:cNvPr id="228" name="Rectangle 227">
            <a:extLst>
              <a:ext uri="{FF2B5EF4-FFF2-40B4-BE49-F238E27FC236}">
                <a16:creationId xmlns:a16="http://schemas.microsoft.com/office/drawing/2014/main" id="{683FDEA4-3D55-E345-B6EB-895919FB4ECE}"/>
              </a:ext>
            </a:extLst>
          </p:cNvPr>
          <p:cNvSpPr/>
          <p:nvPr/>
        </p:nvSpPr>
        <p:spPr>
          <a:xfrm rot="16200000">
            <a:off x="64334" y="5428743"/>
            <a:ext cx="841176" cy="29028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93" algn="l" rtl="0" fontAlgn="base">
              <a:spcBef>
                <a:spcPct val="0"/>
              </a:spcBef>
              <a:spcAft>
                <a:spcPct val="0"/>
              </a:spcAft>
              <a:defRPr kern="1200">
                <a:solidFill>
                  <a:schemeClr val="lt1"/>
                </a:solidFill>
                <a:latin typeface="+mn-lt"/>
                <a:ea typeface="+mn-ea"/>
                <a:cs typeface="+mn-cs"/>
              </a:defRPr>
            </a:lvl2pPr>
            <a:lvl3pPr marL="1218987" algn="l" rtl="0" fontAlgn="base">
              <a:spcBef>
                <a:spcPct val="0"/>
              </a:spcBef>
              <a:spcAft>
                <a:spcPct val="0"/>
              </a:spcAft>
              <a:defRPr kern="1200">
                <a:solidFill>
                  <a:schemeClr val="lt1"/>
                </a:solidFill>
                <a:latin typeface="+mn-lt"/>
                <a:ea typeface="+mn-ea"/>
                <a:cs typeface="+mn-cs"/>
              </a:defRPr>
            </a:lvl3pPr>
            <a:lvl4pPr marL="1828480" algn="l" rtl="0" fontAlgn="base">
              <a:spcBef>
                <a:spcPct val="0"/>
              </a:spcBef>
              <a:spcAft>
                <a:spcPct val="0"/>
              </a:spcAft>
              <a:defRPr kern="1200">
                <a:solidFill>
                  <a:schemeClr val="lt1"/>
                </a:solidFill>
                <a:latin typeface="+mn-lt"/>
                <a:ea typeface="+mn-ea"/>
                <a:cs typeface="+mn-cs"/>
              </a:defRPr>
            </a:lvl4pPr>
            <a:lvl5pPr marL="2437973" algn="l" rtl="0" fontAlgn="base">
              <a:spcBef>
                <a:spcPct val="0"/>
              </a:spcBef>
              <a:spcAft>
                <a:spcPct val="0"/>
              </a:spcAft>
              <a:defRPr kern="1200">
                <a:solidFill>
                  <a:schemeClr val="lt1"/>
                </a:solidFill>
                <a:latin typeface="+mn-lt"/>
                <a:ea typeface="+mn-ea"/>
                <a:cs typeface="+mn-cs"/>
              </a:defRPr>
            </a:lvl5pPr>
            <a:lvl6pPr marL="3047467" algn="l" defTabSz="1218987" rtl="0" eaLnBrk="1" latinLnBrk="0" hangingPunct="1">
              <a:defRPr kern="1200">
                <a:solidFill>
                  <a:schemeClr val="lt1"/>
                </a:solidFill>
                <a:latin typeface="+mn-lt"/>
                <a:ea typeface="+mn-ea"/>
                <a:cs typeface="+mn-cs"/>
              </a:defRPr>
            </a:lvl6pPr>
            <a:lvl7pPr marL="3656960" algn="l" defTabSz="1218987" rtl="0" eaLnBrk="1" latinLnBrk="0" hangingPunct="1">
              <a:defRPr kern="1200">
                <a:solidFill>
                  <a:schemeClr val="lt1"/>
                </a:solidFill>
                <a:latin typeface="+mn-lt"/>
                <a:ea typeface="+mn-ea"/>
                <a:cs typeface="+mn-cs"/>
              </a:defRPr>
            </a:lvl7pPr>
            <a:lvl8pPr marL="4266453" algn="l" defTabSz="1218987" rtl="0" eaLnBrk="1" latinLnBrk="0" hangingPunct="1">
              <a:defRPr kern="1200">
                <a:solidFill>
                  <a:schemeClr val="lt1"/>
                </a:solidFill>
                <a:latin typeface="+mn-lt"/>
                <a:ea typeface="+mn-ea"/>
                <a:cs typeface="+mn-cs"/>
              </a:defRPr>
            </a:lvl8pPr>
            <a:lvl9pPr marL="4875947" algn="l" defTabSz="1218987" rtl="0" eaLnBrk="1" latinLnBrk="0" hangingPunct="1">
              <a:defRPr kern="1200">
                <a:solidFill>
                  <a:schemeClr val="lt1"/>
                </a:solidFill>
                <a:latin typeface="+mn-lt"/>
                <a:ea typeface="+mn-ea"/>
                <a:cs typeface="+mn-cs"/>
              </a:defRPr>
            </a:lvl9pPr>
          </a:lstStyle>
          <a:p>
            <a:pPr algn="ctr"/>
            <a:r>
              <a:rPr lang="en-US" sz="1422" dirty="0">
                <a:latin typeface="Calibri" panose="020F0502020204030204" pitchFamily="34" charset="0"/>
                <a:cs typeface="Calibri" panose="020F0502020204030204" pitchFamily="34" charset="0"/>
              </a:rPr>
              <a:t>Tools</a:t>
            </a:r>
          </a:p>
        </p:txBody>
      </p:sp>
      <p:sp>
        <p:nvSpPr>
          <p:cNvPr id="233" name="Title 1">
            <a:extLst>
              <a:ext uri="{FF2B5EF4-FFF2-40B4-BE49-F238E27FC236}">
                <a16:creationId xmlns:a16="http://schemas.microsoft.com/office/drawing/2014/main" id="{CF02EBE3-3516-0945-927C-046EEBFACB51}"/>
              </a:ext>
            </a:extLst>
          </p:cNvPr>
          <p:cNvSpPr txBox="1">
            <a:spLocks/>
          </p:cNvSpPr>
          <p:nvPr/>
        </p:nvSpPr>
        <p:spPr>
          <a:xfrm>
            <a:off x="580954" y="1273853"/>
            <a:ext cx="10083113" cy="510212"/>
          </a:xfrm>
          <a:prstGeom prst="rect">
            <a:avLst/>
          </a:prstGeom>
        </p:spPr>
        <p:txBody>
          <a:bodyPr vert="horz" lIns="81280" tIns="40640" rIns="81280" bIns="40640" rtlCol="0" anchor="ctr">
            <a:normAutofit/>
          </a:bodyPr>
          <a:lstStyle>
            <a:lvl1pPr algn="l" defTabSz="914400" rtl="0" eaLnBrk="1" latinLnBrk="0" hangingPunct="1">
              <a:lnSpc>
                <a:spcPct val="90000"/>
              </a:lnSpc>
              <a:spcBef>
                <a:spcPct val="0"/>
              </a:spcBef>
              <a:buNone/>
              <a:defRPr sz="4400" kern="1200">
                <a:solidFill>
                  <a:schemeClr val="tx1"/>
                </a:solidFill>
                <a:latin typeface="Century Gothic" panose="020B0502020202020204" pitchFamily="34" charset="0"/>
                <a:ea typeface="+mj-ea"/>
                <a:cs typeface="+mj-cs"/>
              </a:defRPr>
            </a:lvl1pPr>
          </a:lstStyle>
          <a:p>
            <a:pPr defTabSz="541832"/>
            <a:endParaRPr lang="en-US" sz="1778" dirty="0">
              <a:solidFill>
                <a:schemeClr val="bg1"/>
              </a:solidFill>
            </a:endParaRPr>
          </a:p>
        </p:txBody>
      </p:sp>
      <p:sp>
        <p:nvSpPr>
          <p:cNvPr id="240" name="TextBox 239">
            <a:extLst>
              <a:ext uri="{FF2B5EF4-FFF2-40B4-BE49-F238E27FC236}">
                <a16:creationId xmlns:a16="http://schemas.microsoft.com/office/drawing/2014/main" id="{7B1A8EB4-F50D-5744-97E0-53A61AAB968A}"/>
              </a:ext>
            </a:extLst>
          </p:cNvPr>
          <p:cNvSpPr txBox="1"/>
          <p:nvPr/>
        </p:nvSpPr>
        <p:spPr>
          <a:xfrm>
            <a:off x="5828743" y="5151467"/>
            <a:ext cx="5897090" cy="379463"/>
          </a:xfrm>
          <a:prstGeom prst="rect">
            <a:avLst/>
          </a:prstGeom>
          <a:noFill/>
        </p:spPr>
        <p:txBody>
          <a:bodyPr wrap="square" rtlCol="0">
            <a:spAutoFit/>
          </a:bodyPr>
          <a:lstStyle/>
          <a:p>
            <a:r>
              <a:rPr lang="en-US" sz="933" dirty="0">
                <a:latin typeface="Century Gothic" panose="020B0502020202020204" pitchFamily="34" charset="0"/>
              </a:rPr>
              <a:t>Analytics and correlation engine for DevOps that provides real-time insights and end-to-end traceability across enterprise software delivery pipeline</a:t>
            </a:r>
          </a:p>
        </p:txBody>
      </p:sp>
      <p:sp>
        <p:nvSpPr>
          <p:cNvPr id="241" name="TextBox 240">
            <a:extLst>
              <a:ext uri="{FF2B5EF4-FFF2-40B4-BE49-F238E27FC236}">
                <a16:creationId xmlns:a16="http://schemas.microsoft.com/office/drawing/2014/main" id="{BB791725-4A03-DE49-BD50-94FA8AEC1278}"/>
              </a:ext>
            </a:extLst>
          </p:cNvPr>
          <p:cNvSpPr txBox="1"/>
          <p:nvPr/>
        </p:nvSpPr>
        <p:spPr>
          <a:xfrm>
            <a:off x="5074297" y="5173058"/>
            <a:ext cx="723275" cy="242823"/>
          </a:xfrm>
          <a:prstGeom prst="rect">
            <a:avLst/>
          </a:prstGeom>
          <a:noFill/>
        </p:spPr>
        <p:txBody>
          <a:bodyPr wrap="none" rtlCol="0">
            <a:spAutoFit/>
          </a:bodyPr>
          <a:lstStyle/>
          <a:p>
            <a:r>
              <a:rPr lang="en-US" sz="978" b="1" dirty="0">
                <a:latin typeface="Century Gothic" panose="020B0502020202020204" pitchFamily="34" charset="0"/>
              </a:rPr>
              <a:t>INSIGHTS</a:t>
            </a:r>
          </a:p>
        </p:txBody>
      </p:sp>
      <p:pic>
        <p:nvPicPr>
          <p:cNvPr id="244" name="Picture 4">
            <a:extLst>
              <a:ext uri="{FF2B5EF4-FFF2-40B4-BE49-F238E27FC236}">
                <a16:creationId xmlns:a16="http://schemas.microsoft.com/office/drawing/2014/main" id="{F4D9F85C-DEDC-054E-B36D-2D9EADFAC38B}"/>
              </a:ext>
            </a:extLst>
          </p:cNvPr>
          <p:cNvPicPr>
            <a:picLocks noChangeAspect="1" noChangeArrowheads="1"/>
          </p:cNvPicPr>
          <p:nvPr/>
        </p:nvPicPr>
        <p:blipFill>
          <a:blip r:embed="rId5" cstate="screen">
            <a:alphaModFix amt="35000"/>
            <a:extLst>
              <a:ext uri="{28A0092B-C50C-407E-A947-70E740481C1C}">
                <a14:useLocalDpi xmlns:a14="http://schemas.microsoft.com/office/drawing/2010/main"/>
              </a:ext>
            </a:extLst>
          </a:blip>
          <a:srcRect/>
          <a:stretch>
            <a:fillRect/>
          </a:stretch>
        </p:blipFill>
        <p:spPr bwMode="auto">
          <a:xfrm>
            <a:off x="4413311" y="2005409"/>
            <a:ext cx="505000" cy="5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 name="Picture 16">
            <a:extLst>
              <a:ext uri="{FF2B5EF4-FFF2-40B4-BE49-F238E27FC236}">
                <a16:creationId xmlns:a16="http://schemas.microsoft.com/office/drawing/2014/main" id="{5BF951CB-52B3-B14F-B4B5-C01C3CE1CEE9}"/>
              </a:ext>
            </a:extLst>
          </p:cNvPr>
          <p:cNvPicPr>
            <a:picLocks noChangeAspect="1" noChangeArrowheads="1"/>
          </p:cNvPicPr>
          <p:nvPr/>
        </p:nvPicPr>
        <p:blipFill>
          <a:blip r:embed="rId6" cstate="screen">
            <a:alphaModFix amt="35000"/>
            <a:extLst>
              <a:ext uri="{28A0092B-C50C-407E-A947-70E740481C1C}">
                <a14:useLocalDpi xmlns:a14="http://schemas.microsoft.com/office/drawing/2010/main"/>
              </a:ext>
            </a:extLst>
          </a:blip>
          <a:srcRect/>
          <a:stretch>
            <a:fillRect/>
          </a:stretch>
        </p:blipFill>
        <p:spPr bwMode="auto">
          <a:xfrm>
            <a:off x="4412397" y="2475084"/>
            <a:ext cx="510000" cy="50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6" name="TextBox 245">
            <a:extLst>
              <a:ext uri="{FF2B5EF4-FFF2-40B4-BE49-F238E27FC236}">
                <a16:creationId xmlns:a16="http://schemas.microsoft.com/office/drawing/2014/main" id="{660DDEC3-1B24-2D48-A16E-07E2800C3A79}"/>
              </a:ext>
            </a:extLst>
          </p:cNvPr>
          <p:cNvSpPr txBox="1"/>
          <p:nvPr/>
        </p:nvSpPr>
        <p:spPr>
          <a:xfrm>
            <a:off x="5797572" y="5531931"/>
            <a:ext cx="5897090" cy="379463"/>
          </a:xfrm>
          <a:prstGeom prst="rect">
            <a:avLst/>
          </a:prstGeom>
          <a:noFill/>
        </p:spPr>
        <p:txBody>
          <a:bodyPr wrap="square" rtlCol="0">
            <a:spAutoFit/>
          </a:bodyPr>
          <a:lstStyle/>
          <a:p>
            <a:r>
              <a:rPr lang="en-US" sz="933" dirty="0">
                <a:solidFill>
                  <a:schemeClr val="tx1">
                    <a:lumMod val="95000"/>
                    <a:lumOff val="5000"/>
                  </a:schemeClr>
                </a:solidFill>
                <a:latin typeface="Century Gothic" panose="020B0502020202020204" pitchFamily="34" charset="0"/>
              </a:rPr>
              <a:t>Cognizant OnBot offers a ready to use, pluggable bot ecosystem that can provide DevOps services at real-time inside enterprise chat applications such as Slack or </a:t>
            </a:r>
            <a:r>
              <a:rPr lang="en-US" sz="933" dirty="0" err="1">
                <a:solidFill>
                  <a:schemeClr val="tx1">
                    <a:lumMod val="95000"/>
                    <a:lumOff val="5000"/>
                  </a:schemeClr>
                </a:solidFill>
                <a:latin typeface="Century Gothic" panose="020B0502020202020204" pitchFamily="34" charset="0"/>
              </a:rPr>
              <a:t>Hipchat</a:t>
            </a:r>
            <a:r>
              <a:rPr lang="en-US" sz="933" dirty="0">
                <a:solidFill>
                  <a:schemeClr val="tx1">
                    <a:lumMod val="95000"/>
                    <a:lumOff val="5000"/>
                  </a:schemeClr>
                </a:solidFill>
                <a:latin typeface="Century Gothic" panose="020B0502020202020204" pitchFamily="34" charset="0"/>
              </a:rPr>
              <a:t>.</a:t>
            </a:r>
          </a:p>
        </p:txBody>
      </p:sp>
      <p:sp>
        <p:nvSpPr>
          <p:cNvPr id="247" name="TextBox 246">
            <a:extLst>
              <a:ext uri="{FF2B5EF4-FFF2-40B4-BE49-F238E27FC236}">
                <a16:creationId xmlns:a16="http://schemas.microsoft.com/office/drawing/2014/main" id="{C3E32B71-FD5E-8944-BB4C-A1FF634420AB}"/>
              </a:ext>
            </a:extLst>
          </p:cNvPr>
          <p:cNvSpPr txBox="1"/>
          <p:nvPr/>
        </p:nvSpPr>
        <p:spPr>
          <a:xfrm>
            <a:off x="5117619" y="5587544"/>
            <a:ext cx="596638" cy="242823"/>
          </a:xfrm>
          <a:prstGeom prst="rect">
            <a:avLst/>
          </a:prstGeom>
          <a:noFill/>
        </p:spPr>
        <p:txBody>
          <a:bodyPr wrap="none" rtlCol="0">
            <a:spAutoFit/>
          </a:bodyPr>
          <a:lstStyle/>
          <a:p>
            <a:r>
              <a:rPr lang="en-US" sz="978" b="1" dirty="0" err="1">
                <a:latin typeface="Century Gothic" panose="020B0502020202020204" pitchFamily="34" charset="0"/>
              </a:rPr>
              <a:t>OnBOT</a:t>
            </a:r>
            <a:endParaRPr lang="en-US" sz="978" b="1" dirty="0">
              <a:latin typeface="Century Gothic" panose="020B0502020202020204" pitchFamily="34" charset="0"/>
            </a:endParaRPr>
          </a:p>
        </p:txBody>
      </p:sp>
      <p:sp>
        <p:nvSpPr>
          <p:cNvPr id="175" name="TextBox 174">
            <a:extLst>
              <a:ext uri="{FF2B5EF4-FFF2-40B4-BE49-F238E27FC236}">
                <a16:creationId xmlns:a16="http://schemas.microsoft.com/office/drawing/2014/main" id="{DFCEA6F8-EFFF-CE42-9E86-3B0BC6E29768}"/>
              </a:ext>
            </a:extLst>
          </p:cNvPr>
          <p:cNvSpPr txBox="1"/>
          <p:nvPr/>
        </p:nvSpPr>
        <p:spPr>
          <a:xfrm>
            <a:off x="4330768" y="1763668"/>
            <a:ext cx="678391" cy="242823"/>
          </a:xfrm>
          <a:prstGeom prst="rect">
            <a:avLst/>
          </a:prstGeom>
          <a:noFill/>
        </p:spPr>
        <p:txBody>
          <a:bodyPr wrap="none" rtlCol="0">
            <a:spAutoFit/>
          </a:bodyPr>
          <a:lstStyle/>
          <a:p>
            <a:r>
              <a:rPr lang="en-US" sz="978" dirty="0">
                <a:latin typeface="Century Gothic" panose="020B0502020202020204" pitchFamily="34" charset="0"/>
              </a:rPr>
              <a:t>Backlog</a:t>
            </a:r>
          </a:p>
        </p:txBody>
      </p:sp>
      <p:pic>
        <p:nvPicPr>
          <p:cNvPr id="3" name="Picture 2">
            <a:extLst>
              <a:ext uri="{FF2B5EF4-FFF2-40B4-BE49-F238E27FC236}">
                <a16:creationId xmlns:a16="http://schemas.microsoft.com/office/drawing/2014/main" id="{18A51F76-73D2-B947-A515-7127673C5EEE}"/>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2841" b="100000" l="0" r="100000"/>
                    </a14:imgEffect>
                  </a14:imgLayer>
                </a14:imgProps>
              </a:ext>
              <a:ext uri="{28A0092B-C50C-407E-A947-70E740481C1C}">
                <a14:useLocalDpi xmlns:a14="http://schemas.microsoft.com/office/drawing/2010/main"/>
              </a:ext>
            </a:extLst>
          </a:blip>
          <a:stretch>
            <a:fillRect/>
          </a:stretch>
        </p:blipFill>
        <p:spPr>
          <a:xfrm>
            <a:off x="4006952" y="5446211"/>
            <a:ext cx="957074" cy="495427"/>
          </a:xfrm>
          <a:prstGeom prst="rect">
            <a:avLst/>
          </a:prstGeom>
        </p:spPr>
      </p:pic>
      <p:sp>
        <p:nvSpPr>
          <p:cNvPr id="176" name="Title 1">
            <a:extLst>
              <a:ext uri="{FF2B5EF4-FFF2-40B4-BE49-F238E27FC236}">
                <a16:creationId xmlns:a16="http://schemas.microsoft.com/office/drawing/2014/main" id="{BC7AB399-2896-6C40-92C5-CB31E0BC0D7A}"/>
              </a:ext>
            </a:extLst>
          </p:cNvPr>
          <p:cNvSpPr txBox="1">
            <a:spLocks/>
          </p:cNvSpPr>
          <p:nvPr/>
        </p:nvSpPr>
        <p:spPr>
          <a:xfrm>
            <a:off x="7301188" y="181524"/>
            <a:ext cx="4724328" cy="546656"/>
          </a:xfrm>
          <a:prstGeom prst="rect">
            <a:avLst/>
          </a:prstGeom>
        </p:spPr>
        <p:txBody>
          <a:bodyPr vert="horz" lIns="87086" tIns="43543" rIns="87086" bIns="4354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Century Gothic" panose="020B0502020202020204" pitchFamily="34" charset="0"/>
                <a:ea typeface="+mj-ea"/>
                <a:cs typeface="+mj-cs"/>
              </a:defRPr>
            </a:lvl1pPr>
          </a:lstStyle>
          <a:p>
            <a:pPr defTabSz="541832"/>
            <a:r>
              <a:rPr lang="en-US" sz="1400" dirty="0"/>
              <a:t>Faster </a:t>
            </a:r>
            <a:r>
              <a:rPr lang="en-US" sz="1400" dirty="0" smtClean="0"/>
              <a:t>Enhancements to Production </a:t>
            </a:r>
            <a:r>
              <a:rPr lang="en-US" sz="1400" dirty="0"/>
              <a:t>using Boilerplate templates, Migration assistants, and automated integration and deployment </a:t>
            </a:r>
            <a:r>
              <a:rPr lang="en-US" sz="1400" dirty="0" smtClean="0"/>
              <a:t>methods</a:t>
            </a:r>
            <a:r>
              <a:rPr lang="en-US" sz="1400" dirty="0"/>
              <a:t>.</a:t>
            </a:r>
            <a:endParaRPr lang="en-US" sz="1600" b="1" dirty="0">
              <a:solidFill>
                <a:schemeClr val="bg1"/>
              </a:solidFill>
            </a:endParaRPr>
          </a:p>
        </p:txBody>
      </p:sp>
      <p:cxnSp>
        <p:nvCxnSpPr>
          <p:cNvPr id="177" name="Straight Connector 176">
            <a:extLst>
              <a:ext uri="{FF2B5EF4-FFF2-40B4-BE49-F238E27FC236}">
                <a16:creationId xmlns:a16="http://schemas.microsoft.com/office/drawing/2014/main" id="{EE532C2A-0A16-1143-A38F-FC37B9288F4B}"/>
              </a:ext>
            </a:extLst>
          </p:cNvPr>
          <p:cNvCxnSpPr/>
          <p:nvPr/>
        </p:nvCxnSpPr>
        <p:spPr>
          <a:xfrm>
            <a:off x="7258627" y="181524"/>
            <a:ext cx="0" cy="358019"/>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5D4E296-DF6F-2B4D-8E15-B207FF53BAE4}"/>
              </a:ext>
            </a:extLst>
          </p:cNvPr>
          <p:cNvGrpSpPr/>
          <p:nvPr/>
        </p:nvGrpSpPr>
        <p:grpSpPr>
          <a:xfrm>
            <a:off x="9227186" y="2481020"/>
            <a:ext cx="491112" cy="566666"/>
            <a:chOff x="10363672" y="1991188"/>
            <a:chExt cx="515668" cy="594999"/>
          </a:xfrm>
        </p:grpSpPr>
        <p:sp>
          <p:nvSpPr>
            <p:cNvPr id="179" name="Freeform 178">
              <a:extLst>
                <a:ext uri="{FF2B5EF4-FFF2-40B4-BE49-F238E27FC236}">
                  <a16:creationId xmlns:a16="http://schemas.microsoft.com/office/drawing/2014/main" id="{1212B997-A21C-1B41-9936-7942B0B82454}"/>
                </a:ext>
              </a:extLst>
            </p:cNvPr>
            <p:cNvSpPr>
              <a:spLocks/>
            </p:cNvSpPr>
            <p:nvPr/>
          </p:nvSpPr>
          <p:spPr bwMode="auto">
            <a:xfrm>
              <a:off x="10363672" y="1991188"/>
              <a:ext cx="515668" cy="594999"/>
            </a:xfrm>
            <a:custGeom>
              <a:avLst/>
              <a:gdLst>
                <a:gd name="T0" fmla="*/ 444 w 889"/>
                <a:gd name="T1" fmla="*/ 0 h 1026"/>
                <a:gd name="T2" fmla="*/ 889 w 889"/>
                <a:gd name="T3" fmla="*/ 253 h 1026"/>
                <a:gd name="T4" fmla="*/ 889 w 889"/>
                <a:gd name="T5" fmla="*/ 768 h 1026"/>
                <a:gd name="T6" fmla="*/ 444 w 889"/>
                <a:gd name="T7" fmla="*/ 1026 h 1026"/>
                <a:gd name="T8" fmla="*/ 0 w 889"/>
                <a:gd name="T9" fmla="*/ 768 h 1026"/>
                <a:gd name="T10" fmla="*/ 0 w 889"/>
                <a:gd name="T11" fmla="*/ 255 h 1026"/>
                <a:gd name="T12" fmla="*/ 444 w 889"/>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9" h="1026">
                  <a:moveTo>
                    <a:pt x="444" y="0"/>
                  </a:moveTo>
                  <a:lnTo>
                    <a:pt x="889" y="253"/>
                  </a:lnTo>
                  <a:lnTo>
                    <a:pt x="889" y="768"/>
                  </a:lnTo>
                  <a:lnTo>
                    <a:pt x="444" y="1026"/>
                  </a:lnTo>
                  <a:lnTo>
                    <a:pt x="0" y="768"/>
                  </a:lnTo>
                  <a:lnTo>
                    <a:pt x="0" y="255"/>
                  </a:lnTo>
                  <a:lnTo>
                    <a:pt x="444" y="0"/>
                  </a:lnTo>
                  <a:close/>
                </a:path>
              </a:pathLst>
            </a:custGeom>
            <a:solidFill>
              <a:srgbClr val="8EB4E3"/>
            </a:solidFill>
            <a:ln w="9525">
              <a:noFill/>
              <a:round/>
              <a:headEnd/>
              <a:tailEnd/>
            </a:ln>
          </p:spPr>
          <p:txBody>
            <a:bodyPr vert="horz" wrap="square" lIns="81261" tIns="40630" rIns="81261" bIns="4063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endParaRPr lang="en-US" sz="1600">
                <a:latin typeface="Segoe UI Light" panose="020B0502040204020203" pitchFamily="34" charset="0"/>
                <a:ea typeface="Segoe UI" panose="020B0502040204020203" pitchFamily="34" charset="0"/>
                <a:cs typeface="Segoe UI" panose="020B0502040204020203" pitchFamily="34" charset="0"/>
              </a:endParaRPr>
            </a:p>
          </p:txBody>
        </p:sp>
        <p:pic>
          <p:nvPicPr>
            <p:cNvPr id="178" name="Picture 16">
              <a:extLst>
                <a:ext uri="{FF2B5EF4-FFF2-40B4-BE49-F238E27FC236}">
                  <a16:creationId xmlns:a16="http://schemas.microsoft.com/office/drawing/2014/main" id="{3D80B5DE-BE12-8D4A-85EC-56745A47B93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448385" y="2086362"/>
              <a:ext cx="369382"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0" name="TextBox 179">
            <a:extLst>
              <a:ext uri="{FF2B5EF4-FFF2-40B4-BE49-F238E27FC236}">
                <a16:creationId xmlns:a16="http://schemas.microsoft.com/office/drawing/2014/main" id="{DE2B4CD7-2486-2A4C-881C-9857BF06266B}"/>
              </a:ext>
            </a:extLst>
          </p:cNvPr>
          <p:cNvSpPr txBox="1"/>
          <p:nvPr/>
        </p:nvSpPr>
        <p:spPr>
          <a:xfrm>
            <a:off x="9068763" y="3033623"/>
            <a:ext cx="872355" cy="338554"/>
          </a:xfrm>
          <a:prstGeom prst="rect">
            <a:avLst/>
          </a:prstGeom>
          <a:noFill/>
        </p:spPr>
        <p:txBody>
          <a:bodyPr wrap="none" rtlCol="0">
            <a:spAutoFit/>
          </a:bodyPr>
          <a:lstStyle/>
          <a:p>
            <a:pPr algn="ctr"/>
            <a:r>
              <a:rPr lang="en-US" sz="800" dirty="0">
                <a:latin typeface="Century Gothic" panose="020B0502020202020204" pitchFamily="34" charset="0"/>
              </a:rPr>
              <a:t>Quick Start</a:t>
            </a:r>
          </a:p>
          <a:p>
            <a:pPr algn="ctr"/>
            <a:r>
              <a:rPr lang="en-US" sz="800" dirty="0">
                <a:latin typeface="Century Gothic" panose="020B0502020202020204" pitchFamily="34" charset="0"/>
              </a:rPr>
              <a:t>Development</a:t>
            </a:r>
          </a:p>
        </p:txBody>
      </p:sp>
      <p:sp>
        <p:nvSpPr>
          <p:cNvPr id="181" name="TextBox 180"/>
          <p:cNvSpPr txBox="1"/>
          <p:nvPr/>
        </p:nvSpPr>
        <p:spPr>
          <a:xfrm>
            <a:off x="10988994" y="-15754"/>
            <a:ext cx="2227175" cy="1384995"/>
          </a:xfrm>
          <a:prstGeom prst="rect">
            <a:avLst/>
          </a:prstGeom>
          <a:solidFill>
            <a:srgbClr val="FFFF00"/>
          </a:solidFill>
        </p:spPr>
        <p:txBody>
          <a:bodyPr wrap="square" rtlCol="0">
            <a:spAutoFit/>
          </a:bodyPr>
          <a:lstStyle/>
          <a:p>
            <a:r>
              <a:rPr lang="en-US" sz="1400" dirty="0" smtClean="0"/>
              <a:t>We need to show some feedback from release or existing support team to work intake process  - </a:t>
            </a:r>
            <a:r>
              <a:rPr lang="en-US" sz="1400" dirty="0" smtClean="0">
                <a:solidFill>
                  <a:srgbClr val="FF0000"/>
                </a:solidFill>
              </a:rPr>
              <a:t>Done. Added Support after release as it was missing.  (Sagar)</a:t>
            </a:r>
            <a:endParaRPr lang="en-US" sz="1400" dirty="0">
              <a:solidFill>
                <a:srgbClr val="FF0000"/>
              </a:solidFill>
            </a:endParaRPr>
          </a:p>
        </p:txBody>
      </p:sp>
      <p:sp>
        <p:nvSpPr>
          <p:cNvPr id="183" name="TextBox 47">
            <a:extLst>
              <a:ext uri="{FF2B5EF4-FFF2-40B4-BE49-F238E27FC236}">
                <a16:creationId xmlns:a16="http://schemas.microsoft.com/office/drawing/2014/main" id="{61BA661B-0EB1-814A-80A6-E5B6D5876730}"/>
              </a:ext>
            </a:extLst>
          </p:cNvPr>
          <p:cNvSpPr txBox="1"/>
          <p:nvPr/>
        </p:nvSpPr>
        <p:spPr>
          <a:xfrm>
            <a:off x="10304845" y="1432422"/>
            <a:ext cx="1146416" cy="191591"/>
          </a:xfrm>
          <a:prstGeom prst="rect">
            <a:avLst/>
          </a:prstGeom>
          <a:noFill/>
        </p:spPr>
        <p:txBody>
          <a:bodyPr wrap="square" lIns="0" tIns="0" rIns="0" bIns="0"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pPr algn="ctr" defTabSz="812788" fontAlgn="auto">
              <a:spcBef>
                <a:spcPts val="0"/>
              </a:spcBef>
              <a:spcAft>
                <a:spcPts val="0"/>
              </a:spcAft>
              <a:defRPr/>
            </a:pPr>
            <a:r>
              <a:rPr lang="en-US" sz="1245" kern="0" dirty="0" smtClean="0">
                <a:solidFill>
                  <a:prstClr val="black"/>
                </a:solidFill>
                <a:latin typeface="Century Gothic" panose="020B0502020202020204" pitchFamily="34" charset="0"/>
                <a:cs typeface="Calibri" panose="020F0502020204030204" pitchFamily="34" charset="0"/>
              </a:rPr>
              <a:t>Support</a:t>
            </a:r>
            <a:endParaRPr lang="en-US" sz="1245" kern="0" dirty="0">
              <a:solidFill>
                <a:prstClr val="black"/>
              </a:solidFill>
              <a:latin typeface="Century Gothic" panose="020B0502020202020204" pitchFamily="34" charset="0"/>
              <a:cs typeface="Calibri" panose="020F0502020204030204" pitchFamily="34" charset="0"/>
            </a:endParaRPr>
          </a:p>
        </p:txBody>
      </p:sp>
      <p:cxnSp>
        <p:nvCxnSpPr>
          <p:cNvPr id="184" name="Straight Connector 183">
            <a:extLst>
              <a:ext uri="{FF2B5EF4-FFF2-40B4-BE49-F238E27FC236}">
                <a16:creationId xmlns:a16="http://schemas.microsoft.com/office/drawing/2014/main" id="{66DD5410-9600-B849-B590-7B9A5D32FDDE}"/>
              </a:ext>
            </a:extLst>
          </p:cNvPr>
          <p:cNvCxnSpPr/>
          <p:nvPr/>
        </p:nvCxnSpPr>
        <p:spPr bwMode="auto">
          <a:xfrm>
            <a:off x="9941118" y="3882038"/>
            <a:ext cx="0" cy="109265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25FBC274-6C57-9947-9086-5CA38785687C}"/>
              </a:ext>
            </a:extLst>
          </p:cNvPr>
          <p:cNvCxnSpPr/>
          <p:nvPr/>
        </p:nvCxnSpPr>
        <p:spPr>
          <a:xfrm>
            <a:off x="9941118" y="1794904"/>
            <a:ext cx="0" cy="2113280"/>
          </a:xfrm>
          <a:prstGeom prst="line">
            <a:avLst/>
          </a:prstGeom>
          <a:solidFill>
            <a:schemeClr val="accent1"/>
          </a:solidFill>
          <a:ln w="9525" cap="flat" cmpd="sng" algn="ctr">
            <a:solidFill>
              <a:schemeClr val="bg1">
                <a:lumMod val="50000"/>
              </a:schemeClr>
            </a:solidFill>
            <a:prstDash val="sysDash"/>
            <a:round/>
            <a:headEnd type="none" w="med" len="med"/>
            <a:tailEnd type="none" w="med" len="med"/>
          </a:ln>
          <a:effectLst/>
        </p:spPr>
      </p:cxnSp>
      <p:sp>
        <p:nvSpPr>
          <p:cNvPr id="186" name="TextBox 185">
            <a:extLst>
              <a:ext uri="{FF2B5EF4-FFF2-40B4-BE49-F238E27FC236}">
                <a16:creationId xmlns:a16="http://schemas.microsoft.com/office/drawing/2014/main" id="{99C19D00-241E-494D-8A15-61C018B90E51}"/>
              </a:ext>
            </a:extLst>
          </p:cNvPr>
          <p:cNvSpPr txBox="1"/>
          <p:nvPr/>
        </p:nvSpPr>
        <p:spPr bwMode="auto">
          <a:xfrm>
            <a:off x="9964885" y="3925421"/>
            <a:ext cx="1926113" cy="953723"/>
          </a:xfrm>
          <a:prstGeom prst="rect">
            <a:avLst/>
          </a:prstGeom>
          <a:noFill/>
          <a:ln w="9525">
            <a:noFill/>
            <a:miter lim="800000"/>
            <a:headEnd/>
            <a:tailEnd/>
          </a:ln>
        </p:spPr>
        <p:txBody>
          <a:bodyPr wrap="square" rtlCol="0">
            <a:prstTxWarp prst="textNoShape">
              <a:avLst/>
            </a:prstTxWarp>
            <a:spAutoFit/>
          </a:bodyPr>
          <a:lstStyle/>
          <a:p>
            <a:pPr marL="253996" indent="-253996" defTabSz="1083527">
              <a:buFont typeface="Wingdings" panose="05000000000000000000" pitchFamily="2" charset="2"/>
              <a:buChar char="§"/>
            </a:pPr>
            <a:r>
              <a:rPr lang="en-US" sz="933" dirty="0" smtClean="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Continuous Monitoring</a:t>
            </a:r>
          </a:p>
          <a:p>
            <a:pPr marL="253996" indent="-253996" defTabSz="1083527">
              <a:buFont typeface="Wingdings" panose="05000000000000000000" pitchFamily="2" charset="2"/>
              <a:buChar char="§"/>
            </a:pPr>
            <a:r>
              <a:rPr lang="en-US" sz="933" dirty="0" smtClean="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Auto ticketing &amp; Auto healing </a:t>
            </a:r>
          </a:p>
          <a:p>
            <a:pPr marL="253996" indent="-253996" defTabSz="1083527">
              <a:buFont typeface="Wingdings" panose="05000000000000000000" pitchFamily="2" charset="2"/>
              <a:buChar char="§"/>
            </a:pPr>
            <a:r>
              <a:rPr lang="en-US" sz="933" dirty="0" smtClean="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Integration of ITSM &amp; ALM</a:t>
            </a:r>
          </a:p>
          <a:p>
            <a:pPr marL="253996" indent="-253996" defTabSz="1083527">
              <a:buFont typeface="Wingdings" panose="05000000000000000000" pitchFamily="2" charset="2"/>
              <a:buChar char="§"/>
            </a:pPr>
            <a:r>
              <a:rPr lang="en-US" sz="933" dirty="0" smtClean="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rPr>
              <a:t>Continuous Collaboration &amp; Knowledge Flow</a:t>
            </a:r>
            <a:endParaRPr lang="en-US" sz="933" dirty="0">
              <a:solidFill>
                <a:schemeClr val="tx1">
                  <a:lumMod val="95000"/>
                  <a:lumOff val="5000"/>
                </a:schemeClr>
              </a:solidFill>
              <a:effectLst>
                <a:outerShdw sx="0" sy="0">
                  <a:srgbClr val="000000"/>
                </a:outerShdw>
              </a:effectLst>
              <a:latin typeface="Century Gothic" panose="020B0502020202020204" pitchFamily="34" charset="0"/>
              <a:cs typeface="Calibri" panose="020F0502020204030204" pitchFamily="34" charset="0"/>
            </a:endParaRPr>
          </a:p>
        </p:txBody>
      </p:sp>
      <p:pic>
        <p:nvPicPr>
          <p:cNvPr id="6" name="Picture 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367183" y="2050054"/>
            <a:ext cx="322576" cy="256084"/>
          </a:xfrm>
          <a:prstGeom prst="rect">
            <a:avLst/>
          </a:prstGeom>
          <a:solidFill>
            <a:schemeClr val="accent1">
              <a:lumMod val="20000"/>
              <a:lumOff val="80000"/>
            </a:schemeClr>
          </a:solidFill>
        </p:spPr>
      </p:pic>
      <p:sp>
        <p:nvSpPr>
          <p:cNvPr id="189" name="TextBox 188">
            <a:extLst>
              <a:ext uri="{FF2B5EF4-FFF2-40B4-BE49-F238E27FC236}">
                <a16:creationId xmlns:a16="http://schemas.microsoft.com/office/drawing/2014/main" id="{95CBE5D5-D627-BE49-BDD3-EBFE46249D37}"/>
              </a:ext>
            </a:extLst>
          </p:cNvPr>
          <p:cNvSpPr txBox="1"/>
          <p:nvPr/>
        </p:nvSpPr>
        <p:spPr>
          <a:xfrm>
            <a:off x="10196573" y="2511584"/>
            <a:ext cx="784189" cy="338554"/>
          </a:xfrm>
          <a:prstGeom prst="rect">
            <a:avLst/>
          </a:prstGeom>
          <a:noFill/>
        </p:spPr>
        <p:txBody>
          <a:bodyPr wrap="none" rtlCol="0">
            <a:spAutoFit/>
          </a:bodyPr>
          <a:lstStyle/>
          <a:p>
            <a:r>
              <a:rPr lang="en-US" sz="800" dirty="0" smtClean="0">
                <a:latin typeface="Century Gothic" panose="020B0502020202020204" pitchFamily="34" charset="0"/>
              </a:rPr>
              <a:t>Real time </a:t>
            </a:r>
          </a:p>
          <a:p>
            <a:r>
              <a:rPr lang="en-US" sz="800" dirty="0" smtClean="0">
                <a:latin typeface="Century Gothic" panose="020B0502020202020204" pitchFamily="34" charset="0"/>
              </a:rPr>
              <a:t>Dashboards</a:t>
            </a:r>
          </a:p>
        </p:txBody>
      </p:sp>
      <p:pic>
        <p:nvPicPr>
          <p:cNvPr id="7" name="Picture 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192007" y="3140174"/>
            <a:ext cx="291357" cy="293698"/>
          </a:xfrm>
          <a:prstGeom prst="rect">
            <a:avLst/>
          </a:prstGeom>
        </p:spPr>
      </p:pic>
      <p:sp>
        <p:nvSpPr>
          <p:cNvPr id="191" name="TextBox 190">
            <a:extLst>
              <a:ext uri="{FF2B5EF4-FFF2-40B4-BE49-F238E27FC236}">
                <a16:creationId xmlns:a16="http://schemas.microsoft.com/office/drawing/2014/main" id="{95CBE5D5-D627-BE49-BDD3-EBFE46249D37}"/>
              </a:ext>
            </a:extLst>
          </p:cNvPr>
          <p:cNvSpPr txBox="1"/>
          <p:nvPr/>
        </p:nvSpPr>
        <p:spPr>
          <a:xfrm>
            <a:off x="9952748" y="3552330"/>
            <a:ext cx="1372247" cy="215444"/>
          </a:xfrm>
          <a:prstGeom prst="rect">
            <a:avLst/>
          </a:prstGeom>
          <a:noFill/>
        </p:spPr>
        <p:txBody>
          <a:bodyPr wrap="square" rtlCol="0">
            <a:spAutoFit/>
          </a:bodyPr>
          <a:lstStyle/>
          <a:p>
            <a:r>
              <a:rPr lang="en-US" sz="800" dirty="0" smtClean="0">
                <a:latin typeface="Century Gothic" panose="020B0502020202020204" pitchFamily="34" charset="0"/>
              </a:rPr>
              <a:t>Proactive Maintenance</a:t>
            </a:r>
          </a:p>
        </p:txBody>
      </p:sp>
      <p:pic>
        <p:nvPicPr>
          <p:cNvPr id="18" name="Picture 1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202107" y="2601918"/>
            <a:ext cx="368328" cy="286096"/>
          </a:xfrm>
          <a:prstGeom prst="rect">
            <a:avLst/>
          </a:prstGeom>
        </p:spPr>
      </p:pic>
      <p:sp>
        <p:nvSpPr>
          <p:cNvPr id="193" name="TextBox 192">
            <a:extLst>
              <a:ext uri="{FF2B5EF4-FFF2-40B4-BE49-F238E27FC236}">
                <a16:creationId xmlns:a16="http://schemas.microsoft.com/office/drawing/2014/main" id="{95CBE5D5-D627-BE49-BDD3-EBFE46249D37}"/>
              </a:ext>
            </a:extLst>
          </p:cNvPr>
          <p:cNvSpPr txBox="1"/>
          <p:nvPr/>
        </p:nvSpPr>
        <p:spPr>
          <a:xfrm>
            <a:off x="10765004" y="3031765"/>
            <a:ext cx="1247497" cy="461665"/>
          </a:xfrm>
          <a:prstGeom prst="rect">
            <a:avLst/>
          </a:prstGeom>
          <a:noFill/>
        </p:spPr>
        <p:txBody>
          <a:bodyPr wrap="square" rtlCol="0">
            <a:spAutoFit/>
          </a:bodyPr>
          <a:lstStyle/>
          <a:p>
            <a:pPr algn="ctr"/>
            <a:r>
              <a:rPr lang="en-US" sz="800" dirty="0" smtClean="0">
                <a:latin typeface="Century Gothic" panose="020B0502020202020204" pitchFamily="34" charset="0"/>
              </a:rPr>
              <a:t>Information Exchange via Digital platforms</a:t>
            </a:r>
          </a:p>
        </p:txBody>
      </p:sp>
      <p:grpSp>
        <p:nvGrpSpPr>
          <p:cNvPr id="73" name="Group 72"/>
          <p:cNvGrpSpPr/>
          <p:nvPr/>
        </p:nvGrpSpPr>
        <p:grpSpPr>
          <a:xfrm>
            <a:off x="2100115" y="1174034"/>
            <a:ext cx="8777938" cy="230065"/>
            <a:chOff x="2100115" y="856739"/>
            <a:chExt cx="8777938" cy="493166"/>
          </a:xfrm>
        </p:grpSpPr>
        <p:cxnSp>
          <p:nvCxnSpPr>
            <p:cNvPr id="70" name="Straight Arrow Connector 69"/>
            <p:cNvCxnSpPr/>
            <p:nvPr/>
          </p:nvCxnSpPr>
          <p:spPr>
            <a:xfrm>
              <a:off x="2100115" y="856739"/>
              <a:ext cx="8777938" cy="0"/>
            </a:xfrm>
            <a:prstGeom prst="straightConnector1">
              <a:avLst/>
            </a:prstGeom>
            <a:ln w="28575">
              <a:solidFill>
                <a:schemeClr val="tx1">
                  <a:lumMod val="95000"/>
                  <a:lumOff val="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119977" y="871027"/>
              <a:ext cx="0" cy="478878"/>
            </a:xfrm>
            <a:prstGeom prst="straightConnector1">
              <a:avLst/>
            </a:prstGeom>
            <a:ln w="28575">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a:off x="4719939" y="871027"/>
              <a:ext cx="0" cy="478878"/>
            </a:xfrm>
            <a:prstGeom prst="straightConnector1">
              <a:avLst/>
            </a:prstGeom>
            <a:ln w="28575">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a:off x="6547761" y="871027"/>
              <a:ext cx="0" cy="478878"/>
            </a:xfrm>
            <a:prstGeom prst="straightConnector1">
              <a:avLst/>
            </a:prstGeom>
            <a:ln w="28575">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a:off x="8519310" y="871027"/>
              <a:ext cx="0" cy="478878"/>
            </a:xfrm>
            <a:prstGeom prst="straightConnector1">
              <a:avLst/>
            </a:prstGeom>
            <a:ln w="28575">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p:nvPr/>
          </p:nvCxnSpPr>
          <p:spPr>
            <a:xfrm>
              <a:off x="10863765" y="856739"/>
              <a:ext cx="0" cy="478878"/>
            </a:xfrm>
            <a:prstGeom prst="straightConnector1">
              <a:avLst/>
            </a:prstGeom>
            <a:ln w="28575">
              <a:solidFill>
                <a:schemeClr val="accent6">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9" name="Title 1">
            <a:extLst>
              <a:ext uri="{FF2B5EF4-FFF2-40B4-BE49-F238E27FC236}">
                <a16:creationId xmlns:a16="http://schemas.microsoft.com/office/drawing/2014/main" id="{BC7AB399-2896-6C40-92C5-CB31E0BC0D7A}"/>
              </a:ext>
            </a:extLst>
          </p:cNvPr>
          <p:cNvSpPr txBox="1">
            <a:spLocks/>
          </p:cNvSpPr>
          <p:nvPr/>
        </p:nvSpPr>
        <p:spPr>
          <a:xfrm>
            <a:off x="3521257" y="826782"/>
            <a:ext cx="7001622" cy="354274"/>
          </a:xfrm>
          <a:prstGeom prst="rect">
            <a:avLst/>
          </a:prstGeom>
        </p:spPr>
        <p:txBody>
          <a:bodyPr vert="horz" lIns="87086" tIns="43543" rIns="87086" bIns="43543" rtlCol="0" anchor="ctr">
            <a:normAutofit/>
          </a:bodyPr>
          <a:lstStyle>
            <a:lvl1pPr algn="l" defTabSz="914400" rtl="0" eaLnBrk="1" latinLnBrk="0" hangingPunct="1">
              <a:lnSpc>
                <a:spcPct val="90000"/>
              </a:lnSpc>
              <a:spcBef>
                <a:spcPct val="0"/>
              </a:spcBef>
              <a:buNone/>
              <a:defRPr sz="4400" kern="1200">
                <a:solidFill>
                  <a:schemeClr val="tx1"/>
                </a:solidFill>
                <a:latin typeface="Century Gothic" panose="020B0502020202020204" pitchFamily="34" charset="0"/>
                <a:ea typeface="+mj-ea"/>
                <a:cs typeface="+mj-cs"/>
              </a:defRPr>
            </a:lvl1pPr>
          </a:lstStyle>
          <a:p>
            <a:pPr defTabSz="541832"/>
            <a:r>
              <a:rPr lang="en-US" sz="1600" dirty="0">
                <a:solidFill>
                  <a:schemeClr val="accent1">
                    <a:lumMod val="50000"/>
                  </a:schemeClr>
                </a:solidFill>
                <a:effectLst>
                  <a:outerShdw sx="0" sy="0">
                    <a:srgbClr val="000000"/>
                  </a:outerShdw>
                </a:effectLst>
                <a:latin typeface="+mj-lt"/>
                <a:ea typeface="+mn-ea"/>
                <a:cs typeface="Calibri" panose="020F0502020204030204" pitchFamily="34" charset="0"/>
              </a:rPr>
              <a:t>Integration of ITSM and ALM process for faster Feedback Loops</a:t>
            </a:r>
          </a:p>
        </p:txBody>
      </p:sp>
      <p:sp>
        <p:nvSpPr>
          <p:cNvPr id="74" name="TextBox 73"/>
          <p:cNvSpPr txBox="1"/>
          <p:nvPr/>
        </p:nvSpPr>
        <p:spPr>
          <a:xfrm>
            <a:off x="677859" y="5204554"/>
            <a:ext cx="3013021" cy="553998"/>
          </a:xfrm>
          <a:prstGeom prst="rect">
            <a:avLst/>
          </a:prstGeom>
          <a:noFill/>
        </p:spPr>
        <p:txBody>
          <a:bodyPr wrap="square" rtlCol="0">
            <a:spAutoFit/>
          </a:bodyPr>
          <a:lstStyle/>
          <a:p>
            <a:pPr marL="285750" indent="-285750">
              <a:buFont typeface="Arial" panose="020B0604020202020204" pitchFamily="34" charset="0"/>
              <a:buChar char="•"/>
            </a:pPr>
            <a:r>
              <a:rPr lang="en-US" sz="1000" dirty="0" smtClean="0">
                <a:solidFill>
                  <a:schemeClr val="bg1"/>
                </a:solidFill>
              </a:rPr>
              <a:t>Integrated Backlog for enhancements and support tickets in ALM (JIRA, Rally)</a:t>
            </a:r>
          </a:p>
          <a:p>
            <a:pPr marL="285750" indent="-285750">
              <a:buFont typeface="Arial" panose="020B0604020202020204" pitchFamily="34" charset="0"/>
              <a:buChar char="•"/>
            </a:pPr>
            <a:endParaRPr lang="en-US" sz="1000" dirty="0">
              <a:solidFill>
                <a:schemeClr val="bg1"/>
              </a:solidFill>
            </a:endParaRPr>
          </a:p>
        </p:txBody>
      </p:sp>
    </p:spTree>
    <p:extLst>
      <p:ext uri="{BB962C8B-B14F-4D97-AF65-F5344CB8AC3E}">
        <p14:creationId xmlns:p14="http://schemas.microsoft.com/office/powerpoint/2010/main" val="34049726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veraging Marriott’s Patterns and Principles to build Practices for Scaling </a:t>
            </a:r>
            <a:endParaRPr lang="en-US" dirty="0"/>
          </a:p>
        </p:txBody>
      </p:sp>
      <p:pic>
        <p:nvPicPr>
          <p:cNvPr id="3" name="Picture 2"/>
          <p:cNvPicPr>
            <a:picLocks noChangeAspect="1"/>
          </p:cNvPicPr>
          <p:nvPr/>
        </p:nvPicPr>
        <p:blipFill>
          <a:blip r:embed="rId2"/>
          <a:stretch>
            <a:fillRect/>
          </a:stretch>
        </p:blipFill>
        <p:spPr>
          <a:xfrm>
            <a:off x="102498" y="800783"/>
            <a:ext cx="8251794" cy="5303520"/>
          </a:xfrm>
          <a:prstGeom prst="rect">
            <a:avLst/>
          </a:prstGeom>
        </p:spPr>
      </p:pic>
      <p:sp>
        <p:nvSpPr>
          <p:cNvPr id="4" name="Rectangle 3"/>
          <p:cNvSpPr/>
          <p:nvPr/>
        </p:nvSpPr>
        <p:spPr>
          <a:xfrm>
            <a:off x="8929185" y="759214"/>
            <a:ext cx="3262816" cy="3416320"/>
          </a:xfrm>
          <a:prstGeom prst="rect">
            <a:avLst/>
          </a:prstGeom>
        </p:spPr>
        <p:txBody>
          <a:bodyPr wrap="square">
            <a:spAutoFit/>
          </a:bodyPr>
          <a:lstStyle/>
          <a:p>
            <a:r>
              <a:rPr lang="en-US" b="1" dirty="0"/>
              <a:t>Cognizant Studios Framework </a:t>
            </a:r>
            <a:endParaRPr lang="en-US" b="1" dirty="0" smtClean="0"/>
          </a:p>
          <a:p>
            <a:r>
              <a:rPr lang="en-US" b="1" dirty="0" smtClean="0"/>
              <a:t>for </a:t>
            </a:r>
            <a:r>
              <a:rPr lang="en-US" b="1" dirty="0"/>
              <a:t>Extending and Scaling </a:t>
            </a:r>
            <a:r>
              <a:rPr lang="en-US" b="1" dirty="0" smtClean="0"/>
              <a:t>PODs</a:t>
            </a:r>
          </a:p>
          <a:p>
            <a:endParaRPr lang="en-US" b="1" dirty="0"/>
          </a:p>
          <a:p>
            <a:pPr marL="285750" indent="-285750">
              <a:buSzPct val="25000"/>
              <a:buFont typeface="Arial" panose="020B0604020202020204" pitchFamily="34" charset="0"/>
              <a:buChar char="•"/>
            </a:pPr>
            <a:r>
              <a:rPr lang="en-US" dirty="0">
                <a:solidFill>
                  <a:schemeClr val="tx2"/>
                </a:solidFill>
              </a:rPr>
              <a:t>Teams are small, cross-functional, co-located and empowered to respond to change. </a:t>
            </a:r>
          </a:p>
          <a:p>
            <a:pPr marL="285750" indent="-285750">
              <a:buSzPct val="25000"/>
              <a:buFont typeface="Arial" panose="020B0604020202020204" pitchFamily="34" charset="0"/>
              <a:buChar char="•"/>
            </a:pPr>
            <a:endParaRPr lang="en-US" dirty="0">
              <a:solidFill>
                <a:schemeClr val="tx2"/>
              </a:solidFill>
            </a:endParaRPr>
          </a:p>
          <a:p>
            <a:pPr marL="285750" indent="-285750">
              <a:buSzPct val="25000"/>
              <a:buFont typeface="Arial" panose="020B0604020202020204" pitchFamily="34" charset="0"/>
              <a:buChar char="•"/>
            </a:pPr>
            <a:r>
              <a:rPr lang="en-US" dirty="0">
                <a:solidFill>
                  <a:schemeClr val="tx2"/>
                </a:solidFill>
              </a:rPr>
              <a:t>Highly customized and domain driven assessment and selection processes to pick the best talents </a:t>
            </a:r>
            <a:r>
              <a:rPr lang="en-US" b="1" dirty="0" smtClean="0"/>
              <a:t>  </a:t>
            </a:r>
            <a:endParaRPr lang="en-US" b="1"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63922" y="800783"/>
            <a:ext cx="417193" cy="468358"/>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39115" y="3976255"/>
            <a:ext cx="461631" cy="407410"/>
          </a:xfrm>
          <a:prstGeom prst="rect">
            <a:avLst/>
          </a:prstGeom>
        </p:spPr>
      </p:pic>
      <p:sp>
        <p:nvSpPr>
          <p:cNvPr id="8" name="Rectangle 7"/>
          <p:cNvSpPr/>
          <p:nvPr/>
        </p:nvSpPr>
        <p:spPr>
          <a:xfrm>
            <a:off x="8673102" y="4078553"/>
            <a:ext cx="4017662" cy="3277820"/>
          </a:xfrm>
          <a:prstGeom prst="rect">
            <a:avLst/>
          </a:prstGeom>
        </p:spPr>
        <p:txBody>
          <a:bodyPr wrap="square">
            <a:spAutoFit/>
          </a:bodyPr>
          <a:lstStyle/>
          <a:p>
            <a:pPr lvl="0">
              <a:lnSpc>
                <a:spcPct val="150000"/>
              </a:lnSpc>
              <a:buSzPct val="25000"/>
            </a:pPr>
            <a:r>
              <a:rPr lang="en-US" b="1" dirty="0"/>
              <a:t>Practices that enable teams to develop with agility</a:t>
            </a:r>
            <a:r>
              <a:rPr lang="en-US" b="1" dirty="0" smtClean="0"/>
              <a:t>:</a:t>
            </a:r>
          </a:p>
          <a:p>
            <a:pPr marL="285750" lvl="0" indent="-285750">
              <a:buSzPct val="25000"/>
              <a:buFont typeface="Arial" panose="020B0604020202020204" pitchFamily="34" charset="0"/>
              <a:buChar char="•"/>
            </a:pPr>
            <a:r>
              <a:rPr lang="en-US" dirty="0">
                <a:solidFill>
                  <a:schemeClr val="tx2"/>
                </a:solidFill>
              </a:rPr>
              <a:t>Pair Programming</a:t>
            </a:r>
          </a:p>
          <a:p>
            <a:pPr marL="285750" lvl="0" indent="-285750">
              <a:buSzPct val="25000"/>
              <a:buFont typeface="Arial" panose="020B0604020202020204" pitchFamily="34" charset="0"/>
              <a:buChar char="•"/>
            </a:pPr>
            <a:r>
              <a:rPr lang="en-US" dirty="0">
                <a:solidFill>
                  <a:schemeClr val="tx2"/>
                </a:solidFill>
              </a:rPr>
              <a:t>TDD</a:t>
            </a:r>
          </a:p>
          <a:p>
            <a:pPr marL="285750" indent="-285750">
              <a:buSzPct val="25000"/>
              <a:buFont typeface="Arial" panose="020B0604020202020204" pitchFamily="34" charset="0"/>
              <a:buChar char="•"/>
            </a:pPr>
            <a:r>
              <a:rPr lang="en-US" dirty="0">
                <a:solidFill>
                  <a:schemeClr val="tx2"/>
                </a:solidFill>
              </a:rPr>
              <a:t>Small, iterative and incremental releases</a:t>
            </a:r>
          </a:p>
          <a:p>
            <a:pPr marL="285750" lvl="0" indent="-285750">
              <a:lnSpc>
                <a:spcPct val="150000"/>
              </a:lnSpc>
              <a:buSzPct val="25000"/>
              <a:buFontTx/>
              <a:buChar char="-"/>
            </a:pPr>
            <a:endParaRPr lang="en-US" b="1" dirty="0" smtClean="0"/>
          </a:p>
          <a:p>
            <a:pPr marL="285750" lvl="0" indent="-285750">
              <a:lnSpc>
                <a:spcPct val="150000"/>
              </a:lnSpc>
              <a:buSzPct val="25000"/>
              <a:buFontTx/>
              <a:buChar char="-"/>
            </a:pPr>
            <a:endParaRPr lang="en-US" b="1" dirty="0" smtClean="0"/>
          </a:p>
          <a:p>
            <a:pPr lvl="0">
              <a:lnSpc>
                <a:spcPct val="150000"/>
              </a:lnSpc>
              <a:buSzPct val="25000"/>
            </a:pPr>
            <a:endParaRPr lang="en-US" b="1" dirty="0"/>
          </a:p>
        </p:txBody>
      </p:sp>
    </p:spTree>
    <p:extLst>
      <p:ext uri="{BB962C8B-B14F-4D97-AF65-F5344CB8AC3E}">
        <p14:creationId xmlns:p14="http://schemas.microsoft.com/office/powerpoint/2010/main" val="244150235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0DBBC3-69F5-584E-9634-0731918DCB5E}"/>
              </a:ext>
            </a:extLst>
          </p:cNvPr>
          <p:cNvSpPr>
            <a:spLocks noGrp="1"/>
          </p:cNvSpPr>
          <p:nvPr>
            <p:ph type="title"/>
          </p:nvPr>
        </p:nvSpPr>
        <p:spPr/>
        <p:txBody>
          <a:bodyPr>
            <a:normAutofit/>
          </a:bodyPr>
          <a:lstStyle/>
          <a:p>
            <a:r>
              <a:rPr lang="en-US" b="0" dirty="0" smtClean="0"/>
              <a:t>Confirming Marriott’s Current State</a:t>
            </a:r>
            <a:endParaRPr lang="en-US" b="0" dirty="0"/>
          </a:p>
        </p:txBody>
      </p:sp>
      <p:sp>
        <p:nvSpPr>
          <p:cNvPr id="3" name="Slide Number Placeholder 2">
            <a:extLst>
              <a:ext uri="{FF2B5EF4-FFF2-40B4-BE49-F238E27FC236}">
                <a16:creationId xmlns:a16="http://schemas.microsoft.com/office/drawing/2014/main" id="{2257B3A7-36BF-4F0B-90BE-9534ADFC84E2}"/>
              </a:ext>
            </a:extLst>
          </p:cNvPr>
          <p:cNvSpPr>
            <a:spLocks noGrp="1"/>
          </p:cNvSpPr>
          <p:nvPr>
            <p:ph type="sldNum" sz="quarter" idx="4294967295"/>
          </p:nvPr>
        </p:nvSpPr>
        <p:spPr>
          <a:xfrm>
            <a:off x="9448800" y="6234113"/>
            <a:ext cx="2743200" cy="365125"/>
          </a:xfrm>
        </p:spPr>
        <p:txBody>
          <a:bodyPr/>
          <a:lstStyle/>
          <a:p>
            <a:pPr defTabSz="609570"/>
            <a:fld id="{2EFEF571-C9B4-4D92-A7F7-315B894862A8}" type="slidenum">
              <a:rPr lang="en-US">
                <a:solidFill>
                  <a:srgbClr val="00B140"/>
                </a:solidFill>
                <a:latin typeface="Arial" panose="020B0604020202020204" pitchFamily="34" charset="0"/>
                <a:cs typeface="Arial" panose="020B0604020202020204" pitchFamily="34" charset="0"/>
              </a:rPr>
              <a:pPr defTabSz="609570"/>
              <a:t>76</a:t>
            </a:fld>
            <a:endParaRPr lang="en-US" dirty="0">
              <a:solidFill>
                <a:srgbClr val="00B140"/>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4F69A522-6A95-8A4A-850C-C44BA5C8FC77}"/>
              </a:ext>
            </a:extLst>
          </p:cNvPr>
          <p:cNvSpPr/>
          <p:nvPr/>
        </p:nvSpPr>
        <p:spPr>
          <a:xfrm>
            <a:off x="7912802" y="4242183"/>
            <a:ext cx="2553841"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Too Much Effort Spent</a:t>
            </a:r>
          </a:p>
          <a:p>
            <a:r>
              <a:rPr lang="en-US" sz="2000" b="1" dirty="0" smtClean="0">
                <a:solidFill>
                  <a:schemeClr val="accent2"/>
                </a:solidFill>
                <a:cs typeface="Arial" panose="020B0604020202020204" pitchFamily="34" charset="0"/>
              </a:rPr>
              <a:t>In A Few Areas</a:t>
            </a:r>
            <a:endParaRPr lang="en-US" sz="2000" dirty="0">
              <a:solidFill>
                <a:schemeClr val="accent2"/>
              </a:solidFill>
              <a:cs typeface="Arial" panose="020B0604020202020204" pitchFamily="34" charset="0"/>
            </a:endParaRPr>
          </a:p>
        </p:txBody>
      </p:sp>
      <p:sp>
        <p:nvSpPr>
          <p:cNvPr id="62" name="Rectangle 61">
            <a:extLst>
              <a:ext uri="{FF2B5EF4-FFF2-40B4-BE49-F238E27FC236}">
                <a16:creationId xmlns:a16="http://schemas.microsoft.com/office/drawing/2014/main" id="{C0AFE50C-0D22-EF4D-8F69-B34BC84AC932}"/>
              </a:ext>
            </a:extLst>
          </p:cNvPr>
          <p:cNvSpPr/>
          <p:nvPr/>
        </p:nvSpPr>
        <p:spPr>
          <a:xfrm>
            <a:off x="7912802" y="3097277"/>
            <a:ext cx="3900940"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Combined Variable &amp; Non-Variable</a:t>
            </a:r>
          </a:p>
          <a:p>
            <a:r>
              <a:rPr lang="en-US" sz="2000" b="1" dirty="0" smtClean="0">
                <a:solidFill>
                  <a:schemeClr val="accent2"/>
                </a:solidFill>
                <a:cs typeface="Arial" panose="020B0604020202020204" pitchFamily="34" charset="0"/>
              </a:rPr>
              <a:t>Workloads Into One Agreement</a:t>
            </a:r>
            <a:endParaRPr lang="en-US" sz="2000" dirty="0">
              <a:solidFill>
                <a:schemeClr val="accent2"/>
              </a:solidFill>
              <a:cs typeface="Arial" panose="020B0604020202020204" pitchFamily="34" charset="0"/>
            </a:endParaRPr>
          </a:p>
        </p:txBody>
      </p:sp>
      <p:sp>
        <p:nvSpPr>
          <p:cNvPr id="21" name="Rectangle 20">
            <a:extLst>
              <a:ext uri="{FF2B5EF4-FFF2-40B4-BE49-F238E27FC236}">
                <a16:creationId xmlns:a16="http://schemas.microsoft.com/office/drawing/2014/main" id="{52A6FF82-15AE-DF47-B339-ECDDBB5A4B3D}"/>
              </a:ext>
            </a:extLst>
          </p:cNvPr>
          <p:cNvSpPr/>
          <p:nvPr/>
        </p:nvSpPr>
        <p:spPr>
          <a:xfrm>
            <a:off x="772930" y="2101491"/>
            <a:ext cx="3524426"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Application  Portfolio</a:t>
            </a:r>
          </a:p>
          <a:p>
            <a:r>
              <a:rPr lang="en-US" sz="2000" b="1" dirty="0" smtClean="0">
                <a:solidFill>
                  <a:schemeClr val="accent2"/>
                </a:solidFill>
                <a:cs typeface="Arial" panose="020B0604020202020204" pitchFamily="34" charset="0"/>
              </a:rPr>
              <a:t>Full of Silos/ Legacy Technology</a:t>
            </a:r>
            <a:endParaRPr lang="en-US" sz="2000" dirty="0">
              <a:solidFill>
                <a:schemeClr val="accent2"/>
              </a:solidFill>
              <a:cs typeface="Arial" panose="020B0604020202020204" pitchFamily="34" charset="0"/>
            </a:endParaRPr>
          </a:p>
        </p:txBody>
      </p:sp>
      <p:sp>
        <p:nvSpPr>
          <p:cNvPr id="25" name="Rectangle 24">
            <a:extLst>
              <a:ext uri="{FF2B5EF4-FFF2-40B4-BE49-F238E27FC236}">
                <a16:creationId xmlns:a16="http://schemas.microsoft.com/office/drawing/2014/main" id="{C0AFE50C-0D22-EF4D-8F69-B34BC84AC932}"/>
              </a:ext>
            </a:extLst>
          </p:cNvPr>
          <p:cNvSpPr/>
          <p:nvPr/>
        </p:nvSpPr>
        <p:spPr>
          <a:xfrm>
            <a:off x="789152" y="3097277"/>
            <a:ext cx="3508204"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Pace of Technology Change Has</a:t>
            </a:r>
          </a:p>
          <a:p>
            <a:r>
              <a:rPr lang="en-US" sz="2000" b="1" dirty="0" smtClean="0">
                <a:solidFill>
                  <a:schemeClr val="accent2"/>
                </a:solidFill>
                <a:cs typeface="Arial" panose="020B0604020202020204" pitchFamily="34" charset="0"/>
              </a:rPr>
              <a:t>Accelerated</a:t>
            </a:r>
            <a:endParaRPr lang="en-US" sz="2000" dirty="0">
              <a:solidFill>
                <a:schemeClr val="accent2"/>
              </a:solidFill>
              <a:cs typeface="Arial" panose="020B0604020202020204" pitchFamily="34" charset="0"/>
            </a:endParaRPr>
          </a:p>
        </p:txBody>
      </p:sp>
      <p:sp>
        <p:nvSpPr>
          <p:cNvPr id="8" name="Rectangle 7">
            <a:extLst>
              <a:ext uri="{FF2B5EF4-FFF2-40B4-BE49-F238E27FC236}">
                <a16:creationId xmlns:a16="http://schemas.microsoft.com/office/drawing/2014/main" id="{C0AFE50C-0D22-EF4D-8F69-B34BC84AC932}"/>
              </a:ext>
            </a:extLst>
          </p:cNvPr>
          <p:cNvSpPr/>
          <p:nvPr/>
        </p:nvSpPr>
        <p:spPr>
          <a:xfrm>
            <a:off x="935410" y="4221469"/>
            <a:ext cx="3361946"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Production Support Processes</a:t>
            </a:r>
          </a:p>
          <a:p>
            <a:r>
              <a:rPr lang="en-US" sz="2000" b="1" dirty="0" smtClean="0">
                <a:solidFill>
                  <a:schemeClr val="accent2"/>
                </a:solidFill>
                <a:cs typeface="Arial" panose="020B0604020202020204" pitchFamily="34" charset="0"/>
              </a:rPr>
              <a:t>Maturing Too Slowly</a:t>
            </a:r>
            <a:endParaRPr lang="en-US" sz="2000" dirty="0">
              <a:solidFill>
                <a:schemeClr val="accent2"/>
              </a:solidFill>
              <a:cs typeface="Arial" panose="020B0604020202020204" pitchFamily="34" charset="0"/>
            </a:endParaRPr>
          </a:p>
        </p:txBody>
      </p:sp>
      <p:sp>
        <p:nvSpPr>
          <p:cNvPr id="9" name="Rectangle 8">
            <a:extLst>
              <a:ext uri="{FF2B5EF4-FFF2-40B4-BE49-F238E27FC236}">
                <a16:creationId xmlns:a16="http://schemas.microsoft.com/office/drawing/2014/main" id="{52A6FF82-15AE-DF47-B339-ECDDBB5A4B3D}"/>
              </a:ext>
            </a:extLst>
          </p:cNvPr>
          <p:cNvSpPr/>
          <p:nvPr/>
        </p:nvSpPr>
        <p:spPr>
          <a:xfrm>
            <a:off x="7912802" y="2079200"/>
            <a:ext cx="3071995" cy="707886"/>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Significant  Business and</a:t>
            </a:r>
          </a:p>
          <a:p>
            <a:r>
              <a:rPr lang="en-US" sz="2000" b="1" dirty="0" smtClean="0">
                <a:solidFill>
                  <a:schemeClr val="accent2"/>
                </a:solidFill>
                <a:cs typeface="Arial" panose="020B0604020202020204" pitchFamily="34" charset="0"/>
              </a:rPr>
              <a:t>Technology </a:t>
            </a:r>
            <a:r>
              <a:rPr lang="en-US" sz="2000" b="1" dirty="0">
                <a:solidFill>
                  <a:schemeClr val="accent2"/>
                </a:solidFill>
                <a:cs typeface="Arial" panose="020B0604020202020204" pitchFamily="34" charset="0"/>
              </a:rPr>
              <a:t>T</a:t>
            </a:r>
            <a:r>
              <a:rPr lang="en-US" sz="2000" b="1" dirty="0" smtClean="0">
                <a:solidFill>
                  <a:schemeClr val="accent2"/>
                </a:solidFill>
                <a:cs typeface="Arial" panose="020B0604020202020204" pitchFamily="34" charset="0"/>
              </a:rPr>
              <a:t>ransformation</a:t>
            </a:r>
            <a:endParaRPr lang="en-US" sz="2000" dirty="0">
              <a:solidFill>
                <a:schemeClr val="accent2"/>
              </a:solidFill>
              <a:cs typeface="Arial" panose="020B0604020202020204" pitchFamily="34" charset="0"/>
            </a:endParaRPr>
          </a:p>
        </p:txBody>
      </p:sp>
      <p:sp>
        <p:nvSpPr>
          <p:cNvPr id="10" name="Rectangle 9">
            <a:extLst>
              <a:ext uri="{FF2B5EF4-FFF2-40B4-BE49-F238E27FC236}">
                <a16:creationId xmlns:a16="http://schemas.microsoft.com/office/drawing/2014/main" id="{52A6FF82-15AE-DF47-B339-ECDDBB5A4B3D}"/>
              </a:ext>
            </a:extLst>
          </p:cNvPr>
          <p:cNvSpPr/>
          <p:nvPr/>
        </p:nvSpPr>
        <p:spPr>
          <a:xfrm>
            <a:off x="3312714" y="1285075"/>
            <a:ext cx="5308954" cy="400110"/>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Operating Under Tower-Based Vertical </a:t>
            </a:r>
            <a:r>
              <a:rPr lang="en-US" sz="2000" b="1" dirty="0">
                <a:solidFill>
                  <a:schemeClr val="accent2"/>
                </a:solidFill>
                <a:cs typeface="Arial" panose="020B0604020202020204" pitchFamily="34" charset="0"/>
              </a:rPr>
              <a:t>S</a:t>
            </a:r>
            <a:r>
              <a:rPr lang="en-US" sz="2000" b="1" dirty="0" smtClean="0">
                <a:solidFill>
                  <a:schemeClr val="accent2"/>
                </a:solidFill>
                <a:cs typeface="Arial" panose="020B0604020202020204" pitchFamily="34" charset="0"/>
              </a:rPr>
              <a:t>tructure</a:t>
            </a:r>
            <a:endParaRPr lang="en-US" sz="2000" dirty="0">
              <a:solidFill>
                <a:schemeClr val="accent2"/>
              </a:solidFill>
              <a:cs typeface="Arial" panose="020B0604020202020204" pitchFamily="34" charset="0"/>
            </a:endParaRPr>
          </a:p>
        </p:txBody>
      </p:sp>
      <p:sp>
        <p:nvSpPr>
          <p:cNvPr id="11" name="Rectangle 10">
            <a:extLst>
              <a:ext uri="{FF2B5EF4-FFF2-40B4-BE49-F238E27FC236}">
                <a16:creationId xmlns:a16="http://schemas.microsoft.com/office/drawing/2014/main" id="{C0AFE50C-0D22-EF4D-8F69-B34BC84AC932}"/>
              </a:ext>
            </a:extLst>
          </p:cNvPr>
          <p:cNvSpPr/>
          <p:nvPr/>
        </p:nvSpPr>
        <p:spPr>
          <a:xfrm>
            <a:off x="4555467" y="5329939"/>
            <a:ext cx="2915478" cy="400110"/>
          </a:xfrm>
          <a:prstGeom prst="rect">
            <a:avLst/>
          </a:prstGeom>
          <a:solidFill>
            <a:schemeClr val="tx1"/>
          </a:solidFill>
        </p:spPr>
        <p:txBody>
          <a:bodyPr wrap="none">
            <a:spAutoFit/>
          </a:bodyPr>
          <a:lstStyle/>
          <a:p>
            <a:r>
              <a:rPr lang="en-US" sz="2000" b="1" dirty="0" smtClean="0">
                <a:solidFill>
                  <a:schemeClr val="accent2"/>
                </a:solidFill>
                <a:cs typeface="Arial" panose="020B0604020202020204" pitchFamily="34" charset="0"/>
              </a:rPr>
              <a:t>$12B =&gt; $48B Market Cap</a:t>
            </a:r>
            <a:endParaRPr lang="en-US" sz="2000" dirty="0">
              <a:solidFill>
                <a:schemeClr val="accent2"/>
              </a:solidFill>
              <a:cs typeface="Arial" panose="020B0604020202020204" pitchFamily="34" charset="0"/>
            </a:endParaRPr>
          </a:p>
        </p:txBody>
      </p:sp>
      <p:pic>
        <p:nvPicPr>
          <p:cNvPr id="2" name="Picture 1"/>
          <p:cNvPicPr>
            <a:picLocks noChangeAspect="1"/>
          </p:cNvPicPr>
          <p:nvPr/>
        </p:nvPicPr>
        <p:blipFill>
          <a:blip r:embed="rId3"/>
          <a:stretch>
            <a:fillRect/>
          </a:stretch>
        </p:blipFill>
        <p:spPr>
          <a:xfrm>
            <a:off x="4555467" y="1981146"/>
            <a:ext cx="2832449" cy="3019718"/>
          </a:xfrm>
          <a:prstGeom prst="rect">
            <a:avLst/>
          </a:prstGeom>
        </p:spPr>
      </p:pic>
    </p:spTree>
    <p:extLst>
      <p:ext uri="{BB962C8B-B14F-4D97-AF65-F5344CB8AC3E}">
        <p14:creationId xmlns:p14="http://schemas.microsoft.com/office/powerpoint/2010/main" val="278547265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0DBBC3-69F5-584E-9634-0731918DCB5E}"/>
              </a:ext>
            </a:extLst>
          </p:cNvPr>
          <p:cNvSpPr>
            <a:spLocks noGrp="1"/>
          </p:cNvSpPr>
          <p:nvPr>
            <p:ph type="title"/>
          </p:nvPr>
        </p:nvSpPr>
        <p:spPr/>
        <p:txBody>
          <a:bodyPr>
            <a:normAutofit/>
          </a:bodyPr>
          <a:lstStyle/>
          <a:p>
            <a:r>
              <a:rPr lang="en-US" b="0" dirty="0" smtClean="0"/>
              <a:t>Our Solution(s) Designed To Meet Marriott’s Desired Future State</a:t>
            </a:r>
            <a:endParaRPr lang="en-US" b="0" dirty="0"/>
          </a:p>
        </p:txBody>
      </p:sp>
      <p:sp>
        <p:nvSpPr>
          <p:cNvPr id="3" name="Slide Number Placeholder 2">
            <a:extLst>
              <a:ext uri="{FF2B5EF4-FFF2-40B4-BE49-F238E27FC236}">
                <a16:creationId xmlns:a16="http://schemas.microsoft.com/office/drawing/2014/main" id="{2257B3A7-36BF-4F0B-90BE-9534ADFC84E2}"/>
              </a:ext>
            </a:extLst>
          </p:cNvPr>
          <p:cNvSpPr>
            <a:spLocks noGrp="1"/>
          </p:cNvSpPr>
          <p:nvPr>
            <p:ph type="sldNum" sz="quarter" idx="4294967295"/>
          </p:nvPr>
        </p:nvSpPr>
        <p:spPr>
          <a:xfrm>
            <a:off x="9448800" y="6234113"/>
            <a:ext cx="2743200" cy="365125"/>
          </a:xfrm>
        </p:spPr>
        <p:txBody>
          <a:bodyPr/>
          <a:lstStyle/>
          <a:p>
            <a:pPr defTabSz="609570"/>
            <a:fld id="{2EFEF571-C9B4-4D92-A7F7-315B894862A8}" type="slidenum">
              <a:rPr lang="en-US">
                <a:solidFill>
                  <a:srgbClr val="00B140"/>
                </a:solidFill>
                <a:latin typeface="Arial" panose="020B0604020202020204" pitchFamily="34" charset="0"/>
                <a:cs typeface="Arial" panose="020B0604020202020204" pitchFamily="34" charset="0"/>
              </a:rPr>
              <a:pPr defTabSz="609570"/>
              <a:t>77</a:t>
            </a:fld>
            <a:endParaRPr lang="en-US" dirty="0">
              <a:solidFill>
                <a:srgbClr val="00B140"/>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4F69A522-6A95-8A4A-850C-C44BA5C8FC77}"/>
              </a:ext>
            </a:extLst>
          </p:cNvPr>
          <p:cNvSpPr/>
          <p:nvPr/>
        </p:nvSpPr>
        <p:spPr>
          <a:xfrm>
            <a:off x="8051247" y="2544062"/>
            <a:ext cx="1618776" cy="400110"/>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Cost Effective</a:t>
            </a:r>
            <a:endParaRPr lang="en-US" sz="2000" dirty="0">
              <a:solidFill>
                <a:schemeClr val="bg1"/>
              </a:solidFill>
              <a:cs typeface="Arial" panose="020B0604020202020204" pitchFamily="34" charset="0"/>
            </a:endParaRPr>
          </a:p>
        </p:txBody>
      </p:sp>
      <p:sp>
        <p:nvSpPr>
          <p:cNvPr id="62" name="Rectangle 61">
            <a:extLst>
              <a:ext uri="{FF2B5EF4-FFF2-40B4-BE49-F238E27FC236}">
                <a16:creationId xmlns:a16="http://schemas.microsoft.com/office/drawing/2014/main" id="{C0AFE50C-0D22-EF4D-8F69-B34BC84AC932}"/>
              </a:ext>
            </a:extLst>
          </p:cNvPr>
          <p:cNvSpPr/>
          <p:nvPr/>
        </p:nvSpPr>
        <p:spPr>
          <a:xfrm>
            <a:off x="8051247" y="1884353"/>
            <a:ext cx="1727781" cy="400110"/>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More Stability</a:t>
            </a:r>
            <a:endParaRPr lang="en-US" sz="2000" dirty="0">
              <a:solidFill>
                <a:schemeClr val="bg1"/>
              </a:solidFill>
              <a:cs typeface="Arial" panose="020B0604020202020204" pitchFamily="34" charset="0"/>
            </a:endParaRPr>
          </a:p>
        </p:txBody>
      </p:sp>
      <p:sp>
        <p:nvSpPr>
          <p:cNvPr id="21" name="Rectangle 20">
            <a:extLst>
              <a:ext uri="{FF2B5EF4-FFF2-40B4-BE49-F238E27FC236}">
                <a16:creationId xmlns:a16="http://schemas.microsoft.com/office/drawing/2014/main" id="{52A6FF82-15AE-DF47-B339-ECDDBB5A4B3D}"/>
              </a:ext>
            </a:extLst>
          </p:cNvPr>
          <p:cNvSpPr/>
          <p:nvPr/>
        </p:nvSpPr>
        <p:spPr>
          <a:xfrm>
            <a:off x="2038078" y="1915861"/>
            <a:ext cx="1844864" cy="400110"/>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More Flexibility</a:t>
            </a:r>
            <a:endParaRPr lang="en-US" sz="2000" dirty="0">
              <a:solidFill>
                <a:schemeClr val="bg1"/>
              </a:solidFill>
              <a:cs typeface="Arial" panose="020B0604020202020204" pitchFamily="34" charset="0"/>
            </a:endParaRPr>
          </a:p>
        </p:txBody>
      </p:sp>
      <p:sp>
        <p:nvSpPr>
          <p:cNvPr id="25" name="Rectangle 24">
            <a:extLst>
              <a:ext uri="{FF2B5EF4-FFF2-40B4-BE49-F238E27FC236}">
                <a16:creationId xmlns:a16="http://schemas.microsoft.com/office/drawing/2014/main" id="{C0AFE50C-0D22-EF4D-8F69-B34BC84AC932}"/>
              </a:ext>
            </a:extLst>
          </p:cNvPr>
          <p:cNvSpPr/>
          <p:nvPr/>
        </p:nvSpPr>
        <p:spPr>
          <a:xfrm>
            <a:off x="3703028" y="5298833"/>
            <a:ext cx="5062220" cy="523220"/>
          </a:xfrm>
          <a:prstGeom prst="rect">
            <a:avLst/>
          </a:prstGeom>
          <a:solidFill>
            <a:schemeClr val="accent2"/>
          </a:solidFill>
        </p:spPr>
        <p:txBody>
          <a:bodyPr wrap="none">
            <a:spAutoFit/>
          </a:bodyPr>
          <a:lstStyle/>
          <a:p>
            <a:r>
              <a:rPr lang="en-US" sz="2800" b="1" dirty="0" smtClean="0">
                <a:solidFill>
                  <a:schemeClr val="bg1"/>
                </a:solidFill>
                <a:cs typeface="Arial" panose="020B0604020202020204" pitchFamily="34" charset="0"/>
              </a:rPr>
              <a:t>Win The </a:t>
            </a:r>
            <a:r>
              <a:rPr lang="en-US" sz="2800" b="1" dirty="0">
                <a:solidFill>
                  <a:schemeClr val="bg1"/>
                </a:solidFill>
                <a:cs typeface="Arial" panose="020B0604020202020204" pitchFamily="34" charset="0"/>
              </a:rPr>
              <a:t>Guest </a:t>
            </a:r>
            <a:r>
              <a:rPr lang="en-US" sz="2800" b="1" dirty="0" smtClean="0">
                <a:solidFill>
                  <a:schemeClr val="bg1"/>
                </a:solidFill>
                <a:cs typeface="Arial" panose="020B0604020202020204" pitchFamily="34" charset="0"/>
              </a:rPr>
              <a:t>Experience Battle</a:t>
            </a:r>
            <a:endParaRPr lang="en-US" sz="2800" dirty="0">
              <a:solidFill>
                <a:schemeClr val="bg1"/>
              </a:solidFill>
              <a:cs typeface="Arial" panose="020B0604020202020204" pitchFamily="34" charset="0"/>
            </a:endParaRPr>
          </a:p>
        </p:txBody>
      </p:sp>
      <p:sp>
        <p:nvSpPr>
          <p:cNvPr id="30" name="Rectangle 29">
            <a:extLst>
              <a:ext uri="{FF2B5EF4-FFF2-40B4-BE49-F238E27FC236}">
                <a16:creationId xmlns:a16="http://schemas.microsoft.com/office/drawing/2014/main" id="{52A6FF82-15AE-DF47-B339-ECDDBB5A4B3D}"/>
              </a:ext>
            </a:extLst>
          </p:cNvPr>
          <p:cNvSpPr/>
          <p:nvPr/>
        </p:nvSpPr>
        <p:spPr>
          <a:xfrm>
            <a:off x="3019476" y="1193982"/>
            <a:ext cx="6429324" cy="400110"/>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Pivot to </a:t>
            </a:r>
            <a:r>
              <a:rPr lang="en-US" sz="2000" b="1" dirty="0">
                <a:solidFill>
                  <a:schemeClr val="bg1"/>
                </a:solidFill>
                <a:cs typeface="Arial" panose="020B0604020202020204" pitchFamily="34" charset="0"/>
              </a:rPr>
              <a:t>a </a:t>
            </a:r>
            <a:r>
              <a:rPr lang="en-US" sz="2000" b="1" dirty="0" smtClean="0">
                <a:solidFill>
                  <a:schemeClr val="bg1"/>
                </a:solidFill>
                <a:cs typeface="Arial" panose="020B0604020202020204" pitchFamily="34" charset="0"/>
              </a:rPr>
              <a:t>Horizontal Service Management-Based </a:t>
            </a:r>
            <a:r>
              <a:rPr lang="en-US" sz="2000" b="1" dirty="0">
                <a:solidFill>
                  <a:schemeClr val="bg1"/>
                </a:solidFill>
                <a:cs typeface="Arial" panose="020B0604020202020204" pitchFamily="34" charset="0"/>
              </a:rPr>
              <a:t>S</a:t>
            </a:r>
            <a:r>
              <a:rPr lang="en-US" sz="2000" b="1" dirty="0" smtClean="0">
                <a:solidFill>
                  <a:schemeClr val="bg1"/>
                </a:solidFill>
                <a:cs typeface="Arial" panose="020B0604020202020204" pitchFamily="34" charset="0"/>
              </a:rPr>
              <a:t>tructure</a:t>
            </a:r>
          </a:p>
        </p:txBody>
      </p:sp>
      <p:sp>
        <p:nvSpPr>
          <p:cNvPr id="34" name="Rectangle 33">
            <a:extLst>
              <a:ext uri="{FF2B5EF4-FFF2-40B4-BE49-F238E27FC236}">
                <a16:creationId xmlns:a16="http://schemas.microsoft.com/office/drawing/2014/main" id="{4F69A522-6A95-8A4A-850C-C44BA5C8FC77}"/>
              </a:ext>
            </a:extLst>
          </p:cNvPr>
          <p:cNvSpPr/>
          <p:nvPr/>
        </p:nvSpPr>
        <p:spPr>
          <a:xfrm>
            <a:off x="973684" y="3291318"/>
            <a:ext cx="2909258" cy="707886"/>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Improved Planning,</a:t>
            </a:r>
          </a:p>
          <a:p>
            <a:r>
              <a:rPr lang="en-US" sz="2000" b="1" dirty="0" smtClean="0">
                <a:solidFill>
                  <a:schemeClr val="bg1"/>
                </a:solidFill>
                <a:cs typeface="Arial" panose="020B0604020202020204" pitchFamily="34" charset="0"/>
              </a:rPr>
              <a:t>Knowledge, and Artifacts</a:t>
            </a:r>
            <a:endParaRPr lang="en-US" sz="2000" dirty="0">
              <a:solidFill>
                <a:schemeClr val="bg1"/>
              </a:solidFill>
              <a:cs typeface="Arial" panose="020B0604020202020204" pitchFamily="34" charset="0"/>
            </a:endParaRPr>
          </a:p>
        </p:txBody>
      </p:sp>
      <p:sp>
        <p:nvSpPr>
          <p:cNvPr id="35" name="Rectangle 34">
            <a:extLst>
              <a:ext uri="{FF2B5EF4-FFF2-40B4-BE49-F238E27FC236}">
                <a16:creationId xmlns:a16="http://schemas.microsoft.com/office/drawing/2014/main" id="{4F69A522-6A95-8A4A-850C-C44BA5C8FC77}"/>
              </a:ext>
            </a:extLst>
          </p:cNvPr>
          <p:cNvSpPr/>
          <p:nvPr/>
        </p:nvSpPr>
        <p:spPr>
          <a:xfrm>
            <a:off x="8051247" y="4254266"/>
            <a:ext cx="2441887" cy="707886"/>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Improved Production</a:t>
            </a:r>
          </a:p>
          <a:p>
            <a:r>
              <a:rPr lang="en-US" sz="2000" b="1" dirty="0" smtClean="0">
                <a:solidFill>
                  <a:schemeClr val="bg1"/>
                </a:solidFill>
                <a:cs typeface="Arial" panose="020B0604020202020204" pitchFamily="34" charset="0"/>
              </a:rPr>
              <a:t>Support Metrics</a:t>
            </a:r>
            <a:endParaRPr lang="en-US" sz="2000" dirty="0">
              <a:solidFill>
                <a:schemeClr val="bg1"/>
              </a:solidFill>
              <a:cs typeface="Arial" panose="020B0604020202020204" pitchFamily="34" charset="0"/>
            </a:endParaRPr>
          </a:p>
        </p:txBody>
      </p:sp>
      <p:sp>
        <p:nvSpPr>
          <p:cNvPr id="36" name="Rectangle 35">
            <a:extLst>
              <a:ext uri="{FF2B5EF4-FFF2-40B4-BE49-F238E27FC236}">
                <a16:creationId xmlns:a16="http://schemas.microsoft.com/office/drawing/2014/main" id="{4F69A522-6A95-8A4A-850C-C44BA5C8FC77}"/>
              </a:ext>
            </a:extLst>
          </p:cNvPr>
          <p:cNvSpPr/>
          <p:nvPr/>
        </p:nvSpPr>
        <p:spPr>
          <a:xfrm>
            <a:off x="1222557" y="4254266"/>
            <a:ext cx="2667782" cy="707886"/>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Foster Associate Career</a:t>
            </a:r>
          </a:p>
          <a:p>
            <a:r>
              <a:rPr lang="en-US" sz="2000" b="1" dirty="0" smtClean="0">
                <a:solidFill>
                  <a:schemeClr val="bg1"/>
                </a:solidFill>
                <a:cs typeface="Arial" panose="020B0604020202020204" pitchFamily="34" charset="0"/>
              </a:rPr>
              <a:t> Growth and Maturity</a:t>
            </a:r>
            <a:endParaRPr lang="en-US" sz="2000" dirty="0">
              <a:solidFill>
                <a:schemeClr val="bg1"/>
              </a:solidFill>
              <a:cs typeface="Arial" panose="020B0604020202020204" pitchFamily="34" charset="0"/>
            </a:endParaRPr>
          </a:p>
        </p:txBody>
      </p:sp>
      <p:sp>
        <p:nvSpPr>
          <p:cNvPr id="37" name="Rectangle 36">
            <a:extLst>
              <a:ext uri="{FF2B5EF4-FFF2-40B4-BE49-F238E27FC236}">
                <a16:creationId xmlns:a16="http://schemas.microsoft.com/office/drawing/2014/main" id="{52A6FF82-15AE-DF47-B339-ECDDBB5A4B3D}"/>
              </a:ext>
            </a:extLst>
          </p:cNvPr>
          <p:cNvSpPr/>
          <p:nvPr/>
        </p:nvSpPr>
        <p:spPr>
          <a:xfrm>
            <a:off x="8051247" y="3286781"/>
            <a:ext cx="3179781" cy="707886"/>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Ongoing Business and</a:t>
            </a:r>
          </a:p>
          <a:p>
            <a:r>
              <a:rPr lang="en-US" sz="2000" b="1" dirty="0" smtClean="0">
                <a:solidFill>
                  <a:schemeClr val="bg1"/>
                </a:solidFill>
                <a:cs typeface="Arial" panose="020B0604020202020204" pitchFamily="34" charset="0"/>
              </a:rPr>
              <a:t>Technology Transformation </a:t>
            </a:r>
            <a:endParaRPr lang="en-US" sz="2000" dirty="0">
              <a:solidFill>
                <a:schemeClr val="bg1"/>
              </a:solidFill>
              <a:cs typeface="Arial" panose="020B0604020202020204" pitchFamily="34" charset="0"/>
            </a:endParaRPr>
          </a:p>
        </p:txBody>
      </p:sp>
      <p:sp>
        <p:nvSpPr>
          <p:cNvPr id="38" name="Rectangle 37">
            <a:extLst>
              <a:ext uri="{FF2B5EF4-FFF2-40B4-BE49-F238E27FC236}">
                <a16:creationId xmlns:a16="http://schemas.microsoft.com/office/drawing/2014/main" id="{4F69A522-6A95-8A4A-850C-C44BA5C8FC77}"/>
              </a:ext>
            </a:extLst>
          </p:cNvPr>
          <p:cNvSpPr/>
          <p:nvPr/>
        </p:nvSpPr>
        <p:spPr>
          <a:xfrm>
            <a:off x="1355904" y="2455901"/>
            <a:ext cx="2527038" cy="707886"/>
          </a:xfrm>
          <a:prstGeom prst="rect">
            <a:avLst/>
          </a:prstGeom>
          <a:solidFill>
            <a:schemeClr val="accent2"/>
          </a:solidFill>
        </p:spPr>
        <p:txBody>
          <a:bodyPr wrap="none">
            <a:spAutoFit/>
          </a:bodyPr>
          <a:lstStyle/>
          <a:p>
            <a:r>
              <a:rPr lang="en-US" sz="2000" b="1" dirty="0" smtClean="0">
                <a:solidFill>
                  <a:schemeClr val="bg1"/>
                </a:solidFill>
                <a:cs typeface="Arial" panose="020B0604020202020204" pitchFamily="34" charset="0"/>
              </a:rPr>
              <a:t>Gain </a:t>
            </a:r>
            <a:r>
              <a:rPr lang="en-US" sz="2000" b="1" dirty="0">
                <a:solidFill>
                  <a:schemeClr val="bg1"/>
                </a:solidFill>
                <a:cs typeface="Arial" panose="020B0604020202020204" pitchFamily="34" charset="0"/>
              </a:rPr>
              <a:t>scale, </a:t>
            </a:r>
            <a:r>
              <a:rPr lang="en-US" sz="2000" b="1" dirty="0" smtClean="0">
                <a:solidFill>
                  <a:schemeClr val="bg1"/>
                </a:solidFill>
                <a:cs typeface="Arial" panose="020B0604020202020204" pitchFamily="34" charset="0"/>
              </a:rPr>
              <a:t>velocity,</a:t>
            </a:r>
          </a:p>
          <a:p>
            <a:r>
              <a:rPr lang="en-US" sz="2000" b="1" dirty="0" smtClean="0">
                <a:solidFill>
                  <a:schemeClr val="bg1"/>
                </a:solidFill>
                <a:cs typeface="Arial" panose="020B0604020202020204" pitchFamily="34" charset="0"/>
              </a:rPr>
              <a:t>introduce </a:t>
            </a:r>
            <a:r>
              <a:rPr lang="en-US" sz="2000" b="1" dirty="0">
                <a:solidFill>
                  <a:schemeClr val="bg1"/>
                </a:solidFill>
                <a:cs typeface="Arial" panose="020B0604020202020204" pitchFamily="34" charset="0"/>
              </a:rPr>
              <a:t>innovation </a:t>
            </a:r>
            <a:endParaRPr lang="en-US" sz="2000" dirty="0">
              <a:solidFill>
                <a:schemeClr val="bg1"/>
              </a:solidFill>
              <a:cs typeface="Arial" panose="020B0604020202020204" pitchFamily="34" charset="0"/>
            </a:endParaRPr>
          </a:p>
        </p:txBody>
      </p:sp>
      <p:pic>
        <p:nvPicPr>
          <p:cNvPr id="8" name="Picture 7"/>
          <p:cNvPicPr>
            <a:picLocks noChangeAspect="1"/>
          </p:cNvPicPr>
          <p:nvPr/>
        </p:nvPicPr>
        <p:blipFill>
          <a:blip r:embed="rId3"/>
          <a:stretch>
            <a:fillRect/>
          </a:stretch>
        </p:blipFill>
        <p:spPr>
          <a:xfrm>
            <a:off x="4063349" y="1892062"/>
            <a:ext cx="3807491" cy="3136062"/>
          </a:xfrm>
          <a:prstGeom prst="rect">
            <a:avLst/>
          </a:prstGeom>
        </p:spPr>
      </p:pic>
    </p:spTree>
    <p:extLst>
      <p:ext uri="{BB962C8B-B14F-4D97-AF65-F5344CB8AC3E}">
        <p14:creationId xmlns:p14="http://schemas.microsoft.com/office/powerpoint/2010/main" val="259162268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LA’s Model – Agree and Augment </a:t>
            </a:r>
            <a:endParaRPr lang="en-US" dirty="0"/>
          </a:p>
        </p:txBody>
      </p:sp>
      <p:graphicFrame>
        <p:nvGraphicFramePr>
          <p:cNvPr id="3" name="Table 2"/>
          <p:cNvGraphicFramePr>
            <a:graphicFrameLocks noGrp="1"/>
          </p:cNvGraphicFramePr>
          <p:nvPr>
            <p:extLst/>
          </p:nvPr>
        </p:nvGraphicFramePr>
        <p:xfrm>
          <a:off x="301752" y="1986491"/>
          <a:ext cx="5779008" cy="3474720"/>
        </p:xfrm>
        <a:graphic>
          <a:graphicData uri="http://schemas.openxmlformats.org/drawingml/2006/table">
            <a:tbl>
              <a:tblPr firstRow="1" bandRow="1">
                <a:tableStyleId>{9DCAF9ED-07DC-4A11-8D7F-57B35C25682E}</a:tableStyleId>
              </a:tblPr>
              <a:tblGrid>
                <a:gridCol w="1819656">
                  <a:extLst>
                    <a:ext uri="{9D8B030D-6E8A-4147-A177-3AD203B41FA5}">
                      <a16:colId xmlns:a16="http://schemas.microsoft.com/office/drawing/2014/main" val="3313452723"/>
                    </a:ext>
                  </a:extLst>
                </a:gridCol>
                <a:gridCol w="3959352">
                  <a:extLst>
                    <a:ext uri="{9D8B030D-6E8A-4147-A177-3AD203B41FA5}">
                      <a16:colId xmlns:a16="http://schemas.microsoft.com/office/drawing/2014/main" val="3669486325"/>
                    </a:ext>
                  </a:extLst>
                </a:gridCol>
              </a:tblGrid>
              <a:tr h="268385">
                <a:tc>
                  <a:txBody>
                    <a:bodyPr/>
                    <a:lstStyle/>
                    <a:p>
                      <a:pPr algn="ctr"/>
                      <a:r>
                        <a:rPr lang="en-US" sz="1800" dirty="0" smtClean="0"/>
                        <a:t>PROCESS AREA</a:t>
                      </a:r>
                      <a:endParaRPr lang="en-US" sz="1800" dirty="0"/>
                    </a:p>
                  </a:txBody>
                  <a:tcPr/>
                </a:tc>
                <a:tc>
                  <a:txBody>
                    <a:bodyPr/>
                    <a:lstStyle/>
                    <a:p>
                      <a:pPr algn="ctr"/>
                      <a:r>
                        <a:rPr lang="en-US" sz="1800" dirty="0" smtClean="0"/>
                        <a:t>KPI’S</a:t>
                      </a:r>
                      <a:endParaRPr lang="en-US" sz="1800" dirty="0"/>
                    </a:p>
                  </a:txBody>
                  <a:tcPr/>
                </a:tc>
                <a:extLst>
                  <a:ext uri="{0D108BD9-81ED-4DB2-BD59-A6C34878D82A}">
                    <a16:rowId xmlns:a16="http://schemas.microsoft.com/office/drawing/2014/main" val="274817526"/>
                  </a:ext>
                </a:extLst>
              </a:tr>
              <a:tr h="529418">
                <a:tc>
                  <a:txBody>
                    <a:bodyPr/>
                    <a:lstStyle/>
                    <a:p>
                      <a:r>
                        <a:rPr lang="en-US" sz="1200" b="1" dirty="0" smtClean="0"/>
                        <a:t>Incident Management</a:t>
                      </a:r>
                      <a:endParaRPr lang="en-US" sz="1200" b="1" dirty="0"/>
                    </a:p>
                  </a:txBody>
                  <a:tcPr anchor="ctr"/>
                </a:tc>
                <a:tc>
                  <a:txBody>
                    <a:bodyPr/>
                    <a:lstStyle/>
                    <a:p>
                      <a:pPr marL="171450"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reduction in incident backlog</a:t>
                      </a:r>
                    </a:p>
                    <a:p>
                      <a:pPr marL="171450"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reduction in incidents reopened</a:t>
                      </a:r>
                    </a:p>
                    <a:p>
                      <a:pPr marL="171450"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 reduction of incidents incorrectly categorized</a:t>
                      </a:r>
                    </a:p>
                  </a:txBody>
                  <a:tcPr anchor="ctr"/>
                </a:tc>
                <a:extLst>
                  <a:ext uri="{0D108BD9-81ED-4DB2-BD59-A6C34878D82A}">
                    <a16:rowId xmlns:a16="http://schemas.microsoft.com/office/drawing/2014/main" val="1964029052"/>
                  </a:ext>
                </a:extLst>
              </a:tr>
              <a:tr h="529418">
                <a:tc>
                  <a:txBody>
                    <a:bodyPr/>
                    <a:lstStyle/>
                    <a:p>
                      <a:r>
                        <a:rPr lang="en-US" sz="1200" b="1" dirty="0" smtClean="0"/>
                        <a:t>Problem Management</a:t>
                      </a:r>
                      <a:endParaRPr lang="en-US" sz="1200" b="1" dirty="0"/>
                    </a:p>
                  </a:txBody>
                  <a:tcPr anchor="ctr"/>
                </a:tc>
                <a:tc>
                  <a:txBody>
                    <a:bodyPr/>
                    <a:lstStyle/>
                    <a:p>
                      <a:pPr marL="171450" indent="-171450">
                        <a:buFont typeface="Arial" panose="020B0604020202020204" pitchFamily="34" charset="0"/>
                        <a:buChar char="•"/>
                      </a:pPr>
                      <a:r>
                        <a:rPr lang="en-US" sz="1200" dirty="0" smtClean="0"/>
                        <a:t>% reduction in repeat incidents /problems</a:t>
                      </a:r>
                    </a:p>
                    <a:p>
                      <a:pPr marL="171450" indent="-171450">
                        <a:buFont typeface="Arial" panose="020B0604020202020204" pitchFamily="34" charset="0"/>
                        <a:buChar char="•"/>
                      </a:pPr>
                      <a:r>
                        <a:rPr lang="en-US" sz="1200" dirty="0" smtClean="0"/>
                        <a:t>% reduction of time to diagnose problem</a:t>
                      </a:r>
                    </a:p>
                    <a:p>
                      <a:pPr marL="171450" indent="-171450">
                        <a:buFont typeface="Arial" panose="020B0604020202020204" pitchFamily="34" charset="0"/>
                        <a:buChar char="•"/>
                      </a:pPr>
                      <a:r>
                        <a:rPr lang="en-US" sz="1200" dirty="0" smtClean="0"/>
                        <a:t>% reduction in average time to resolve problems</a:t>
                      </a:r>
                    </a:p>
                  </a:txBody>
                  <a:tcPr anchor="ctr"/>
                </a:tc>
                <a:extLst>
                  <a:ext uri="{0D108BD9-81ED-4DB2-BD59-A6C34878D82A}">
                    <a16:rowId xmlns:a16="http://schemas.microsoft.com/office/drawing/2014/main" val="3993492468"/>
                  </a:ext>
                </a:extLst>
              </a:tr>
              <a:tr h="683831">
                <a:tc>
                  <a:txBody>
                    <a:bodyPr/>
                    <a:lstStyle/>
                    <a:p>
                      <a:r>
                        <a:rPr lang="en-US" sz="1200" b="1" dirty="0" smtClean="0"/>
                        <a:t>Change Management</a:t>
                      </a:r>
                      <a:endParaRPr lang="en-US" sz="1200" b="1" dirty="0"/>
                    </a:p>
                  </a:txBody>
                  <a:tcPr anchor="ctr"/>
                </a:tc>
                <a:tc>
                  <a:txBody>
                    <a:bodyPr/>
                    <a:lstStyle/>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reduction in change related high priority incidents</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reduction in unauthorized changes</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business driven change requests implemented on time</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reduction of urgent changes</a:t>
                      </a:r>
                    </a:p>
                  </a:txBody>
                  <a:tcPr anchor="ctr"/>
                </a:tc>
                <a:extLst>
                  <a:ext uri="{0D108BD9-81ED-4DB2-BD59-A6C34878D82A}">
                    <a16:rowId xmlns:a16="http://schemas.microsoft.com/office/drawing/2014/main" val="1213352293"/>
                  </a:ext>
                </a:extLst>
              </a:tr>
              <a:tr h="683831">
                <a:tc>
                  <a:txBody>
                    <a:bodyPr/>
                    <a:lstStyle/>
                    <a:p>
                      <a:r>
                        <a:rPr lang="en-US" sz="1200" b="1" dirty="0" smtClean="0"/>
                        <a:t>Release Management</a:t>
                      </a:r>
                      <a:endParaRPr lang="en-US" sz="1200" b="1" dirty="0"/>
                    </a:p>
                  </a:txBody>
                  <a:tcPr anchor="ctr"/>
                </a:tc>
                <a:tc>
                  <a:txBody>
                    <a:bodyPr/>
                    <a:lstStyle/>
                    <a:p>
                      <a:pPr marL="171450" lvl="1" indent="-171450" algn="l" defTabSz="914400" rtl="0" eaLnBrk="1" latinLnBrk="0" hangingPunct="1">
                        <a:buFont typeface="Arial" panose="020B0604020202020204" pitchFamily="34" charset="0"/>
                        <a:buChar char="•"/>
                      </a:pPr>
                      <a:r>
                        <a:rPr lang="en-IN" sz="1200" kern="1200" dirty="0" smtClean="0">
                          <a:solidFill>
                            <a:schemeClr val="dk1"/>
                          </a:solidFill>
                          <a:latin typeface="+mn-lt"/>
                          <a:ea typeface="+mn-ea"/>
                          <a:cs typeface="+mn-cs"/>
                        </a:rPr>
                        <a:t>Number of releases deployed in production environment</a:t>
                      </a:r>
                    </a:p>
                    <a:p>
                      <a:pPr marL="171450" lvl="1" indent="-171450" algn="l" defTabSz="914400" rtl="0" eaLnBrk="1" latinLnBrk="0" hangingPunct="1">
                        <a:buFont typeface="Arial" panose="020B0604020202020204" pitchFamily="34" charset="0"/>
                        <a:buChar char="•"/>
                      </a:pPr>
                      <a:r>
                        <a:rPr lang="en-IN" sz="1200" kern="1200" dirty="0" smtClean="0">
                          <a:solidFill>
                            <a:schemeClr val="dk1"/>
                          </a:solidFill>
                          <a:latin typeface="+mn-lt"/>
                          <a:ea typeface="+mn-ea"/>
                          <a:cs typeface="+mn-cs"/>
                        </a:rPr>
                        <a:t>Number of releases which had to be reversed</a:t>
                      </a:r>
                    </a:p>
                    <a:p>
                      <a:pPr marL="171450" lvl="1" indent="-171450" algn="l" defTabSz="914400" rtl="0" eaLnBrk="1" latinLnBrk="0" hangingPunct="1">
                        <a:buFont typeface="Arial" panose="020B0604020202020204" pitchFamily="34" charset="0"/>
                        <a:buChar char="•"/>
                      </a:pPr>
                      <a:r>
                        <a:rPr lang="en-IN" sz="1200" kern="1200" dirty="0" smtClean="0">
                          <a:solidFill>
                            <a:schemeClr val="dk1"/>
                          </a:solidFill>
                          <a:latin typeface="+mn-lt"/>
                          <a:ea typeface="+mn-ea"/>
                          <a:cs typeface="+mn-cs"/>
                        </a:rPr>
                        <a:t>Reduction in the number of incidents after the deployment of a release</a:t>
                      </a:r>
                    </a:p>
                    <a:p>
                      <a:pPr marL="171450" lvl="1" indent="-171450" algn="l" defTabSz="914400" rtl="0" eaLnBrk="1" latinLnBrk="0" hangingPunct="1">
                        <a:buFont typeface="Arial" panose="020B0604020202020204" pitchFamily="34" charset="0"/>
                        <a:buChar char="•"/>
                      </a:pPr>
                      <a:r>
                        <a:rPr lang="en-IN" sz="1200" kern="1200" dirty="0" smtClean="0">
                          <a:solidFill>
                            <a:schemeClr val="dk1"/>
                          </a:solidFill>
                          <a:latin typeface="+mn-lt"/>
                          <a:ea typeface="+mn-ea"/>
                          <a:cs typeface="+mn-cs"/>
                        </a:rPr>
                        <a:t>Average cost of release</a:t>
                      </a:r>
                    </a:p>
                  </a:txBody>
                  <a:tcPr anchor="ctr"/>
                </a:tc>
                <a:extLst>
                  <a:ext uri="{0D108BD9-81ED-4DB2-BD59-A6C34878D82A}">
                    <a16:rowId xmlns:a16="http://schemas.microsoft.com/office/drawing/2014/main" val="654074610"/>
                  </a:ext>
                </a:extLst>
              </a:tr>
            </a:tbl>
          </a:graphicData>
        </a:graphic>
      </p:graphicFrame>
      <p:sp>
        <p:nvSpPr>
          <p:cNvPr id="4" name="TextBox 3"/>
          <p:cNvSpPr txBox="1"/>
          <p:nvPr/>
        </p:nvSpPr>
        <p:spPr>
          <a:xfrm>
            <a:off x="301752" y="903914"/>
            <a:ext cx="1119987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Cognizant agrees to the SLA’s as proposed by Marriot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Additional KPI’s proposed (Sample below)</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le 4"/>
          <p:cNvGraphicFramePr>
            <a:graphicFrameLocks noGrp="1"/>
          </p:cNvGraphicFramePr>
          <p:nvPr>
            <p:extLst/>
          </p:nvPr>
        </p:nvGraphicFramePr>
        <p:xfrm>
          <a:off x="6369558" y="1986491"/>
          <a:ext cx="5609081" cy="3474720"/>
        </p:xfrm>
        <a:graphic>
          <a:graphicData uri="http://schemas.openxmlformats.org/drawingml/2006/table">
            <a:tbl>
              <a:tblPr firstRow="1" bandRow="1">
                <a:tableStyleId>{9DCAF9ED-07DC-4A11-8D7F-57B35C25682E}</a:tableStyleId>
              </a:tblPr>
              <a:tblGrid>
                <a:gridCol w="1860042">
                  <a:extLst>
                    <a:ext uri="{9D8B030D-6E8A-4147-A177-3AD203B41FA5}">
                      <a16:colId xmlns:a16="http://schemas.microsoft.com/office/drawing/2014/main" val="1864200706"/>
                    </a:ext>
                  </a:extLst>
                </a:gridCol>
                <a:gridCol w="3749039">
                  <a:extLst>
                    <a:ext uri="{9D8B030D-6E8A-4147-A177-3AD203B41FA5}">
                      <a16:colId xmlns:a16="http://schemas.microsoft.com/office/drawing/2014/main" val="894962669"/>
                    </a:ext>
                  </a:extLst>
                </a:gridCol>
              </a:tblGrid>
              <a:tr h="394761">
                <a:tc>
                  <a:txBody>
                    <a:bodyPr/>
                    <a:lstStyle/>
                    <a:p>
                      <a:pPr algn="ctr"/>
                      <a:r>
                        <a:rPr lang="en-US" sz="1800" dirty="0" smtClean="0"/>
                        <a:t>PROCESS AREA</a:t>
                      </a:r>
                      <a:endParaRPr lang="en-US" sz="1800" dirty="0"/>
                    </a:p>
                  </a:txBody>
                  <a:tcPr/>
                </a:tc>
                <a:tc>
                  <a:txBody>
                    <a:bodyPr/>
                    <a:lstStyle/>
                    <a:p>
                      <a:pPr algn="ctr"/>
                      <a:r>
                        <a:rPr lang="en-US" sz="1800" dirty="0" smtClean="0"/>
                        <a:t>KPI’S</a:t>
                      </a:r>
                      <a:endParaRPr lang="en-US" sz="1800" dirty="0"/>
                    </a:p>
                  </a:txBody>
                  <a:tcPr/>
                </a:tc>
                <a:extLst>
                  <a:ext uri="{0D108BD9-81ED-4DB2-BD59-A6C34878D82A}">
                    <a16:rowId xmlns:a16="http://schemas.microsoft.com/office/drawing/2014/main" val="1921563813"/>
                  </a:ext>
                </a:extLst>
              </a:tr>
              <a:tr h="1026653">
                <a:tc>
                  <a:txBody>
                    <a:bodyPr/>
                    <a:lstStyle/>
                    <a:p>
                      <a:r>
                        <a:rPr lang="en-US" sz="1200" b="1" dirty="0" smtClean="0"/>
                        <a:t>Configuration</a:t>
                      </a:r>
                      <a:r>
                        <a:rPr lang="en-US" sz="1200" b="1" baseline="0" dirty="0" smtClean="0"/>
                        <a:t> Management</a:t>
                      </a:r>
                      <a:endParaRPr lang="en-US" sz="1200" b="1" dirty="0"/>
                    </a:p>
                  </a:txBody>
                  <a:tcPr anchor="ctr"/>
                </a:tc>
                <a:tc>
                  <a:txBody>
                    <a:bodyPr/>
                    <a:lstStyle/>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Number Of Identified CIs Recorded In CMDB</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Reduction In The Number Of Problem Records Not Related To A CI</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Reduction In The Number Of Change Records Not Related To A CI</a:t>
                      </a:r>
                    </a:p>
                  </a:txBody>
                  <a:tcPr anchor="ctr"/>
                </a:tc>
                <a:extLst>
                  <a:ext uri="{0D108BD9-81ED-4DB2-BD59-A6C34878D82A}">
                    <a16:rowId xmlns:a16="http://schemas.microsoft.com/office/drawing/2014/main" val="2069454185"/>
                  </a:ext>
                </a:extLst>
              </a:tr>
              <a:tr h="1213317">
                <a:tc>
                  <a:txBody>
                    <a:bodyPr/>
                    <a:lstStyle/>
                    <a:p>
                      <a:r>
                        <a:rPr lang="en-US" sz="1200" b="1" dirty="0" smtClean="0"/>
                        <a:t>Knowledge Management</a:t>
                      </a:r>
                      <a:endParaRPr lang="en-US" sz="1200" b="1" dirty="0"/>
                    </a:p>
                  </a:txBody>
                  <a:tcPr anchor="ctr"/>
                </a:tc>
                <a:tc>
                  <a:txBody>
                    <a:bodyPr/>
                    <a:lstStyle/>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ncrease in usage of Knowledge documents (Hit rate)</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ncrease in incident resolution by low skilled staff- (Ex: FCR % of SD)</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ncrease of incident solved using Known error or Knowledge articles</a:t>
                      </a:r>
                    </a:p>
                  </a:txBody>
                  <a:tcPr anchor="ctr"/>
                </a:tc>
                <a:extLst>
                  <a:ext uri="{0D108BD9-81ED-4DB2-BD59-A6C34878D82A}">
                    <a16:rowId xmlns:a16="http://schemas.microsoft.com/office/drawing/2014/main" val="2018923176"/>
                  </a:ext>
                </a:extLst>
              </a:tr>
              <a:tr h="839989">
                <a:tc>
                  <a:txBody>
                    <a:bodyPr/>
                    <a:lstStyle/>
                    <a:p>
                      <a:r>
                        <a:rPr lang="en-US" sz="1200" b="1" dirty="0" smtClean="0"/>
                        <a:t>Continuous Service Improvement</a:t>
                      </a:r>
                      <a:endParaRPr lang="en-US" sz="1200" b="1" dirty="0"/>
                    </a:p>
                  </a:txBody>
                  <a:tcPr anchor="ctr"/>
                </a:tc>
                <a:tc>
                  <a:txBody>
                    <a:bodyPr/>
                    <a:lstStyle/>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Cost reduced for delivery of IT services</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ncrease in Availability of IT services</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mprovement in adherence (to standards)</a:t>
                      </a:r>
                    </a:p>
                    <a:p>
                      <a:pPr marL="171450" lvl="1" indent="-171450" algn="l" defTabSz="914400" rtl="0" eaLnBrk="1" latinLnBrk="0" hangingPunct="1">
                        <a:buFont typeface="Arial" panose="020B0604020202020204" pitchFamily="34" charset="0"/>
                        <a:buChar char="•"/>
                      </a:pPr>
                      <a:r>
                        <a:rPr lang="en-US" sz="1200" kern="1200" dirty="0" smtClean="0">
                          <a:solidFill>
                            <a:schemeClr val="dk1"/>
                          </a:solidFill>
                          <a:latin typeface="+mn-lt"/>
                          <a:ea typeface="+mn-ea"/>
                          <a:cs typeface="+mn-cs"/>
                        </a:rPr>
                        <a:t>% increase in user, customer and business satisfaction</a:t>
                      </a:r>
                    </a:p>
                  </a:txBody>
                  <a:tcPr anchor="ctr"/>
                </a:tc>
                <a:extLst>
                  <a:ext uri="{0D108BD9-81ED-4DB2-BD59-A6C34878D82A}">
                    <a16:rowId xmlns:a16="http://schemas.microsoft.com/office/drawing/2014/main" val="3265010441"/>
                  </a:ext>
                </a:extLst>
              </a:tr>
            </a:tbl>
          </a:graphicData>
        </a:graphic>
      </p:graphicFrame>
    </p:spTree>
    <p:extLst>
      <p:ext uri="{BB962C8B-B14F-4D97-AF65-F5344CB8AC3E}">
        <p14:creationId xmlns:p14="http://schemas.microsoft.com/office/powerpoint/2010/main" val="59019706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36562" y="1001573"/>
            <a:ext cx="11703735" cy="5102075"/>
            <a:chOff x="117943" y="507736"/>
            <a:chExt cx="8837279" cy="4083095"/>
          </a:xfrm>
        </p:grpSpPr>
        <p:sp>
          <p:nvSpPr>
            <p:cNvPr id="39" name="Rectangle 38"/>
            <p:cNvSpPr/>
            <p:nvPr/>
          </p:nvSpPr>
          <p:spPr>
            <a:xfrm>
              <a:off x="2203423" y="507736"/>
              <a:ext cx="4699547" cy="3035530"/>
            </a:xfrm>
            <a:prstGeom prst="rect">
              <a:avLst/>
            </a:prstGeom>
            <a:solidFill>
              <a:sysClr val="window" lastClr="FFFFFF"/>
            </a:solidFill>
            <a:ln w="25400" cap="flat" cmpd="sng" algn="ctr">
              <a:solidFill>
                <a:schemeClr val="tx1">
                  <a:lumMod val="50000"/>
                  <a:lumOff val="50000"/>
                </a:schemeClr>
              </a:solidFill>
              <a:prstDash val="solid"/>
            </a:ln>
            <a:effectLst/>
          </p:spPr>
          <p:txBody>
            <a:bodyPr rtlCol="0" anchor="ctr"/>
            <a:lstStyle/>
            <a:p>
              <a:pPr algn="ctr" defTabSz="609539" eaLnBrk="0" fontAlgn="base" hangingPunct="0">
                <a:spcBef>
                  <a:spcPct val="0"/>
                </a:spcBef>
                <a:spcAft>
                  <a:spcPct val="0"/>
                </a:spcAft>
                <a:defRPr/>
              </a:pPr>
              <a:r>
                <a:rPr lang="en-US" sz="2667" kern="0" dirty="0">
                  <a:solidFill>
                    <a:srgbClr val="000000"/>
                  </a:solidFill>
                  <a:latin typeface="Calibri"/>
                  <a:ea typeface="MS PGothic" panose="020B0600070205080204" pitchFamily="34" charset="-128"/>
                </a:rPr>
                <a:t>BW’s </a:t>
              </a:r>
            </a:p>
            <a:p>
              <a:pPr algn="ctr" defTabSz="609539" eaLnBrk="0" fontAlgn="base" hangingPunct="0">
                <a:spcBef>
                  <a:spcPct val="0"/>
                </a:spcBef>
                <a:spcAft>
                  <a:spcPct val="0"/>
                </a:spcAft>
                <a:defRPr/>
              </a:pPr>
              <a:r>
                <a:rPr lang="en-US" sz="2667" kern="0" dirty="0">
                  <a:solidFill>
                    <a:srgbClr val="000000"/>
                  </a:solidFill>
                  <a:latin typeface="Calibri"/>
                  <a:ea typeface="MS PGothic" panose="020B0600070205080204" pitchFamily="34" charset="-128"/>
                </a:rPr>
                <a:t>Service Management Office</a:t>
              </a:r>
            </a:p>
          </p:txBody>
        </p:sp>
        <p:sp>
          <p:nvSpPr>
            <p:cNvPr id="40" name="Round Same Side Corner Rectangle 39"/>
            <p:cNvSpPr/>
            <p:nvPr/>
          </p:nvSpPr>
          <p:spPr>
            <a:xfrm rot="10800000">
              <a:off x="2311122" y="3014565"/>
              <a:ext cx="4535100" cy="449495"/>
            </a:xfrm>
            <a:prstGeom prst="round2SameRect">
              <a:avLst/>
            </a:prstGeom>
            <a:solidFill>
              <a:srgbClr val="4F81BD">
                <a:lumMod val="50000"/>
              </a:srgbClr>
            </a:solidFill>
            <a:ln w="9525" cap="flat" cmpd="sng" algn="ctr">
              <a:noFill/>
              <a:prstDash val="solid"/>
            </a:ln>
            <a:effectLst>
              <a:outerShdw blurRad="40000" dist="20000" dir="5400000" rotWithShape="0">
                <a:srgbClr val="000000">
                  <a:alpha val="38000"/>
                </a:srgbClr>
              </a:outerShdw>
            </a:effectLst>
          </p:spPr>
          <p:txBody>
            <a:bodyPr lIns="162556" tIns="81277" rIns="162556" bIns="81277" rtlCol="0" anchor="t"/>
            <a:lstStyle/>
            <a:p>
              <a:pPr algn="ctr" defTabSz="914238" eaLnBrk="0" fontAlgn="base" hangingPunct="0">
                <a:spcBef>
                  <a:spcPct val="0"/>
                </a:spcBef>
                <a:spcAft>
                  <a:spcPts val="2133"/>
                </a:spcAft>
                <a:defRPr/>
              </a:pPr>
              <a:endParaRPr lang="en-US" sz="800" kern="0" dirty="0">
                <a:solidFill>
                  <a:prstClr val="white"/>
                </a:solidFill>
                <a:latin typeface="Calibri"/>
                <a:ea typeface="MS PGothic" panose="020B0600070205080204" pitchFamily="34" charset="-128"/>
                <a:cs typeface="Arial"/>
              </a:endParaRPr>
            </a:p>
          </p:txBody>
        </p:sp>
        <p:sp>
          <p:nvSpPr>
            <p:cNvPr id="43" name="Down Arrow 42"/>
            <p:cNvSpPr/>
            <p:nvPr/>
          </p:nvSpPr>
          <p:spPr>
            <a:xfrm>
              <a:off x="5914806" y="1248702"/>
              <a:ext cx="931416" cy="1500326"/>
            </a:xfrm>
            <a:prstGeom prst="downArrow">
              <a:avLst>
                <a:gd name="adj1" fmla="val 71333"/>
                <a:gd name="adj2" fmla="val 50000"/>
              </a:avLst>
            </a:prstGeom>
            <a:solidFill>
              <a:srgbClr val="4BACC6"/>
            </a:solidFill>
            <a:ln w="9525" cap="flat" cmpd="sng" algn="ctr">
              <a:noFill/>
              <a:prstDash val="solid"/>
            </a:ln>
            <a:effectLst>
              <a:outerShdw blurRad="50800" dist="38100" dir="8100000" algn="tr" rotWithShape="0">
                <a:prstClr val="black">
                  <a:alpha val="40000"/>
                </a:prstClr>
              </a:outerShdw>
            </a:effectLst>
          </p:spPr>
          <p:txBody>
            <a:bodyPr vert="vert" rtlCol="0" anchor="t"/>
            <a:lstStyle/>
            <a:p>
              <a:pPr algn="ctr" defTabSz="914238" eaLnBrk="0" fontAlgn="base" hangingPunct="0">
                <a:spcBef>
                  <a:spcPct val="0"/>
                </a:spcBef>
                <a:spcAft>
                  <a:spcPct val="0"/>
                </a:spcAft>
                <a:defRPr/>
              </a:pPr>
              <a:r>
                <a:rPr lang="en-US" sz="1000" kern="0" dirty="0">
                  <a:solidFill>
                    <a:prstClr val="white"/>
                  </a:solidFill>
                  <a:latin typeface="Calibri"/>
                  <a:ea typeface="MS PGothic" panose="020B0600070205080204" pitchFamily="34" charset="-128"/>
                  <a:cs typeface="Arial"/>
                </a:rPr>
                <a:t>             </a:t>
              </a:r>
            </a:p>
          </p:txBody>
        </p:sp>
        <p:sp>
          <p:nvSpPr>
            <p:cNvPr id="44" name="TextBox 43"/>
            <p:cNvSpPr txBox="1"/>
            <p:nvPr/>
          </p:nvSpPr>
          <p:spPr>
            <a:xfrm>
              <a:off x="2680934" y="3020557"/>
              <a:ext cx="3950983" cy="467984"/>
            </a:xfrm>
            <a:prstGeom prst="rect">
              <a:avLst/>
            </a:prstGeom>
            <a:noFill/>
          </p:spPr>
          <p:txBody>
            <a:bodyPr wrap="none" rtlCol="0">
              <a:spAutoFit/>
            </a:bodyPr>
            <a:lstStyle/>
            <a:p>
              <a:pPr algn="ctr" defTabSz="685750" eaLnBrk="0" fontAlgn="base" hangingPunct="0">
                <a:spcBef>
                  <a:spcPct val="0"/>
                </a:spcBef>
                <a:spcAft>
                  <a:spcPct val="0"/>
                </a:spcAft>
                <a:defRPr/>
              </a:pPr>
              <a:r>
                <a:rPr lang="en-US" sz="1600" b="1" kern="0" dirty="0">
                  <a:solidFill>
                    <a:prstClr val="white"/>
                  </a:solidFill>
                  <a:latin typeface="Calibri"/>
                  <a:ea typeface="MS PGothic" panose="020B0600070205080204" pitchFamily="34" charset="-128"/>
                  <a:cs typeface="Arial"/>
                </a:rPr>
                <a:t>CORE SERVICE AREAS</a:t>
              </a:r>
            </a:p>
            <a:p>
              <a:pPr algn="ctr" defTabSz="685750" eaLnBrk="0" fontAlgn="base" hangingPunct="0">
                <a:spcBef>
                  <a:spcPct val="0"/>
                </a:spcBef>
                <a:spcAft>
                  <a:spcPct val="0"/>
                </a:spcAft>
                <a:defRPr/>
              </a:pPr>
              <a:r>
                <a:rPr lang="en-US" sz="1600" kern="0" dirty="0">
                  <a:solidFill>
                    <a:prstClr val="white"/>
                  </a:solidFill>
                  <a:latin typeface="Calibri"/>
                  <a:ea typeface="MS PGothic" panose="020B0600070205080204" pitchFamily="34" charset="-128"/>
                  <a:cs typeface="Arial"/>
                </a:rPr>
                <a:t>IM | PM | RM | CM | CONFIG M | Monitoring | CAPACITY M</a:t>
              </a:r>
            </a:p>
          </p:txBody>
        </p:sp>
        <p:sp>
          <p:nvSpPr>
            <p:cNvPr id="45" name="Up Arrow 44"/>
            <p:cNvSpPr/>
            <p:nvPr/>
          </p:nvSpPr>
          <p:spPr>
            <a:xfrm>
              <a:off x="2311122" y="1248702"/>
              <a:ext cx="1092452" cy="1560855"/>
            </a:xfrm>
            <a:prstGeom prst="upArrow">
              <a:avLst>
                <a:gd name="adj1" fmla="val 70305"/>
                <a:gd name="adj2" fmla="val 50000"/>
              </a:avLst>
            </a:prstGeom>
            <a:solidFill>
              <a:srgbClr val="4F81BD">
                <a:lumMod val="75000"/>
              </a:srgbClr>
            </a:solidFill>
            <a:ln w="9525" cap="flat" cmpd="sng" algn="ctr">
              <a:noFill/>
              <a:prstDash val="solid"/>
            </a:ln>
            <a:effectLst/>
          </p:spPr>
          <p:txBody>
            <a:bodyPr vert="vert270" rtlCol="0" anchor="t"/>
            <a:lstStyle/>
            <a:p>
              <a:pPr algn="ctr" defTabSz="914238" eaLnBrk="0" fontAlgn="base" hangingPunct="0">
                <a:spcBef>
                  <a:spcPct val="0"/>
                </a:spcBef>
                <a:spcAft>
                  <a:spcPct val="0"/>
                </a:spcAft>
                <a:defRPr/>
              </a:pPr>
              <a:endParaRPr lang="en-US" sz="800" kern="0" dirty="0">
                <a:solidFill>
                  <a:prstClr val="white"/>
                </a:solidFill>
                <a:latin typeface="Calibri"/>
                <a:ea typeface="MS PGothic" panose="020B0600070205080204" pitchFamily="34" charset="-128"/>
                <a:cs typeface="Arial"/>
              </a:endParaRPr>
            </a:p>
          </p:txBody>
        </p:sp>
        <p:sp>
          <p:nvSpPr>
            <p:cNvPr id="46" name="Rounded Rectangle 45"/>
            <p:cNvSpPr/>
            <p:nvPr/>
          </p:nvSpPr>
          <p:spPr>
            <a:xfrm>
              <a:off x="2843809" y="1254900"/>
              <a:ext cx="3521826" cy="1558781"/>
            </a:xfrm>
            <a:prstGeom prst="roundRect">
              <a:avLst>
                <a:gd name="adj" fmla="val 4618"/>
              </a:avLst>
            </a:prstGeom>
            <a:solidFill>
              <a:srgbClr val="0033A0">
                <a:lumMod val="20000"/>
                <a:lumOff val="80000"/>
              </a:srgbClr>
            </a:solidFill>
            <a:ln w="25400" cap="flat" cmpd="sng" algn="ctr">
              <a:solidFill>
                <a:srgbClr val="88AAFF"/>
              </a:solidFill>
              <a:prstDash val="solid"/>
            </a:ln>
            <a:effectLst/>
          </p:spPr>
          <p:txBody>
            <a:bodyPr lIns="162556" tIns="81277" rIns="162556" bIns="81277" rtlCol="0" anchor="t"/>
            <a:lstStyle/>
            <a:p>
              <a:pPr algn="ctr" defTabSz="914238" eaLnBrk="0" fontAlgn="base" hangingPunct="0">
                <a:spcBef>
                  <a:spcPct val="0"/>
                </a:spcBef>
                <a:spcAft>
                  <a:spcPts val="2133"/>
                </a:spcAft>
                <a:defRPr/>
              </a:pPr>
              <a:endParaRPr lang="en-US" sz="800" kern="0" dirty="0">
                <a:solidFill>
                  <a:prstClr val="white"/>
                </a:solidFill>
                <a:latin typeface="Calibri"/>
                <a:cs typeface="Arial"/>
              </a:endParaRPr>
            </a:p>
          </p:txBody>
        </p:sp>
        <p:grpSp>
          <p:nvGrpSpPr>
            <p:cNvPr id="47" name="Group 46"/>
            <p:cNvGrpSpPr/>
            <p:nvPr/>
          </p:nvGrpSpPr>
          <p:grpSpPr>
            <a:xfrm>
              <a:off x="117943" y="509729"/>
              <a:ext cx="1960511" cy="4081101"/>
              <a:chOff x="171601" y="1117173"/>
              <a:chExt cx="2704277" cy="2211932"/>
            </a:xfrm>
          </p:grpSpPr>
          <p:sp>
            <p:nvSpPr>
              <p:cNvPr id="118" name="Rectangle 117"/>
              <p:cNvSpPr/>
              <p:nvPr/>
            </p:nvSpPr>
            <p:spPr>
              <a:xfrm>
                <a:off x="171601" y="1436630"/>
                <a:ext cx="2704277" cy="1892475"/>
              </a:xfrm>
              <a:prstGeom prst="rect">
                <a:avLst/>
              </a:prstGeom>
              <a:solidFill>
                <a:sysClr val="window" lastClr="FFFFFF"/>
              </a:solidFill>
              <a:ln w="25400" cap="flat" cmpd="sng" algn="ctr">
                <a:solidFill>
                  <a:srgbClr val="A8CDD7">
                    <a:lumMod val="75000"/>
                  </a:srgbClr>
                </a:solidFill>
                <a:prstDash val="solid"/>
              </a:ln>
              <a:effectLst/>
            </p:spPr>
            <p:txBody>
              <a:bodyPr rtlCol="0" anchor="t"/>
              <a:lstStyle/>
              <a:p>
                <a:pPr marL="171438" indent="-171438" defTabSz="914332" eaLnBrk="0" fontAlgn="base" hangingPunct="0">
                  <a:spcBef>
                    <a:spcPct val="0"/>
                  </a:spcBef>
                  <a:spcAft>
                    <a:spcPct val="0"/>
                  </a:spcAft>
                  <a:buFont typeface="Arial" panose="020B0604020202020204" pitchFamily="34" charset="0"/>
                  <a:buChar char="•"/>
                  <a:defRPr/>
                </a:pPr>
                <a:endParaRPr lang="en-US" kern="0" dirty="0" smtClean="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smtClean="0">
                    <a:solidFill>
                      <a:srgbClr val="000000"/>
                    </a:solidFill>
                    <a:latin typeface="Calibri"/>
                    <a:ea typeface="MS PGothic" panose="020B0600070205080204" pitchFamily="34" charset="-128"/>
                  </a:rPr>
                  <a:t>Overall ITSM coordination and Management</a:t>
                </a:r>
              </a:p>
              <a:p>
                <a:pPr marL="171438" indent="-171438" defTabSz="914332" eaLnBrk="0" fontAlgn="base" hangingPunct="0">
                  <a:spcBef>
                    <a:spcPct val="0"/>
                  </a:spcBef>
                  <a:spcAft>
                    <a:spcPct val="0"/>
                  </a:spcAft>
                  <a:buFont typeface="Arial" panose="020B0604020202020204" pitchFamily="34" charset="0"/>
                  <a:buChar char="•"/>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a:solidFill>
                      <a:srgbClr val="000000"/>
                    </a:solidFill>
                    <a:latin typeface="Calibri"/>
                    <a:ea typeface="MS PGothic" panose="020B0600070205080204" pitchFamily="34" charset="-128"/>
                  </a:rPr>
                  <a:t>Enable and monitor the applications in scope</a:t>
                </a:r>
              </a:p>
              <a:p>
                <a:pPr defTabSz="914332" eaLnBrk="0" fontAlgn="base" hangingPunct="0">
                  <a:spcBef>
                    <a:spcPct val="0"/>
                  </a:spcBef>
                  <a:spcAft>
                    <a:spcPct val="0"/>
                  </a:spcAft>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smtClean="0">
                    <a:solidFill>
                      <a:srgbClr val="000000"/>
                    </a:solidFill>
                    <a:latin typeface="Calibri"/>
                    <a:ea typeface="MS PGothic" panose="020B0600070205080204" pitchFamily="34" charset="-128"/>
                  </a:rPr>
                  <a:t>Report excepts and deviations to processes</a:t>
                </a:r>
              </a:p>
              <a:p>
                <a:pPr marL="171438" indent="-171438" defTabSz="914332" eaLnBrk="0" fontAlgn="base" hangingPunct="0">
                  <a:spcBef>
                    <a:spcPct val="0"/>
                  </a:spcBef>
                  <a:spcAft>
                    <a:spcPct val="0"/>
                  </a:spcAft>
                  <a:buFont typeface="Arial" panose="020B0604020202020204" pitchFamily="34" charset="0"/>
                  <a:buChar char="•"/>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smtClean="0">
                    <a:solidFill>
                      <a:srgbClr val="000000"/>
                    </a:solidFill>
                    <a:latin typeface="Calibri"/>
                    <a:ea typeface="MS PGothic" panose="020B0600070205080204" pitchFamily="34" charset="-128"/>
                  </a:rPr>
                  <a:t>Synergize with ecosystem groups</a:t>
                </a:r>
              </a:p>
              <a:p>
                <a:pPr marL="171438" indent="-171438" defTabSz="914332" eaLnBrk="0" fontAlgn="base" hangingPunct="0">
                  <a:spcBef>
                    <a:spcPct val="0"/>
                  </a:spcBef>
                  <a:spcAft>
                    <a:spcPct val="0"/>
                  </a:spcAft>
                  <a:buFont typeface="Arial" panose="020B0604020202020204" pitchFamily="34" charset="0"/>
                  <a:buChar char="•"/>
                  <a:defRPr/>
                </a:pPr>
                <a:endParaRPr lang="en-US" sz="2000"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endParaRPr lang="en-US" sz="2000" kern="0" dirty="0" smtClean="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endParaRPr lang="en-US" sz="2000" kern="0" dirty="0">
                  <a:solidFill>
                    <a:srgbClr val="000000"/>
                  </a:solidFill>
                  <a:latin typeface="Calibri"/>
                  <a:ea typeface="MS PGothic" panose="020B0600070205080204" pitchFamily="34" charset="-128"/>
                </a:endParaRPr>
              </a:p>
            </p:txBody>
          </p:sp>
          <p:sp>
            <p:nvSpPr>
              <p:cNvPr id="119" name="Rectangle 118"/>
              <p:cNvSpPr/>
              <p:nvPr/>
            </p:nvSpPr>
            <p:spPr>
              <a:xfrm>
                <a:off x="171601" y="1117173"/>
                <a:ext cx="2704277" cy="314242"/>
              </a:xfrm>
              <a:prstGeom prst="rect">
                <a:avLst/>
              </a:prstGeom>
              <a:solidFill>
                <a:srgbClr val="A8CDD7">
                  <a:lumMod val="75000"/>
                </a:srgbClr>
              </a:solidFill>
              <a:ln w="9525" cap="flat" cmpd="sng" algn="ctr">
                <a:solidFill>
                  <a:srgbClr val="A8CDD7">
                    <a:lumMod val="75000"/>
                  </a:srgbClr>
                </a:solidFill>
                <a:prstDash val="solid"/>
              </a:ln>
              <a:effectLst>
                <a:outerShdw blurRad="40000" dist="23000" dir="5400000" rotWithShape="0">
                  <a:srgbClr val="000000">
                    <a:alpha val="35000"/>
                  </a:srgbClr>
                </a:outerShdw>
              </a:effectLst>
            </p:spPr>
            <p:txBody>
              <a:bodyPr rtlCol="0" anchor="ctr"/>
              <a:lstStyle/>
              <a:p>
                <a:pPr algn="ctr" defTabSz="914332" eaLnBrk="0" fontAlgn="base" hangingPunct="0">
                  <a:spcBef>
                    <a:spcPct val="0"/>
                  </a:spcBef>
                  <a:spcAft>
                    <a:spcPct val="0"/>
                  </a:spcAft>
                  <a:tabLst>
                    <a:tab pos="102823" algn="l"/>
                    <a:tab pos="344994" algn="l"/>
                  </a:tabLst>
                  <a:defRPr/>
                </a:pPr>
                <a:r>
                  <a:rPr lang="en-US" sz="1467" kern="0" dirty="0">
                    <a:solidFill>
                      <a:prstClr val="white"/>
                    </a:solidFill>
                    <a:latin typeface="Calibri"/>
                    <a:ea typeface="MS PGothic" panose="020B0600070205080204" pitchFamily="34" charset="-128"/>
                    <a:cs typeface="Arial" charset="0"/>
                  </a:rPr>
                  <a:t>Process Management &amp; Monitoring</a:t>
                </a:r>
              </a:p>
            </p:txBody>
          </p:sp>
        </p:grpSp>
        <p:grpSp>
          <p:nvGrpSpPr>
            <p:cNvPr id="49" name="Group 48"/>
            <p:cNvGrpSpPr/>
            <p:nvPr/>
          </p:nvGrpSpPr>
          <p:grpSpPr>
            <a:xfrm>
              <a:off x="6994711" y="507736"/>
              <a:ext cx="1960511" cy="4083094"/>
              <a:chOff x="9642391" y="513044"/>
              <a:chExt cx="2704277" cy="5305262"/>
            </a:xfrm>
          </p:grpSpPr>
          <p:sp>
            <p:nvSpPr>
              <p:cNvPr id="114" name="Rectangle 113"/>
              <p:cNvSpPr/>
              <p:nvPr/>
            </p:nvSpPr>
            <p:spPr>
              <a:xfrm>
                <a:off x="9642391" y="832500"/>
                <a:ext cx="2704277" cy="4985806"/>
              </a:xfrm>
              <a:prstGeom prst="rect">
                <a:avLst/>
              </a:prstGeom>
              <a:solidFill>
                <a:sysClr val="window" lastClr="FFFFFF"/>
              </a:solidFill>
              <a:ln w="25400" cap="flat" cmpd="sng" algn="ctr">
                <a:solidFill>
                  <a:srgbClr val="A8CDD7">
                    <a:lumMod val="75000"/>
                  </a:srgbClr>
                </a:solidFill>
                <a:prstDash val="solid"/>
              </a:ln>
              <a:effectLst/>
            </p:spPr>
            <p:txBody>
              <a:bodyPr rtlCol="0" anchor="ctr"/>
              <a:lstStyle/>
              <a:p>
                <a:pPr defTabSz="914332" eaLnBrk="0" fontAlgn="base" hangingPunct="0">
                  <a:spcBef>
                    <a:spcPct val="0"/>
                  </a:spcBef>
                  <a:spcAft>
                    <a:spcPct val="0"/>
                  </a:spcAft>
                  <a:defRPr/>
                </a:pPr>
                <a:endParaRPr lang="en-US" sz="1400"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a:solidFill>
                      <a:srgbClr val="000000"/>
                    </a:solidFill>
                    <a:latin typeface="Calibri"/>
                    <a:ea typeface="MS PGothic" panose="020B0600070205080204" pitchFamily="34" charset="-128"/>
                  </a:rPr>
                  <a:t>Advice </a:t>
                </a:r>
                <a:r>
                  <a:rPr lang="en-US" kern="0" dirty="0" smtClean="0">
                    <a:solidFill>
                      <a:srgbClr val="000000"/>
                    </a:solidFill>
                    <a:latin typeface="Calibri"/>
                    <a:ea typeface="MS PGothic" panose="020B0600070205080204" pitchFamily="34" charset="-128"/>
                  </a:rPr>
                  <a:t>and governance on ITSM policies</a:t>
                </a:r>
                <a:endParaRPr lang="en-US" kern="0" dirty="0">
                  <a:solidFill>
                    <a:srgbClr val="000000"/>
                  </a:solidFill>
                  <a:latin typeface="Calibri"/>
                  <a:ea typeface="MS PGothic" panose="020B0600070205080204" pitchFamily="34" charset="-128"/>
                </a:endParaRPr>
              </a:p>
              <a:p>
                <a:pPr defTabSz="914332" eaLnBrk="0" fontAlgn="base" hangingPunct="0">
                  <a:spcBef>
                    <a:spcPct val="0"/>
                  </a:spcBef>
                  <a:spcAft>
                    <a:spcPct val="0"/>
                  </a:spcAft>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a:solidFill>
                      <a:srgbClr val="000000"/>
                    </a:solidFill>
                    <a:latin typeface="Calibri"/>
                    <a:ea typeface="MS PGothic" panose="020B0600070205080204" pitchFamily="34" charset="-128"/>
                  </a:rPr>
                  <a:t>Align to Marriott </a:t>
                </a:r>
                <a:r>
                  <a:rPr lang="en-US" kern="0" dirty="0" smtClean="0">
                    <a:solidFill>
                      <a:srgbClr val="000000"/>
                    </a:solidFill>
                    <a:latin typeface="Calibri"/>
                    <a:ea typeface="MS PGothic" panose="020B0600070205080204" pitchFamily="34" charset="-128"/>
                  </a:rPr>
                  <a:t>processes (as needed)</a:t>
                </a: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a:solidFill>
                      <a:srgbClr val="000000"/>
                    </a:solidFill>
                    <a:latin typeface="Calibri"/>
                    <a:ea typeface="MS PGothic" panose="020B0600070205080204" pitchFamily="34" charset="-128"/>
                  </a:rPr>
                  <a:t>Highlight and mitigate any process audit compliance exposure</a:t>
                </a:r>
              </a:p>
              <a:p>
                <a:pPr marL="171438" indent="-171438" defTabSz="914332" eaLnBrk="0" fontAlgn="base" hangingPunct="0">
                  <a:spcBef>
                    <a:spcPct val="0"/>
                  </a:spcBef>
                  <a:spcAft>
                    <a:spcPct val="0"/>
                  </a:spcAft>
                  <a:buFont typeface="Arial" panose="020B0604020202020204" pitchFamily="34" charset="0"/>
                  <a:buChar char="•"/>
                  <a:defRPr/>
                </a:pPr>
                <a:endParaRPr lang="en-US" kern="0" dirty="0">
                  <a:solidFill>
                    <a:srgbClr val="000000"/>
                  </a:solidFill>
                  <a:latin typeface="Calibri"/>
                  <a:ea typeface="MS PGothic" panose="020B0600070205080204" pitchFamily="34" charset="-128"/>
                </a:endParaRPr>
              </a:p>
              <a:p>
                <a:pPr marL="171438" indent="-171438" defTabSz="914332" eaLnBrk="0" fontAlgn="base" hangingPunct="0">
                  <a:spcBef>
                    <a:spcPct val="0"/>
                  </a:spcBef>
                  <a:spcAft>
                    <a:spcPct val="0"/>
                  </a:spcAft>
                  <a:buFont typeface="Arial" panose="020B0604020202020204" pitchFamily="34" charset="0"/>
                  <a:buChar char="•"/>
                  <a:defRPr/>
                </a:pPr>
                <a:r>
                  <a:rPr lang="en-US" kern="0" dirty="0">
                    <a:solidFill>
                      <a:srgbClr val="000000"/>
                    </a:solidFill>
                    <a:latin typeface="Calibri"/>
                    <a:ea typeface="MS PGothic" panose="020B0600070205080204" pitchFamily="34" charset="-128"/>
                  </a:rPr>
                  <a:t>Monitor, track operations for  risk and process </a:t>
                </a:r>
                <a:r>
                  <a:rPr lang="en-US" kern="0" dirty="0" smtClean="0">
                    <a:solidFill>
                      <a:srgbClr val="000000"/>
                    </a:solidFill>
                    <a:latin typeface="Calibri"/>
                    <a:ea typeface="MS PGothic" panose="020B0600070205080204" pitchFamily="34" charset="-128"/>
                  </a:rPr>
                  <a:t>compliance</a:t>
                </a:r>
                <a:endParaRPr lang="en-US" kern="0" dirty="0">
                  <a:solidFill>
                    <a:srgbClr val="000000"/>
                  </a:solidFill>
                  <a:latin typeface="Calibri"/>
                  <a:ea typeface="MS PGothic" panose="020B0600070205080204" pitchFamily="34" charset="-128"/>
                </a:endParaRPr>
              </a:p>
            </p:txBody>
          </p:sp>
          <p:sp>
            <p:nvSpPr>
              <p:cNvPr id="115" name="Rectangle 114"/>
              <p:cNvSpPr/>
              <p:nvPr/>
            </p:nvSpPr>
            <p:spPr>
              <a:xfrm>
                <a:off x="9642391" y="513044"/>
                <a:ext cx="2704277" cy="765369"/>
              </a:xfrm>
              <a:prstGeom prst="rect">
                <a:avLst/>
              </a:prstGeom>
              <a:solidFill>
                <a:srgbClr val="A8CDD7">
                  <a:lumMod val="75000"/>
                </a:srgbClr>
              </a:solidFill>
              <a:ln w="9525" cap="flat" cmpd="sng" algn="ctr">
                <a:solidFill>
                  <a:srgbClr val="A8CDD7">
                    <a:lumMod val="75000"/>
                  </a:srgbClr>
                </a:solidFill>
                <a:prstDash val="solid"/>
              </a:ln>
              <a:effectLst>
                <a:outerShdw blurRad="40000" dist="23000" dir="5400000" rotWithShape="0">
                  <a:srgbClr val="000000">
                    <a:alpha val="35000"/>
                  </a:srgbClr>
                </a:outerShdw>
              </a:effectLst>
            </p:spPr>
            <p:txBody>
              <a:bodyPr rtlCol="0" anchor="ctr"/>
              <a:lstStyle/>
              <a:p>
                <a:pPr algn="ctr" defTabSz="914332" eaLnBrk="0" fontAlgn="base" hangingPunct="0">
                  <a:spcBef>
                    <a:spcPct val="0"/>
                  </a:spcBef>
                  <a:spcAft>
                    <a:spcPct val="0"/>
                  </a:spcAft>
                  <a:tabLst>
                    <a:tab pos="102823" algn="l"/>
                    <a:tab pos="344994" algn="l"/>
                  </a:tabLst>
                  <a:defRPr/>
                </a:pPr>
                <a:r>
                  <a:rPr lang="en-US" sz="1400" kern="0" dirty="0">
                    <a:solidFill>
                      <a:prstClr val="white"/>
                    </a:solidFill>
                    <a:latin typeface="Calibri"/>
                    <a:ea typeface="MS PGothic" panose="020B0600070205080204" pitchFamily="34" charset="-128"/>
                    <a:cs typeface="Arial" charset="0"/>
                  </a:rPr>
                  <a:t>Process Governance &amp; Compliance</a:t>
                </a:r>
              </a:p>
            </p:txBody>
          </p:sp>
        </p:grpSp>
        <p:grpSp>
          <p:nvGrpSpPr>
            <p:cNvPr id="51" name="Group 50"/>
            <p:cNvGrpSpPr/>
            <p:nvPr/>
          </p:nvGrpSpPr>
          <p:grpSpPr>
            <a:xfrm>
              <a:off x="2241226" y="3663025"/>
              <a:ext cx="4653034" cy="927806"/>
              <a:chOff x="3095140" y="4697490"/>
              <a:chExt cx="6046800" cy="1183683"/>
            </a:xfrm>
          </p:grpSpPr>
          <p:sp>
            <p:nvSpPr>
              <p:cNvPr id="75" name="Rectangle 74"/>
              <p:cNvSpPr/>
              <p:nvPr/>
            </p:nvSpPr>
            <p:spPr>
              <a:xfrm>
                <a:off x="3095140" y="5016948"/>
                <a:ext cx="6046800" cy="864225"/>
              </a:xfrm>
              <a:prstGeom prst="rect">
                <a:avLst/>
              </a:prstGeom>
              <a:solidFill>
                <a:sysClr val="window" lastClr="FFFFFF"/>
              </a:solidFill>
              <a:ln w="3175" cap="flat" cmpd="sng" algn="ctr">
                <a:solidFill>
                  <a:srgbClr val="A8CDD7">
                    <a:lumMod val="75000"/>
                  </a:srgbClr>
                </a:solidFill>
                <a:prstDash val="solid"/>
              </a:ln>
              <a:effectLst/>
            </p:spPr>
            <p:txBody>
              <a:bodyPr rtlCol="0" anchor="ctr"/>
              <a:lstStyle/>
              <a:p>
                <a:pPr marL="285750" indent="-285750" defTabSz="914332" eaLnBrk="0" fontAlgn="base" hangingPunct="0">
                  <a:spcBef>
                    <a:spcPct val="0"/>
                  </a:spcBef>
                  <a:spcAft>
                    <a:spcPct val="0"/>
                  </a:spcAft>
                  <a:buFont typeface="Wingdings" panose="05000000000000000000" pitchFamily="2" charset="2"/>
                  <a:buChar char="§"/>
                  <a:defRPr/>
                </a:pPr>
                <a:r>
                  <a:rPr lang="en-US" sz="1600" kern="0" dirty="0">
                    <a:solidFill>
                      <a:srgbClr val="000000"/>
                    </a:solidFill>
                    <a:latin typeface="Calibri"/>
                    <a:ea typeface="MS PGothic" panose="020B0600070205080204" pitchFamily="34" charset="-128"/>
                  </a:rPr>
                  <a:t>Propose, prioritize and execute CSI initiatives across towers </a:t>
                </a:r>
              </a:p>
              <a:p>
                <a:pPr marL="285750" indent="-285750" defTabSz="914332" eaLnBrk="0" fontAlgn="base" hangingPunct="0">
                  <a:spcBef>
                    <a:spcPct val="0"/>
                  </a:spcBef>
                  <a:spcAft>
                    <a:spcPct val="0"/>
                  </a:spcAft>
                  <a:buFont typeface="Wingdings" panose="05000000000000000000" pitchFamily="2" charset="2"/>
                  <a:buChar char="§"/>
                  <a:defRPr/>
                </a:pPr>
                <a:r>
                  <a:rPr lang="en-US" sz="1600" kern="0" dirty="0" smtClean="0">
                    <a:solidFill>
                      <a:srgbClr val="000000"/>
                    </a:solidFill>
                    <a:latin typeface="Calibri"/>
                    <a:ea typeface="MS PGothic" panose="020B0600070205080204" pitchFamily="34" charset="-128"/>
                  </a:rPr>
                  <a:t>Facilitate  </a:t>
                </a:r>
                <a:r>
                  <a:rPr lang="en-US" sz="1600" kern="0" dirty="0">
                    <a:solidFill>
                      <a:srgbClr val="000000"/>
                    </a:solidFill>
                    <a:latin typeface="Calibri"/>
                    <a:ea typeface="MS PGothic" panose="020B0600070205080204" pitchFamily="34" charset="-128"/>
                  </a:rPr>
                  <a:t>value quantification and benefit realization </a:t>
                </a:r>
              </a:p>
              <a:p>
                <a:pPr marL="285750" indent="-285750" defTabSz="914332" eaLnBrk="0" fontAlgn="base" hangingPunct="0">
                  <a:spcBef>
                    <a:spcPct val="0"/>
                  </a:spcBef>
                  <a:spcAft>
                    <a:spcPct val="0"/>
                  </a:spcAft>
                  <a:buFont typeface="Wingdings" panose="05000000000000000000" pitchFamily="2" charset="2"/>
                  <a:buChar char="§"/>
                  <a:defRPr/>
                </a:pPr>
                <a:r>
                  <a:rPr lang="en-US" sz="1600" kern="0" dirty="0">
                    <a:solidFill>
                      <a:srgbClr val="000000"/>
                    </a:solidFill>
                    <a:latin typeface="Calibri"/>
                    <a:ea typeface="MS PGothic" panose="020B0600070205080204" pitchFamily="34" charset="-128"/>
                  </a:rPr>
                  <a:t>Create, maintain and present CSI dashboard</a:t>
                </a:r>
              </a:p>
            </p:txBody>
          </p:sp>
          <p:sp>
            <p:nvSpPr>
              <p:cNvPr id="76" name="Rectangle 75"/>
              <p:cNvSpPr/>
              <p:nvPr/>
            </p:nvSpPr>
            <p:spPr>
              <a:xfrm>
                <a:off x="3095140" y="4697490"/>
                <a:ext cx="6046800" cy="314242"/>
              </a:xfrm>
              <a:prstGeom prst="rect">
                <a:avLst/>
              </a:prstGeom>
              <a:solidFill>
                <a:srgbClr val="A8CDD7">
                  <a:lumMod val="75000"/>
                </a:srgbClr>
              </a:solidFill>
              <a:ln w="9525" cap="flat" cmpd="sng" algn="ctr">
                <a:solidFill>
                  <a:srgbClr val="A8CDD7">
                    <a:lumMod val="75000"/>
                  </a:srgbClr>
                </a:solidFill>
                <a:prstDash val="solid"/>
              </a:ln>
              <a:effectLst/>
            </p:spPr>
            <p:txBody>
              <a:bodyPr rtlCol="0" anchor="ctr"/>
              <a:lstStyle/>
              <a:p>
                <a:pPr algn="ctr" defTabSz="914332" eaLnBrk="0" fontAlgn="base" hangingPunct="0">
                  <a:spcBef>
                    <a:spcPct val="0"/>
                  </a:spcBef>
                  <a:spcAft>
                    <a:spcPct val="0"/>
                  </a:spcAft>
                  <a:tabLst>
                    <a:tab pos="102823" algn="l"/>
                    <a:tab pos="344994" algn="l"/>
                  </a:tabLst>
                  <a:defRPr/>
                </a:pPr>
                <a:r>
                  <a:rPr lang="en-US" sz="1200" b="1" kern="0" dirty="0">
                    <a:solidFill>
                      <a:prstClr val="white"/>
                    </a:solidFill>
                    <a:latin typeface="Calibri"/>
                    <a:ea typeface="MS PGothic" panose="020B0600070205080204" pitchFamily="34" charset="-128"/>
                    <a:cs typeface="Arial" charset="0"/>
                  </a:rPr>
                  <a:t>CONTINUAL SERVICE IMPROVEMENT</a:t>
                </a:r>
              </a:p>
            </p:txBody>
          </p:sp>
        </p:grpSp>
        <p:sp>
          <p:nvSpPr>
            <p:cNvPr id="52" name="TextBox 51"/>
            <p:cNvSpPr txBox="1"/>
            <p:nvPr/>
          </p:nvSpPr>
          <p:spPr>
            <a:xfrm rot="16200000">
              <a:off x="2264651" y="1917452"/>
              <a:ext cx="765050" cy="232397"/>
            </a:xfrm>
            <a:prstGeom prst="rect">
              <a:avLst/>
            </a:prstGeom>
            <a:noFill/>
          </p:spPr>
          <p:txBody>
            <a:bodyPr wrap="square" rtlCol="0" anchor="ctr">
              <a:spAutoFit/>
            </a:bodyPr>
            <a:lstStyle/>
            <a:p>
              <a:pPr defTabSz="914238" eaLnBrk="0" fontAlgn="base" hangingPunct="0">
                <a:spcBef>
                  <a:spcPct val="0"/>
                </a:spcBef>
                <a:spcAft>
                  <a:spcPct val="0"/>
                </a:spcAft>
                <a:defRPr/>
              </a:pPr>
              <a:r>
                <a:rPr lang="en-US" sz="1400" kern="0" dirty="0">
                  <a:solidFill>
                    <a:prstClr val="white"/>
                  </a:solidFill>
                  <a:latin typeface="Calibri"/>
                  <a:ea typeface="MS PGothic" panose="020B0600070205080204" pitchFamily="34" charset="-128"/>
                </a:rPr>
                <a:t>   Supply</a:t>
              </a:r>
            </a:p>
          </p:txBody>
        </p:sp>
        <p:sp>
          <p:nvSpPr>
            <p:cNvPr id="53" name="TextBox 52"/>
            <p:cNvSpPr txBox="1"/>
            <p:nvPr/>
          </p:nvSpPr>
          <p:spPr>
            <a:xfrm rot="5400000">
              <a:off x="6170430" y="1814453"/>
              <a:ext cx="746796" cy="232397"/>
            </a:xfrm>
            <a:prstGeom prst="rect">
              <a:avLst/>
            </a:prstGeom>
            <a:noFill/>
          </p:spPr>
          <p:txBody>
            <a:bodyPr wrap="square" rtlCol="0" anchor="ctr">
              <a:spAutoFit/>
            </a:bodyPr>
            <a:lstStyle/>
            <a:p>
              <a:pPr defTabSz="914238" eaLnBrk="0" fontAlgn="base" hangingPunct="0">
                <a:spcBef>
                  <a:spcPct val="0"/>
                </a:spcBef>
                <a:spcAft>
                  <a:spcPct val="0"/>
                </a:spcAft>
                <a:defRPr/>
              </a:pPr>
              <a:r>
                <a:rPr lang="en-US" sz="1400" kern="0" dirty="0">
                  <a:solidFill>
                    <a:prstClr val="white"/>
                  </a:solidFill>
                  <a:latin typeface="Calibri"/>
                  <a:ea typeface="MS PGothic" panose="020B0600070205080204" pitchFamily="34" charset="-128"/>
                </a:rPr>
                <a:t>Demand</a:t>
              </a:r>
            </a:p>
          </p:txBody>
        </p:sp>
        <p:sp>
          <p:nvSpPr>
            <p:cNvPr id="54" name="Rectangle 53"/>
            <p:cNvSpPr/>
            <p:nvPr/>
          </p:nvSpPr>
          <p:spPr>
            <a:xfrm>
              <a:off x="3064034" y="1557254"/>
              <a:ext cx="1485011" cy="439956"/>
            </a:xfrm>
            <a:prstGeom prst="rect">
              <a:avLst/>
            </a:prstGeom>
            <a:solidFill>
              <a:srgbClr val="B9CFFF"/>
            </a:solidFill>
            <a:ln w="9525" cap="flat" cmpd="sng" algn="ctr">
              <a:solidFill>
                <a:schemeClr val="accent6"/>
              </a:solidFill>
              <a:prstDash val="solid"/>
            </a:ln>
            <a:effectLst>
              <a:outerShdw blurRad="40000" dist="20000" dir="5400000" rotWithShape="0">
                <a:srgbClr val="000000">
                  <a:alpha val="38000"/>
                </a:srgbClr>
              </a:outerShdw>
            </a:effectLst>
          </p:spPr>
          <p:txBody>
            <a:bodyPr rtlCol="0" anchor="ctr"/>
            <a:lstStyle/>
            <a:p>
              <a:pPr algn="ctr" defTabSz="914238" eaLnBrk="0" fontAlgn="base" hangingPunct="0">
                <a:spcBef>
                  <a:spcPct val="0"/>
                </a:spcBef>
                <a:spcAft>
                  <a:spcPct val="0"/>
                </a:spcAft>
                <a:defRPr/>
              </a:pPr>
              <a:r>
                <a:rPr lang="en-US" sz="1200" kern="0" dirty="0">
                  <a:solidFill>
                    <a:prstClr val="black"/>
                  </a:solidFill>
                  <a:latin typeface="Calibri"/>
                </a:rPr>
                <a:t>Process Management &amp; Monitoring</a:t>
              </a:r>
            </a:p>
          </p:txBody>
        </p:sp>
        <p:sp>
          <p:nvSpPr>
            <p:cNvPr id="56" name="Rectangle 55"/>
            <p:cNvSpPr/>
            <p:nvPr/>
          </p:nvSpPr>
          <p:spPr>
            <a:xfrm>
              <a:off x="3064034" y="2071565"/>
              <a:ext cx="1485011" cy="439956"/>
            </a:xfrm>
            <a:prstGeom prst="rect">
              <a:avLst/>
            </a:prstGeom>
            <a:solidFill>
              <a:srgbClr val="B9CFFF"/>
            </a:solidFill>
            <a:ln w="9525" cap="flat" cmpd="sng" algn="ctr">
              <a:solidFill>
                <a:schemeClr val="accent6"/>
              </a:solidFill>
              <a:prstDash val="solid"/>
            </a:ln>
            <a:effectLst>
              <a:outerShdw blurRad="40000" dist="20000" dir="5400000" rotWithShape="0">
                <a:srgbClr val="000000">
                  <a:alpha val="38000"/>
                </a:srgbClr>
              </a:outerShdw>
            </a:effectLst>
          </p:spPr>
          <p:txBody>
            <a:bodyPr rtlCol="0" anchor="ctr"/>
            <a:lstStyle/>
            <a:p>
              <a:pPr algn="ctr" defTabSz="914238" eaLnBrk="0" fontAlgn="base" hangingPunct="0">
                <a:spcBef>
                  <a:spcPct val="0"/>
                </a:spcBef>
                <a:spcAft>
                  <a:spcPct val="0"/>
                </a:spcAft>
                <a:defRPr/>
              </a:pPr>
              <a:r>
                <a:rPr lang="en-US" sz="1200" kern="0" dirty="0">
                  <a:solidFill>
                    <a:prstClr val="black"/>
                  </a:solidFill>
                  <a:latin typeface="Calibri"/>
                </a:rPr>
                <a:t>Process Governance &amp; Compliance</a:t>
              </a:r>
            </a:p>
          </p:txBody>
        </p:sp>
        <p:sp>
          <p:nvSpPr>
            <p:cNvPr id="57" name="Rectangle 56"/>
            <p:cNvSpPr/>
            <p:nvPr/>
          </p:nvSpPr>
          <p:spPr>
            <a:xfrm>
              <a:off x="4663653" y="1557857"/>
              <a:ext cx="1485011" cy="439956"/>
            </a:xfrm>
            <a:prstGeom prst="rect">
              <a:avLst/>
            </a:prstGeom>
            <a:solidFill>
              <a:srgbClr val="B9CFFF"/>
            </a:solidFill>
            <a:ln w="9525" cap="flat" cmpd="sng" algn="ctr">
              <a:solidFill>
                <a:schemeClr val="accent6"/>
              </a:solidFill>
              <a:prstDash val="solid"/>
            </a:ln>
            <a:effectLst>
              <a:outerShdw blurRad="40000" dist="20000" dir="5400000" rotWithShape="0">
                <a:srgbClr val="000000">
                  <a:alpha val="38000"/>
                </a:srgbClr>
              </a:outerShdw>
            </a:effectLst>
          </p:spPr>
          <p:txBody>
            <a:bodyPr rtlCol="0" anchor="ctr"/>
            <a:lstStyle/>
            <a:p>
              <a:pPr algn="ctr" defTabSz="914238" eaLnBrk="0" fontAlgn="base" hangingPunct="0">
                <a:spcBef>
                  <a:spcPct val="0"/>
                </a:spcBef>
                <a:spcAft>
                  <a:spcPct val="0"/>
                </a:spcAft>
                <a:defRPr/>
              </a:pPr>
              <a:r>
                <a:rPr lang="en-US" sz="1200" kern="0" dirty="0">
                  <a:solidFill>
                    <a:prstClr val="black"/>
                  </a:solidFill>
                  <a:latin typeface="Calibri"/>
                </a:rPr>
                <a:t>SLA &amp; KPI Reporting</a:t>
              </a:r>
            </a:p>
          </p:txBody>
        </p:sp>
        <p:grpSp>
          <p:nvGrpSpPr>
            <p:cNvPr id="59" name="Group 58"/>
            <p:cNvGrpSpPr/>
            <p:nvPr/>
          </p:nvGrpSpPr>
          <p:grpSpPr>
            <a:xfrm>
              <a:off x="2899437" y="1030485"/>
              <a:ext cx="3846475" cy="1984975"/>
              <a:chOff x="3865914" y="1325966"/>
              <a:chExt cx="5128634" cy="2646633"/>
            </a:xfrm>
          </p:grpSpPr>
          <p:sp>
            <p:nvSpPr>
              <p:cNvPr id="61" name="TextBox 60"/>
              <p:cNvSpPr txBox="1"/>
              <p:nvPr/>
            </p:nvSpPr>
            <p:spPr>
              <a:xfrm>
                <a:off x="3926495" y="1371265"/>
                <a:ext cx="656844"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Enablement</a:t>
                </a:r>
                <a:endParaRPr lang="en-US" sz="1051" i="1" kern="0" dirty="0">
                  <a:solidFill>
                    <a:prstClr val="black"/>
                  </a:solidFill>
                  <a:latin typeface="Calibri"/>
                  <a:ea typeface="MS PGothic" panose="020B0600070205080204" pitchFamily="34" charset="-128"/>
                  <a:cs typeface="Arial"/>
                </a:endParaRPr>
              </a:p>
            </p:txBody>
          </p:sp>
          <p:sp>
            <p:nvSpPr>
              <p:cNvPr id="62" name="TextBox 61"/>
              <p:cNvSpPr txBox="1"/>
              <p:nvPr/>
            </p:nvSpPr>
            <p:spPr>
              <a:xfrm>
                <a:off x="7895697" y="1372241"/>
                <a:ext cx="492229"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Interface</a:t>
                </a:r>
                <a:endParaRPr lang="en-US" sz="1051" i="1" kern="0" dirty="0">
                  <a:solidFill>
                    <a:prstClr val="black"/>
                  </a:solidFill>
                  <a:latin typeface="Calibri"/>
                  <a:ea typeface="MS PGothic" panose="020B0600070205080204" pitchFamily="34" charset="-128"/>
                  <a:cs typeface="Arial"/>
                </a:endParaRPr>
              </a:p>
            </p:txBody>
          </p:sp>
          <p:sp>
            <p:nvSpPr>
              <p:cNvPr id="63" name="TextBox 62"/>
              <p:cNvSpPr txBox="1"/>
              <p:nvPr/>
            </p:nvSpPr>
            <p:spPr>
              <a:xfrm>
                <a:off x="5146944" y="1372241"/>
                <a:ext cx="566468"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Alignment</a:t>
                </a:r>
                <a:endParaRPr lang="en-US" sz="1051" i="1" kern="0" dirty="0">
                  <a:solidFill>
                    <a:prstClr val="black"/>
                  </a:solidFill>
                  <a:latin typeface="Calibri"/>
                  <a:ea typeface="MS PGothic" panose="020B0600070205080204" pitchFamily="34" charset="-128"/>
                  <a:cs typeface="Arial"/>
                </a:endParaRPr>
              </a:p>
            </p:txBody>
          </p:sp>
          <p:sp>
            <p:nvSpPr>
              <p:cNvPr id="64" name="TextBox 63"/>
              <p:cNvSpPr txBox="1"/>
              <p:nvPr/>
            </p:nvSpPr>
            <p:spPr>
              <a:xfrm>
                <a:off x="6516793" y="1372241"/>
                <a:ext cx="639090"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Compliance</a:t>
                </a:r>
                <a:endParaRPr lang="en-US" sz="1051" i="1" kern="0" dirty="0">
                  <a:solidFill>
                    <a:prstClr val="black"/>
                  </a:solidFill>
                  <a:latin typeface="Calibri"/>
                  <a:ea typeface="MS PGothic" panose="020B0600070205080204" pitchFamily="34" charset="-128"/>
                  <a:cs typeface="Arial"/>
                </a:endParaRPr>
              </a:p>
            </p:txBody>
          </p:sp>
          <p:sp>
            <p:nvSpPr>
              <p:cNvPr id="65" name="TextBox 64"/>
              <p:cNvSpPr txBox="1"/>
              <p:nvPr/>
            </p:nvSpPr>
            <p:spPr>
              <a:xfrm>
                <a:off x="4983430" y="3777036"/>
                <a:ext cx="650388"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Orchestrate</a:t>
                </a:r>
                <a:endParaRPr lang="en-US" sz="1051" i="1" kern="0" dirty="0">
                  <a:solidFill>
                    <a:prstClr val="black"/>
                  </a:solidFill>
                  <a:latin typeface="Calibri"/>
                  <a:ea typeface="MS PGothic" panose="020B0600070205080204" pitchFamily="34" charset="-128"/>
                  <a:cs typeface="Arial"/>
                </a:endParaRPr>
              </a:p>
            </p:txBody>
          </p:sp>
          <p:sp>
            <p:nvSpPr>
              <p:cNvPr id="66" name="TextBox 65"/>
              <p:cNvSpPr txBox="1"/>
              <p:nvPr/>
            </p:nvSpPr>
            <p:spPr>
              <a:xfrm>
                <a:off x="3865914" y="3777036"/>
                <a:ext cx="508368"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Integrate</a:t>
                </a:r>
                <a:endParaRPr lang="en-US" sz="1051" i="1" kern="0" dirty="0">
                  <a:solidFill>
                    <a:prstClr val="black"/>
                  </a:solidFill>
                  <a:latin typeface="Calibri"/>
                  <a:ea typeface="MS PGothic" panose="020B0600070205080204" pitchFamily="34" charset="-128"/>
                  <a:cs typeface="Arial"/>
                </a:endParaRPr>
              </a:p>
            </p:txBody>
          </p:sp>
          <p:sp>
            <p:nvSpPr>
              <p:cNvPr id="67" name="TextBox 66"/>
              <p:cNvSpPr txBox="1"/>
              <p:nvPr/>
            </p:nvSpPr>
            <p:spPr>
              <a:xfrm>
                <a:off x="6443120" y="3777036"/>
                <a:ext cx="706873"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Performance</a:t>
                </a:r>
                <a:endParaRPr lang="en-US" sz="1051" i="1" kern="0" dirty="0">
                  <a:solidFill>
                    <a:prstClr val="black"/>
                  </a:solidFill>
                  <a:latin typeface="Calibri"/>
                  <a:ea typeface="MS PGothic" panose="020B0600070205080204" pitchFamily="34" charset="-128"/>
                  <a:cs typeface="Arial"/>
                </a:endParaRPr>
              </a:p>
            </p:txBody>
          </p:sp>
          <p:sp>
            <p:nvSpPr>
              <p:cNvPr id="68" name="TextBox 67"/>
              <p:cNvSpPr txBox="1"/>
              <p:nvPr/>
            </p:nvSpPr>
            <p:spPr>
              <a:xfrm>
                <a:off x="7755100" y="3777036"/>
                <a:ext cx="1239448" cy="172552"/>
              </a:xfrm>
              <a:prstGeom prst="rect">
                <a:avLst/>
              </a:prstGeom>
              <a:noFill/>
            </p:spPr>
            <p:txBody>
              <a:bodyPr wrap="none" lIns="0" tIns="0" rIns="0" bIns="0" rtlCol="0">
                <a:spAutoFit/>
              </a:bodyPr>
              <a:lstStyle/>
              <a:p>
                <a:pPr defTabSz="1624301" eaLnBrk="0" fontAlgn="base" hangingPunct="0">
                  <a:spcBef>
                    <a:spcPct val="0"/>
                  </a:spcBef>
                  <a:spcAft>
                    <a:spcPct val="0"/>
                  </a:spcAft>
                  <a:defRPr/>
                </a:pPr>
                <a:r>
                  <a:rPr lang="en-GB" sz="1051" i="1" kern="0" dirty="0">
                    <a:solidFill>
                      <a:prstClr val="black"/>
                    </a:solidFill>
                    <a:latin typeface="Calibri"/>
                    <a:ea typeface="MS PGothic" panose="020B0600070205080204" pitchFamily="34" charset="-128"/>
                    <a:cs typeface="Arial"/>
                  </a:rPr>
                  <a:t>Governance &amp; Support</a:t>
                </a:r>
                <a:endParaRPr lang="en-US" sz="1051" i="1" kern="0" dirty="0">
                  <a:solidFill>
                    <a:prstClr val="black"/>
                  </a:solidFill>
                  <a:latin typeface="Calibri"/>
                  <a:ea typeface="MS PGothic" panose="020B0600070205080204" pitchFamily="34" charset="-128"/>
                  <a:cs typeface="Arial"/>
                </a:endParaRPr>
              </a:p>
            </p:txBody>
          </p:sp>
          <p:sp>
            <p:nvSpPr>
              <p:cNvPr id="69" name="Left-Right Arrow 68"/>
              <p:cNvSpPr/>
              <p:nvPr/>
            </p:nvSpPr>
            <p:spPr>
              <a:xfrm rot="16200000">
                <a:off x="4554876" y="1363828"/>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sp>
            <p:nvSpPr>
              <p:cNvPr id="70" name="Left-Right Arrow 69"/>
              <p:cNvSpPr/>
              <p:nvPr/>
            </p:nvSpPr>
            <p:spPr>
              <a:xfrm rot="16200000">
                <a:off x="5915410" y="1377105"/>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sp>
            <p:nvSpPr>
              <p:cNvPr id="71" name="Left-Right Arrow 70"/>
              <p:cNvSpPr/>
              <p:nvPr/>
            </p:nvSpPr>
            <p:spPr>
              <a:xfrm rot="16200000">
                <a:off x="7388130" y="1360377"/>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sp>
            <p:nvSpPr>
              <p:cNvPr id="72" name="Left-Right Arrow 71"/>
              <p:cNvSpPr/>
              <p:nvPr/>
            </p:nvSpPr>
            <p:spPr>
              <a:xfrm rot="16200000">
                <a:off x="4554876" y="3729169"/>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sp>
            <p:nvSpPr>
              <p:cNvPr id="73" name="Left-Right Arrow 72"/>
              <p:cNvSpPr/>
              <p:nvPr/>
            </p:nvSpPr>
            <p:spPr>
              <a:xfrm rot="16200000">
                <a:off x="5915409" y="3728798"/>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sp>
            <p:nvSpPr>
              <p:cNvPr id="74" name="Left-Right Arrow 73"/>
              <p:cNvSpPr/>
              <p:nvPr/>
            </p:nvSpPr>
            <p:spPr>
              <a:xfrm rot="16200000">
                <a:off x="7388129" y="3739366"/>
                <a:ext cx="267644" cy="198822"/>
              </a:xfrm>
              <a:prstGeom prst="leftRightArrow">
                <a:avLst/>
              </a:prstGeom>
              <a:solidFill>
                <a:srgbClr val="9BBB59"/>
              </a:solidFill>
              <a:ln w="25400" cap="flat" cmpd="sng" algn="ctr">
                <a:noFill/>
                <a:prstDash val="solid"/>
              </a:ln>
              <a:effectLst/>
            </p:spPr>
            <p:txBody>
              <a:bodyPr vert="vert270" lIns="48000" tIns="0" rIns="48000" bIns="96000" rtlCol="0" anchor="ctr"/>
              <a:lstStyle/>
              <a:p>
                <a:pPr algn="ctr" defTabSz="1624301" eaLnBrk="0" fontAlgn="base" hangingPunct="0">
                  <a:spcBef>
                    <a:spcPct val="0"/>
                  </a:spcBef>
                  <a:spcAft>
                    <a:spcPct val="0"/>
                  </a:spcAft>
                  <a:defRPr/>
                </a:pPr>
                <a:endParaRPr lang="en-US" sz="800" kern="0" dirty="0">
                  <a:solidFill>
                    <a:prstClr val="white"/>
                  </a:solidFill>
                  <a:latin typeface="Calibri"/>
                  <a:cs typeface="Arial"/>
                </a:endParaRPr>
              </a:p>
            </p:txBody>
          </p:sp>
        </p:grpSp>
        <p:sp>
          <p:nvSpPr>
            <p:cNvPr id="60" name="Rectangle 59"/>
            <p:cNvSpPr/>
            <p:nvPr/>
          </p:nvSpPr>
          <p:spPr>
            <a:xfrm>
              <a:off x="2311122" y="558673"/>
              <a:ext cx="4506667" cy="425651"/>
            </a:xfrm>
            <a:prstGeom prst="rect">
              <a:avLst/>
            </a:prstGeom>
            <a:solidFill>
              <a:schemeClr val="tx1">
                <a:lumMod val="20000"/>
                <a:lumOff val="80000"/>
              </a:schemeClr>
            </a:solidFill>
            <a:ln w="9525" cap="flat" cmpd="sng" algn="ctr">
              <a:noFill/>
              <a:prstDash val="solid"/>
            </a:ln>
            <a:effectLst/>
          </p:spPr>
          <p:txBody>
            <a:bodyPr rtlCol="0" anchor="ctr"/>
            <a:lstStyle/>
            <a:p>
              <a:pPr algn="ctr" defTabSz="914354" eaLnBrk="0" fontAlgn="base" hangingPunct="0">
                <a:spcBef>
                  <a:spcPct val="0"/>
                </a:spcBef>
                <a:spcAft>
                  <a:spcPct val="0"/>
                </a:spcAft>
                <a:defRPr/>
              </a:pPr>
              <a:r>
                <a:rPr lang="en-US" sz="2000" kern="0" dirty="0" smtClean="0">
                  <a:solidFill>
                    <a:prstClr val="black"/>
                  </a:solidFill>
                  <a:latin typeface="Calibri"/>
                </a:rPr>
                <a:t>Core Marriott </a:t>
              </a:r>
              <a:r>
                <a:rPr lang="en-US" sz="2000" kern="0" dirty="0">
                  <a:solidFill>
                    <a:prstClr val="black"/>
                  </a:solidFill>
                  <a:latin typeface="Calibri"/>
                </a:rPr>
                <a:t>IT Services</a:t>
              </a:r>
            </a:p>
          </p:txBody>
        </p:sp>
        <p:sp>
          <p:nvSpPr>
            <p:cNvPr id="78" name="Rectangle 77"/>
            <p:cNvSpPr/>
            <p:nvPr/>
          </p:nvSpPr>
          <p:spPr>
            <a:xfrm>
              <a:off x="4675365" y="2080127"/>
              <a:ext cx="1485011" cy="439956"/>
            </a:xfrm>
            <a:prstGeom prst="rect">
              <a:avLst/>
            </a:prstGeom>
            <a:solidFill>
              <a:srgbClr val="B9CFFF"/>
            </a:solidFill>
            <a:ln w="9525" cap="flat" cmpd="sng" algn="ctr">
              <a:solidFill>
                <a:schemeClr val="accent6"/>
              </a:solidFill>
              <a:prstDash val="solid"/>
            </a:ln>
            <a:effectLst>
              <a:outerShdw blurRad="40000" dist="20000" dir="5400000" rotWithShape="0">
                <a:srgbClr val="000000">
                  <a:alpha val="38000"/>
                </a:srgbClr>
              </a:outerShdw>
            </a:effectLst>
          </p:spPr>
          <p:txBody>
            <a:bodyPr rtlCol="0" anchor="ctr"/>
            <a:lstStyle/>
            <a:p>
              <a:pPr algn="ctr" defTabSz="914238" eaLnBrk="0" fontAlgn="base" hangingPunct="0">
                <a:spcBef>
                  <a:spcPct val="0"/>
                </a:spcBef>
                <a:spcAft>
                  <a:spcPct val="0"/>
                </a:spcAft>
                <a:defRPr/>
              </a:pPr>
              <a:r>
                <a:rPr lang="en-US" sz="1200" kern="0" dirty="0">
                  <a:solidFill>
                    <a:prstClr val="black"/>
                  </a:solidFill>
                  <a:latin typeface="Calibri"/>
                </a:rPr>
                <a:t>Continual Service Improvement</a:t>
              </a:r>
            </a:p>
          </p:txBody>
        </p:sp>
      </p:grpSp>
      <p:sp>
        <p:nvSpPr>
          <p:cNvPr id="2" name="Title 1"/>
          <p:cNvSpPr>
            <a:spLocks noGrp="1"/>
          </p:cNvSpPr>
          <p:nvPr>
            <p:ph type="title"/>
          </p:nvPr>
        </p:nvSpPr>
        <p:spPr>
          <a:xfrm>
            <a:off x="495299" y="44888"/>
            <a:ext cx="10856323" cy="618385"/>
          </a:xfrm>
        </p:spPr>
        <p:txBody>
          <a:bodyPr/>
          <a:lstStyle/>
          <a:p>
            <a:r>
              <a:rPr lang="en-US" dirty="0"/>
              <a:t>The SMO will drive process standardization across towers </a:t>
            </a:r>
            <a:r>
              <a:rPr lang="en-US" dirty="0" smtClean="0"/>
              <a:t>as a starter and on ongoing </a:t>
            </a:r>
            <a:r>
              <a:rPr lang="en-US" dirty="0"/>
              <a:t>basis</a:t>
            </a:r>
          </a:p>
        </p:txBody>
      </p:sp>
      <p:sp>
        <p:nvSpPr>
          <p:cNvPr id="48" name="TextBox 47"/>
          <p:cNvSpPr txBox="1"/>
          <p:nvPr/>
        </p:nvSpPr>
        <p:spPr>
          <a:xfrm>
            <a:off x="4773781" y="1892059"/>
            <a:ext cx="2876108" cy="338554"/>
          </a:xfrm>
          <a:prstGeom prst="rect">
            <a:avLst/>
          </a:prstGeom>
          <a:noFill/>
        </p:spPr>
        <p:txBody>
          <a:bodyPr wrap="none" rtlCol="0">
            <a:spAutoFit/>
          </a:bodyPr>
          <a:lstStyle/>
          <a:p>
            <a:pPr algn="ctr" defTabSz="685750" eaLnBrk="0" fontAlgn="base" hangingPunct="0">
              <a:spcBef>
                <a:spcPct val="0"/>
              </a:spcBef>
              <a:spcAft>
                <a:spcPct val="0"/>
              </a:spcAft>
              <a:defRPr/>
            </a:pPr>
            <a:r>
              <a:rPr lang="en-US" sz="1600" b="1" kern="0" dirty="0" smtClean="0">
                <a:solidFill>
                  <a:schemeClr val="tx1">
                    <a:lumMod val="75000"/>
                  </a:schemeClr>
                </a:solidFill>
                <a:latin typeface="Calibri"/>
                <a:ea typeface="MS PGothic" panose="020B0600070205080204" pitchFamily="34" charset="-128"/>
                <a:cs typeface="Arial"/>
              </a:rPr>
              <a:t>SERVICE MANAGEMENT OFFICE</a:t>
            </a:r>
            <a:endParaRPr lang="en-US" sz="1600" b="1" kern="0" dirty="0">
              <a:solidFill>
                <a:schemeClr val="tx1">
                  <a:lumMod val="75000"/>
                </a:schemeClr>
              </a:solidFill>
              <a:latin typeface="Calibri"/>
              <a:ea typeface="MS PGothic" panose="020B0600070205080204" pitchFamily="34" charset="-128"/>
              <a:cs typeface="Arial"/>
            </a:endParaRPr>
          </a:p>
        </p:txBody>
      </p:sp>
      <p:sp>
        <p:nvSpPr>
          <p:cNvPr id="58" name="Oval 57">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2</a:t>
            </a:r>
            <a:endParaRPr lang="en-US" sz="2133" b="1" dirty="0">
              <a:solidFill>
                <a:schemeClr val="bg1"/>
              </a:solidFill>
              <a:latin typeface="Calibri" panose="020F0502020204030204"/>
            </a:endParaRPr>
          </a:p>
        </p:txBody>
      </p:sp>
    </p:spTree>
    <p:extLst>
      <p:ext uri="{BB962C8B-B14F-4D97-AF65-F5344CB8AC3E}">
        <p14:creationId xmlns:p14="http://schemas.microsoft.com/office/powerpoint/2010/main" val="4401490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115050" y="5183522"/>
            <a:ext cx="6076950" cy="1325563"/>
          </a:xfrm>
        </p:spPr>
        <p:txBody>
          <a:bodyPr/>
          <a:lstStyle/>
          <a:p>
            <a:r>
              <a:rPr lang="en-US" dirty="0" smtClean="0"/>
              <a:t>Land Safe</a:t>
            </a:r>
            <a:br>
              <a:rPr lang="en-US" dirty="0" smtClean="0"/>
            </a:br>
            <a:r>
              <a:rPr lang="en-US" dirty="0" smtClean="0"/>
              <a:t>Transition</a:t>
            </a:r>
            <a:endParaRPr lang="en-US" dirty="0"/>
          </a:p>
        </p:txBody>
      </p:sp>
    </p:spTree>
    <p:extLst>
      <p:ext uri="{BB962C8B-B14F-4D97-AF65-F5344CB8AC3E}">
        <p14:creationId xmlns:p14="http://schemas.microsoft.com/office/powerpoint/2010/main" val="255653692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Our approach for Effective Governance of service areas</a:t>
            </a:r>
            <a:br>
              <a:rPr lang="en-US" dirty="0"/>
            </a:br>
            <a:r>
              <a:rPr lang="en-US" dirty="0"/>
              <a:t>…Delivery Integration &amp; Liaison (DIAL) Model</a:t>
            </a:r>
          </a:p>
        </p:txBody>
      </p:sp>
      <p:sp>
        <p:nvSpPr>
          <p:cNvPr id="81" name="Oval 80">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grpSp>
        <p:nvGrpSpPr>
          <p:cNvPr id="62" name="Group 61"/>
          <p:cNvGrpSpPr/>
          <p:nvPr/>
        </p:nvGrpSpPr>
        <p:grpSpPr>
          <a:xfrm>
            <a:off x="495300" y="899296"/>
            <a:ext cx="11596115" cy="5227184"/>
            <a:chOff x="512065" y="1191904"/>
            <a:chExt cx="11596115" cy="5031180"/>
          </a:xfrm>
        </p:grpSpPr>
        <p:sp>
          <p:nvSpPr>
            <p:cNvPr id="5" name="Rectangle 4"/>
            <p:cNvSpPr/>
            <p:nvPr/>
          </p:nvSpPr>
          <p:spPr>
            <a:xfrm>
              <a:off x="9831521" y="5903044"/>
              <a:ext cx="1097280" cy="320040"/>
            </a:xfrm>
            <a:prstGeom prst="rect">
              <a:avLst/>
            </a:prstGeom>
            <a:solidFill>
              <a:srgbClr val="9A9C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3" tIns="45683" rIns="91363" bIns="45683" rtlCol="0" anchor="ctr"/>
            <a:lstStyle/>
            <a:p>
              <a:pPr algn="ctr" defTabSz="608838"/>
              <a:r>
                <a:rPr lang="en-US" sz="1065" dirty="0">
                  <a:solidFill>
                    <a:srgbClr val="FFFFFF"/>
                  </a:solidFill>
                  <a:latin typeface="Calibri"/>
                </a:rPr>
                <a:t>Joint Responsibility</a:t>
              </a:r>
            </a:p>
          </p:txBody>
        </p:sp>
        <p:sp>
          <p:nvSpPr>
            <p:cNvPr id="6" name="Rectangle 5"/>
            <p:cNvSpPr/>
            <p:nvPr/>
          </p:nvSpPr>
          <p:spPr>
            <a:xfrm>
              <a:off x="10380161" y="5538505"/>
              <a:ext cx="1097280" cy="320040"/>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3" tIns="45683" rIns="91363" bIns="45683" rtlCol="0" anchor="ctr"/>
            <a:lstStyle/>
            <a:p>
              <a:pPr algn="ctr" defTabSz="608838"/>
              <a:r>
                <a:rPr lang="en-US" sz="1065" dirty="0">
                  <a:solidFill>
                    <a:srgbClr val="FFFFFF"/>
                  </a:solidFill>
                  <a:latin typeface="Calibri"/>
                </a:rPr>
                <a:t>Marriott Responsibility</a:t>
              </a:r>
            </a:p>
          </p:txBody>
        </p:sp>
        <p:sp>
          <p:nvSpPr>
            <p:cNvPr id="7" name="Rectangle 6"/>
            <p:cNvSpPr/>
            <p:nvPr/>
          </p:nvSpPr>
          <p:spPr>
            <a:xfrm>
              <a:off x="11010900" y="5903044"/>
              <a:ext cx="1097280" cy="32004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3" tIns="45683" rIns="91363" bIns="45683" rtlCol="0" anchor="ctr"/>
            <a:lstStyle/>
            <a:p>
              <a:pPr algn="ctr" defTabSz="608838"/>
              <a:r>
                <a:rPr lang="en-US" sz="1065" dirty="0">
                  <a:solidFill>
                    <a:srgbClr val="FFFFFF"/>
                  </a:solidFill>
                  <a:latin typeface="Calibri"/>
                </a:rPr>
                <a:t>Cognizant</a:t>
              </a:r>
            </a:p>
          </p:txBody>
        </p:sp>
        <p:sp>
          <p:nvSpPr>
            <p:cNvPr id="9" name="Rectangle 8"/>
            <p:cNvSpPr/>
            <p:nvPr/>
          </p:nvSpPr>
          <p:spPr>
            <a:xfrm>
              <a:off x="1308266" y="4272634"/>
              <a:ext cx="9579237" cy="576168"/>
            </a:xfrm>
            <a:prstGeom prst="rect">
              <a:avLst/>
            </a:prstGeom>
            <a:solidFill>
              <a:schemeClr val="bg1">
                <a:lumMod val="65000"/>
              </a:schemeClr>
            </a:solidFill>
            <a:ln w="9525" cap="flat" cmpd="sng" algn="ctr">
              <a:noFill/>
              <a:prstDash val="solid"/>
            </a:ln>
            <a:effectLst/>
          </p:spPr>
          <p:txBody>
            <a:bodyPr rtlCol="0" anchor="t" anchorCtr="0"/>
            <a:lstStyle/>
            <a:p>
              <a:pPr algn="ctr" defTabSz="608838">
                <a:lnSpc>
                  <a:spcPct val="80000"/>
                </a:lnSpc>
              </a:pPr>
              <a:r>
                <a:rPr lang="en-US" sz="1065" b="1" kern="0" dirty="0">
                  <a:solidFill>
                    <a:srgbClr val="141414"/>
                  </a:solidFill>
                  <a:latin typeface="Calibri"/>
                </a:rPr>
                <a:t>TOOLS &amp; SYSTEMS</a:t>
              </a:r>
            </a:p>
          </p:txBody>
        </p:sp>
        <p:sp>
          <p:nvSpPr>
            <p:cNvPr id="10" name="Rounded Rectangle 9"/>
            <p:cNvSpPr/>
            <p:nvPr/>
          </p:nvSpPr>
          <p:spPr>
            <a:xfrm>
              <a:off x="7853069" y="4489081"/>
              <a:ext cx="1339117" cy="271586"/>
            </a:xfrm>
            <a:prstGeom prst="roundRect">
              <a:avLst/>
            </a:prstGeom>
            <a:solidFill>
              <a:schemeClr val="accent6"/>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AppLens</a:t>
              </a:r>
            </a:p>
          </p:txBody>
        </p:sp>
        <p:sp>
          <p:nvSpPr>
            <p:cNvPr id="11" name="Rounded Rectangle 10"/>
            <p:cNvSpPr/>
            <p:nvPr/>
          </p:nvSpPr>
          <p:spPr>
            <a:xfrm>
              <a:off x="4684218" y="4489081"/>
              <a:ext cx="1339117" cy="271586"/>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AppDynamics</a:t>
              </a:r>
            </a:p>
          </p:txBody>
        </p:sp>
        <p:sp>
          <p:nvSpPr>
            <p:cNvPr id="12" name="Rounded Rectangle 11"/>
            <p:cNvSpPr/>
            <p:nvPr/>
          </p:nvSpPr>
          <p:spPr>
            <a:xfrm>
              <a:off x="6268643" y="4489081"/>
              <a:ext cx="1339117" cy="271586"/>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Dynatrace</a:t>
              </a:r>
            </a:p>
          </p:txBody>
        </p:sp>
        <p:sp>
          <p:nvSpPr>
            <p:cNvPr id="13" name="Rounded Rectangle 12"/>
            <p:cNvSpPr/>
            <p:nvPr/>
          </p:nvSpPr>
          <p:spPr>
            <a:xfrm>
              <a:off x="3099792" y="4489081"/>
              <a:ext cx="1339117" cy="271586"/>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erviceNow</a:t>
              </a:r>
            </a:p>
          </p:txBody>
        </p:sp>
        <p:sp>
          <p:nvSpPr>
            <p:cNvPr id="14" name="Rounded Rectangle 13"/>
            <p:cNvSpPr/>
            <p:nvPr/>
          </p:nvSpPr>
          <p:spPr>
            <a:xfrm>
              <a:off x="9437492" y="4489081"/>
              <a:ext cx="1339117" cy="271586"/>
            </a:xfrm>
            <a:prstGeom prst="roundRect">
              <a:avLst/>
            </a:prstGeom>
            <a:solidFill>
              <a:schemeClr val="accent6"/>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620320">
                <a:lnSpc>
                  <a:spcPct val="80000"/>
                </a:lnSpc>
                <a:spcBef>
                  <a:spcPct val="0"/>
                </a:spcBef>
                <a:spcAft>
                  <a:spcPct val="35000"/>
                </a:spcAft>
                <a:defRPr/>
              </a:pPr>
              <a:r>
                <a:rPr lang="en-US" sz="1065" kern="0" dirty="0">
                  <a:solidFill>
                    <a:srgbClr val="141414"/>
                  </a:solidFill>
                  <a:latin typeface="Calibri"/>
                </a:rPr>
                <a:t>Automation (RPA)</a:t>
              </a:r>
            </a:p>
          </p:txBody>
        </p:sp>
        <p:sp>
          <p:nvSpPr>
            <p:cNvPr id="15" name="Round Same Side Corner Rectangle 14"/>
            <p:cNvSpPr/>
            <p:nvPr/>
          </p:nvSpPr>
          <p:spPr>
            <a:xfrm>
              <a:off x="514322" y="1191904"/>
              <a:ext cx="11148006" cy="374428"/>
            </a:xfrm>
            <a:prstGeom prst="round2SameRect">
              <a:avLst/>
            </a:prstGeom>
            <a:solidFill>
              <a:schemeClr val="tx1"/>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defTabSz="456811">
                <a:lnSpc>
                  <a:spcPct val="70000"/>
                </a:lnSpc>
                <a:spcAft>
                  <a:spcPts val="599"/>
                </a:spcAft>
                <a:defRPr/>
              </a:pPr>
              <a:r>
                <a:rPr lang="en-US" sz="1332" b="1" kern="0" dirty="0">
                  <a:solidFill>
                    <a:srgbClr val="FFFFFF"/>
                  </a:solidFill>
                  <a:latin typeface="Calibri"/>
                </a:rPr>
                <a:t>Marriott Business</a:t>
              </a:r>
            </a:p>
            <a:p>
              <a:pPr algn="ctr" defTabSz="456811">
                <a:lnSpc>
                  <a:spcPct val="70000"/>
                </a:lnSpc>
                <a:spcAft>
                  <a:spcPts val="599"/>
                </a:spcAft>
                <a:defRPr/>
              </a:pPr>
              <a:r>
                <a:rPr lang="en-US" sz="1065" kern="0" dirty="0">
                  <a:solidFill>
                    <a:srgbClr val="FFFFFF"/>
                  </a:solidFill>
                  <a:latin typeface="Arial Narrow" pitchFamily="34" charset="0"/>
                </a:rPr>
                <a:t>End Users  |  Business Units |  External Customers  |  GSCs</a:t>
              </a:r>
            </a:p>
          </p:txBody>
        </p:sp>
        <p:sp>
          <p:nvSpPr>
            <p:cNvPr id="16" name="Rectangle 15"/>
            <p:cNvSpPr/>
            <p:nvPr/>
          </p:nvSpPr>
          <p:spPr>
            <a:xfrm>
              <a:off x="10928801" y="1609383"/>
              <a:ext cx="748752" cy="3266009"/>
            </a:xfrm>
            <a:prstGeom prst="rect">
              <a:avLst/>
            </a:prstGeom>
            <a:solidFill>
              <a:schemeClr val="accent6"/>
            </a:solidFill>
            <a:ln w="25400" cap="flat" cmpd="sng" algn="ctr">
              <a:noFill/>
              <a:prstDash val="solid"/>
            </a:ln>
            <a:effectLst/>
          </p:spPr>
          <p:txBody>
            <a:bodyPr vert="vert" tIns="121771" rtlCol="0" anchor="ctr"/>
            <a:lstStyle/>
            <a:p>
              <a:pPr algn="ctr" defTabSz="456811">
                <a:lnSpc>
                  <a:spcPct val="80000"/>
                </a:lnSpc>
                <a:spcAft>
                  <a:spcPts val="599"/>
                </a:spcAft>
                <a:defRPr/>
              </a:pPr>
              <a:r>
                <a:rPr lang="en-US" sz="1199" b="1" kern="0" dirty="0">
                  <a:solidFill>
                    <a:srgbClr val="141414"/>
                  </a:solidFill>
                  <a:latin typeface="Calibri"/>
                </a:rPr>
                <a:t>Cognizant Best Practices</a:t>
              </a:r>
            </a:p>
            <a:p>
              <a:pPr algn="ctr" defTabSz="456811">
                <a:lnSpc>
                  <a:spcPct val="80000"/>
                </a:lnSpc>
                <a:spcAft>
                  <a:spcPts val="599"/>
                </a:spcAft>
                <a:defRPr/>
              </a:pPr>
              <a:r>
                <a:rPr lang="en-US" sz="1065" kern="0" dirty="0">
                  <a:solidFill>
                    <a:srgbClr val="141414"/>
                  </a:solidFill>
                  <a:latin typeface="Calibri"/>
                </a:rPr>
                <a:t>ENGAGE | CMMI | BIC</a:t>
              </a:r>
            </a:p>
          </p:txBody>
        </p:sp>
        <p:sp>
          <p:nvSpPr>
            <p:cNvPr id="17" name="Rectangle 16"/>
            <p:cNvSpPr/>
            <p:nvPr/>
          </p:nvSpPr>
          <p:spPr>
            <a:xfrm>
              <a:off x="512065" y="1609383"/>
              <a:ext cx="748752" cy="3248280"/>
            </a:xfrm>
            <a:prstGeom prst="rect">
              <a:avLst/>
            </a:prstGeom>
            <a:solidFill>
              <a:schemeClr val="accent6"/>
            </a:solidFill>
            <a:ln w="25400" cap="flat" cmpd="sng" algn="ctr">
              <a:noFill/>
              <a:prstDash val="solid"/>
            </a:ln>
            <a:effectLst/>
          </p:spPr>
          <p:txBody>
            <a:bodyPr vert="vert270" tIns="121771" rtlCol="0" anchor="ctr"/>
            <a:lstStyle/>
            <a:p>
              <a:pPr algn="ctr" defTabSz="456811">
                <a:lnSpc>
                  <a:spcPct val="80000"/>
                </a:lnSpc>
                <a:spcAft>
                  <a:spcPts val="599"/>
                </a:spcAft>
                <a:defRPr/>
              </a:pPr>
              <a:r>
                <a:rPr lang="en-US" sz="1199" b="1" kern="0" dirty="0">
                  <a:solidFill>
                    <a:srgbClr val="141414"/>
                  </a:solidFill>
                  <a:latin typeface="Calibri"/>
                </a:rPr>
                <a:t>Industry Best Practices</a:t>
              </a:r>
            </a:p>
            <a:p>
              <a:pPr algn="ctr" defTabSz="456811">
                <a:lnSpc>
                  <a:spcPct val="80000"/>
                </a:lnSpc>
                <a:spcAft>
                  <a:spcPts val="599"/>
                </a:spcAft>
                <a:defRPr/>
              </a:pPr>
              <a:r>
                <a:rPr lang="en-US" sz="1065" kern="0" dirty="0">
                  <a:solidFill>
                    <a:srgbClr val="141414"/>
                  </a:solidFill>
                  <a:latin typeface="Calibri"/>
                </a:rPr>
                <a:t>ITIL</a:t>
              </a:r>
              <a:r>
                <a:rPr lang="en-US" sz="1065" kern="0" baseline="30000" dirty="0">
                  <a:solidFill>
                    <a:srgbClr val="141414"/>
                  </a:solidFill>
                  <a:latin typeface="Calibri"/>
                </a:rPr>
                <a:t>®</a:t>
              </a:r>
              <a:r>
                <a:rPr lang="en-US" sz="1065" kern="0" dirty="0">
                  <a:solidFill>
                    <a:srgbClr val="141414"/>
                  </a:solidFill>
                  <a:latin typeface="Calibri"/>
                </a:rPr>
                <a:t> | PMP</a:t>
              </a:r>
              <a:r>
                <a:rPr lang="en-US" sz="1065" kern="0" baseline="30000" dirty="0">
                  <a:solidFill>
                    <a:srgbClr val="141414"/>
                  </a:solidFill>
                  <a:latin typeface="Calibri"/>
                </a:rPr>
                <a:t> ® </a:t>
              </a:r>
              <a:r>
                <a:rPr lang="en-US" sz="1065" kern="0" dirty="0">
                  <a:solidFill>
                    <a:srgbClr val="141414"/>
                  </a:solidFill>
                  <a:latin typeface="Calibri"/>
                </a:rPr>
                <a:t> | ISO20000</a:t>
              </a:r>
              <a:r>
                <a:rPr lang="en-US" sz="1065" kern="0" baseline="30000" dirty="0">
                  <a:solidFill>
                    <a:srgbClr val="141414"/>
                  </a:solidFill>
                  <a:latin typeface="Calibri"/>
                </a:rPr>
                <a:t> ®</a:t>
              </a:r>
              <a:endParaRPr lang="en-US" sz="1065" kern="0" dirty="0">
                <a:solidFill>
                  <a:srgbClr val="141414"/>
                </a:solidFill>
                <a:latin typeface="Calibri"/>
              </a:endParaRPr>
            </a:p>
          </p:txBody>
        </p:sp>
        <p:sp>
          <p:nvSpPr>
            <p:cNvPr id="18" name="Round Same Side Corner Rectangle 17"/>
            <p:cNvSpPr/>
            <p:nvPr/>
          </p:nvSpPr>
          <p:spPr>
            <a:xfrm>
              <a:off x="522001" y="4907618"/>
              <a:ext cx="11170127" cy="583899"/>
            </a:xfrm>
            <a:prstGeom prst="round2SameRect">
              <a:avLst>
                <a:gd name="adj1" fmla="val 459"/>
                <a:gd name="adj2" fmla="val 14182"/>
              </a:avLst>
            </a:prstGeom>
            <a:solidFill>
              <a:schemeClr val="accent5">
                <a:lumMod val="90000"/>
              </a:schemeClr>
            </a:solidFill>
            <a:ln w="9525" cap="flat" cmpd="sng" algn="ctr">
              <a:noFill/>
              <a:prstDash val="solid"/>
            </a:ln>
            <a:effectLst/>
          </p:spPr>
          <p:txBody>
            <a:bodyPr rtlCol="0" anchor="ctr"/>
            <a:lstStyle/>
            <a:p>
              <a:pPr algn="ctr" defTabSz="456811">
                <a:lnSpc>
                  <a:spcPct val="80000"/>
                </a:lnSpc>
                <a:spcAft>
                  <a:spcPts val="599"/>
                </a:spcAft>
                <a:defRPr/>
              </a:pPr>
              <a:endParaRPr lang="en-US" sz="1065" kern="0" dirty="0">
                <a:solidFill>
                  <a:srgbClr val="FFFFFF"/>
                </a:solidFill>
                <a:latin typeface="Arial Narrow" pitchFamily="34" charset="0"/>
              </a:endParaRPr>
            </a:p>
          </p:txBody>
        </p:sp>
        <p:grpSp>
          <p:nvGrpSpPr>
            <p:cNvPr id="19" name="Grouper 4"/>
            <p:cNvGrpSpPr/>
            <p:nvPr/>
          </p:nvGrpSpPr>
          <p:grpSpPr>
            <a:xfrm>
              <a:off x="1308266" y="1609844"/>
              <a:ext cx="9579237" cy="834539"/>
              <a:chOff x="1100988" y="1289361"/>
              <a:chExt cx="6870916" cy="703316"/>
            </a:xfrm>
          </p:grpSpPr>
          <p:sp>
            <p:nvSpPr>
              <p:cNvPr id="20" name="Rectangle 19"/>
              <p:cNvSpPr/>
              <p:nvPr/>
            </p:nvSpPr>
            <p:spPr>
              <a:xfrm>
                <a:off x="1100988" y="1289361"/>
                <a:ext cx="6870916" cy="703316"/>
              </a:xfrm>
              <a:prstGeom prst="rect">
                <a:avLst/>
              </a:prstGeom>
              <a:solidFill>
                <a:schemeClr val="bg1">
                  <a:lumMod val="65000"/>
                </a:schemeClr>
              </a:solidFill>
              <a:ln w="9525" cap="flat" cmpd="sng" algn="ctr">
                <a:noFill/>
                <a:prstDash val="solid"/>
              </a:ln>
              <a:effectLst/>
            </p:spPr>
            <p:txBody>
              <a:bodyPr rtlCol="0" anchor="t" anchorCtr="0"/>
              <a:lstStyle/>
              <a:p>
                <a:pPr algn="ctr" defTabSz="608838">
                  <a:lnSpc>
                    <a:spcPct val="80000"/>
                  </a:lnSpc>
                  <a:defRPr/>
                </a:pPr>
                <a:r>
                  <a:rPr lang="en-US" sz="1200" b="1" kern="0" dirty="0" smtClean="0">
                    <a:solidFill>
                      <a:srgbClr val="141414"/>
                    </a:solidFill>
                    <a:latin typeface="Calibri"/>
                  </a:rPr>
                  <a:t>DIAL </a:t>
                </a:r>
                <a:r>
                  <a:rPr lang="en-US" sz="1200" b="1" kern="0" dirty="0">
                    <a:solidFill>
                      <a:srgbClr val="141414"/>
                    </a:solidFill>
                    <a:latin typeface="Calibri"/>
                  </a:rPr>
                  <a:t>GOVERNANCE</a:t>
                </a:r>
              </a:p>
            </p:txBody>
          </p:sp>
          <p:sp>
            <p:nvSpPr>
              <p:cNvPr id="21" name="Rectangle 20"/>
              <p:cNvSpPr/>
              <p:nvPr/>
            </p:nvSpPr>
            <p:spPr>
              <a:xfrm>
                <a:off x="1166624" y="1475752"/>
                <a:ext cx="6700852" cy="455085"/>
              </a:xfrm>
              <a:prstGeom prst="rect">
                <a:avLst/>
              </a:prstGeom>
              <a:solidFill>
                <a:schemeClr val="accent1">
                  <a:lumMod val="20000"/>
                  <a:lumOff val="80000"/>
                </a:schemeClr>
              </a:solidFill>
              <a:ln w="9525" cap="flat" cmpd="sng" algn="ctr">
                <a:noFill/>
                <a:prstDash val="solid"/>
              </a:ln>
              <a:effectLst/>
            </p:spPr>
            <p:txBody>
              <a:bodyPr rtlCol="0" anchor="t" anchorCtr="0"/>
              <a:lstStyle/>
              <a:p>
                <a:pPr algn="ctr" defTabSz="608838">
                  <a:lnSpc>
                    <a:spcPct val="80000"/>
                  </a:lnSpc>
                  <a:defRPr/>
                </a:pPr>
                <a:r>
                  <a:rPr lang="en-US" sz="1065" b="1" kern="0" dirty="0">
                    <a:solidFill>
                      <a:srgbClr val="141414"/>
                    </a:solidFill>
                    <a:latin typeface="Calibri"/>
                  </a:rPr>
                  <a:t>Service Management Office</a:t>
                </a:r>
              </a:p>
            </p:txBody>
          </p:sp>
          <p:sp>
            <p:nvSpPr>
              <p:cNvPr id="22" name="Rectangle 21"/>
              <p:cNvSpPr/>
              <p:nvPr/>
            </p:nvSpPr>
            <p:spPr>
              <a:xfrm>
                <a:off x="2438655" y="1640541"/>
                <a:ext cx="1484425" cy="228882"/>
              </a:xfrm>
              <a:prstGeom prst="rect">
                <a:avLst/>
              </a:prstGeom>
              <a:solidFill>
                <a:schemeClr val="accent6"/>
              </a:solidFill>
              <a:ln w="3175"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ervice Management Office</a:t>
                </a:r>
              </a:p>
            </p:txBody>
          </p:sp>
          <p:sp>
            <p:nvSpPr>
              <p:cNvPr id="23" name="Rectangle 22"/>
              <p:cNvSpPr/>
              <p:nvPr/>
            </p:nvSpPr>
            <p:spPr>
              <a:xfrm>
                <a:off x="5092357" y="1640541"/>
                <a:ext cx="1484425" cy="228882"/>
              </a:xfrm>
              <a:prstGeom prst="rect">
                <a:avLst/>
              </a:prstGeom>
              <a:solidFill>
                <a:srgbClr val="00B0F0"/>
              </a:solidFill>
              <a:ln w="3175"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upplier Management Office</a:t>
                </a:r>
              </a:p>
            </p:txBody>
          </p:sp>
          <p:cxnSp>
            <p:nvCxnSpPr>
              <p:cNvPr id="24" name="Straight Arrow Connector 23"/>
              <p:cNvCxnSpPr/>
              <p:nvPr/>
            </p:nvCxnSpPr>
            <p:spPr>
              <a:xfrm>
                <a:off x="4410068" y="1660618"/>
                <a:ext cx="255534" cy="5208"/>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a:xfrm>
              <a:off x="1311473" y="2490943"/>
              <a:ext cx="3448453" cy="1732745"/>
            </a:xfrm>
            <a:prstGeom prst="rect">
              <a:avLst/>
            </a:prstGeom>
            <a:solidFill>
              <a:srgbClr val="00B0F0"/>
            </a:solidFill>
            <a:ln w="9525" cap="flat" cmpd="sng" algn="ctr">
              <a:noFill/>
              <a:prstDash val="solid"/>
            </a:ln>
            <a:effectLst/>
          </p:spPr>
          <p:txBody>
            <a:bodyPr rtlCol="0" anchor="t" anchorCtr="0"/>
            <a:lstStyle/>
            <a:p>
              <a:pPr algn="ctr" defTabSz="608838">
                <a:lnSpc>
                  <a:spcPct val="80000"/>
                </a:lnSpc>
                <a:defRPr/>
              </a:pPr>
              <a:r>
                <a:rPr lang="en-US" sz="1332" b="1" kern="0" dirty="0">
                  <a:ln w="0"/>
                  <a:solidFill>
                    <a:srgbClr val="000000"/>
                  </a:solidFill>
                  <a:latin typeface="Calibri"/>
                </a:rPr>
                <a:t>SUPPLIER MANAGEMENT</a:t>
              </a:r>
            </a:p>
          </p:txBody>
        </p:sp>
        <p:sp>
          <p:nvSpPr>
            <p:cNvPr id="26" name="Rounded Rectangle 25"/>
            <p:cNvSpPr/>
            <p:nvPr/>
          </p:nvSpPr>
          <p:spPr>
            <a:xfrm>
              <a:off x="1378232" y="2869035"/>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Evaluation Mgmt.</a:t>
              </a:r>
            </a:p>
          </p:txBody>
        </p:sp>
        <p:sp>
          <p:nvSpPr>
            <p:cNvPr id="27" name="Rounded Rectangle 26"/>
            <p:cNvSpPr/>
            <p:nvPr/>
          </p:nvSpPr>
          <p:spPr>
            <a:xfrm>
              <a:off x="1378232" y="3198076"/>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Contracts Mgmt.</a:t>
              </a:r>
            </a:p>
          </p:txBody>
        </p:sp>
        <p:sp>
          <p:nvSpPr>
            <p:cNvPr id="28" name="Rounded Rectangle 27"/>
            <p:cNvSpPr/>
            <p:nvPr/>
          </p:nvSpPr>
          <p:spPr>
            <a:xfrm>
              <a:off x="1378232" y="3527116"/>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Optimization Mgmt.</a:t>
              </a:r>
            </a:p>
          </p:txBody>
        </p:sp>
        <p:sp>
          <p:nvSpPr>
            <p:cNvPr id="29" name="Rounded Rectangle 28"/>
            <p:cNvSpPr/>
            <p:nvPr/>
          </p:nvSpPr>
          <p:spPr>
            <a:xfrm>
              <a:off x="1378232" y="3856156"/>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Integration Mgmt.</a:t>
              </a:r>
            </a:p>
          </p:txBody>
        </p:sp>
        <p:sp>
          <p:nvSpPr>
            <p:cNvPr id="30" name="Rounded Rectangle 29"/>
            <p:cNvSpPr/>
            <p:nvPr/>
          </p:nvSpPr>
          <p:spPr>
            <a:xfrm>
              <a:off x="3059969" y="2873731"/>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On Boarding Mgmt.</a:t>
              </a:r>
            </a:p>
          </p:txBody>
        </p:sp>
        <p:sp>
          <p:nvSpPr>
            <p:cNvPr id="31" name="Rounded Rectangle 30"/>
            <p:cNvSpPr/>
            <p:nvPr/>
          </p:nvSpPr>
          <p:spPr>
            <a:xfrm>
              <a:off x="3059969" y="3202772"/>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Off Boarding Mgmt.</a:t>
              </a:r>
            </a:p>
          </p:txBody>
        </p:sp>
        <p:sp>
          <p:nvSpPr>
            <p:cNvPr id="32" name="Rounded Rectangle 31"/>
            <p:cNvSpPr/>
            <p:nvPr/>
          </p:nvSpPr>
          <p:spPr>
            <a:xfrm>
              <a:off x="3059969" y="3860853"/>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Supplier Operations &amp; Conflict Mgmt.</a:t>
              </a:r>
            </a:p>
          </p:txBody>
        </p:sp>
        <p:sp>
          <p:nvSpPr>
            <p:cNvPr id="33" name="Rounded Rectangle 32"/>
            <p:cNvSpPr/>
            <p:nvPr/>
          </p:nvSpPr>
          <p:spPr>
            <a:xfrm>
              <a:off x="3059969" y="3531812"/>
              <a:ext cx="1582592" cy="291221"/>
            </a:xfrm>
            <a:prstGeom prst="roundRect">
              <a:avLst/>
            </a:prstGeom>
            <a:solidFill>
              <a:srgbClr val="FFFFFF"/>
            </a:solidFill>
            <a:ln w="38100" cap="flat" cmpd="sng" algn="ctr">
              <a:noFill/>
              <a:prstDash val="solid"/>
            </a:ln>
            <a:effectLst/>
          </p:spPr>
          <p:txBody>
            <a:bodyPr spcFirstLastPara="0" vert="horz" wrap="square" lIns="121771" tIns="329793" rIns="121771" bIns="329793" numCol="1" spcCol="1270" anchor="ctr" anchorCtr="0">
              <a:noAutofit/>
            </a:bodyPr>
            <a:lstStyle/>
            <a:p>
              <a:pPr algn="ctr" defTabSz="2886793">
                <a:lnSpc>
                  <a:spcPct val="80000"/>
                </a:lnSpc>
                <a:spcBef>
                  <a:spcPct val="0"/>
                </a:spcBef>
                <a:spcAft>
                  <a:spcPct val="35000"/>
                </a:spcAft>
                <a:defRPr/>
              </a:pPr>
              <a:r>
                <a:rPr lang="en-US" sz="1065" b="1" kern="0" dirty="0">
                  <a:solidFill>
                    <a:srgbClr val="141414"/>
                  </a:solidFill>
                  <a:latin typeface="Calibri"/>
                </a:rPr>
                <a:t>Chargeback Management</a:t>
              </a:r>
            </a:p>
          </p:txBody>
        </p:sp>
        <p:sp>
          <p:nvSpPr>
            <p:cNvPr id="34" name="Rectangle 33"/>
            <p:cNvSpPr/>
            <p:nvPr/>
          </p:nvSpPr>
          <p:spPr>
            <a:xfrm>
              <a:off x="4848276" y="2490943"/>
              <a:ext cx="3408316" cy="1732745"/>
            </a:xfrm>
            <a:prstGeom prst="rect">
              <a:avLst/>
            </a:prstGeom>
            <a:solidFill>
              <a:schemeClr val="accent6"/>
            </a:solidFill>
            <a:ln w="9525" cap="flat" cmpd="sng" algn="ctr">
              <a:noFill/>
              <a:prstDash val="solid"/>
            </a:ln>
            <a:effectLst/>
          </p:spPr>
          <p:txBody>
            <a:bodyPr rtlCol="0" anchor="t" anchorCtr="0"/>
            <a:lstStyle/>
            <a:p>
              <a:pPr algn="ctr" defTabSz="608838">
                <a:lnSpc>
                  <a:spcPct val="80000"/>
                </a:lnSpc>
              </a:pPr>
              <a:r>
                <a:rPr lang="en-US" sz="1332" b="1" kern="0" dirty="0">
                  <a:solidFill>
                    <a:srgbClr val="141414"/>
                  </a:solidFill>
                  <a:latin typeface="Calibri"/>
                </a:rPr>
                <a:t>SERVICE ORCHESTRATION</a:t>
              </a:r>
            </a:p>
          </p:txBody>
        </p:sp>
        <p:sp>
          <p:nvSpPr>
            <p:cNvPr id="35" name="Rounded Rectangle 34"/>
            <p:cNvSpPr/>
            <p:nvPr/>
          </p:nvSpPr>
          <p:spPr>
            <a:xfrm>
              <a:off x="5070596" y="2869035"/>
              <a:ext cx="3070951" cy="291221"/>
            </a:xfrm>
            <a:prstGeom prst="roundRect">
              <a:avLst/>
            </a:prstGeom>
            <a:solidFill>
              <a:schemeClr val="bg1"/>
            </a:solidFill>
            <a:ln w="38100" cap="flat" cmpd="sng" algn="ctr">
              <a:noFill/>
              <a:prstDash val="solid"/>
            </a:ln>
            <a:effectLst/>
          </p:spPr>
          <p:txBody>
            <a:bodyPr spcFirstLastPara="0" vert="horz" wrap="square" lIns="121771" tIns="299351" rIns="121771" bIns="299351" numCol="1" spcCol="1270" anchor="ctr" anchorCtr="0">
              <a:noAutofit/>
            </a:bodyPr>
            <a:lstStyle/>
            <a:p>
              <a:pPr algn="ctr" defTabSz="577359">
                <a:lnSpc>
                  <a:spcPct val="80000"/>
                </a:lnSpc>
                <a:spcBef>
                  <a:spcPct val="0"/>
                </a:spcBef>
                <a:spcAft>
                  <a:spcPct val="35000"/>
                </a:spcAft>
                <a:defRPr/>
              </a:pPr>
              <a:r>
                <a:rPr lang="en-US" sz="1065" kern="0" dirty="0">
                  <a:solidFill>
                    <a:srgbClr val="141414"/>
                  </a:solidFill>
                  <a:latin typeface="Calibri"/>
                </a:rPr>
                <a:t>Service Catalog Mgmt.</a:t>
              </a:r>
            </a:p>
          </p:txBody>
        </p:sp>
        <p:sp>
          <p:nvSpPr>
            <p:cNvPr id="36" name="Rounded Rectangle 35"/>
            <p:cNvSpPr/>
            <p:nvPr/>
          </p:nvSpPr>
          <p:spPr>
            <a:xfrm>
              <a:off x="5070596" y="3198076"/>
              <a:ext cx="3070951" cy="291221"/>
            </a:xfrm>
            <a:prstGeom prst="roundRect">
              <a:avLst/>
            </a:prstGeom>
            <a:solidFill>
              <a:schemeClr val="bg1"/>
            </a:solidFill>
            <a:ln w="38100" cap="flat" cmpd="sng" algn="ctr">
              <a:noFill/>
              <a:prstDash val="solid"/>
            </a:ln>
            <a:effectLst/>
          </p:spPr>
          <p:txBody>
            <a:bodyPr spcFirstLastPara="0" vert="horz" wrap="square" lIns="121771" tIns="299351" rIns="121771" bIns="299351" numCol="1" spcCol="1270" anchor="ctr" anchorCtr="0">
              <a:noAutofit/>
            </a:bodyPr>
            <a:lstStyle/>
            <a:p>
              <a:pPr algn="ctr" defTabSz="577359">
                <a:lnSpc>
                  <a:spcPct val="80000"/>
                </a:lnSpc>
                <a:spcBef>
                  <a:spcPct val="0"/>
                </a:spcBef>
                <a:spcAft>
                  <a:spcPct val="35000"/>
                </a:spcAft>
                <a:defRPr/>
              </a:pPr>
              <a:r>
                <a:rPr lang="en-US" sz="1065" kern="0" dirty="0">
                  <a:solidFill>
                    <a:srgbClr val="141414"/>
                  </a:solidFill>
                  <a:latin typeface="Calibri"/>
                </a:rPr>
                <a:t>Knowledge Mgmt.</a:t>
              </a:r>
            </a:p>
          </p:txBody>
        </p:sp>
        <p:sp>
          <p:nvSpPr>
            <p:cNvPr id="37" name="Rounded Rectangle 36"/>
            <p:cNvSpPr/>
            <p:nvPr/>
          </p:nvSpPr>
          <p:spPr>
            <a:xfrm>
              <a:off x="5070596" y="3527116"/>
              <a:ext cx="3070951" cy="620261"/>
            </a:xfrm>
            <a:prstGeom prst="roundRect">
              <a:avLst>
                <a:gd name="adj" fmla="val 12266"/>
              </a:avLst>
            </a:prstGeom>
            <a:solidFill>
              <a:schemeClr val="bg1"/>
            </a:solidFill>
            <a:ln w="38100" cap="flat" cmpd="sng" algn="ctr">
              <a:noFill/>
              <a:prstDash val="solid"/>
            </a:ln>
            <a:effectLst/>
          </p:spPr>
          <p:txBody>
            <a:bodyPr spcFirstLastPara="0" vert="horz" wrap="square" lIns="121771" tIns="299351" rIns="121771" bIns="299351" numCol="1" spcCol="1270" anchor="ctr" anchorCtr="0">
              <a:noAutofit/>
            </a:bodyPr>
            <a:lstStyle/>
            <a:p>
              <a:pPr algn="ctr" defTabSz="577359">
                <a:lnSpc>
                  <a:spcPct val="80000"/>
                </a:lnSpc>
                <a:spcBef>
                  <a:spcPct val="0"/>
                </a:spcBef>
                <a:spcAft>
                  <a:spcPct val="35000"/>
                </a:spcAft>
                <a:defRPr/>
              </a:pPr>
              <a:r>
                <a:rPr lang="en-US" sz="1065" kern="0" dirty="0">
                  <a:solidFill>
                    <a:srgbClr val="141414"/>
                  </a:solidFill>
                  <a:latin typeface="Calibri"/>
                </a:rPr>
                <a:t>ITSM Process Mgmt.</a:t>
              </a:r>
            </a:p>
            <a:p>
              <a:pPr algn="ctr" defTabSz="577359">
                <a:lnSpc>
                  <a:spcPct val="80000"/>
                </a:lnSpc>
                <a:spcBef>
                  <a:spcPct val="0"/>
                </a:spcBef>
                <a:spcAft>
                  <a:spcPct val="35000"/>
                </a:spcAft>
                <a:defRPr/>
              </a:pPr>
              <a:endParaRPr lang="en-US" sz="533" kern="0" dirty="0">
                <a:solidFill>
                  <a:srgbClr val="141414"/>
                </a:solidFill>
                <a:latin typeface="Calibri"/>
              </a:endParaRPr>
            </a:p>
            <a:p>
              <a:pPr algn="ctr" defTabSz="577359">
                <a:lnSpc>
                  <a:spcPct val="80000"/>
                </a:lnSpc>
                <a:spcBef>
                  <a:spcPct val="0"/>
                </a:spcBef>
                <a:spcAft>
                  <a:spcPct val="35000"/>
                </a:spcAft>
                <a:defRPr/>
              </a:pPr>
              <a:r>
                <a:rPr lang="en-US" sz="1065" kern="0" dirty="0">
                  <a:solidFill>
                    <a:srgbClr val="141414"/>
                  </a:solidFill>
                  <a:latin typeface="Calibri"/>
                </a:rPr>
                <a:t>Bundle A &amp; Bundle B Processes</a:t>
              </a:r>
            </a:p>
          </p:txBody>
        </p:sp>
        <p:sp>
          <p:nvSpPr>
            <p:cNvPr id="38" name="Rectangle 37"/>
            <p:cNvSpPr/>
            <p:nvPr/>
          </p:nvSpPr>
          <p:spPr>
            <a:xfrm>
              <a:off x="8324622" y="2491045"/>
              <a:ext cx="2562808" cy="1732642"/>
            </a:xfrm>
            <a:prstGeom prst="rect">
              <a:avLst/>
            </a:prstGeom>
            <a:solidFill>
              <a:schemeClr val="bg1">
                <a:lumMod val="65000"/>
              </a:schemeClr>
            </a:solidFill>
            <a:ln w="9525" cap="flat" cmpd="sng" algn="ctr">
              <a:noFill/>
              <a:prstDash val="solid"/>
            </a:ln>
            <a:effectLst/>
          </p:spPr>
          <p:txBody>
            <a:bodyPr rtlCol="0" anchor="t" anchorCtr="0"/>
            <a:lstStyle/>
            <a:p>
              <a:pPr algn="ctr" defTabSz="608838">
                <a:lnSpc>
                  <a:spcPct val="80000"/>
                </a:lnSpc>
                <a:defRPr/>
              </a:pPr>
              <a:r>
                <a:rPr lang="en-US" sz="1332" b="1" kern="0" dirty="0">
                  <a:ln w="0"/>
                  <a:solidFill>
                    <a:srgbClr val="000000"/>
                  </a:solidFill>
                  <a:latin typeface="Calibri"/>
                </a:rPr>
                <a:t>SERVICE </a:t>
              </a:r>
              <a:br>
                <a:rPr lang="en-US" sz="1332" b="1" kern="0" dirty="0">
                  <a:ln w="0"/>
                  <a:solidFill>
                    <a:srgbClr val="000000"/>
                  </a:solidFill>
                  <a:latin typeface="Calibri"/>
                </a:rPr>
              </a:br>
              <a:r>
                <a:rPr lang="en-US" sz="1332" b="1" kern="0" dirty="0">
                  <a:ln w="0"/>
                  <a:solidFill>
                    <a:srgbClr val="000000"/>
                  </a:solidFill>
                  <a:latin typeface="Calibri"/>
                </a:rPr>
                <a:t>PERFORMANCE MGMT.</a:t>
              </a:r>
            </a:p>
          </p:txBody>
        </p:sp>
        <p:sp>
          <p:nvSpPr>
            <p:cNvPr id="39" name="Rounded Rectangle 38"/>
            <p:cNvSpPr/>
            <p:nvPr/>
          </p:nvSpPr>
          <p:spPr>
            <a:xfrm>
              <a:off x="8455388" y="2869035"/>
              <a:ext cx="2321222" cy="228817"/>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upplier Performance Mgmt.</a:t>
              </a:r>
            </a:p>
          </p:txBody>
        </p:sp>
        <p:sp>
          <p:nvSpPr>
            <p:cNvPr id="40" name="Rounded Rectangle 39"/>
            <p:cNvSpPr/>
            <p:nvPr/>
          </p:nvSpPr>
          <p:spPr>
            <a:xfrm>
              <a:off x="8455388" y="3134829"/>
              <a:ext cx="2321222" cy="228817"/>
            </a:xfrm>
            <a:prstGeom prst="roundRect">
              <a:avLst/>
            </a:prstGeom>
            <a:solidFill>
              <a:schemeClr val="accent6"/>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Continual Service Improvement &amp; Innovation</a:t>
              </a:r>
            </a:p>
          </p:txBody>
        </p:sp>
        <p:sp>
          <p:nvSpPr>
            <p:cNvPr id="41" name="Rounded Rectangle 40"/>
            <p:cNvSpPr/>
            <p:nvPr/>
          </p:nvSpPr>
          <p:spPr>
            <a:xfrm>
              <a:off x="8455388" y="3395094"/>
              <a:ext cx="2321222" cy="228817"/>
            </a:xfrm>
            <a:prstGeom prst="roundRect">
              <a:avLst/>
            </a:prstGeom>
            <a:solidFill>
              <a:schemeClr val="accent6"/>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LA &amp; KPI Reporting</a:t>
              </a:r>
            </a:p>
          </p:txBody>
        </p:sp>
        <p:sp>
          <p:nvSpPr>
            <p:cNvPr id="42" name="Rounded Rectangle 41"/>
            <p:cNvSpPr/>
            <p:nvPr/>
          </p:nvSpPr>
          <p:spPr>
            <a:xfrm>
              <a:off x="8455388" y="3655361"/>
              <a:ext cx="2321222" cy="228817"/>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Feedback Management</a:t>
              </a:r>
            </a:p>
          </p:txBody>
        </p:sp>
        <p:sp>
          <p:nvSpPr>
            <p:cNvPr id="43" name="Rounded Rectangle 42"/>
            <p:cNvSpPr/>
            <p:nvPr/>
          </p:nvSpPr>
          <p:spPr>
            <a:xfrm>
              <a:off x="8467834" y="3918561"/>
              <a:ext cx="2321222" cy="228817"/>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Customer Experience Management (CEM)</a:t>
              </a:r>
            </a:p>
          </p:txBody>
        </p:sp>
        <p:cxnSp>
          <p:nvCxnSpPr>
            <p:cNvPr id="44" name="Straight Arrow Connector 43"/>
            <p:cNvCxnSpPr/>
            <p:nvPr/>
          </p:nvCxnSpPr>
          <p:spPr>
            <a:xfrm>
              <a:off x="5657291" y="3466829"/>
              <a:ext cx="356259" cy="6179"/>
            </a:xfrm>
            <a:prstGeom prst="straightConnector1">
              <a:avLst/>
            </a:prstGeom>
            <a:solidFill>
              <a:srgbClr val="F3C71E"/>
            </a:solidFill>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8286078" y="3493903"/>
              <a:ext cx="356259" cy="6179"/>
            </a:xfrm>
            <a:prstGeom prst="straightConnector1">
              <a:avLst/>
            </a:prstGeom>
            <a:solidFill>
              <a:srgbClr val="F3C71E"/>
            </a:solidFill>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620548" y="2620497"/>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096895" y="2630958"/>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626036" y="2633068"/>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094755" y="4397464"/>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570283" y="4397464"/>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9589857" y="4374587"/>
              <a:ext cx="2138" cy="238343"/>
            </a:xfrm>
            <a:prstGeom prst="straightConnector1">
              <a:avLst/>
            </a:prstGeom>
            <a:ln>
              <a:no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240202" y="2206765"/>
              <a:ext cx="323351" cy="0"/>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1240202" y="4866404"/>
              <a:ext cx="323351" cy="0"/>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10699809" y="2206765"/>
              <a:ext cx="377996" cy="0"/>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10699809" y="4866404"/>
              <a:ext cx="377996" cy="0"/>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3570282" y="1555104"/>
              <a:ext cx="0" cy="247516"/>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9585948" y="1554599"/>
              <a:ext cx="358" cy="248020"/>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3568025" y="5802895"/>
              <a:ext cx="0" cy="258277"/>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9599019" y="5251837"/>
              <a:ext cx="0" cy="258277"/>
            </a:xfrm>
            <a:prstGeom prst="straightConnector1">
              <a:avLst/>
            </a:prstGeom>
            <a:ln>
              <a:noFill/>
              <a:tailEnd type="triangle"/>
            </a:ln>
            <a:effectLst/>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1515368" y="4489081"/>
              <a:ext cx="1339117" cy="271586"/>
            </a:xfrm>
            <a:prstGeom prst="roundRect">
              <a:avLst/>
            </a:prstGeom>
            <a:solidFill>
              <a:srgbClr val="00B0F0"/>
            </a:solidFill>
            <a:ln w="25400" cap="flat" cmpd="sng" algn="ctr">
              <a:noFill/>
              <a:prstDash val="solid"/>
            </a:ln>
            <a:effectLst/>
          </p:spPr>
          <p:txBody>
            <a:bodyPr spcFirstLastPara="0" vert="horz" wrap="square" lIns="121771" tIns="299351" rIns="121771" bIns="299351" numCol="1" spcCol="1270" anchor="ctr" anchorCtr="0">
              <a:noAutofit/>
            </a:bodyPr>
            <a:lstStyle/>
            <a:p>
              <a:pPr algn="ctr" defTabSz="2886793">
                <a:lnSpc>
                  <a:spcPct val="80000"/>
                </a:lnSpc>
                <a:spcBef>
                  <a:spcPct val="0"/>
                </a:spcBef>
                <a:spcAft>
                  <a:spcPct val="35000"/>
                </a:spcAft>
                <a:defRPr/>
              </a:pPr>
              <a:r>
                <a:rPr lang="en-US" sz="1065" kern="0" dirty="0">
                  <a:solidFill>
                    <a:srgbClr val="141414"/>
                  </a:solidFill>
                  <a:latin typeface="Calibri"/>
                </a:rPr>
                <a:t>Sumologic</a:t>
              </a:r>
            </a:p>
          </p:txBody>
        </p:sp>
        <p:sp>
          <p:nvSpPr>
            <p:cNvPr id="74" name="Freeform 73"/>
            <p:cNvSpPr/>
            <p:nvPr/>
          </p:nvSpPr>
          <p:spPr>
            <a:xfrm>
              <a:off x="2452479" y="530996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tIns="243840" rtlCol="0" anchor="ctr"/>
            <a:lstStyle/>
            <a:p>
              <a:pPr algn="ctr" defTabSz="1219170">
                <a:defRPr/>
              </a:pPr>
              <a:endParaRPr lang="en-US" sz="933" b="1" kern="0" dirty="0">
                <a:solidFill>
                  <a:srgbClr val="F79646">
                    <a:lumMod val="50000"/>
                  </a:srgbClr>
                </a:solidFill>
              </a:endParaRPr>
            </a:p>
          </p:txBody>
        </p:sp>
        <p:sp>
          <p:nvSpPr>
            <p:cNvPr id="82" name="Freeform 81"/>
            <p:cNvSpPr/>
            <p:nvPr/>
          </p:nvSpPr>
          <p:spPr>
            <a:xfrm>
              <a:off x="3262568" y="530996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1</a:t>
              </a:r>
            </a:p>
          </p:txBody>
        </p:sp>
        <p:sp>
          <p:nvSpPr>
            <p:cNvPr id="83" name="Freeform 82"/>
            <p:cNvSpPr/>
            <p:nvPr/>
          </p:nvSpPr>
          <p:spPr>
            <a:xfrm>
              <a:off x="4072660" y="530996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2</a:t>
              </a:r>
            </a:p>
          </p:txBody>
        </p:sp>
        <p:sp>
          <p:nvSpPr>
            <p:cNvPr id="84" name="Freeform 83"/>
            <p:cNvSpPr/>
            <p:nvPr/>
          </p:nvSpPr>
          <p:spPr>
            <a:xfrm>
              <a:off x="4882748" y="530996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3</a:t>
              </a:r>
            </a:p>
          </p:txBody>
        </p:sp>
        <p:sp>
          <p:nvSpPr>
            <p:cNvPr id="85" name="Freeform 84"/>
            <p:cNvSpPr/>
            <p:nvPr/>
          </p:nvSpPr>
          <p:spPr>
            <a:xfrm>
              <a:off x="6525969" y="5307452"/>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5</a:t>
              </a:r>
            </a:p>
          </p:txBody>
        </p:sp>
        <p:sp>
          <p:nvSpPr>
            <p:cNvPr id="86" name="Freeform 85"/>
            <p:cNvSpPr/>
            <p:nvPr/>
          </p:nvSpPr>
          <p:spPr>
            <a:xfrm>
              <a:off x="5692837" y="530996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4</a:t>
              </a:r>
            </a:p>
          </p:txBody>
        </p:sp>
        <p:sp>
          <p:nvSpPr>
            <p:cNvPr id="87" name="Freeform 86"/>
            <p:cNvSpPr/>
            <p:nvPr/>
          </p:nvSpPr>
          <p:spPr>
            <a:xfrm>
              <a:off x="7348531" y="5318156"/>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Supplier 06</a:t>
              </a:r>
            </a:p>
          </p:txBody>
        </p:sp>
        <p:sp>
          <p:nvSpPr>
            <p:cNvPr id="88" name="Freeform 87"/>
            <p:cNvSpPr/>
            <p:nvPr/>
          </p:nvSpPr>
          <p:spPr>
            <a:xfrm>
              <a:off x="8565815" y="5308320"/>
              <a:ext cx="753295" cy="676499"/>
            </a:xfrm>
            <a:custGeom>
              <a:avLst/>
              <a:gdLst>
                <a:gd name="connsiteX0" fmla="*/ 234191 w 468382"/>
                <a:gd name="connsiteY0" fmla="*/ 0 h 1197914"/>
                <a:gd name="connsiteX1" fmla="*/ 468382 w 468382"/>
                <a:gd name="connsiteY1" fmla="*/ 283514 h 1197914"/>
                <a:gd name="connsiteX2" fmla="*/ 468382 w 468382"/>
                <a:gd name="connsiteY2" fmla="*/ 1197914 h 1197914"/>
                <a:gd name="connsiteX3" fmla="*/ 0 w 468382"/>
                <a:gd name="connsiteY3" fmla="*/ 1197914 h 1197914"/>
                <a:gd name="connsiteX4" fmla="*/ 0 w 468382"/>
                <a:gd name="connsiteY4" fmla="*/ 283514 h 1197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382" h="1197914">
                  <a:moveTo>
                    <a:pt x="234191" y="0"/>
                  </a:moveTo>
                  <a:lnTo>
                    <a:pt x="468382" y="283514"/>
                  </a:lnTo>
                  <a:lnTo>
                    <a:pt x="468382" y="1197914"/>
                  </a:lnTo>
                  <a:lnTo>
                    <a:pt x="0" y="1197914"/>
                  </a:lnTo>
                  <a:lnTo>
                    <a:pt x="0" y="283514"/>
                  </a:lnTo>
                  <a:close/>
                </a:path>
              </a:pathLst>
            </a:custGeom>
            <a:solidFill>
              <a:sysClr val="window" lastClr="FFFFFF"/>
            </a:solidFill>
            <a:ln w="3175" cap="flat" cmpd="sng" algn="ctr">
              <a:solidFill>
                <a:schemeClr val="tx1">
                  <a:lumMod val="50000"/>
                  <a:lumOff val="50000"/>
                </a:schemeClr>
              </a:solidFill>
              <a:prstDash val="solid"/>
            </a:ln>
            <a:effectLst/>
          </p:spPr>
          <p:txBody>
            <a:bodyPr vert="horz" tIns="243840" rtlCol="0" anchor="ctr"/>
            <a:lstStyle/>
            <a:p>
              <a:pPr algn="ctr" defTabSz="1219170">
                <a:defRPr/>
              </a:pPr>
              <a:r>
                <a:rPr lang="en-US" sz="1067" kern="0" dirty="0">
                  <a:solidFill>
                    <a:prstClr val="black"/>
                  </a:solidFill>
                  <a:latin typeface="Calibri"/>
                </a:rPr>
                <a:t>Other Suppliers</a:t>
              </a:r>
            </a:p>
          </p:txBody>
        </p:sp>
        <p:sp>
          <p:nvSpPr>
            <p:cNvPr id="89" name="TextBox 88"/>
            <p:cNvSpPr txBox="1"/>
            <p:nvPr/>
          </p:nvSpPr>
          <p:spPr>
            <a:xfrm>
              <a:off x="2547903" y="5601787"/>
              <a:ext cx="561051" cy="164212"/>
            </a:xfrm>
            <a:prstGeom prst="rect">
              <a:avLst/>
            </a:prstGeom>
            <a:ln w="3175">
              <a:noFill/>
            </a:ln>
          </p:spPr>
          <p:txBody>
            <a:bodyPr wrap="none" lIns="0" tIns="0" rIns="0" bIns="0" rtlCol="0">
              <a:spAutoFit/>
            </a:bodyPr>
            <a:lstStyle/>
            <a:p>
              <a:r>
                <a:rPr lang="en-US" sz="1067" b="1" kern="0" dirty="0">
                  <a:solidFill>
                    <a:srgbClr val="F79646">
                      <a:lumMod val="50000"/>
                    </a:srgbClr>
                  </a:solidFill>
                </a:rPr>
                <a:t>Cognizant</a:t>
              </a:r>
            </a:p>
          </p:txBody>
        </p:sp>
        <p:sp>
          <p:nvSpPr>
            <p:cNvPr id="8" name="Rectangle 7"/>
            <p:cNvSpPr/>
            <p:nvPr/>
          </p:nvSpPr>
          <p:spPr>
            <a:xfrm>
              <a:off x="822961" y="4881029"/>
              <a:ext cx="10621987" cy="421654"/>
            </a:xfrm>
            <a:prstGeom prst="rect">
              <a:avLst/>
            </a:prstGeom>
          </p:spPr>
          <p:txBody>
            <a:bodyPr wrap="square">
              <a:spAutoFit/>
            </a:bodyPr>
            <a:lstStyle/>
            <a:p>
              <a:pPr algn="ctr" defTabSz="456811">
                <a:lnSpc>
                  <a:spcPct val="80000"/>
                </a:lnSpc>
                <a:spcAft>
                  <a:spcPts val="599"/>
                </a:spcAft>
                <a:defRPr/>
              </a:pPr>
              <a:r>
                <a:rPr lang="en-US" sz="1050" b="1" kern="0" dirty="0">
                  <a:solidFill>
                    <a:srgbClr val="FFFFFF"/>
                  </a:solidFill>
                </a:rPr>
                <a:t>Service Provider Ecosystem</a:t>
              </a:r>
            </a:p>
            <a:p>
              <a:pPr algn="ctr" defTabSz="456811">
                <a:lnSpc>
                  <a:spcPct val="80000"/>
                </a:lnSpc>
                <a:spcAft>
                  <a:spcPts val="599"/>
                </a:spcAft>
                <a:defRPr/>
              </a:pPr>
              <a:r>
                <a:rPr lang="en-US" sz="1000" kern="0" dirty="0">
                  <a:solidFill>
                    <a:srgbClr val="FFFFFF"/>
                  </a:solidFill>
                </a:rPr>
                <a:t>Cloud Service Provider |  Application Service Provider |  Infrastructure Service Provider |  Network Service Provider |  Service Desk &amp; Workplace Service Provider</a:t>
              </a:r>
            </a:p>
          </p:txBody>
        </p:sp>
      </p:grpSp>
    </p:spTree>
    <p:extLst>
      <p:ext uri="{BB962C8B-B14F-4D97-AF65-F5344CB8AC3E}">
        <p14:creationId xmlns:p14="http://schemas.microsoft.com/office/powerpoint/2010/main" val="212819059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ur transformation focus areas for Marriott International </a:t>
            </a:r>
          </a:p>
        </p:txBody>
      </p:sp>
      <p:sp>
        <p:nvSpPr>
          <p:cNvPr id="5" name="TextBox 4"/>
          <p:cNvSpPr txBox="1"/>
          <p:nvPr/>
        </p:nvSpPr>
        <p:spPr>
          <a:xfrm>
            <a:off x="1638809" y="1363138"/>
            <a:ext cx="3747508" cy="429268"/>
          </a:xfrm>
          <a:prstGeom prst="rect">
            <a:avLst/>
          </a:prstGeom>
          <a:noFill/>
        </p:spPr>
        <p:txBody>
          <a:bodyPr wrap="square" lIns="0" tIns="0" rIns="0" bIns="0" rtlCol="0">
            <a:noAutofit/>
          </a:bodyPr>
          <a:lstStyle/>
          <a:p>
            <a:pPr defTabSz="609523">
              <a:defRPr/>
            </a:pPr>
            <a:r>
              <a:rPr lang="en-US" sz="2667" b="1" dirty="0">
                <a:gradFill>
                  <a:gsLst>
                    <a:gs pos="0">
                      <a:srgbClr val="4298B5"/>
                    </a:gs>
                    <a:gs pos="100000">
                      <a:srgbClr val="6DB33F"/>
                    </a:gs>
                  </a:gsLst>
                  <a:lin ang="0" scaled="0"/>
                </a:gradFill>
                <a:cs typeface="Arial" panose="020B0604020202020204" pitchFamily="34" charset="0"/>
              </a:rPr>
              <a:t>Run Different Themes</a:t>
            </a:r>
            <a:endParaRPr lang="en-US" sz="1867" b="1" dirty="0">
              <a:solidFill>
                <a:srgbClr val="00728F"/>
              </a:solidFill>
              <a:cs typeface="Arial" panose="020B0604020202020204" pitchFamily="34" charset="0"/>
            </a:endParaRPr>
          </a:p>
        </p:txBody>
      </p:sp>
      <p:grpSp>
        <p:nvGrpSpPr>
          <p:cNvPr id="6" name="Group 5">
            <a:extLst>
              <a:ext uri="{FF2B5EF4-FFF2-40B4-BE49-F238E27FC236}">
                <a16:creationId xmlns:a16="http://schemas.microsoft.com/office/drawing/2014/main" id="{B640AEA2-C08C-7540-B1AD-32920A0BA09D}"/>
              </a:ext>
            </a:extLst>
          </p:cNvPr>
          <p:cNvGrpSpPr/>
          <p:nvPr/>
        </p:nvGrpSpPr>
        <p:grpSpPr>
          <a:xfrm>
            <a:off x="512065" y="1119680"/>
            <a:ext cx="957924" cy="907069"/>
            <a:chOff x="347537" y="642127"/>
            <a:chExt cx="914400" cy="914400"/>
          </a:xfrm>
        </p:grpSpPr>
        <p:sp>
          <p:nvSpPr>
            <p:cNvPr id="7" name="Oval 6">
              <a:extLst>
                <a:ext uri="{FF2B5EF4-FFF2-40B4-BE49-F238E27FC236}">
                  <a16:creationId xmlns:a16="http://schemas.microsoft.com/office/drawing/2014/main" id="{5E10B6AD-85FB-884C-A64B-81DE2E37E5E5}"/>
                </a:ext>
              </a:extLst>
            </p:cNvPr>
            <p:cNvSpPr/>
            <p:nvPr/>
          </p:nvSpPr>
          <p:spPr>
            <a:xfrm>
              <a:off x="347537" y="642127"/>
              <a:ext cx="914400" cy="914400"/>
            </a:xfrm>
            <a:prstGeom prst="ellipse">
              <a:avLst/>
            </a:prstGeom>
            <a:gradFill rotWithShape="1">
              <a:gsLst>
                <a:gs pos="0">
                  <a:srgbClr val="4298B5"/>
                </a:gs>
                <a:gs pos="100000">
                  <a:srgbClr val="6DB33F"/>
                </a:gs>
              </a:gsLst>
              <a:lin ang="0" scaled="0"/>
            </a:gradFill>
            <a:ln w="9525" cap="flat" cmpd="sng" algn="ctr">
              <a:noFill/>
              <a:prstDash val="solid"/>
            </a:ln>
            <a:effectLst/>
          </p:spPr>
          <p:txBody>
            <a:bodyPr rtlCol="0" anchor="ctr"/>
            <a:lstStyle/>
            <a:p>
              <a:pPr algn="ctr" defTabSz="1219170">
                <a:defRPr/>
              </a:pPr>
              <a:endParaRPr lang="en-US" sz="2400" kern="0" dirty="0">
                <a:solidFill>
                  <a:prstClr val="white"/>
                </a:solidFill>
                <a:latin typeface="Calibri"/>
              </a:endParaRPr>
            </a:p>
          </p:txBody>
        </p:sp>
        <p:pic>
          <p:nvPicPr>
            <p:cNvPr id="8" name="Picture 7">
              <a:extLst>
                <a:ext uri="{FF2B5EF4-FFF2-40B4-BE49-F238E27FC236}">
                  <a16:creationId xmlns:a16="http://schemas.microsoft.com/office/drawing/2014/main" id="{927B1D69-E4E9-5547-81AC-C94CBA1347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5463" y="733551"/>
              <a:ext cx="738548" cy="738548"/>
            </a:xfrm>
            <a:prstGeom prst="rect">
              <a:avLst/>
            </a:prstGeom>
          </p:spPr>
        </p:pic>
      </p:grpSp>
      <p:graphicFrame>
        <p:nvGraphicFramePr>
          <p:cNvPr id="9" name="Table 8">
            <a:extLst>
              <a:ext uri="{FF2B5EF4-FFF2-40B4-BE49-F238E27FC236}">
                <a16:creationId xmlns:a16="http://schemas.microsoft.com/office/drawing/2014/main" id="{2D6A6AAF-9696-B642-8949-9A16C3341583}"/>
              </a:ext>
            </a:extLst>
          </p:cNvPr>
          <p:cNvGraphicFramePr>
            <a:graphicFrameLocks noGrp="1"/>
          </p:cNvGraphicFramePr>
          <p:nvPr>
            <p:extLst/>
          </p:nvPr>
        </p:nvGraphicFramePr>
        <p:xfrm>
          <a:off x="401415" y="2615350"/>
          <a:ext cx="11299008" cy="2734329"/>
        </p:xfrm>
        <a:graphic>
          <a:graphicData uri="http://schemas.openxmlformats.org/drawingml/2006/table">
            <a:tbl>
              <a:tblPr firstRow="1" bandRow="1"/>
              <a:tblGrid>
                <a:gridCol w="2824752">
                  <a:extLst>
                    <a:ext uri="{9D8B030D-6E8A-4147-A177-3AD203B41FA5}">
                      <a16:colId xmlns:a16="http://schemas.microsoft.com/office/drawing/2014/main" val="3657002431"/>
                    </a:ext>
                  </a:extLst>
                </a:gridCol>
                <a:gridCol w="2824752">
                  <a:extLst>
                    <a:ext uri="{9D8B030D-6E8A-4147-A177-3AD203B41FA5}">
                      <a16:colId xmlns:a16="http://schemas.microsoft.com/office/drawing/2014/main" val="2919962780"/>
                    </a:ext>
                  </a:extLst>
                </a:gridCol>
                <a:gridCol w="2824752">
                  <a:extLst>
                    <a:ext uri="{9D8B030D-6E8A-4147-A177-3AD203B41FA5}">
                      <a16:colId xmlns:a16="http://schemas.microsoft.com/office/drawing/2014/main" val="930005568"/>
                    </a:ext>
                  </a:extLst>
                </a:gridCol>
                <a:gridCol w="2824752">
                  <a:extLst>
                    <a:ext uri="{9D8B030D-6E8A-4147-A177-3AD203B41FA5}">
                      <a16:colId xmlns:a16="http://schemas.microsoft.com/office/drawing/2014/main" val="1718369041"/>
                    </a:ext>
                  </a:extLst>
                </a:gridCol>
              </a:tblGrid>
              <a:tr h="2734329">
                <a:tc>
                  <a:txBody>
                    <a:bodyPr/>
                    <a:lstStyle>
                      <a:lvl1pPr marL="0" algn="l" defTabSz="914378" rtl="0" eaLnBrk="1" latinLnBrk="0" hangingPunct="1">
                        <a:defRPr sz="1800" kern="1200">
                          <a:solidFill>
                            <a:schemeClr val="dk1"/>
                          </a:solidFill>
                          <a:latin typeface="Calibri"/>
                        </a:defRPr>
                      </a:lvl1pPr>
                      <a:lvl2pPr marL="457189" algn="l" defTabSz="914378" rtl="0" eaLnBrk="1" latinLnBrk="0" hangingPunct="1">
                        <a:defRPr sz="1800" kern="1200">
                          <a:solidFill>
                            <a:schemeClr val="dk1"/>
                          </a:solidFill>
                          <a:latin typeface="Calibri"/>
                        </a:defRPr>
                      </a:lvl2pPr>
                      <a:lvl3pPr marL="914378" algn="l" defTabSz="914378" rtl="0" eaLnBrk="1" latinLnBrk="0" hangingPunct="1">
                        <a:defRPr sz="1800" kern="1200">
                          <a:solidFill>
                            <a:schemeClr val="dk1"/>
                          </a:solidFill>
                          <a:latin typeface="Calibri"/>
                        </a:defRPr>
                      </a:lvl3pPr>
                      <a:lvl4pPr marL="1371566" algn="l" defTabSz="914378" rtl="0" eaLnBrk="1" latinLnBrk="0" hangingPunct="1">
                        <a:defRPr sz="1800" kern="1200">
                          <a:solidFill>
                            <a:schemeClr val="dk1"/>
                          </a:solidFill>
                          <a:latin typeface="Calibri"/>
                        </a:defRPr>
                      </a:lvl4pPr>
                      <a:lvl5pPr marL="1828754" algn="l" defTabSz="914378" rtl="0" eaLnBrk="1" latinLnBrk="0" hangingPunct="1">
                        <a:defRPr sz="1800" kern="1200">
                          <a:solidFill>
                            <a:schemeClr val="dk1"/>
                          </a:solidFill>
                          <a:latin typeface="Calibri"/>
                        </a:defRPr>
                      </a:lvl5pPr>
                      <a:lvl6pPr marL="2285943" algn="l" defTabSz="914378" rtl="0" eaLnBrk="1" latinLnBrk="0" hangingPunct="1">
                        <a:defRPr sz="1800" kern="1200">
                          <a:solidFill>
                            <a:schemeClr val="dk1"/>
                          </a:solidFill>
                          <a:latin typeface="Calibri"/>
                        </a:defRPr>
                      </a:lvl6pPr>
                      <a:lvl7pPr marL="2743132" algn="l" defTabSz="914378" rtl="0" eaLnBrk="1" latinLnBrk="0" hangingPunct="1">
                        <a:defRPr sz="1800" kern="1200">
                          <a:solidFill>
                            <a:schemeClr val="dk1"/>
                          </a:solidFill>
                          <a:latin typeface="Calibri"/>
                        </a:defRPr>
                      </a:lvl7pPr>
                      <a:lvl8pPr marL="3200320" algn="l" defTabSz="914378" rtl="0" eaLnBrk="1" latinLnBrk="0" hangingPunct="1">
                        <a:defRPr sz="1800" kern="1200">
                          <a:solidFill>
                            <a:schemeClr val="dk1"/>
                          </a:solidFill>
                          <a:latin typeface="Calibri"/>
                        </a:defRPr>
                      </a:lvl8pPr>
                      <a:lvl9pPr marL="3657509" algn="l" defTabSz="914378" rtl="0" eaLnBrk="1" latinLnBrk="0" hangingPunct="1">
                        <a:defRPr sz="1800" kern="1200">
                          <a:solidFill>
                            <a:schemeClr val="dk1"/>
                          </a:solidFill>
                          <a:latin typeface="Calibri"/>
                        </a:defRPr>
                      </a:lvl9pPr>
                    </a:lstStyle>
                    <a:p>
                      <a:pPr algn="ctr"/>
                      <a:endParaRPr lang="en-US" sz="2400" b="1" dirty="0" smtClean="0">
                        <a:solidFill>
                          <a:schemeClr val="bg1"/>
                        </a:solidFill>
                        <a:latin typeface="Calibri" panose="020F0502020204030204" pitchFamily="34" charset="0"/>
                        <a:cs typeface="Calibri" panose="020F050202020403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lang="en-US" sz="1900" b="1" dirty="0" smtClean="0">
                          <a:solidFill>
                            <a:schemeClr val="bg1"/>
                          </a:solidFill>
                          <a:latin typeface="Calibri" panose="020F0502020204030204" pitchFamily="34" charset="0"/>
                          <a:cs typeface="Calibri" panose="020F0502020204030204" pitchFamily="34" charset="0"/>
                        </a:rPr>
                        <a:t>APPLENS</a:t>
                      </a:r>
                      <a:r>
                        <a:rPr lang="en-US" sz="1900" b="1" baseline="30000" dirty="0" smtClean="0">
                          <a:solidFill>
                            <a:schemeClr val="bg1"/>
                          </a:solidFill>
                          <a:latin typeface="Calibri" panose="020F0502020204030204" pitchFamily="34" charset="0"/>
                          <a:cs typeface="Calibri" panose="020F0502020204030204" pitchFamily="34" charset="0"/>
                        </a:rPr>
                        <a:t>TM - </a:t>
                      </a:r>
                      <a:r>
                        <a:rPr lang="en-US" sz="1900" b="1" dirty="0" smtClean="0">
                          <a:solidFill>
                            <a:schemeClr val="bg1"/>
                          </a:solidFill>
                          <a:latin typeface="Calibri" panose="020F0502020204030204" pitchFamily="34" charset="0"/>
                          <a:cs typeface="Calibri" panose="020F0502020204030204" pitchFamily="34" charset="0"/>
                        </a:rPr>
                        <a:t>AI/ML BASED DIAGNOSTICS</a:t>
                      </a:r>
                    </a:p>
                    <a:p>
                      <a:pPr algn="ctr"/>
                      <a:endParaRPr lang="en-US" sz="1900" b="1" dirty="0" smtClean="0">
                        <a:solidFill>
                          <a:schemeClr val="bg1"/>
                        </a:solidFill>
                        <a:latin typeface="Calibri" panose="020F0502020204030204" pitchFamily="34" charset="0"/>
                        <a:cs typeface="Calibri" panose="020F0502020204030204" pitchFamily="34" charset="0"/>
                      </a:endParaRPr>
                    </a:p>
                  </a:txBody>
                  <a:tcPr marL="121920" marR="121920" marT="60960" marB="60960">
                    <a:lnL w="57150" cap="flat" cmpd="sng" algn="ctr">
                      <a:solidFill>
                        <a:srgbClr val="92D050"/>
                      </a:solidFill>
                      <a:prstDash val="solid"/>
                      <a:round/>
                      <a:headEnd type="none" w="med" len="med"/>
                      <a:tailEnd type="none" w="med" len="med"/>
                    </a:lnL>
                    <a:lnR w="57150" cap="flat" cmpd="sng" algn="ctr">
                      <a:solidFill>
                        <a:srgbClr val="92D050"/>
                      </a:solidFill>
                      <a:prstDash val="solid"/>
                      <a:round/>
                      <a:headEnd type="none" w="med" len="med"/>
                      <a:tailEnd type="none" w="med" len="med"/>
                    </a:lnR>
                    <a:lnT w="57150" cap="flat" cmpd="sng" algn="ctr">
                      <a:solidFill>
                        <a:srgbClr val="92D050"/>
                      </a:solidFill>
                      <a:prstDash val="solid"/>
                      <a:round/>
                      <a:headEnd type="none" w="med" len="med"/>
                      <a:tailEnd type="none" w="med" len="med"/>
                    </a:lnT>
                    <a:lnB w="57150" cap="flat" cmpd="sng" algn="ctr">
                      <a:solidFill>
                        <a:srgbClr val="92D05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78" rtl="0" eaLnBrk="1" latinLnBrk="0" hangingPunct="1">
                        <a:defRPr sz="1800" kern="1200">
                          <a:solidFill>
                            <a:schemeClr val="dk1"/>
                          </a:solidFill>
                          <a:latin typeface="Calibri"/>
                        </a:defRPr>
                      </a:lvl1pPr>
                      <a:lvl2pPr marL="457189" algn="l" defTabSz="914378" rtl="0" eaLnBrk="1" latinLnBrk="0" hangingPunct="1">
                        <a:defRPr sz="1800" kern="1200">
                          <a:solidFill>
                            <a:schemeClr val="dk1"/>
                          </a:solidFill>
                          <a:latin typeface="Calibri"/>
                        </a:defRPr>
                      </a:lvl2pPr>
                      <a:lvl3pPr marL="914378" algn="l" defTabSz="914378" rtl="0" eaLnBrk="1" latinLnBrk="0" hangingPunct="1">
                        <a:defRPr sz="1800" kern="1200">
                          <a:solidFill>
                            <a:schemeClr val="dk1"/>
                          </a:solidFill>
                          <a:latin typeface="Calibri"/>
                        </a:defRPr>
                      </a:lvl3pPr>
                      <a:lvl4pPr marL="1371566" algn="l" defTabSz="914378" rtl="0" eaLnBrk="1" latinLnBrk="0" hangingPunct="1">
                        <a:defRPr sz="1800" kern="1200">
                          <a:solidFill>
                            <a:schemeClr val="dk1"/>
                          </a:solidFill>
                          <a:latin typeface="Calibri"/>
                        </a:defRPr>
                      </a:lvl4pPr>
                      <a:lvl5pPr marL="1828754" algn="l" defTabSz="914378" rtl="0" eaLnBrk="1" latinLnBrk="0" hangingPunct="1">
                        <a:defRPr sz="1800" kern="1200">
                          <a:solidFill>
                            <a:schemeClr val="dk1"/>
                          </a:solidFill>
                          <a:latin typeface="Calibri"/>
                        </a:defRPr>
                      </a:lvl5pPr>
                      <a:lvl6pPr marL="2285943" algn="l" defTabSz="914378" rtl="0" eaLnBrk="1" latinLnBrk="0" hangingPunct="1">
                        <a:defRPr sz="1800" kern="1200">
                          <a:solidFill>
                            <a:schemeClr val="dk1"/>
                          </a:solidFill>
                          <a:latin typeface="Calibri"/>
                        </a:defRPr>
                      </a:lvl6pPr>
                      <a:lvl7pPr marL="2743132" algn="l" defTabSz="914378" rtl="0" eaLnBrk="1" latinLnBrk="0" hangingPunct="1">
                        <a:defRPr sz="1800" kern="1200">
                          <a:solidFill>
                            <a:schemeClr val="dk1"/>
                          </a:solidFill>
                          <a:latin typeface="Calibri"/>
                        </a:defRPr>
                      </a:lvl7pPr>
                      <a:lvl8pPr marL="3200320" algn="l" defTabSz="914378" rtl="0" eaLnBrk="1" latinLnBrk="0" hangingPunct="1">
                        <a:defRPr sz="1800" kern="1200">
                          <a:solidFill>
                            <a:schemeClr val="dk1"/>
                          </a:solidFill>
                          <a:latin typeface="Calibri"/>
                        </a:defRPr>
                      </a:lvl8pPr>
                      <a:lvl9pPr marL="3657509" algn="l" defTabSz="914378" rtl="0" eaLnBrk="1" latinLnBrk="0" hangingPunct="1">
                        <a:defRPr sz="1800" kern="1200">
                          <a:solidFill>
                            <a:schemeClr val="dk1"/>
                          </a:solidFill>
                          <a:latin typeface="Calibri"/>
                        </a:defRPr>
                      </a:lvl9pPr>
                    </a:lstStyle>
                    <a:p>
                      <a:pPr marL="0" algn="ctr" defTabSz="457200" rtl="0" eaLnBrk="1" latinLnBrk="0" hangingPunct="1"/>
                      <a:endParaRPr lang="en-US" sz="2400" b="1" kern="1200" dirty="0" smtClean="0">
                        <a:solidFill>
                          <a:schemeClr val="bg1"/>
                        </a:solidFill>
                        <a:latin typeface="Calibri" panose="020F0502020204030204" pitchFamily="34" charset="0"/>
                        <a:ea typeface="+mn-ea"/>
                        <a:cs typeface="Calibri" panose="020F0502020204030204" pitchFamily="34" charset="0"/>
                      </a:endParaRPr>
                    </a:p>
                    <a:p>
                      <a:pPr marL="0" algn="ctr" defTabSz="457200" rtl="0" eaLnBrk="1" latinLnBrk="0" hangingPunct="1"/>
                      <a:r>
                        <a:rPr lang="en-US" sz="1900" b="1" kern="1200" dirty="0" smtClean="0">
                          <a:solidFill>
                            <a:schemeClr val="bg1"/>
                          </a:solidFill>
                          <a:latin typeface="Calibri" panose="020F0502020204030204" pitchFamily="34" charset="0"/>
                          <a:ea typeface="+mn-ea"/>
                          <a:cs typeface="Calibri" panose="020F0502020204030204" pitchFamily="34" charset="0"/>
                        </a:rPr>
                        <a:t>MONITORING TRANSFORMATION WITH</a:t>
                      </a:r>
                      <a:r>
                        <a:rPr lang="en-US" sz="1900" b="1" kern="1200" baseline="0" dirty="0" smtClean="0">
                          <a:solidFill>
                            <a:schemeClr val="bg1"/>
                          </a:solidFill>
                          <a:latin typeface="Calibri" panose="020F0502020204030204" pitchFamily="34" charset="0"/>
                          <a:ea typeface="+mn-ea"/>
                          <a:cs typeface="Calibri" panose="020F0502020204030204" pitchFamily="34" charset="0"/>
                        </a:rPr>
                        <a:t> UNIFIED PREDICTIVE INTELLIGENCE DASHBOARD 3.0</a:t>
                      </a:r>
                      <a:endParaRPr lang="en-US" sz="1900" b="1" kern="1200" dirty="0">
                        <a:solidFill>
                          <a:schemeClr val="bg1"/>
                        </a:solidFill>
                        <a:latin typeface="Calibri" panose="020F0502020204030204" pitchFamily="34" charset="0"/>
                        <a:ea typeface="+mn-ea"/>
                        <a:cs typeface="Calibri" panose="020F0502020204030204" pitchFamily="34" charset="0"/>
                      </a:endParaRPr>
                    </a:p>
                  </a:txBody>
                  <a:tcPr marL="121920" marR="121920" marT="60960" marB="60960">
                    <a:lnL w="57150" cap="flat" cmpd="sng" algn="ctr">
                      <a:solidFill>
                        <a:srgbClr val="92D050"/>
                      </a:solidFill>
                      <a:prstDash val="solid"/>
                      <a:round/>
                      <a:headEnd type="none" w="med" len="med"/>
                      <a:tailEnd type="none" w="med" len="med"/>
                    </a:lnL>
                    <a:lnR w="57150" cap="flat" cmpd="sng" algn="ctr">
                      <a:solidFill>
                        <a:srgbClr val="92D050"/>
                      </a:solidFill>
                      <a:prstDash val="solid"/>
                      <a:round/>
                      <a:headEnd type="none" w="med" len="med"/>
                      <a:tailEnd type="none" w="med" len="med"/>
                    </a:lnR>
                    <a:lnT w="57150" cap="flat" cmpd="sng" algn="ctr">
                      <a:solidFill>
                        <a:srgbClr val="92D050"/>
                      </a:solidFill>
                      <a:prstDash val="solid"/>
                      <a:round/>
                      <a:headEnd type="none" w="med" len="med"/>
                      <a:tailEnd type="none" w="med" len="med"/>
                    </a:lnT>
                    <a:lnB w="57150" cap="flat" cmpd="sng" algn="ctr">
                      <a:solidFill>
                        <a:srgbClr val="92D05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78" rtl="0" eaLnBrk="1" latinLnBrk="0" hangingPunct="1">
                        <a:defRPr sz="1800" kern="1200">
                          <a:solidFill>
                            <a:schemeClr val="dk1"/>
                          </a:solidFill>
                          <a:latin typeface="Calibri"/>
                        </a:defRPr>
                      </a:lvl1pPr>
                      <a:lvl2pPr marL="457189" algn="l" defTabSz="914378" rtl="0" eaLnBrk="1" latinLnBrk="0" hangingPunct="1">
                        <a:defRPr sz="1800" kern="1200">
                          <a:solidFill>
                            <a:schemeClr val="dk1"/>
                          </a:solidFill>
                          <a:latin typeface="Calibri"/>
                        </a:defRPr>
                      </a:lvl2pPr>
                      <a:lvl3pPr marL="914378" algn="l" defTabSz="914378" rtl="0" eaLnBrk="1" latinLnBrk="0" hangingPunct="1">
                        <a:defRPr sz="1800" kern="1200">
                          <a:solidFill>
                            <a:schemeClr val="dk1"/>
                          </a:solidFill>
                          <a:latin typeface="Calibri"/>
                        </a:defRPr>
                      </a:lvl3pPr>
                      <a:lvl4pPr marL="1371566" algn="l" defTabSz="914378" rtl="0" eaLnBrk="1" latinLnBrk="0" hangingPunct="1">
                        <a:defRPr sz="1800" kern="1200">
                          <a:solidFill>
                            <a:schemeClr val="dk1"/>
                          </a:solidFill>
                          <a:latin typeface="Calibri"/>
                        </a:defRPr>
                      </a:lvl4pPr>
                      <a:lvl5pPr marL="1828754" algn="l" defTabSz="914378" rtl="0" eaLnBrk="1" latinLnBrk="0" hangingPunct="1">
                        <a:defRPr sz="1800" kern="1200">
                          <a:solidFill>
                            <a:schemeClr val="dk1"/>
                          </a:solidFill>
                          <a:latin typeface="Calibri"/>
                        </a:defRPr>
                      </a:lvl5pPr>
                      <a:lvl6pPr marL="2285943" algn="l" defTabSz="914378" rtl="0" eaLnBrk="1" latinLnBrk="0" hangingPunct="1">
                        <a:defRPr sz="1800" kern="1200">
                          <a:solidFill>
                            <a:schemeClr val="dk1"/>
                          </a:solidFill>
                          <a:latin typeface="Calibri"/>
                        </a:defRPr>
                      </a:lvl6pPr>
                      <a:lvl7pPr marL="2743132" algn="l" defTabSz="914378" rtl="0" eaLnBrk="1" latinLnBrk="0" hangingPunct="1">
                        <a:defRPr sz="1800" kern="1200">
                          <a:solidFill>
                            <a:schemeClr val="dk1"/>
                          </a:solidFill>
                          <a:latin typeface="Calibri"/>
                        </a:defRPr>
                      </a:lvl7pPr>
                      <a:lvl8pPr marL="3200320" algn="l" defTabSz="914378" rtl="0" eaLnBrk="1" latinLnBrk="0" hangingPunct="1">
                        <a:defRPr sz="1800" kern="1200">
                          <a:solidFill>
                            <a:schemeClr val="dk1"/>
                          </a:solidFill>
                          <a:latin typeface="Calibri"/>
                        </a:defRPr>
                      </a:lvl8pPr>
                      <a:lvl9pPr marL="3657509" algn="l" defTabSz="914378" rtl="0" eaLnBrk="1" latinLnBrk="0" hangingPunct="1">
                        <a:defRPr sz="1800" kern="1200">
                          <a:solidFill>
                            <a:schemeClr val="dk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400" b="1" kern="1200" dirty="0" smtClean="0">
                        <a:solidFill>
                          <a:schemeClr val="bg1"/>
                        </a:solidFill>
                        <a:latin typeface="Calibri" panose="020F0502020204030204" pitchFamily="34" charset="0"/>
                        <a:ea typeface="+mn-ea"/>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900" b="1" kern="1200" dirty="0" smtClean="0">
                          <a:solidFill>
                            <a:schemeClr val="bg1"/>
                          </a:solidFill>
                          <a:latin typeface="Calibri" panose="020F0502020204030204" pitchFamily="34" charset="0"/>
                          <a:ea typeface="+mn-ea"/>
                          <a:cs typeface="Calibri" panose="020F0502020204030204" pitchFamily="34" charset="0"/>
                        </a:rPr>
                        <a:t>OUR AUTOMATION</a:t>
                      </a:r>
                      <a:r>
                        <a:rPr lang="en-US" sz="1900" b="1" kern="1200" baseline="0" dirty="0" smtClean="0">
                          <a:solidFill>
                            <a:schemeClr val="bg1"/>
                          </a:solidFill>
                          <a:latin typeface="Calibri" panose="020F0502020204030204" pitchFamily="34" charset="0"/>
                          <a:ea typeface="+mn-ea"/>
                          <a:cs typeface="Calibri" panose="020F0502020204030204" pitchFamily="34" charset="0"/>
                        </a:rPr>
                        <a:t> APPROACH</a:t>
                      </a:r>
                      <a:endParaRPr lang="en-US" sz="1900" b="1" kern="1200" dirty="0" smtClean="0">
                        <a:solidFill>
                          <a:schemeClr val="bg1"/>
                        </a:solidFill>
                        <a:latin typeface="Calibri" panose="020F0502020204030204" pitchFamily="34" charset="0"/>
                        <a:ea typeface="+mn-ea"/>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900" b="1" kern="1200" dirty="0" smtClean="0">
                        <a:solidFill>
                          <a:schemeClr val="bg1"/>
                        </a:solidFill>
                        <a:latin typeface="Calibri" panose="020F0502020204030204" pitchFamily="34" charset="0"/>
                        <a:ea typeface="+mn-ea"/>
                        <a:cs typeface="Calibri" panose="020F0502020204030204" pitchFamily="34" charset="0"/>
                      </a:endParaRPr>
                    </a:p>
                  </a:txBody>
                  <a:tcPr marL="121920" marR="121920" marT="60960" marB="60960">
                    <a:lnL w="57150" cap="flat" cmpd="sng" algn="ctr">
                      <a:solidFill>
                        <a:srgbClr val="92D050"/>
                      </a:solidFill>
                      <a:prstDash val="solid"/>
                      <a:round/>
                      <a:headEnd type="none" w="med" len="med"/>
                      <a:tailEnd type="none" w="med" len="med"/>
                    </a:lnL>
                    <a:lnR w="57150" cap="flat" cmpd="sng" algn="ctr">
                      <a:solidFill>
                        <a:srgbClr val="92D050"/>
                      </a:solidFill>
                      <a:prstDash val="solid"/>
                      <a:round/>
                      <a:headEnd type="none" w="med" len="med"/>
                      <a:tailEnd type="none" w="med" len="med"/>
                    </a:lnR>
                    <a:lnT w="57150" cap="flat" cmpd="sng" algn="ctr">
                      <a:solidFill>
                        <a:srgbClr val="92D050"/>
                      </a:solidFill>
                      <a:prstDash val="solid"/>
                      <a:round/>
                      <a:headEnd type="none" w="med" len="med"/>
                      <a:tailEnd type="none" w="med" len="med"/>
                    </a:lnT>
                    <a:lnB w="57150" cap="flat" cmpd="sng" algn="ctr">
                      <a:solidFill>
                        <a:srgbClr val="92D05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78" rtl="0" eaLnBrk="1" latinLnBrk="0" hangingPunct="1">
                        <a:defRPr sz="1800" kern="1200">
                          <a:solidFill>
                            <a:schemeClr val="dk1"/>
                          </a:solidFill>
                          <a:latin typeface="Calibri"/>
                        </a:defRPr>
                      </a:lvl1pPr>
                      <a:lvl2pPr marL="457189" algn="l" defTabSz="914378" rtl="0" eaLnBrk="1" latinLnBrk="0" hangingPunct="1">
                        <a:defRPr sz="1800" kern="1200">
                          <a:solidFill>
                            <a:schemeClr val="dk1"/>
                          </a:solidFill>
                          <a:latin typeface="Calibri"/>
                        </a:defRPr>
                      </a:lvl2pPr>
                      <a:lvl3pPr marL="914378" algn="l" defTabSz="914378" rtl="0" eaLnBrk="1" latinLnBrk="0" hangingPunct="1">
                        <a:defRPr sz="1800" kern="1200">
                          <a:solidFill>
                            <a:schemeClr val="dk1"/>
                          </a:solidFill>
                          <a:latin typeface="Calibri"/>
                        </a:defRPr>
                      </a:lvl3pPr>
                      <a:lvl4pPr marL="1371566" algn="l" defTabSz="914378" rtl="0" eaLnBrk="1" latinLnBrk="0" hangingPunct="1">
                        <a:defRPr sz="1800" kern="1200">
                          <a:solidFill>
                            <a:schemeClr val="dk1"/>
                          </a:solidFill>
                          <a:latin typeface="Calibri"/>
                        </a:defRPr>
                      </a:lvl4pPr>
                      <a:lvl5pPr marL="1828754" algn="l" defTabSz="914378" rtl="0" eaLnBrk="1" latinLnBrk="0" hangingPunct="1">
                        <a:defRPr sz="1800" kern="1200">
                          <a:solidFill>
                            <a:schemeClr val="dk1"/>
                          </a:solidFill>
                          <a:latin typeface="Calibri"/>
                        </a:defRPr>
                      </a:lvl5pPr>
                      <a:lvl6pPr marL="2285943" algn="l" defTabSz="914378" rtl="0" eaLnBrk="1" latinLnBrk="0" hangingPunct="1">
                        <a:defRPr sz="1800" kern="1200">
                          <a:solidFill>
                            <a:schemeClr val="dk1"/>
                          </a:solidFill>
                          <a:latin typeface="Calibri"/>
                        </a:defRPr>
                      </a:lvl6pPr>
                      <a:lvl7pPr marL="2743132" algn="l" defTabSz="914378" rtl="0" eaLnBrk="1" latinLnBrk="0" hangingPunct="1">
                        <a:defRPr sz="1800" kern="1200">
                          <a:solidFill>
                            <a:schemeClr val="dk1"/>
                          </a:solidFill>
                          <a:latin typeface="Calibri"/>
                        </a:defRPr>
                      </a:lvl7pPr>
                      <a:lvl8pPr marL="3200320" algn="l" defTabSz="914378" rtl="0" eaLnBrk="1" latinLnBrk="0" hangingPunct="1">
                        <a:defRPr sz="1800" kern="1200">
                          <a:solidFill>
                            <a:schemeClr val="dk1"/>
                          </a:solidFill>
                          <a:latin typeface="Calibri"/>
                        </a:defRPr>
                      </a:lvl8pPr>
                      <a:lvl9pPr marL="3657509" algn="l" defTabSz="914378" rtl="0" eaLnBrk="1" latinLnBrk="0" hangingPunct="1">
                        <a:defRPr sz="1800" kern="1200">
                          <a:solidFill>
                            <a:schemeClr val="dk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400" b="1" kern="1200" dirty="0" smtClean="0">
                        <a:solidFill>
                          <a:schemeClr val="bg1"/>
                        </a:solidFill>
                        <a:latin typeface="Calibri" panose="020F0502020204030204" pitchFamily="34" charset="0"/>
                        <a:ea typeface="+mn-ea"/>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900" b="1" kern="1200" dirty="0" smtClean="0">
                          <a:solidFill>
                            <a:schemeClr val="bg1"/>
                          </a:solidFill>
                          <a:latin typeface="Calibri" panose="020F0502020204030204" pitchFamily="34" charset="0"/>
                          <a:ea typeface="+mn-ea"/>
                          <a:cs typeface="Calibri" panose="020F0502020204030204" pitchFamily="34" charset="0"/>
                        </a:rPr>
                        <a:t>SERVICE MANAGEMENT TRANSFORMATION</a:t>
                      </a:r>
                    </a:p>
                  </a:txBody>
                  <a:tcPr marL="121920" marR="121920" marT="60960" marB="60960">
                    <a:lnL w="57150" cap="flat" cmpd="sng" algn="ctr">
                      <a:solidFill>
                        <a:srgbClr val="92D050"/>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757450956"/>
                  </a:ext>
                </a:extLst>
              </a:tr>
            </a:tbl>
          </a:graphicData>
        </a:graphic>
      </p:graphicFrame>
      <p:sp>
        <p:nvSpPr>
          <p:cNvPr id="10" name="Oval 9">
            <a:extLst>
              <a:ext uri="{FF2B5EF4-FFF2-40B4-BE49-F238E27FC236}">
                <a16:creationId xmlns:a16="http://schemas.microsoft.com/office/drawing/2014/main" id="{42CD869C-4CAA-ED43-8221-D716610BD640}"/>
              </a:ext>
            </a:extLst>
          </p:cNvPr>
          <p:cNvSpPr/>
          <p:nvPr/>
        </p:nvSpPr>
        <p:spPr>
          <a:xfrm>
            <a:off x="1469528" y="2323257"/>
            <a:ext cx="609600" cy="60960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1</a:t>
            </a:r>
          </a:p>
        </p:txBody>
      </p:sp>
      <p:sp>
        <p:nvSpPr>
          <p:cNvPr id="11" name="Oval 10">
            <a:extLst>
              <a:ext uri="{FF2B5EF4-FFF2-40B4-BE49-F238E27FC236}">
                <a16:creationId xmlns:a16="http://schemas.microsoft.com/office/drawing/2014/main" id="{42CD869C-4CAA-ED43-8221-D716610BD640}"/>
              </a:ext>
            </a:extLst>
          </p:cNvPr>
          <p:cNvSpPr/>
          <p:nvPr/>
        </p:nvSpPr>
        <p:spPr>
          <a:xfrm>
            <a:off x="4313115" y="2323257"/>
            <a:ext cx="609600" cy="60960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2</a:t>
            </a:r>
          </a:p>
        </p:txBody>
      </p:sp>
      <p:sp>
        <p:nvSpPr>
          <p:cNvPr id="12" name="Oval 11">
            <a:extLst>
              <a:ext uri="{FF2B5EF4-FFF2-40B4-BE49-F238E27FC236}">
                <a16:creationId xmlns:a16="http://schemas.microsoft.com/office/drawing/2014/main" id="{42CD869C-4CAA-ED43-8221-D716610BD640}"/>
              </a:ext>
            </a:extLst>
          </p:cNvPr>
          <p:cNvSpPr/>
          <p:nvPr/>
        </p:nvSpPr>
        <p:spPr>
          <a:xfrm>
            <a:off x="7076472" y="2330984"/>
            <a:ext cx="609600" cy="60960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3</a:t>
            </a:r>
          </a:p>
        </p:txBody>
      </p:sp>
      <p:sp>
        <p:nvSpPr>
          <p:cNvPr id="13" name="Oval 12">
            <a:extLst>
              <a:ext uri="{FF2B5EF4-FFF2-40B4-BE49-F238E27FC236}">
                <a16:creationId xmlns:a16="http://schemas.microsoft.com/office/drawing/2014/main" id="{42CD869C-4CAA-ED43-8221-D716610BD640}"/>
              </a:ext>
            </a:extLst>
          </p:cNvPr>
          <p:cNvSpPr/>
          <p:nvPr/>
        </p:nvSpPr>
        <p:spPr>
          <a:xfrm>
            <a:off x="9960116" y="2339832"/>
            <a:ext cx="609600" cy="609600"/>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grpSp>
        <p:nvGrpSpPr>
          <p:cNvPr id="15" name="Group 14"/>
          <p:cNvGrpSpPr/>
          <p:nvPr/>
        </p:nvGrpSpPr>
        <p:grpSpPr>
          <a:xfrm>
            <a:off x="4269457" y="4560594"/>
            <a:ext cx="735835" cy="684007"/>
            <a:chOff x="7560470" y="3740152"/>
            <a:chExt cx="638175" cy="638175"/>
          </a:xfrm>
          <a:solidFill>
            <a:sysClr val="window" lastClr="FFFFFF"/>
          </a:solidFill>
        </p:grpSpPr>
        <p:sp>
          <p:nvSpPr>
            <p:cNvPr id="16" name="Freeform 19"/>
            <p:cNvSpPr>
              <a:spLocks noEditPoints="1"/>
            </p:cNvSpPr>
            <p:nvPr/>
          </p:nvSpPr>
          <p:spPr bwMode="auto">
            <a:xfrm>
              <a:off x="7744620" y="3925889"/>
              <a:ext cx="269875" cy="268288"/>
            </a:xfrm>
            <a:custGeom>
              <a:avLst/>
              <a:gdLst>
                <a:gd name="T0" fmla="*/ 256 w 270"/>
                <a:gd name="T1" fmla="*/ 104 h 269"/>
                <a:gd name="T2" fmla="*/ 243 w 270"/>
                <a:gd name="T3" fmla="*/ 104 h 269"/>
                <a:gd name="T4" fmla="*/ 232 w 270"/>
                <a:gd name="T5" fmla="*/ 79 h 269"/>
                <a:gd name="T6" fmla="*/ 242 w 270"/>
                <a:gd name="T7" fmla="*/ 69 h 269"/>
                <a:gd name="T8" fmla="*/ 242 w 270"/>
                <a:gd name="T9" fmla="*/ 51 h 269"/>
                <a:gd name="T10" fmla="*/ 218 w 270"/>
                <a:gd name="T11" fmla="*/ 27 h 269"/>
                <a:gd name="T12" fmla="*/ 199 w 270"/>
                <a:gd name="T13" fmla="*/ 27 h 269"/>
                <a:gd name="T14" fmla="*/ 190 w 270"/>
                <a:gd name="T15" fmla="*/ 36 h 269"/>
                <a:gd name="T16" fmla="*/ 164 w 270"/>
                <a:gd name="T17" fmla="*/ 26 h 269"/>
                <a:gd name="T18" fmla="*/ 164 w 270"/>
                <a:gd name="T19" fmla="*/ 13 h 269"/>
                <a:gd name="T20" fmla="*/ 151 w 270"/>
                <a:gd name="T21" fmla="*/ 0 h 269"/>
                <a:gd name="T22" fmla="*/ 118 w 270"/>
                <a:gd name="T23" fmla="*/ 0 h 269"/>
                <a:gd name="T24" fmla="*/ 105 w 270"/>
                <a:gd name="T25" fmla="*/ 13 h 269"/>
                <a:gd name="T26" fmla="*/ 105 w 270"/>
                <a:gd name="T27" fmla="*/ 26 h 269"/>
                <a:gd name="T28" fmla="*/ 79 w 270"/>
                <a:gd name="T29" fmla="*/ 37 h 269"/>
                <a:gd name="T30" fmla="*/ 70 w 270"/>
                <a:gd name="T31" fmla="*/ 27 h 269"/>
                <a:gd name="T32" fmla="*/ 52 w 270"/>
                <a:gd name="T33" fmla="*/ 27 h 269"/>
                <a:gd name="T34" fmla="*/ 28 w 270"/>
                <a:gd name="T35" fmla="*/ 51 h 269"/>
                <a:gd name="T36" fmla="*/ 28 w 270"/>
                <a:gd name="T37" fmla="*/ 70 h 269"/>
                <a:gd name="T38" fmla="*/ 37 w 270"/>
                <a:gd name="T39" fmla="*/ 79 h 269"/>
                <a:gd name="T40" fmla="*/ 26 w 270"/>
                <a:gd name="T41" fmla="*/ 105 h 269"/>
                <a:gd name="T42" fmla="*/ 14 w 270"/>
                <a:gd name="T43" fmla="*/ 105 h 269"/>
                <a:gd name="T44" fmla="*/ 0 w 270"/>
                <a:gd name="T45" fmla="*/ 117 h 269"/>
                <a:gd name="T46" fmla="*/ 0 w 270"/>
                <a:gd name="T47" fmla="*/ 151 h 269"/>
                <a:gd name="T48" fmla="*/ 14 w 270"/>
                <a:gd name="T49" fmla="*/ 164 h 269"/>
                <a:gd name="T50" fmla="*/ 27 w 270"/>
                <a:gd name="T51" fmla="*/ 164 h 269"/>
                <a:gd name="T52" fmla="*/ 37 w 270"/>
                <a:gd name="T53" fmla="*/ 190 h 269"/>
                <a:gd name="T54" fmla="*/ 28 w 270"/>
                <a:gd name="T55" fmla="*/ 199 h 269"/>
                <a:gd name="T56" fmla="*/ 28 w 270"/>
                <a:gd name="T57" fmla="*/ 217 h 269"/>
                <a:gd name="T58" fmla="*/ 52 w 270"/>
                <a:gd name="T59" fmla="*/ 241 h 269"/>
                <a:gd name="T60" fmla="*/ 70 w 270"/>
                <a:gd name="T61" fmla="*/ 241 h 269"/>
                <a:gd name="T62" fmla="*/ 80 w 270"/>
                <a:gd name="T63" fmla="*/ 232 h 269"/>
                <a:gd name="T64" fmla="*/ 105 w 270"/>
                <a:gd name="T65" fmla="*/ 242 h 269"/>
                <a:gd name="T66" fmla="*/ 105 w 270"/>
                <a:gd name="T67" fmla="*/ 256 h 269"/>
                <a:gd name="T68" fmla="*/ 118 w 270"/>
                <a:gd name="T69" fmla="*/ 269 h 269"/>
                <a:gd name="T70" fmla="*/ 152 w 270"/>
                <a:gd name="T71" fmla="*/ 269 h 269"/>
                <a:gd name="T72" fmla="*/ 165 w 270"/>
                <a:gd name="T73" fmla="*/ 256 h 269"/>
                <a:gd name="T74" fmla="*/ 165 w 270"/>
                <a:gd name="T75" fmla="*/ 242 h 269"/>
                <a:gd name="T76" fmla="*/ 191 w 270"/>
                <a:gd name="T77" fmla="*/ 232 h 269"/>
                <a:gd name="T78" fmla="*/ 200 w 270"/>
                <a:gd name="T79" fmla="*/ 241 h 269"/>
                <a:gd name="T80" fmla="*/ 219 w 270"/>
                <a:gd name="T81" fmla="*/ 241 h 269"/>
                <a:gd name="T82" fmla="*/ 242 w 270"/>
                <a:gd name="T83" fmla="*/ 217 h 269"/>
                <a:gd name="T84" fmla="*/ 242 w 270"/>
                <a:gd name="T85" fmla="*/ 199 h 269"/>
                <a:gd name="T86" fmla="*/ 233 w 270"/>
                <a:gd name="T87" fmla="*/ 190 h 269"/>
                <a:gd name="T88" fmla="*/ 244 w 270"/>
                <a:gd name="T89" fmla="*/ 164 h 269"/>
                <a:gd name="T90" fmla="*/ 257 w 270"/>
                <a:gd name="T91" fmla="*/ 164 h 269"/>
                <a:gd name="T92" fmla="*/ 270 w 270"/>
                <a:gd name="T93" fmla="*/ 151 h 269"/>
                <a:gd name="T94" fmla="*/ 270 w 270"/>
                <a:gd name="T95" fmla="*/ 117 h 269"/>
                <a:gd name="T96" fmla="*/ 256 w 270"/>
                <a:gd name="T97" fmla="*/ 104 h 269"/>
                <a:gd name="T98" fmla="*/ 135 w 270"/>
                <a:gd name="T99" fmla="*/ 194 h 269"/>
                <a:gd name="T100" fmla="*/ 75 w 270"/>
                <a:gd name="T101" fmla="*/ 134 h 269"/>
                <a:gd name="T102" fmla="*/ 135 w 270"/>
                <a:gd name="T103" fmla="*/ 74 h 269"/>
                <a:gd name="T104" fmla="*/ 194 w 270"/>
                <a:gd name="T105" fmla="*/ 134 h 269"/>
                <a:gd name="T106" fmla="*/ 135 w 270"/>
                <a:gd name="T107" fmla="*/ 19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9">
                  <a:moveTo>
                    <a:pt x="256" y="104"/>
                  </a:moveTo>
                  <a:cubicBezTo>
                    <a:pt x="243" y="104"/>
                    <a:pt x="243" y="104"/>
                    <a:pt x="243" y="104"/>
                  </a:cubicBezTo>
                  <a:cubicBezTo>
                    <a:pt x="240" y="95"/>
                    <a:pt x="237" y="87"/>
                    <a:pt x="232" y="79"/>
                  </a:cubicBezTo>
                  <a:cubicBezTo>
                    <a:pt x="242" y="69"/>
                    <a:pt x="242" y="69"/>
                    <a:pt x="242" y="69"/>
                  </a:cubicBezTo>
                  <a:cubicBezTo>
                    <a:pt x="247" y="64"/>
                    <a:pt x="247" y="56"/>
                    <a:pt x="242" y="51"/>
                  </a:cubicBezTo>
                  <a:cubicBezTo>
                    <a:pt x="218" y="27"/>
                    <a:pt x="218" y="27"/>
                    <a:pt x="218" y="27"/>
                  </a:cubicBezTo>
                  <a:cubicBezTo>
                    <a:pt x="213" y="22"/>
                    <a:pt x="204" y="22"/>
                    <a:pt x="199" y="27"/>
                  </a:cubicBezTo>
                  <a:cubicBezTo>
                    <a:pt x="190" y="36"/>
                    <a:pt x="190" y="36"/>
                    <a:pt x="190" y="36"/>
                  </a:cubicBezTo>
                  <a:cubicBezTo>
                    <a:pt x="182" y="32"/>
                    <a:pt x="174" y="28"/>
                    <a:pt x="164" y="26"/>
                  </a:cubicBezTo>
                  <a:cubicBezTo>
                    <a:pt x="164" y="13"/>
                    <a:pt x="164" y="13"/>
                    <a:pt x="164" y="13"/>
                  </a:cubicBezTo>
                  <a:cubicBezTo>
                    <a:pt x="165" y="6"/>
                    <a:pt x="159" y="0"/>
                    <a:pt x="151" y="0"/>
                  </a:cubicBezTo>
                  <a:cubicBezTo>
                    <a:pt x="118" y="0"/>
                    <a:pt x="118" y="0"/>
                    <a:pt x="118" y="0"/>
                  </a:cubicBezTo>
                  <a:cubicBezTo>
                    <a:pt x="111" y="0"/>
                    <a:pt x="105" y="6"/>
                    <a:pt x="105" y="13"/>
                  </a:cubicBezTo>
                  <a:cubicBezTo>
                    <a:pt x="105" y="26"/>
                    <a:pt x="105" y="26"/>
                    <a:pt x="105" y="26"/>
                  </a:cubicBezTo>
                  <a:cubicBezTo>
                    <a:pt x="96" y="29"/>
                    <a:pt x="87" y="32"/>
                    <a:pt x="79" y="37"/>
                  </a:cubicBezTo>
                  <a:cubicBezTo>
                    <a:pt x="70" y="27"/>
                    <a:pt x="70" y="27"/>
                    <a:pt x="70" y="27"/>
                  </a:cubicBezTo>
                  <a:cubicBezTo>
                    <a:pt x="65" y="22"/>
                    <a:pt x="57" y="22"/>
                    <a:pt x="52" y="27"/>
                  </a:cubicBezTo>
                  <a:cubicBezTo>
                    <a:pt x="28" y="51"/>
                    <a:pt x="28" y="51"/>
                    <a:pt x="28" y="51"/>
                  </a:cubicBezTo>
                  <a:cubicBezTo>
                    <a:pt x="23" y="56"/>
                    <a:pt x="23" y="65"/>
                    <a:pt x="28" y="70"/>
                  </a:cubicBezTo>
                  <a:cubicBezTo>
                    <a:pt x="37" y="79"/>
                    <a:pt x="37" y="79"/>
                    <a:pt x="37" y="79"/>
                  </a:cubicBezTo>
                  <a:cubicBezTo>
                    <a:pt x="32" y="87"/>
                    <a:pt x="29" y="95"/>
                    <a:pt x="26" y="105"/>
                  </a:cubicBezTo>
                  <a:cubicBezTo>
                    <a:pt x="14" y="105"/>
                    <a:pt x="14" y="105"/>
                    <a:pt x="14" y="105"/>
                  </a:cubicBezTo>
                  <a:cubicBezTo>
                    <a:pt x="6" y="104"/>
                    <a:pt x="0" y="110"/>
                    <a:pt x="0" y="117"/>
                  </a:cubicBezTo>
                  <a:cubicBezTo>
                    <a:pt x="0" y="151"/>
                    <a:pt x="0" y="151"/>
                    <a:pt x="0" y="151"/>
                  </a:cubicBezTo>
                  <a:cubicBezTo>
                    <a:pt x="0" y="158"/>
                    <a:pt x="6" y="164"/>
                    <a:pt x="14" y="164"/>
                  </a:cubicBezTo>
                  <a:cubicBezTo>
                    <a:pt x="27" y="164"/>
                    <a:pt x="27" y="164"/>
                    <a:pt x="27" y="164"/>
                  </a:cubicBezTo>
                  <a:cubicBezTo>
                    <a:pt x="29" y="173"/>
                    <a:pt x="33" y="182"/>
                    <a:pt x="37" y="190"/>
                  </a:cubicBezTo>
                  <a:cubicBezTo>
                    <a:pt x="28" y="199"/>
                    <a:pt x="28" y="199"/>
                    <a:pt x="28" y="199"/>
                  </a:cubicBezTo>
                  <a:cubicBezTo>
                    <a:pt x="23" y="204"/>
                    <a:pt x="23" y="212"/>
                    <a:pt x="28" y="217"/>
                  </a:cubicBezTo>
                  <a:cubicBezTo>
                    <a:pt x="52" y="241"/>
                    <a:pt x="52" y="241"/>
                    <a:pt x="52" y="241"/>
                  </a:cubicBezTo>
                  <a:cubicBezTo>
                    <a:pt x="57" y="246"/>
                    <a:pt x="65" y="246"/>
                    <a:pt x="70" y="241"/>
                  </a:cubicBezTo>
                  <a:cubicBezTo>
                    <a:pt x="80" y="232"/>
                    <a:pt x="80" y="232"/>
                    <a:pt x="80" y="232"/>
                  </a:cubicBezTo>
                  <a:cubicBezTo>
                    <a:pt x="88" y="237"/>
                    <a:pt x="96" y="240"/>
                    <a:pt x="105" y="242"/>
                  </a:cubicBezTo>
                  <a:cubicBezTo>
                    <a:pt x="105" y="256"/>
                    <a:pt x="105" y="256"/>
                    <a:pt x="105" y="256"/>
                  </a:cubicBezTo>
                  <a:cubicBezTo>
                    <a:pt x="105" y="263"/>
                    <a:pt x="111" y="269"/>
                    <a:pt x="118" y="269"/>
                  </a:cubicBezTo>
                  <a:cubicBezTo>
                    <a:pt x="152" y="269"/>
                    <a:pt x="152" y="269"/>
                    <a:pt x="152" y="269"/>
                  </a:cubicBezTo>
                  <a:cubicBezTo>
                    <a:pt x="159" y="269"/>
                    <a:pt x="165" y="263"/>
                    <a:pt x="165" y="256"/>
                  </a:cubicBezTo>
                  <a:cubicBezTo>
                    <a:pt x="165" y="242"/>
                    <a:pt x="165" y="242"/>
                    <a:pt x="165" y="242"/>
                  </a:cubicBezTo>
                  <a:cubicBezTo>
                    <a:pt x="174" y="240"/>
                    <a:pt x="183" y="237"/>
                    <a:pt x="191" y="232"/>
                  </a:cubicBezTo>
                  <a:cubicBezTo>
                    <a:pt x="200" y="241"/>
                    <a:pt x="200" y="241"/>
                    <a:pt x="200" y="241"/>
                  </a:cubicBezTo>
                  <a:cubicBezTo>
                    <a:pt x="205" y="246"/>
                    <a:pt x="214" y="246"/>
                    <a:pt x="219" y="241"/>
                  </a:cubicBezTo>
                  <a:cubicBezTo>
                    <a:pt x="242" y="217"/>
                    <a:pt x="242" y="217"/>
                    <a:pt x="242" y="217"/>
                  </a:cubicBezTo>
                  <a:cubicBezTo>
                    <a:pt x="248" y="212"/>
                    <a:pt x="248" y="204"/>
                    <a:pt x="242" y="199"/>
                  </a:cubicBezTo>
                  <a:cubicBezTo>
                    <a:pt x="233" y="190"/>
                    <a:pt x="233" y="190"/>
                    <a:pt x="233" y="190"/>
                  </a:cubicBezTo>
                  <a:cubicBezTo>
                    <a:pt x="238" y="182"/>
                    <a:pt x="241" y="173"/>
                    <a:pt x="244" y="164"/>
                  </a:cubicBezTo>
                  <a:cubicBezTo>
                    <a:pt x="257" y="164"/>
                    <a:pt x="257" y="164"/>
                    <a:pt x="257" y="164"/>
                  </a:cubicBezTo>
                  <a:cubicBezTo>
                    <a:pt x="264" y="164"/>
                    <a:pt x="270" y="158"/>
                    <a:pt x="270" y="151"/>
                  </a:cubicBezTo>
                  <a:cubicBezTo>
                    <a:pt x="270" y="117"/>
                    <a:pt x="270" y="117"/>
                    <a:pt x="270" y="117"/>
                  </a:cubicBezTo>
                  <a:cubicBezTo>
                    <a:pt x="269" y="110"/>
                    <a:pt x="263" y="104"/>
                    <a:pt x="256" y="104"/>
                  </a:cubicBezTo>
                  <a:close/>
                  <a:moveTo>
                    <a:pt x="135" y="194"/>
                  </a:moveTo>
                  <a:cubicBezTo>
                    <a:pt x="102" y="194"/>
                    <a:pt x="75" y="167"/>
                    <a:pt x="75" y="134"/>
                  </a:cubicBezTo>
                  <a:cubicBezTo>
                    <a:pt x="75" y="101"/>
                    <a:pt x="102" y="74"/>
                    <a:pt x="135" y="74"/>
                  </a:cubicBezTo>
                  <a:cubicBezTo>
                    <a:pt x="168" y="74"/>
                    <a:pt x="194" y="101"/>
                    <a:pt x="194" y="134"/>
                  </a:cubicBezTo>
                  <a:cubicBezTo>
                    <a:pt x="194" y="167"/>
                    <a:pt x="168" y="194"/>
                    <a:pt x="135"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17" name="Freeform 20"/>
            <p:cNvSpPr>
              <a:spLocks noEditPoints="1"/>
            </p:cNvSpPr>
            <p:nvPr/>
          </p:nvSpPr>
          <p:spPr bwMode="auto">
            <a:xfrm>
              <a:off x="7560470" y="3740152"/>
              <a:ext cx="638175" cy="638175"/>
            </a:xfrm>
            <a:custGeom>
              <a:avLst/>
              <a:gdLst>
                <a:gd name="T0" fmla="*/ 609 w 642"/>
                <a:gd name="T1" fmla="*/ 249 h 640"/>
                <a:gd name="T2" fmla="*/ 577 w 642"/>
                <a:gd name="T3" fmla="*/ 249 h 640"/>
                <a:gd name="T4" fmla="*/ 552 w 642"/>
                <a:gd name="T5" fmla="*/ 188 h 640"/>
                <a:gd name="T6" fmla="*/ 574 w 642"/>
                <a:gd name="T7" fmla="*/ 166 h 640"/>
                <a:gd name="T8" fmla="*/ 574 w 642"/>
                <a:gd name="T9" fmla="*/ 122 h 640"/>
                <a:gd name="T10" fmla="*/ 518 w 642"/>
                <a:gd name="T11" fmla="*/ 65 h 640"/>
                <a:gd name="T12" fmla="*/ 474 w 642"/>
                <a:gd name="T13" fmla="*/ 65 h 640"/>
                <a:gd name="T14" fmla="*/ 452 w 642"/>
                <a:gd name="T15" fmla="*/ 87 h 640"/>
                <a:gd name="T16" fmla="*/ 390 w 642"/>
                <a:gd name="T17" fmla="*/ 62 h 640"/>
                <a:gd name="T18" fmla="*/ 390 w 642"/>
                <a:gd name="T19" fmla="*/ 32 h 640"/>
                <a:gd name="T20" fmla="*/ 360 w 642"/>
                <a:gd name="T21" fmla="*/ 0 h 640"/>
                <a:gd name="T22" fmla="*/ 280 w 642"/>
                <a:gd name="T23" fmla="*/ 0 h 640"/>
                <a:gd name="T24" fmla="*/ 249 w 642"/>
                <a:gd name="T25" fmla="*/ 32 h 640"/>
                <a:gd name="T26" fmla="*/ 249 w 642"/>
                <a:gd name="T27" fmla="*/ 63 h 640"/>
                <a:gd name="T28" fmla="*/ 188 w 642"/>
                <a:gd name="T29" fmla="*/ 88 h 640"/>
                <a:gd name="T30" fmla="*/ 166 w 642"/>
                <a:gd name="T31" fmla="*/ 66 h 640"/>
                <a:gd name="T32" fmla="*/ 122 w 642"/>
                <a:gd name="T33" fmla="*/ 66 h 640"/>
                <a:gd name="T34" fmla="*/ 65 w 642"/>
                <a:gd name="T35" fmla="*/ 122 h 640"/>
                <a:gd name="T36" fmla="*/ 65 w 642"/>
                <a:gd name="T37" fmla="*/ 166 h 640"/>
                <a:gd name="T38" fmla="*/ 87 w 642"/>
                <a:gd name="T39" fmla="*/ 189 h 640"/>
                <a:gd name="T40" fmla="*/ 62 w 642"/>
                <a:gd name="T41" fmla="*/ 250 h 640"/>
                <a:gd name="T42" fmla="*/ 32 w 642"/>
                <a:gd name="T43" fmla="*/ 250 h 640"/>
                <a:gd name="T44" fmla="*/ 0 w 642"/>
                <a:gd name="T45" fmla="*/ 280 h 640"/>
                <a:gd name="T46" fmla="*/ 0 w 642"/>
                <a:gd name="T47" fmla="*/ 360 h 640"/>
                <a:gd name="T48" fmla="*/ 32 w 642"/>
                <a:gd name="T49" fmla="*/ 391 h 640"/>
                <a:gd name="T50" fmla="*/ 63 w 642"/>
                <a:gd name="T51" fmla="*/ 391 h 640"/>
                <a:gd name="T52" fmla="*/ 88 w 642"/>
                <a:gd name="T53" fmla="*/ 452 h 640"/>
                <a:gd name="T54" fmla="*/ 66 w 642"/>
                <a:gd name="T55" fmla="*/ 474 h 640"/>
                <a:gd name="T56" fmla="*/ 66 w 642"/>
                <a:gd name="T57" fmla="*/ 518 h 640"/>
                <a:gd name="T58" fmla="*/ 123 w 642"/>
                <a:gd name="T59" fmla="*/ 575 h 640"/>
                <a:gd name="T60" fmla="*/ 167 w 642"/>
                <a:gd name="T61" fmla="*/ 575 h 640"/>
                <a:gd name="T62" fmla="*/ 189 w 642"/>
                <a:gd name="T63" fmla="*/ 553 h 640"/>
                <a:gd name="T64" fmla="*/ 250 w 642"/>
                <a:gd name="T65" fmla="*/ 578 h 640"/>
                <a:gd name="T66" fmla="*/ 250 w 642"/>
                <a:gd name="T67" fmla="*/ 609 h 640"/>
                <a:gd name="T68" fmla="*/ 281 w 642"/>
                <a:gd name="T69" fmla="*/ 640 h 640"/>
                <a:gd name="T70" fmla="*/ 361 w 642"/>
                <a:gd name="T71" fmla="*/ 640 h 640"/>
                <a:gd name="T72" fmla="*/ 393 w 642"/>
                <a:gd name="T73" fmla="*/ 609 h 640"/>
                <a:gd name="T74" fmla="*/ 393 w 642"/>
                <a:gd name="T75" fmla="*/ 578 h 640"/>
                <a:gd name="T76" fmla="*/ 454 w 642"/>
                <a:gd name="T77" fmla="*/ 553 h 640"/>
                <a:gd name="T78" fmla="*/ 476 w 642"/>
                <a:gd name="T79" fmla="*/ 575 h 640"/>
                <a:gd name="T80" fmla="*/ 520 w 642"/>
                <a:gd name="T81" fmla="*/ 575 h 640"/>
                <a:gd name="T82" fmla="*/ 577 w 642"/>
                <a:gd name="T83" fmla="*/ 518 h 640"/>
                <a:gd name="T84" fmla="*/ 577 w 642"/>
                <a:gd name="T85" fmla="*/ 474 h 640"/>
                <a:gd name="T86" fmla="*/ 555 w 642"/>
                <a:gd name="T87" fmla="*/ 452 h 640"/>
                <a:gd name="T88" fmla="*/ 579 w 642"/>
                <a:gd name="T89" fmla="*/ 391 h 640"/>
                <a:gd name="T90" fmla="*/ 611 w 642"/>
                <a:gd name="T91" fmla="*/ 391 h 640"/>
                <a:gd name="T92" fmla="*/ 642 w 642"/>
                <a:gd name="T93" fmla="*/ 360 h 640"/>
                <a:gd name="T94" fmla="*/ 642 w 642"/>
                <a:gd name="T95" fmla="*/ 280 h 640"/>
                <a:gd name="T96" fmla="*/ 609 w 642"/>
                <a:gd name="T97" fmla="*/ 249 h 640"/>
                <a:gd name="T98" fmla="*/ 320 w 642"/>
                <a:gd name="T99" fmla="*/ 515 h 640"/>
                <a:gd name="T100" fmla="*/ 126 w 642"/>
                <a:gd name="T101" fmla="*/ 320 h 640"/>
                <a:gd name="T102" fmla="*/ 320 w 642"/>
                <a:gd name="T103" fmla="*/ 125 h 640"/>
                <a:gd name="T104" fmla="*/ 515 w 642"/>
                <a:gd name="T105" fmla="*/ 320 h 640"/>
                <a:gd name="T106" fmla="*/ 320 w 642"/>
                <a:gd name="T107" fmla="*/ 515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2" h="640">
                  <a:moveTo>
                    <a:pt x="609" y="249"/>
                  </a:moveTo>
                  <a:cubicBezTo>
                    <a:pt x="577" y="249"/>
                    <a:pt x="577" y="249"/>
                    <a:pt x="577" y="249"/>
                  </a:cubicBezTo>
                  <a:cubicBezTo>
                    <a:pt x="572" y="228"/>
                    <a:pt x="563" y="207"/>
                    <a:pt x="552" y="188"/>
                  </a:cubicBezTo>
                  <a:cubicBezTo>
                    <a:pt x="574" y="166"/>
                    <a:pt x="574" y="166"/>
                    <a:pt x="574" y="166"/>
                  </a:cubicBezTo>
                  <a:cubicBezTo>
                    <a:pt x="587" y="154"/>
                    <a:pt x="587" y="134"/>
                    <a:pt x="574" y="122"/>
                  </a:cubicBezTo>
                  <a:cubicBezTo>
                    <a:pt x="518" y="65"/>
                    <a:pt x="518" y="65"/>
                    <a:pt x="518" y="65"/>
                  </a:cubicBezTo>
                  <a:cubicBezTo>
                    <a:pt x="506" y="53"/>
                    <a:pt x="486" y="53"/>
                    <a:pt x="474" y="65"/>
                  </a:cubicBezTo>
                  <a:cubicBezTo>
                    <a:pt x="452" y="87"/>
                    <a:pt x="452" y="87"/>
                    <a:pt x="452" y="87"/>
                  </a:cubicBezTo>
                  <a:cubicBezTo>
                    <a:pt x="432" y="76"/>
                    <a:pt x="413" y="68"/>
                    <a:pt x="390" y="62"/>
                  </a:cubicBezTo>
                  <a:cubicBezTo>
                    <a:pt x="390" y="32"/>
                    <a:pt x="390" y="32"/>
                    <a:pt x="390" y="32"/>
                  </a:cubicBezTo>
                  <a:cubicBezTo>
                    <a:pt x="391" y="14"/>
                    <a:pt x="377" y="0"/>
                    <a:pt x="360" y="0"/>
                  </a:cubicBezTo>
                  <a:cubicBezTo>
                    <a:pt x="280" y="0"/>
                    <a:pt x="280" y="0"/>
                    <a:pt x="280" y="0"/>
                  </a:cubicBezTo>
                  <a:cubicBezTo>
                    <a:pt x="263" y="0"/>
                    <a:pt x="249" y="14"/>
                    <a:pt x="249" y="32"/>
                  </a:cubicBezTo>
                  <a:cubicBezTo>
                    <a:pt x="249" y="63"/>
                    <a:pt x="249" y="63"/>
                    <a:pt x="249" y="63"/>
                  </a:cubicBezTo>
                  <a:cubicBezTo>
                    <a:pt x="228" y="68"/>
                    <a:pt x="207" y="77"/>
                    <a:pt x="188" y="88"/>
                  </a:cubicBezTo>
                  <a:cubicBezTo>
                    <a:pt x="166" y="66"/>
                    <a:pt x="166" y="66"/>
                    <a:pt x="166" y="66"/>
                  </a:cubicBezTo>
                  <a:cubicBezTo>
                    <a:pt x="154" y="54"/>
                    <a:pt x="134" y="54"/>
                    <a:pt x="122" y="66"/>
                  </a:cubicBezTo>
                  <a:cubicBezTo>
                    <a:pt x="65" y="122"/>
                    <a:pt x="65" y="122"/>
                    <a:pt x="65" y="122"/>
                  </a:cubicBezTo>
                  <a:cubicBezTo>
                    <a:pt x="53" y="135"/>
                    <a:pt x="53" y="154"/>
                    <a:pt x="65" y="166"/>
                  </a:cubicBezTo>
                  <a:cubicBezTo>
                    <a:pt x="87" y="189"/>
                    <a:pt x="87" y="189"/>
                    <a:pt x="87" y="189"/>
                  </a:cubicBezTo>
                  <a:cubicBezTo>
                    <a:pt x="76" y="208"/>
                    <a:pt x="68" y="228"/>
                    <a:pt x="62" y="250"/>
                  </a:cubicBezTo>
                  <a:cubicBezTo>
                    <a:pt x="32" y="250"/>
                    <a:pt x="32" y="250"/>
                    <a:pt x="32" y="250"/>
                  </a:cubicBezTo>
                  <a:cubicBezTo>
                    <a:pt x="14" y="249"/>
                    <a:pt x="0" y="263"/>
                    <a:pt x="0" y="280"/>
                  </a:cubicBezTo>
                  <a:cubicBezTo>
                    <a:pt x="0" y="360"/>
                    <a:pt x="0" y="360"/>
                    <a:pt x="0" y="360"/>
                  </a:cubicBezTo>
                  <a:cubicBezTo>
                    <a:pt x="0" y="377"/>
                    <a:pt x="14" y="391"/>
                    <a:pt x="32" y="391"/>
                  </a:cubicBezTo>
                  <a:cubicBezTo>
                    <a:pt x="63" y="391"/>
                    <a:pt x="63" y="391"/>
                    <a:pt x="63" y="391"/>
                  </a:cubicBezTo>
                  <a:cubicBezTo>
                    <a:pt x="69" y="412"/>
                    <a:pt x="77" y="433"/>
                    <a:pt x="88" y="452"/>
                  </a:cubicBezTo>
                  <a:cubicBezTo>
                    <a:pt x="66" y="474"/>
                    <a:pt x="66" y="474"/>
                    <a:pt x="66" y="474"/>
                  </a:cubicBezTo>
                  <a:cubicBezTo>
                    <a:pt x="54" y="486"/>
                    <a:pt x="54" y="506"/>
                    <a:pt x="66" y="518"/>
                  </a:cubicBezTo>
                  <a:cubicBezTo>
                    <a:pt x="123" y="575"/>
                    <a:pt x="123" y="575"/>
                    <a:pt x="123" y="575"/>
                  </a:cubicBezTo>
                  <a:cubicBezTo>
                    <a:pt x="135" y="587"/>
                    <a:pt x="155" y="587"/>
                    <a:pt x="167" y="575"/>
                  </a:cubicBezTo>
                  <a:cubicBezTo>
                    <a:pt x="189" y="553"/>
                    <a:pt x="189" y="553"/>
                    <a:pt x="189" y="553"/>
                  </a:cubicBezTo>
                  <a:cubicBezTo>
                    <a:pt x="208" y="564"/>
                    <a:pt x="228" y="572"/>
                    <a:pt x="250" y="578"/>
                  </a:cubicBezTo>
                  <a:cubicBezTo>
                    <a:pt x="250" y="609"/>
                    <a:pt x="250" y="609"/>
                    <a:pt x="250" y="609"/>
                  </a:cubicBezTo>
                  <a:cubicBezTo>
                    <a:pt x="250" y="626"/>
                    <a:pt x="264" y="640"/>
                    <a:pt x="281" y="640"/>
                  </a:cubicBezTo>
                  <a:cubicBezTo>
                    <a:pt x="361" y="640"/>
                    <a:pt x="361" y="640"/>
                    <a:pt x="361" y="640"/>
                  </a:cubicBezTo>
                  <a:cubicBezTo>
                    <a:pt x="378" y="640"/>
                    <a:pt x="393" y="626"/>
                    <a:pt x="393" y="609"/>
                  </a:cubicBezTo>
                  <a:cubicBezTo>
                    <a:pt x="393" y="578"/>
                    <a:pt x="393" y="578"/>
                    <a:pt x="393" y="578"/>
                  </a:cubicBezTo>
                  <a:cubicBezTo>
                    <a:pt x="414" y="572"/>
                    <a:pt x="435" y="564"/>
                    <a:pt x="454" y="553"/>
                  </a:cubicBezTo>
                  <a:cubicBezTo>
                    <a:pt x="476" y="575"/>
                    <a:pt x="476" y="575"/>
                    <a:pt x="476" y="575"/>
                  </a:cubicBezTo>
                  <a:cubicBezTo>
                    <a:pt x="488" y="587"/>
                    <a:pt x="508" y="587"/>
                    <a:pt x="520" y="575"/>
                  </a:cubicBezTo>
                  <a:cubicBezTo>
                    <a:pt x="577" y="518"/>
                    <a:pt x="577" y="518"/>
                    <a:pt x="577" y="518"/>
                  </a:cubicBezTo>
                  <a:cubicBezTo>
                    <a:pt x="589" y="506"/>
                    <a:pt x="589" y="486"/>
                    <a:pt x="577" y="474"/>
                  </a:cubicBezTo>
                  <a:cubicBezTo>
                    <a:pt x="555" y="452"/>
                    <a:pt x="555" y="452"/>
                    <a:pt x="555" y="452"/>
                  </a:cubicBezTo>
                  <a:cubicBezTo>
                    <a:pt x="565" y="433"/>
                    <a:pt x="574" y="413"/>
                    <a:pt x="579" y="391"/>
                  </a:cubicBezTo>
                  <a:cubicBezTo>
                    <a:pt x="611" y="391"/>
                    <a:pt x="611" y="391"/>
                    <a:pt x="611" y="391"/>
                  </a:cubicBezTo>
                  <a:cubicBezTo>
                    <a:pt x="628" y="391"/>
                    <a:pt x="642" y="377"/>
                    <a:pt x="642" y="360"/>
                  </a:cubicBezTo>
                  <a:cubicBezTo>
                    <a:pt x="642" y="280"/>
                    <a:pt x="642" y="280"/>
                    <a:pt x="642" y="280"/>
                  </a:cubicBezTo>
                  <a:cubicBezTo>
                    <a:pt x="640" y="263"/>
                    <a:pt x="626" y="249"/>
                    <a:pt x="609" y="249"/>
                  </a:cubicBezTo>
                  <a:close/>
                  <a:moveTo>
                    <a:pt x="320" y="515"/>
                  </a:moveTo>
                  <a:cubicBezTo>
                    <a:pt x="213" y="515"/>
                    <a:pt x="126" y="427"/>
                    <a:pt x="126" y="320"/>
                  </a:cubicBezTo>
                  <a:cubicBezTo>
                    <a:pt x="126" y="213"/>
                    <a:pt x="213" y="125"/>
                    <a:pt x="320" y="125"/>
                  </a:cubicBezTo>
                  <a:cubicBezTo>
                    <a:pt x="427" y="125"/>
                    <a:pt x="515" y="213"/>
                    <a:pt x="515" y="320"/>
                  </a:cubicBezTo>
                  <a:cubicBezTo>
                    <a:pt x="515" y="427"/>
                    <a:pt x="427" y="515"/>
                    <a:pt x="320" y="5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grpSp>
      <p:grpSp>
        <p:nvGrpSpPr>
          <p:cNvPr id="18" name="Group 12"/>
          <p:cNvGrpSpPr>
            <a:grpSpLocks noChangeAspect="1"/>
          </p:cNvGrpSpPr>
          <p:nvPr/>
        </p:nvGrpSpPr>
        <p:grpSpPr bwMode="auto">
          <a:xfrm>
            <a:off x="1372064" y="4462406"/>
            <a:ext cx="822427" cy="829716"/>
            <a:chOff x="711" y="-1"/>
            <a:chExt cx="4626" cy="4667"/>
          </a:xfrm>
          <a:solidFill>
            <a:sysClr val="window" lastClr="FFFFFF"/>
          </a:solidFill>
        </p:grpSpPr>
        <p:sp>
          <p:nvSpPr>
            <p:cNvPr id="19" name="Freeform 13"/>
            <p:cNvSpPr>
              <a:spLocks/>
            </p:cNvSpPr>
            <p:nvPr/>
          </p:nvSpPr>
          <p:spPr bwMode="auto">
            <a:xfrm>
              <a:off x="2630" y="-1"/>
              <a:ext cx="2027" cy="2027"/>
            </a:xfrm>
            <a:custGeom>
              <a:avLst/>
              <a:gdLst>
                <a:gd name="T0" fmla="*/ 382 w 2985"/>
                <a:gd name="T1" fmla="*/ 2489 h 2985"/>
                <a:gd name="T2" fmla="*/ 496 w 2985"/>
                <a:gd name="T3" fmla="*/ 2603 h 2985"/>
                <a:gd name="T4" fmla="*/ 1044 w 2985"/>
                <a:gd name="T5" fmla="*/ 2916 h 2985"/>
                <a:gd name="T6" fmla="*/ 1493 w 2985"/>
                <a:gd name="T7" fmla="*/ 2985 h 2985"/>
                <a:gd name="T8" fmla="*/ 2985 w 2985"/>
                <a:gd name="T9" fmla="*/ 1493 h 2985"/>
                <a:gd name="T10" fmla="*/ 2709 w 2985"/>
                <a:gd name="T11" fmla="*/ 627 h 2985"/>
                <a:gd name="T12" fmla="*/ 2348 w 2985"/>
                <a:gd name="T13" fmla="*/ 269 h 2985"/>
                <a:gd name="T14" fmla="*/ 1493 w 2985"/>
                <a:gd name="T15" fmla="*/ 0 h 2985"/>
                <a:gd name="T16" fmla="*/ 0 w 2985"/>
                <a:gd name="T17" fmla="*/ 1493 h 2985"/>
                <a:gd name="T18" fmla="*/ 352 w 2985"/>
                <a:gd name="T19" fmla="*/ 2455 h 2985"/>
                <a:gd name="T20" fmla="*/ 382 w 2985"/>
                <a:gd name="T21" fmla="*/ 2489 h 2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5" h="2985">
                  <a:moveTo>
                    <a:pt x="382" y="2489"/>
                  </a:moveTo>
                  <a:cubicBezTo>
                    <a:pt x="419" y="2530"/>
                    <a:pt x="457" y="2568"/>
                    <a:pt x="496" y="2603"/>
                  </a:cubicBezTo>
                  <a:cubicBezTo>
                    <a:pt x="656" y="2747"/>
                    <a:pt x="840" y="2852"/>
                    <a:pt x="1044" y="2916"/>
                  </a:cubicBezTo>
                  <a:cubicBezTo>
                    <a:pt x="1189" y="2962"/>
                    <a:pt x="1340" y="2985"/>
                    <a:pt x="1493" y="2985"/>
                  </a:cubicBezTo>
                  <a:cubicBezTo>
                    <a:pt x="2316" y="2985"/>
                    <a:pt x="2985" y="2316"/>
                    <a:pt x="2985" y="1493"/>
                  </a:cubicBezTo>
                  <a:cubicBezTo>
                    <a:pt x="2985" y="1180"/>
                    <a:pt x="2890" y="880"/>
                    <a:pt x="2709" y="627"/>
                  </a:cubicBezTo>
                  <a:cubicBezTo>
                    <a:pt x="2609" y="488"/>
                    <a:pt x="2488" y="367"/>
                    <a:pt x="2348" y="269"/>
                  </a:cubicBezTo>
                  <a:cubicBezTo>
                    <a:pt x="2097" y="93"/>
                    <a:pt x="1801" y="0"/>
                    <a:pt x="1493" y="0"/>
                  </a:cubicBezTo>
                  <a:cubicBezTo>
                    <a:pt x="670" y="0"/>
                    <a:pt x="0" y="670"/>
                    <a:pt x="0" y="1493"/>
                  </a:cubicBezTo>
                  <a:cubicBezTo>
                    <a:pt x="0" y="1845"/>
                    <a:pt x="125" y="2186"/>
                    <a:pt x="352" y="2455"/>
                  </a:cubicBezTo>
                  <a:cubicBezTo>
                    <a:pt x="362" y="2467"/>
                    <a:pt x="372" y="2478"/>
                    <a:pt x="382" y="2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0" name="Freeform 14"/>
            <p:cNvSpPr>
              <a:spLocks/>
            </p:cNvSpPr>
            <p:nvPr/>
          </p:nvSpPr>
          <p:spPr bwMode="auto">
            <a:xfrm>
              <a:off x="2117" y="1833"/>
              <a:ext cx="3220" cy="2339"/>
            </a:xfrm>
            <a:custGeom>
              <a:avLst/>
              <a:gdLst>
                <a:gd name="T0" fmla="*/ 3529 w 4742"/>
                <a:gd name="T1" fmla="*/ 0 h 3445"/>
                <a:gd name="T2" fmla="*/ 3455 w 4742"/>
                <a:gd name="T3" fmla="*/ 0 h 3445"/>
                <a:gd name="T4" fmla="*/ 3451 w 4742"/>
                <a:gd name="T5" fmla="*/ 4 h 3445"/>
                <a:gd name="T6" fmla="*/ 2535 w 4742"/>
                <a:gd name="T7" fmla="*/ 475 h 3445"/>
                <a:gd name="T8" fmla="*/ 2501 w 4742"/>
                <a:gd name="T9" fmla="*/ 481 h 3445"/>
                <a:gd name="T10" fmla="*/ 2740 w 4742"/>
                <a:gd name="T11" fmla="*/ 618 h 3445"/>
                <a:gd name="T12" fmla="*/ 2296 w 4742"/>
                <a:gd name="T13" fmla="*/ 1122 h 3445"/>
                <a:gd name="T14" fmla="*/ 2606 w 4742"/>
                <a:gd name="T15" fmla="*/ 2511 h 3445"/>
                <a:gd name="T16" fmla="*/ 2249 w 4742"/>
                <a:gd name="T17" fmla="*/ 3244 h 3445"/>
                <a:gd name="T18" fmla="*/ 1892 w 4742"/>
                <a:gd name="T19" fmla="*/ 2511 h 3445"/>
                <a:gd name="T20" fmla="*/ 2202 w 4742"/>
                <a:gd name="T21" fmla="*/ 1122 h 3445"/>
                <a:gd name="T22" fmla="*/ 1758 w 4742"/>
                <a:gd name="T23" fmla="*/ 618 h 3445"/>
                <a:gd name="T24" fmla="*/ 1997 w 4742"/>
                <a:gd name="T25" fmla="*/ 481 h 3445"/>
                <a:gd name="T26" fmla="*/ 1934 w 4742"/>
                <a:gd name="T27" fmla="*/ 470 h 3445"/>
                <a:gd name="T28" fmla="*/ 1828 w 4742"/>
                <a:gd name="T29" fmla="*/ 447 h 3445"/>
                <a:gd name="T30" fmla="*/ 1047 w 4742"/>
                <a:gd name="T31" fmla="*/ 4 h 3445"/>
                <a:gd name="T32" fmla="*/ 1043 w 4742"/>
                <a:gd name="T33" fmla="*/ 0 h 3445"/>
                <a:gd name="T34" fmla="*/ 968 w 4742"/>
                <a:gd name="T35" fmla="*/ 0 h 3445"/>
                <a:gd name="T36" fmla="*/ 16 w 4742"/>
                <a:gd name="T37" fmla="*/ 462 h 3445"/>
                <a:gd name="T38" fmla="*/ 0 w 4742"/>
                <a:gd name="T39" fmla="*/ 482 h 3445"/>
                <a:gd name="T40" fmla="*/ 341 w 4742"/>
                <a:gd name="T41" fmla="*/ 482 h 3445"/>
                <a:gd name="T42" fmla="*/ 829 w 4742"/>
                <a:gd name="T43" fmla="*/ 969 h 3445"/>
                <a:gd name="T44" fmla="*/ 829 w 4742"/>
                <a:gd name="T45" fmla="*/ 3445 h 3445"/>
                <a:gd name="T46" fmla="*/ 4742 w 4742"/>
                <a:gd name="T47" fmla="*/ 3445 h 3445"/>
                <a:gd name="T48" fmla="*/ 4742 w 4742"/>
                <a:gd name="T49" fmla="*/ 1212 h 3445"/>
                <a:gd name="T50" fmla="*/ 3529 w 4742"/>
                <a:gd name="T51"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42" h="3445">
                  <a:moveTo>
                    <a:pt x="3529" y="0"/>
                  </a:moveTo>
                  <a:cubicBezTo>
                    <a:pt x="3455" y="0"/>
                    <a:pt x="3455" y="0"/>
                    <a:pt x="3455" y="0"/>
                  </a:cubicBezTo>
                  <a:cubicBezTo>
                    <a:pt x="3451" y="4"/>
                    <a:pt x="3451" y="4"/>
                    <a:pt x="3451" y="4"/>
                  </a:cubicBezTo>
                  <a:cubicBezTo>
                    <a:pt x="3199" y="254"/>
                    <a:pt x="2882" y="417"/>
                    <a:pt x="2535" y="475"/>
                  </a:cubicBezTo>
                  <a:cubicBezTo>
                    <a:pt x="2501" y="481"/>
                    <a:pt x="2501" y="481"/>
                    <a:pt x="2501" y="481"/>
                  </a:cubicBezTo>
                  <a:cubicBezTo>
                    <a:pt x="2740" y="618"/>
                    <a:pt x="2740" y="618"/>
                    <a:pt x="2740" y="618"/>
                  </a:cubicBezTo>
                  <a:cubicBezTo>
                    <a:pt x="2296" y="1122"/>
                    <a:pt x="2296" y="1122"/>
                    <a:pt x="2296" y="1122"/>
                  </a:cubicBezTo>
                  <a:cubicBezTo>
                    <a:pt x="2606" y="2511"/>
                    <a:pt x="2606" y="2511"/>
                    <a:pt x="2606" y="2511"/>
                  </a:cubicBezTo>
                  <a:cubicBezTo>
                    <a:pt x="2249" y="3244"/>
                    <a:pt x="2249" y="3244"/>
                    <a:pt x="2249" y="3244"/>
                  </a:cubicBezTo>
                  <a:cubicBezTo>
                    <a:pt x="1892" y="2511"/>
                    <a:pt x="1892" y="2511"/>
                    <a:pt x="1892" y="2511"/>
                  </a:cubicBezTo>
                  <a:cubicBezTo>
                    <a:pt x="2202" y="1122"/>
                    <a:pt x="2202" y="1122"/>
                    <a:pt x="2202" y="1122"/>
                  </a:cubicBezTo>
                  <a:cubicBezTo>
                    <a:pt x="1758" y="618"/>
                    <a:pt x="1758" y="618"/>
                    <a:pt x="1758" y="618"/>
                  </a:cubicBezTo>
                  <a:cubicBezTo>
                    <a:pt x="1997" y="481"/>
                    <a:pt x="1997" y="481"/>
                    <a:pt x="1997" y="481"/>
                  </a:cubicBezTo>
                  <a:cubicBezTo>
                    <a:pt x="1934" y="470"/>
                    <a:pt x="1934" y="470"/>
                    <a:pt x="1934" y="470"/>
                  </a:cubicBezTo>
                  <a:cubicBezTo>
                    <a:pt x="1898" y="463"/>
                    <a:pt x="1863" y="456"/>
                    <a:pt x="1828" y="447"/>
                  </a:cubicBezTo>
                  <a:cubicBezTo>
                    <a:pt x="1534" y="372"/>
                    <a:pt x="1264" y="219"/>
                    <a:pt x="1047" y="4"/>
                  </a:cubicBezTo>
                  <a:cubicBezTo>
                    <a:pt x="1043" y="0"/>
                    <a:pt x="1043" y="0"/>
                    <a:pt x="1043" y="0"/>
                  </a:cubicBezTo>
                  <a:cubicBezTo>
                    <a:pt x="968" y="0"/>
                    <a:pt x="968" y="0"/>
                    <a:pt x="968" y="0"/>
                  </a:cubicBezTo>
                  <a:cubicBezTo>
                    <a:pt x="595" y="0"/>
                    <a:pt x="248" y="168"/>
                    <a:pt x="16" y="462"/>
                  </a:cubicBezTo>
                  <a:cubicBezTo>
                    <a:pt x="0" y="482"/>
                    <a:pt x="0" y="482"/>
                    <a:pt x="0" y="482"/>
                  </a:cubicBezTo>
                  <a:cubicBezTo>
                    <a:pt x="341" y="482"/>
                    <a:pt x="341" y="482"/>
                    <a:pt x="341" y="482"/>
                  </a:cubicBezTo>
                  <a:cubicBezTo>
                    <a:pt x="610" y="482"/>
                    <a:pt x="829" y="700"/>
                    <a:pt x="829" y="969"/>
                  </a:cubicBezTo>
                  <a:cubicBezTo>
                    <a:pt x="829" y="3445"/>
                    <a:pt x="829" y="3445"/>
                    <a:pt x="829" y="3445"/>
                  </a:cubicBezTo>
                  <a:cubicBezTo>
                    <a:pt x="4742" y="3445"/>
                    <a:pt x="4742" y="3445"/>
                    <a:pt x="4742" y="3445"/>
                  </a:cubicBezTo>
                  <a:cubicBezTo>
                    <a:pt x="4742" y="1212"/>
                    <a:pt x="4742" y="1212"/>
                    <a:pt x="4742" y="1212"/>
                  </a:cubicBezTo>
                  <a:cubicBezTo>
                    <a:pt x="4742" y="544"/>
                    <a:pt x="4198" y="0"/>
                    <a:pt x="35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1" name="Rectangle 15"/>
            <p:cNvSpPr>
              <a:spLocks noChangeArrowheads="1"/>
            </p:cNvSpPr>
            <p:nvPr/>
          </p:nvSpPr>
          <p:spPr bwMode="auto">
            <a:xfrm>
              <a:off x="1060" y="2746"/>
              <a:ext cx="1118" cy="1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2" name="Rectangle 16"/>
            <p:cNvSpPr>
              <a:spLocks noChangeArrowheads="1"/>
            </p:cNvSpPr>
            <p:nvPr/>
          </p:nvSpPr>
          <p:spPr bwMode="auto">
            <a:xfrm>
              <a:off x="1060" y="3083"/>
              <a:ext cx="1118" cy="1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3" name="Rectangle 17"/>
            <p:cNvSpPr>
              <a:spLocks noChangeArrowheads="1"/>
            </p:cNvSpPr>
            <p:nvPr/>
          </p:nvSpPr>
          <p:spPr bwMode="auto">
            <a:xfrm>
              <a:off x="1064" y="3427"/>
              <a:ext cx="637" cy="1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4" name="Rectangle 18"/>
            <p:cNvSpPr>
              <a:spLocks noChangeArrowheads="1"/>
            </p:cNvSpPr>
            <p:nvPr/>
          </p:nvSpPr>
          <p:spPr bwMode="auto">
            <a:xfrm>
              <a:off x="1064" y="4164"/>
              <a:ext cx="364"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5" name="Freeform 19"/>
            <p:cNvSpPr>
              <a:spLocks/>
            </p:cNvSpPr>
            <p:nvPr/>
          </p:nvSpPr>
          <p:spPr bwMode="auto">
            <a:xfrm>
              <a:off x="1487" y="4041"/>
              <a:ext cx="208" cy="221"/>
            </a:xfrm>
            <a:custGeom>
              <a:avLst/>
              <a:gdLst>
                <a:gd name="T0" fmla="*/ 206 w 305"/>
                <a:gd name="T1" fmla="*/ 76 h 325"/>
                <a:gd name="T2" fmla="*/ 90 w 305"/>
                <a:gd name="T3" fmla="*/ 5 h 325"/>
                <a:gd name="T4" fmla="*/ 77 w 305"/>
                <a:gd name="T5" fmla="*/ 0 h 325"/>
                <a:gd name="T6" fmla="*/ 73 w 305"/>
                <a:gd name="T7" fmla="*/ 13 h 325"/>
                <a:gd name="T8" fmla="*/ 5 w 305"/>
                <a:gd name="T9" fmla="*/ 302 h 325"/>
                <a:gd name="T10" fmla="*/ 0 w 305"/>
                <a:gd name="T11" fmla="*/ 325 h 325"/>
                <a:gd name="T12" fmla="*/ 22 w 305"/>
                <a:gd name="T13" fmla="*/ 316 h 325"/>
                <a:gd name="T14" fmla="*/ 293 w 305"/>
                <a:gd name="T15" fmla="*/ 193 h 325"/>
                <a:gd name="T16" fmla="*/ 305 w 305"/>
                <a:gd name="T17" fmla="*/ 187 h 325"/>
                <a:gd name="T18" fmla="*/ 297 w 305"/>
                <a:gd name="T19" fmla="*/ 176 h 325"/>
                <a:gd name="T20" fmla="*/ 206 w 305"/>
                <a:gd name="T21" fmla="*/ 7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25">
                  <a:moveTo>
                    <a:pt x="206" y="76"/>
                  </a:moveTo>
                  <a:cubicBezTo>
                    <a:pt x="171" y="47"/>
                    <a:pt x="133" y="24"/>
                    <a:pt x="90" y="5"/>
                  </a:cubicBezTo>
                  <a:cubicBezTo>
                    <a:pt x="77" y="0"/>
                    <a:pt x="77" y="0"/>
                    <a:pt x="77" y="0"/>
                  </a:cubicBezTo>
                  <a:cubicBezTo>
                    <a:pt x="73" y="13"/>
                    <a:pt x="73" y="13"/>
                    <a:pt x="73" y="13"/>
                  </a:cubicBezTo>
                  <a:cubicBezTo>
                    <a:pt x="47" y="104"/>
                    <a:pt x="6" y="301"/>
                    <a:pt x="5" y="302"/>
                  </a:cubicBezTo>
                  <a:cubicBezTo>
                    <a:pt x="0" y="325"/>
                    <a:pt x="0" y="325"/>
                    <a:pt x="0" y="325"/>
                  </a:cubicBezTo>
                  <a:cubicBezTo>
                    <a:pt x="22" y="316"/>
                    <a:pt x="22" y="316"/>
                    <a:pt x="22" y="316"/>
                  </a:cubicBezTo>
                  <a:cubicBezTo>
                    <a:pt x="24" y="315"/>
                    <a:pt x="209" y="236"/>
                    <a:pt x="293" y="193"/>
                  </a:cubicBezTo>
                  <a:cubicBezTo>
                    <a:pt x="305" y="187"/>
                    <a:pt x="305" y="187"/>
                    <a:pt x="305" y="187"/>
                  </a:cubicBezTo>
                  <a:cubicBezTo>
                    <a:pt x="297" y="176"/>
                    <a:pt x="297" y="176"/>
                    <a:pt x="297" y="176"/>
                  </a:cubicBezTo>
                  <a:cubicBezTo>
                    <a:pt x="271" y="137"/>
                    <a:pt x="240" y="104"/>
                    <a:pt x="20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6" name="Freeform 20"/>
            <p:cNvSpPr>
              <a:spLocks/>
            </p:cNvSpPr>
            <p:nvPr/>
          </p:nvSpPr>
          <p:spPr bwMode="auto">
            <a:xfrm>
              <a:off x="1568" y="3447"/>
              <a:ext cx="611" cy="685"/>
            </a:xfrm>
            <a:custGeom>
              <a:avLst/>
              <a:gdLst>
                <a:gd name="T0" fmla="*/ 898 w 900"/>
                <a:gd name="T1" fmla="*/ 186 h 1009"/>
                <a:gd name="T2" fmla="*/ 875 w 900"/>
                <a:gd name="T3" fmla="*/ 142 h 1009"/>
                <a:gd name="T4" fmla="*/ 728 w 900"/>
                <a:gd name="T5" fmla="*/ 22 h 1009"/>
                <a:gd name="T6" fmla="*/ 638 w 900"/>
                <a:gd name="T7" fmla="*/ 31 h 1009"/>
                <a:gd name="T8" fmla="*/ 0 w 900"/>
                <a:gd name="T9" fmla="*/ 808 h 1009"/>
                <a:gd name="T10" fmla="*/ 14 w 900"/>
                <a:gd name="T11" fmla="*/ 814 h 1009"/>
                <a:gd name="T12" fmla="*/ 137 w 900"/>
                <a:gd name="T13" fmla="*/ 891 h 1009"/>
                <a:gd name="T14" fmla="*/ 236 w 900"/>
                <a:gd name="T15" fmla="*/ 996 h 1009"/>
                <a:gd name="T16" fmla="*/ 245 w 900"/>
                <a:gd name="T17" fmla="*/ 1009 h 1009"/>
                <a:gd name="T18" fmla="*/ 884 w 900"/>
                <a:gd name="T19" fmla="*/ 232 h 1009"/>
                <a:gd name="T20" fmla="*/ 898 w 900"/>
                <a:gd name="T21" fmla="*/ 186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0" h="1009">
                  <a:moveTo>
                    <a:pt x="898" y="186"/>
                  </a:moveTo>
                  <a:cubicBezTo>
                    <a:pt x="896" y="169"/>
                    <a:pt x="888" y="153"/>
                    <a:pt x="875" y="142"/>
                  </a:cubicBezTo>
                  <a:cubicBezTo>
                    <a:pt x="728" y="22"/>
                    <a:pt x="728" y="22"/>
                    <a:pt x="728" y="22"/>
                  </a:cubicBezTo>
                  <a:cubicBezTo>
                    <a:pt x="702" y="0"/>
                    <a:pt x="660" y="4"/>
                    <a:pt x="638" y="31"/>
                  </a:cubicBezTo>
                  <a:cubicBezTo>
                    <a:pt x="0" y="808"/>
                    <a:pt x="0" y="808"/>
                    <a:pt x="0" y="808"/>
                  </a:cubicBezTo>
                  <a:cubicBezTo>
                    <a:pt x="14" y="814"/>
                    <a:pt x="14" y="814"/>
                    <a:pt x="14" y="814"/>
                  </a:cubicBezTo>
                  <a:cubicBezTo>
                    <a:pt x="60" y="835"/>
                    <a:pt x="101" y="861"/>
                    <a:pt x="137" y="891"/>
                  </a:cubicBezTo>
                  <a:cubicBezTo>
                    <a:pt x="173" y="920"/>
                    <a:pt x="206" y="956"/>
                    <a:pt x="236" y="996"/>
                  </a:cubicBezTo>
                  <a:cubicBezTo>
                    <a:pt x="245" y="1009"/>
                    <a:pt x="245" y="1009"/>
                    <a:pt x="245" y="1009"/>
                  </a:cubicBezTo>
                  <a:cubicBezTo>
                    <a:pt x="884" y="232"/>
                    <a:pt x="884" y="232"/>
                    <a:pt x="884" y="232"/>
                  </a:cubicBezTo>
                  <a:cubicBezTo>
                    <a:pt x="895" y="219"/>
                    <a:pt x="900" y="203"/>
                    <a:pt x="898"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7" name="Freeform 21"/>
            <p:cNvSpPr>
              <a:spLocks noEditPoints="1"/>
            </p:cNvSpPr>
            <p:nvPr/>
          </p:nvSpPr>
          <p:spPr bwMode="auto">
            <a:xfrm>
              <a:off x="711" y="2317"/>
              <a:ext cx="1812" cy="2349"/>
            </a:xfrm>
            <a:custGeom>
              <a:avLst/>
              <a:gdLst>
                <a:gd name="T0" fmla="*/ 2411 w 2668"/>
                <a:gd name="T1" fmla="*/ 0 h 3460"/>
                <a:gd name="T2" fmla="*/ 257 w 2668"/>
                <a:gd name="T3" fmla="*/ 0 h 3460"/>
                <a:gd name="T4" fmla="*/ 0 w 2668"/>
                <a:gd name="T5" fmla="*/ 256 h 3460"/>
                <a:gd name="T6" fmla="*/ 0 w 2668"/>
                <a:gd name="T7" fmla="*/ 3204 h 3460"/>
                <a:gd name="T8" fmla="*/ 26 w 2668"/>
                <a:gd name="T9" fmla="*/ 3316 h 3460"/>
                <a:gd name="T10" fmla="*/ 145 w 2668"/>
                <a:gd name="T11" fmla="*/ 3434 h 3460"/>
                <a:gd name="T12" fmla="*/ 257 w 2668"/>
                <a:gd name="T13" fmla="*/ 3460 h 3460"/>
                <a:gd name="T14" fmla="*/ 2075 w 2668"/>
                <a:gd name="T15" fmla="*/ 3460 h 3460"/>
                <a:gd name="T16" fmla="*/ 2403 w 2668"/>
                <a:gd name="T17" fmla="*/ 3132 h 3460"/>
                <a:gd name="T18" fmla="*/ 2403 w 2668"/>
                <a:gd name="T19" fmla="*/ 3132 h 3460"/>
                <a:gd name="T20" fmla="*/ 2668 w 2668"/>
                <a:gd name="T21" fmla="*/ 2867 h 3460"/>
                <a:gd name="T22" fmla="*/ 2668 w 2668"/>
                <a:gd name="T23" fmla="*/ 256 h 3460"/>
                <a:gd name="T24" fmla="*/ 2595 w 2668"/>
                <a:gd name="T25" fmla="*/ 78 h 3460"/>
                <a:gd name="T26" fmla="*/ 2411 w 2668"/>
                <a:gd name="T27" fmla="*/ 0 h 3460"/>
                <a:gd name="T28" fmla="*/ 1966 w 2668"/>
                <a:gd name="T29" fmla="*/ 3196 h 3460"/>
                <a:gd name="T30" fmla="*/ 264 w 2668"/>
                <a:gd name="T31" fmla="*/ 3196 h 3460"/>
                <a:gd name="T32" fmla="*/ 264 w 2668"/>
                <a:gd name="T33" fmla="*/ 269 h 3460"/>
                <a:gd name="T34" fmla="*/ 2404 w 2668"/>
                <a:gd name="T35" fmla="*/ 269 h 3460"/>
                <a:gd name="T36" fmla="*/ 2403 w 2668"/>
                <a:gd name="T37" fmla="*/ 2759 h 3460"/>
                <a:gd name="T38" fmla="*/ 1966 w 2668"/>
                <a:gd name="T39" fmla="*/ 3196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8" h="3460">
                  <a:moveTo>
                    <a:pt x="2411" y="0"/>
                  </a:moveTo>
                  <a:cubicBezTo>
                    <a:pt x="257" y="0"/>
                    <a:pt x="257" y="0"/>
                    <a:pt x="257" y="0"/>
                  </a:cubicBezTo>
                  <a:cubicBezTo>
                    <a:pt x="115" y="0"/>
                    <a:pt x="0" y="115"/>
                    <a:pt x="0" y="256"/>
                  </a:cubicBezTo>
                  <a:cubicBezTo>
                    <a:pt x="0" y="3204"/>
                    <a:pt x="0" y="3204"/>
                    <a:pt x="0" y="3204"/>
                  </a:cubicBezTo>
                  <a:cubicBezTo>
                    <a:pt x="0" y="3242"/>
                    <a:pt x="9" y="3281"/>
                    <a:pt x="26" y="3316"/>
                  </a:cubicBezTo>
                  <a:cubicBezTo>
                    <a:pt x="52" y="3367"/>
                    <a:pt x="94" y="3410"/>
                    <a:pt x="145" y="3434"/>
                  </a:cubicBezTo>
                  <a:cubicBezTo>
                    <a:pt x="180" y="3451"/>
                    <a:pt x="218" y="3460"/>
                    <a:pt x="257" y="3460"/>
                  </a:cubicBezTo>
                  <a:cubicBezTo>
                    <a:pt x="2075" y="3460"/>
                    <a:pt x="2075" y="3460"/>
                    <a:pt x="2075" y="3460"/>
                  </a:cubicBezTo>
                  <a:cubicBezTo>
                    <a:pt x="2403" y="3132"/>
                    <a:pt x="2403" y="3132"/>
                    <a:pt x="2403" y="3132"/>
                  </a:cubicBezTo>
                  <a:cubicBezTo>
                    <a:pt x="2403" y="3132"/>
                    <a:pt x="2403" y="3132"/>
                    <a:pt x="2403" y="3132"/>
                  </a:cubicBezTo>
                  <a:cubicBezTo>
                    <a:pt x="2668" y="2867"/>
                    <a:pt x="2668" y="2867"/>
                    <a:pt x="2668" y="2867"/>
                  </a:cubicBezTo>
                  <a:cubicBezTo>
                    <a:pt x="2668" y="256"/>
                    <a:pt x="2668" y="256"/>
                    <a:pt x="2668" y="256"/>
                  </a:cubicBezTo>
                  <a:cubicBezTo>
                    <a:pt x="2668" y="189"/>
                    <a:pt x="2642" y="126"/>
                    <a:pt x="2595" y="78"/>
                  </a:cubicBezTo>
                  <a:cubicBezTo>
                    <a:pt x="2546" y="27"/>
                    <a:pt x="2481" y="0"/>
                    <a:pt x="2411" y="0"/>
                  </a:cubicBezTo>
                  <a:close/>
                  <a:moveTo>
                    <a:pt x="1966" y="3196"/>
                  </a:moveTo>
                  <a:cubicBezTo>
                    <a:pt x="264" y="3196"/>
                    <a:pt x="264" y="3196"/>
                    <a:pt x="264" y="3196"/>
                  </a:cubicBezTo>
                  <a:cubicBezTo>
                    <a:pt x="264" y="269"/>
                    <a:pt x="264" y="269"/>
                    <a:pt x="264" y="269"/>
                  </a:cubicBezTo>
                  <a:cubicBezTo>
                    <a:pt x="2404" y="269"/>
                    <a:pt x="2404" y="269"/>
                    <a:pt x="2404" y="269"/>
                  </a:cubicBezTo>
                  <a:cubicBezTo>
                    <a:pt x="2403" y="2759"/>
                    <a:pt x="2403" y="2759"/>
                    <a:pt x="2403" y="2759"/>
                  </a:cubicBezTo>
                  <a:lnTo>
                    <a:pt x="1966" y="3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28" name="Freeform 22"/>
            <p:cNvSpPr>
              <a:spLocks/>
            </p:cNvSpPr>
            <p:nvPr/>
          </p:nvSpPr>
          <p:spPr bwMode="auto">
            <a:xfrm>
              <a:off x="2003" y="4180"/>
              <a:ext cx="274" cy="273"/>
            </a:xfrm>
            <a:custGeom>
              <a:avLst/>
              <a:gdLst>
                <a:gd name="T0" fmla="*/ 0 w 274"/>
                <a:gd name="T1" fmla="*/ 273 h 273"/>
                <a:gd name="T2" fmla="*/ 274 w 274"/>
                <a:gd name="T3" fmla="*/ 0 h 273"/>
                <a:gd name="T4" fmla="*/ 0 w 274"/>
                <a:gd name="T5" fmla="*/ 0 h 273"/>
                <a:gd name="T6" fmla="*/ 0 w 274"/>
                <a:gd name="T7" fmla="*/ 273 h 273"/>
              </a:gdLst>
              <a:ahLst/>
              <a:cxnLst>
                <a:cxn ang="0">
                  <a:pos x="T0" y="T1"/>
                </a:cxn>
                <a:cxn ang="0">
                  <a:pos x="T2" y="T3"/>
                </a:cxn>
                <a:cxn ang="0">
                  <a:pos x="T4" y="T5"/>
                </a:cxn>
                <a:cxn ang="0">
                  <a:pos x="T6" y="T7"/>
                </a:cxn>
              </a:cxnLst>
              <a:rect l="0" t="0" r="r" b="b"/>
              <a:pathLst>
                <a:path w="274" h="273">
                  <a:moveTo>
                    <a:pt x="0" y="273"/>
                  </a:moveTo>
                  <a:lnTo>
                    <a:pt x="274" y="0"/>
                  </a:lnTo>
                  <a:lnTo>
                    <a:pt x="0" y="0"/>
                  </a:lnTo>
                  <a:lnTo>
                    <a:pt x="0"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grpSp>
      <p:grpSp>
        <p:nvGrpSpPr>
          <p:cNvPr id="29" name="Group 28"/>
          <p:cNvGrpSpPr>
            <a:grpSpLocks noChangeAspect="1"/>
          </p:cNvGrpSpPr>
          <p:nvPr/>
        </p:nvGrpSpPr>
        <p:grpSpPr bwMode="auto">
          <a:xfrm>
            <a:off x="7076472" y="4538513"/>
            <a:ext cx="716613" cy="691177"/>
            <a:chOff x="-1017" y="1629"/>
            <a:chExt cx="4282" cy="4130"/>
          </a:xfrm>
          <a:solidFill>
            <a:sysClr val="window" lastClr="FFFFFF"/>
          </a:solidFill>
        </p:grpSpPr>
        <p:sp>
          <p:nvSpPr>
            <p:cNvPr id="30" name="Freeform 29"/>
            <p:cNvSpPr>
              <a:spLocks/>
            </p:cNvSpPr>
            <p:nvPr/>
          </p:nvSpPr>
          <p:spPr bwMode="auto">
            <a:xfrm>
              <a:off x="1567" y="3027"/>
              <a:ext cx="729" cy="725"/>
            </a:xfrm>
            <a:custGeom>
              <a:avLst/>
              <a:gdLst>
                <a:gd name="T0" fmla="*/ 364 w 364"/>
                <a:gd name="T1" fmla="*/ 181 h 362"/>
                <a:gd name="T2" fmla="*/ 181 w 364"/>
                <a:gd name="T3" fmla="*/ 362 h 362"/>
                <a:gd name="T4" fmla="*/ 0 w 364"/>
                <a:gd name="T5" fmla="*/ 181 h 362"/>
                <a:gd name="T6" fmla="*/ 181 w 364"/>
                <a:gd name="T7" fmla="*/ 0 h 362"/>
                <a:gd name="T8" fmla="*/ 364 w 364"/>
                <a:gd name="T9" fmla="*/ 181 h 362"/>
              </a:gdLst>
              <a:ahLst/>
              <a:cxnLst>
                <a:cxn ang="0">
                  <a:pos x="T0" y="T1"/>
                </a:cxn>
                <a:cxn ang="0">
                  <a:pos x="T2" y="T3"/>
                </a:cxn>
                <a:cxn ang="0">
                  <a:pos x="T4" y="T5"/>
                </a:cxn>
                <a:cxn ang="0">
                  <a:pos x="T6" y="T7"/>
                </a:cxn>
                <a:cxn ang="0">
                  <a:pos x="T8" y="T9"/>
                </a:cxn>
              </a:cxnLst>
              <a:rect l="0" t="0" r="r" b="b"/>
              <a:pathLst>
                <a:path w="364" h="362">
                  <a:moveTo>
                    <a:pt x="364" y="181"/>
                  </a:moveTo>
                  <a:cubicBezTo>
                    <a:pt x="364" y="281"/>
                    <a:pt x="284" y="362"/>
                    <a:pt x="181" y="362"/>
                  </a:cubicBezTo>
                  <a:cubicBezTo>
                    <a:pt x="81" y="362"/>
                    <a:pt x="0" y="281"/>
                    <a:pt x="0" y="181"/>
                  </a:cubicBezTo>
                  <a:cubicBezTo>
                    <a:pt x="0" y="81"/>
                    <a:pt x="81" y="0"/>
                    <a:pt x="181" y="0"/>
                  </a:cubicBezTo>
                  <a:cubicBezTo>
                    <a:pt x="281" y="0"/>
                    <a:pt x="364" y="81"/>
                    <a:pt x="36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1" name="Freeform 30"/>
            <p:cNvSpPr>
              <a:spLocks noEditPoints="1"/>
            </p:cNvSpPr>
            <p:nvPr/>
          </p:nvSpPr>
          <p:spPr bwMode="auto">
            <a:xfrm>
              <a:off x="675" y="2150"/>
              <a:ext cx="2508" cy="2479"/>
            </a:xfrm>
            <a:custGeom>
              <a:avLst/>
              <a:gdLst>
                <a:gd name="T0" fmla="*/ 1150 w 1252"/>
                <a:gd name="T1" fmla="*/ 685 h 1238"/>
                <a:gd name="T2" fmla="*/ 1252 w 1252"/>
                <a:gd name="T3" fmla="*/ 571 h 1238"/>
                <a:gd name="T4" fmla="*/ 1233 w 1252"/>
                <a:gd name="T5" fmla="*/ 466 h 1238"/>
                <a:gd name="T6" fmla="*/ 1098 w 1252"/>
                <a:gd name="T7" fmla="*/ 395 h 1238"/>
                <a:gd name="T8" fmla="*/ 1062 w 1252"/>
                <a:gd name="T9" fmla="*/ 333 h 1238"/>
                <a:gd name="T10" fmla="*/ 1069 w 1252"/>
                <a:gd name="T11" fmla="*/ 180 h 1238"/>
                <a:gd name="T12" fmla="*/ 988 w 1252"/>
                <a:gd name="T13" fmla="*/ 111 h 1238"/>
                <a:gd name="T14" fmla="*/ 838 w 1252"/>
                <a:gd name="T15" fmla="*/ 145 h 1238"/>
                <a:gd name="T16" fmla="*/ 771 w 1252"/>
                <a:gd name="T17" fmla="*/ 121 h 1238"/>
                <a:gd name="T18" fmla="*/ 678 w 1252"/>
                <a:gd name="T19" fmla="*/ 0 h 1238"/>
                <a:gd name="T20" fmla="*/ 574 w 1252"/>
                <a:gd name="T21" fmla="*/ 0 h 1238"/>
                <a:gd name="T22" fmla="*/ 481 w 1252"/>
                <a:gd name="T23" fmla="*/ 121 h 1238"/>
                <a:gd name="T24" fmla="*/ 414 w 1252"/>
                <a:gd name="T25" fmla="*/ 145 h 1238"/>
                <a:gd name="T26" fmla="*/ 264 w 1252"/>
                <a:gd name="T27" fmla="*/ 114 h 1238"/>
                <a:gd name="T28" fmla="*/ 183 w 1252"/>
                <a:gd name="T29" fmla="*/ 183 h 1238"/>
                <a:gd name="T30" fmla="*/ 190 w 1252"/>
                <a:gd name="T31" fmla="*/ 335 h 1238"/>
                <a:gd name="T32" fmla="*/ 155 w 1252"/>
                <a:gd name="T33" fmla="*/ 397 h 1238"/>
                <a:gd name="T34" fmla="*/ 19 w 1252"/>
                <a:gd name="T35" fmla="*/ 469 h 1238"/>
                <a:gd name="T36" fmla="*/ 0 w 1252"/>
                <a:gd name="T37" fmla="*/ 573 h 1238"/>
                <a:gd name="T38" fmla="*/ 102 w 1252"/>
                <a:gd name="T39" fmla="*/ 688 h 1238"/>
                <a:gd name="T40" fmla="*/ 114 w 1252"/>
                <a:gd name="T41" fmla="*/ 759 h 1238"/>
                <a:gd name="T42" fmla="*/ 57 w 1252"/>
                <a:gd name="T43" fmla="*/ 900 h 1238"/>
                <a:gd name="T44" fmla="*/ 109 w 1252"/>
                <a:gd name="T45" fmla="*/ 990 h 1238"/>
                <a:gd name="T46" fmla="*/ 262 w 1252"/>
                <a:gd name="T47" fmla="*/ 1011 h 1238"/>
                <a:gd name="T48" fmla="*/ 317 w 1252"/>
                <a:gd name="T49" fmla="*/ 1057 h 1238"/>
                <a:gd name="T50" fmla="*/ 364 w 1252"/>
                <a:gd name="T51" fmla="*/ 1202 h 1238"/>
                <a:gd name="T52" fmla="*/ 464 w 1252"/>
                <a:gd name="T53" fmla="*/ 1238 h 1238"/>
                <a:gd name="T54" fmla="*/ 593 w 1252"/>
                <a:gd name="T55" fmla="*/ 1157 h 1238"/>
                <a:gd name="T56" fmla="*/ 664 w 1252"/>
                <a:gd name="T57" fmla="*/ 1157 h 1238"/>
                <a:gd name="T58" fmla="*/ 793 w 1252"/>
                <a:gd name="T59" fmla="*/ 1238 h 1238"/>
                <a:gd name="T60" fmla="*/ 893 w 1252"/>
                <a:gd name="T61" fmla="*/ 1202 h 1238"/>
                <a:gd name="T62" fmla="*/ 938 w 1252"/>
                <a:gd name="T63" fmla="*/ 1057 h 1238"/>
                <a:gd name="T64" fmla="*/ 993 w 1252"/>
                <a:gd name="T65" fmla="*/ 1011 h 1238"/>
                <a:gd name="T66" fmla="*/ 1145 w 1252"/>
                <a:gd name="T67" fmla="*/ 990 h 1238"/>
                <a:gd name="T68" fmla="*/ 1198 w 1252"/>
                <a:gd name="T69" fmla="*/ 900 h 1238"/>
                <a:gd name="T70" fmla="*/ 1140 w 1252"/>
                <a:gd name="T71" fmla="*/ 759 h 1238"/>
                <a:gd name="T72" fmla="*/ 1150 w 1252"/>
                <a:gd name="T73" fmla="*/ 685 h 1238"/>
                <a:gd name="T74" fmla="*/ 626 w 1252"/>
                <a:gd name="T75" fmla="*/ 900 h 1238"/>
                <a:gd name="T76" fmla="*/ 355 w 1252"/>
                <a:gd name="T77" fmla="*/ 628 h 1238"/>
                <a:gd name="T78" fmla="*/ 626 w 1252"/>
                <a:gd name="T79" fmla="*/ 357 h 1238"/>
                <a:gd name="T80" fmla="*/ 898 w 1252"/>
                <a:gd name="T81" fmla="*/ 628 h 1238"/>
                <a:gd name="T82" fmla="*/ 626 w 1252"/>
                <a:gd name="T83" fmla="*/ 90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2" h="1238">
                  <a:moveTo>
                    <a:pt x="1150" y="685"/>
                  </a:moveTo>
                  <a:cubicBezTo>
                    <a:pt x="1252" y="571"/>
                    <a:pt x="1252" y="571"/>
                    <a:pt x="1252" y="571"/>
                  </a:cubicBezTo>
                  <a:cubicBezTo>
                    <a:pt x="1245" y="528"/>
                    <a:pt x="1240" y="509"/>
                    <a:pt x="1233" y="466"/>
                  </a:cubicBezTo>
                  <a:cubicBezTo>
                    <a:pt x="1098" y="395"/>
                    <a:pt x="1098" y="395"/>
                    <a:pt x="1098" y="395"/>
                  </a:cubicBezTo>
                  <a:cubicBezTo>
                    <a:pt x="1086" y="373"/>
                    <a:pt x="1074" y="354"/>
                    <a:pt x="1062" y="333"/>
                  </a:cubicBezTo>
                  <a:cubicBezTo>
                    <a:pt x="1069" y="180"/>
                    <a:pt x="1069" y="180"/>
                    <a:pt x="1069" y="180"/>
                  </a:cubicBezTo>
                  <a:cubicBezTo>
                    <a:pt x="1036" y="152"/>
                    <a:pt x="1021" y="140"/>
                    <a:pt x="988" y="111"/>
                  </a:cubicBezTo>
                  <a:cubicBezTo>
                    <a:pt x="838" y="145"/>
                    <a:pt x="838" y="145"/>
                    <a:pt x="838" y="145"/>
                  </a:cubicBezTo>
                  <a:cubicBezTo>
                    <a:pt x="814" y="135"/>
                    <a:pt x="795" y="130"/>
                    <a:pt x="771" y="121"/>
                  </a:cubicBezTo>
                  <a:cubicBezTo>
                    <a:pt x="678" y="0"/>
                    <a:pt x="678" y="0"/>
                    <a:pt x="678" y="0"/>
                  </a:cubicBezTo>
                  <a:cubicBezTo>
                    <a:pt x="574" y="0"/>
                    <a:pt x="574" y="0"/>
                    <a:pt x="574" y="0"/>
                  </a:cubicBezTo>
                  <a:cubicBezTo>
                    <a:pt x="481" y="121"/>
                    <a:pt x="481" y="121"/>
                    <a:pt x="481" y="121"/>
                  </a:cubicBezTo>
                  <a:cubicBezTo>
                    <a:pt x="457" y="130"/>
                    <a:pt x="438" y="135"/>
                    <a:pt x="414" y="145"/>
                  </a:cubicBezTo>
                  <a:cubicBezTo>
                    <a:pt x="264" y="114"/>
                    <a:pt x="264" y="114"/>
                    <a:pt x="264" y="114"/>
                  </a:cubicBezTo>
                  <a:cubicBezTo>
                    <a:pt x="231" y="142"/>
                    <a:pt x="217" y="154"/>
                    <a:pt x="183" y="183"/>
                  </a:cubicBezTo>
                  <a:cubicBezTo>
                    <a:pt x="190" y="335"/>
                    <a:pt x="190" y="335"/>
                    <a:pt x="190" y="335"/>
                  </a:cubicBezTo>
                  <a:cubicBezTo>
                    <a:pt x="178" y="357"/>
                    <a:pt x="167" y="376"/>
                    <a:pt x="155" y="397"/>
                  </a:cubicBezTo>
                  <a:cubicBezTo>
                    <a:pt x="19" y="469"/>
                    <a:pt x="19" y="469"/>
                    <a:pt x="19" y="469"/>
                  </a:cubicBezTo>
                  <a:cubicBezTo>
                    <a:pt x="12" y="511"/>
                    <a:pt x="7" y="531"/>
                    <a:pt x="0" y="573"/>
                  </a:cubicBezTo>
                  <a:cubicBezTo>
                    <a:pt x="102" y="688"/>
                    <a:pt x="102" y="688"/>
                    <a:pt x="102" y="688"/>
                  </a:cubicBezTo>
                  <a:cubicBezTo>
                    <a:pt x="107" y="714"/>
                    <a:pt x="109" y="733"/>
                    <a:pt x="114" y="759"/>
                  </a:cubicBezTo>
                  <a:cubicBezTo>
                    <a:pt x="57" y="900"/>
                    <a:pt x="57" y="900"/>
                    <a:pt x="57" y="900"/>
                  </a:cubicBezTo>
                  <a:cubicBezTo>
                    <a:pt x="78" y="938"/>
                    <a:pt x="88" y="954"/>
                    <a:pt x="109" y="990"/>
                  </a:cubicBezTo>
                  <a:cubicBezTo>
                    <a:pt x="262" y="1011"/>
                    <a:pt x="262" y="1011"/>
                    <a:pt x="262" y="1011"/>
                  </a:cubicBezTo>
                  <a:cubicBezTo>
                    <a:pt x="281" y="1028"/>
                    <a:pt x="298" y="1040"/>
                    <a:pt x="317" y="1057"/>
                  </a:cubicBezTo>
                  <a:cubicBezTo>
                    <a:pt x="364" y="1202"/>
                    <a:pt x="364" y="1202"/>
                    <a:pt x="364" y="1202"/>
                  </a:cubicBezTo>
                  <a:cubicBezTo>
                    <a:pt x="405" y="1216"/>
                    <a:pt x="421" y="1223"/>
                    <a:pt x="464" y="1238"/>
                  </a:cubicBezTo>
                  <a:cubicBezTo>
                    <a:pt x="593" y="1157"/>
                    <a:pt x="593" y="1157"/>
                    <a:pt x="593" y="1157"/>
                  </a:cubicBezTo>
                  <a:cubicBezTo>
                    <a:pt x="664" y="1157"/>
                    <a:pt x="664" y="1157"/>
                    <a:pt x="664" y="1157"/>
                  </a:cubicBezTo>
                  <a:cubicBezTo>
                    <a:pt x="793" y="1238"/>
                    <a:pt x="793" y="1238"/>
                    <a:pt x="793" y="1238"/>
                  </a:cubicBezTo>
                  <a:cubicBezTo>
                    <a:pt x="833" y="1223"/>
                    <a:pt x="850" y="1216"/>
                    <a:pt x="893" y="1202"/>
                  </a:cubicBezTo>
                  <a:cubicBezTo>
                    <a:pt x="938" y="1057"/>
                    <a:pt x="938" y="1057"/>
                    <a:pt x="938" y="1057"/>
                  </a:cubicBezTo>
                  <a:cubicBezTo>
                    <a:pt x="957" y="1040"/>
                    <a:pt x="974" y="1028"/>
                    <a:pt x="993" y="1011"/>
                  </a:cubicBezTo>
                  <a:cubicBezTo>
                    <a:pt x="1145" y="990"/>
                    <a:pt x="1145" y="990"/>
                    <a:pt x="1145" y="990"/>
                  </a:cubicBezTo>
                  <a:cubicBezTo>
                    <a:pt x="1167" y="952"/>
                    <a:pt x="1176" y="935"/>
                    <a:pt x="1198" y="900"/>
                  </a:cubicBezTo>
                  <a:cubicBezTo>
                    <a:pt x="1140" y="759"/>
                    <a:pt x="1140" y="759"/>
                    <a:pt x="1140" y="759"/>
                  </a:cubicBezTo>
                  <a:cubicBezTo>
                    <a:pt x="1143" y="728"/>
                    <a:pt x="1145" y="709"/>
                    <a:pt x="1150" y="685"/>
                  </a:cubicBezTo>
                  <a:close/>
                  <a:moveTo>
                    <a:pt x="626" y="900"/>
                  </a:moveTo>
                  <a:cubicBezTo>
                    <a:pt x="476" y="900"/>
                    <a:pt x="355" y="778"/>
                    <a:pt x="355" y="628"/>
                  </a:cubicBezTo>
                  <a:cubicBezTo>
                    <a:pt x="355" y="478"/>
                    <a:pt x="476" y="357"/>
                    <a:pt x="626" y="357"/>
                  </a:cubicBezTo>
                  <a:cubicBezTo>
                    <a:pt x="776" y="357"/>
                    <a:pt x="898" y="478"/>
                    <a:pt x="898" y="628"/>
                  </a:cubicBezTo>
                  <a:cubicBezTo>
                    <a:pt x="898" y="778"/>
                    <a:pt x="776" y="900"/>
                    <a:pt x="626" y="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2" name="Oval 31"/>
            <p:cNvSpPr>
              <a:spLocks noChangeArrowheads="1"/>
            </p:cNvSpPr>
            <p:nvPr/>
          </p:nvSpPr>
          <p:spPr bwMode="auto">
            <a:xfrm>
              <a:off x="-146" y="4237"/>
              <a:ext cx="469" cy="4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3" name="Freeform 32"/>
            <p:cNvSpPr>
              <a:spLocks noEditPoints="1"/>
            </p:cNvSpPr>
            <p:nvPr/>
          </p:nvSpPr>
          <p:spPr bwMode="auto">
            <a:xfrm>
              <a:off x="-751" y="3642"/>
              <a:ext cx="1679" cy="1658"/>
            </a:xfrm>
            <a:custGeom>
              <a:avLst/>
              <a:gdLst>
                <a:gd name="T0" fmla="*/ 769 w 838"/>
                <a:gd name="T1" fmla="*/ 457 h 828"/>
                <a:gd name="T2" fmla="*/ 838 w 838"/>
                <a:gd name="T3" fmla="*/ 381 h 828"/>
                <a:gd name="T4" fmla="*/ 826 w 838"/>
                <a:gd name="T5" fmla="*/ 312 h 828"/>
                <a:gd name="T6" fmla="*/ 736 w 838"/>
                <a:gd name="T7" fmla="*/ 264 h 828"/>
                <a:gd name="T8" fmla="*/ 712 w 838"/>
                <a:gd name="T9" fmla="*/ 224 h 828"/>
                <a:gd name="T10" fmla="*/ 717 w 838"/>
                <a:gd name="T11" fmla="*/ 121 h 828"/>
                <a:gd name="T12" fmla="*/ 662 w 838"/>
                <a:gd name="T13" fmla="*/ 76 h 828"/>
                <a:gd name="T14" fmla="*/ 562 w 838"/>
                <a:gd name="T15" fmla="*/ 97 h 828"/>
                <a:gd name="T16" fmla="*/ 517 w 838"/>
                <a:gd name="T17" fmla="*/ 81 h 828"/>
                <a:gd name="T18" fmla="*/ 455 w 838"/>
                <a:gd name="T19" fmla="*/ 0 h 828"/>
                <a:gd name="T20" fmla="*/ 383 w 838"/>
                <a:gd name="T21" fmla="*/ 0 h 828"/>
                <a:gd name="T22" fmla="*/ 321 w 838"/>
                <a:gd name="T23" fmla="*/ 81 h 828"/>
                <a:gd name="T24" fmla="*/ 276 w 838"/>
                <a:gd name="T25" fmla="*/ 97 h 828"/>
                <a:gd name="T26" fmla="*/ 176 w 838"/>
                <a:gd name="T27" fmla="*/ 76 h 828"/>
                <a:gd name="T28" fmla="*/ 121 w 838"/>
                <a:gd name="T29" fmla="*/ 121 h 828"/>
                <a:gd name="T30" fmla="*/ 126 w 838"/>
                <a:gd name="T31" fmla="*/ 224 h 828"/>
                <a:gd name="T32" fmla="*/ 102 w 838"/>
                <a:gd name="T33" fmla="*/ 264 h 828"/>
                <a:gd name="T34" fmla="*/ 12 w 838"/>
                <a:gd name="T35" fmla="*/ 312 h 828"/>
                <a:gd name="T36" fmla="*/ 0 w 838"/>
                <a:gd name="T37" fmla="*/ 381 h 828"/>
                <a:gd name="T38" fmla="*/ 69 w 838"/>
                <a:gd name="T39" fmla="*/ 457 h 828"/>
                <a:gd name="T40" fmla="*/ 76 w 838"/>
                <a:gd name="T41" fmla="*/ 505 h 828"/>
                <a:gd name="T42" fmla="*/ 38 w 838"/>
                <a:gd name="T43" fmla="*/ 600 h 828"/>
                <a:gd name="T44" fmla="*/ 74 w 838"/>
                <a:gd name="T45" fmla="*/ 662 h 828"/>
                <a:gd name="T46" fmla="*/ 176 w 838"/>
                <a:gd name="T47" fmla="*/ 676 h 828"/>
                <a:gd name="T48" fmla="*/ 212 w 838"/>
                <a:gd name="T49" fmla="*/ 707 h 828"/>
                <a:gd name="T50" fmla="*/ 243 w 838"/>
                <a:gd name="T51" fmla="*/ 805 h 828"/>
                <a:gd name="T52" fmla="*/ 309 w 838"/>
                <a:gd name="T53" fmla="*/ 828 h 828"/>
                <a:gd name="T54" fmla="*/ 395 w 838"/>
                <a:gd name="T55" fmla="*/ 774 h 828"/>
                <a:gd name="T56" fmla="*/ 443 w 838"/>
                <a:gd name="T57" fmla="*/ 774 h 828"/>
                <a:gd name="T58" fmla="*/ 529 w 838"/>
                <a:gd name="T59" fmla="*/ 828 h 828"/>
                <a:gd name="T60" fmla="*/ 595 w 838"/>
                <a:gd name="T61" fmla="*/ 805 h 828"/>
                <a:gd name="T62" fmla="*/ 626 w 838"/>
                <a:gd name="T63" fmla="*/ 707 h 828"/>
                <a:gd name="T64" fmla="*/ 662 w 838"/>
                <a:gd name="T65" fmla="*/ 676 h 828"/>
                <a:gd name="T66" fmla="*/ 764 w 838"/>
                <a:gd name="T67" fmla="*/ 662 h 828"/>
                <a:gd name="T68" fmla="*/ 800 w 838"/>
                <a:gd name="T69" fmla="*/ 600 h 828"/>
                <a:gd name="T70" fmla="*/ 762 w 838"/>
                <a:gd name="T71" fmla="*/ 505 h 828"/>
                <a:gd name="T72" fmla="*/ 769 w 838"/>
                <a:gd name="T73" fmla="*/ 457 h 828"/>
                <a:gd name="T74" fmla="*/ 419 w 838"/>
                <a:gd name="T75" fmla="*/ 614 h 828"/>
                <a:gd name="T76" fmla="*/ 219 w 838"/>
                <a:gd name="T77" fmla="*/ 414 h 828"/>
                <a:gd name="T78" fmla="*/ 419 w 838"/>
                <a:gd name="T79" fmla="*/ 214 h 828"/>
                <a:gd name="T80" fmla="*/ 619 w 838"/>
                <a:gd name="T81" fmla="*/ 414 h 828"/>
                <a:gd name="T82" fmla="*/ 419 w 838"/>
                <a:gd name="T83" fmla="*/ 6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8" h="828">
                  <a:moveTo>
                    <a:pt x="769" y="457"/>
                  </a:moveTo>
                  <a:cubicBezTo>
                    <a:pt x="838" y="381"/>
                    <a:pt x="838" y="381"/>
                    <a:pt x="838" y="381"/>
                  </a:cubicBezTo>
                  <a:cubicBezTo>
                    <a:pt x="833" y="352"/>
                    <a:pt x="831" y="340"/>
                    <a:pt x="826" y="312"/>
                  </a:cubicBezTo>
                  <a:cubicBezTo>
                    <a:pt x="736" y="264"/>
                    <a:pt x="736" y="264"/>
                    <a:pt x="736" y="264"/>
                  </a:cubicBezTo>
                  <a:cubicBezTo>
                    <a:pt x="726" y="250"/>
                    <a:pt x="721" y="238"/>
                    <a:pt x="712" y="224"/>
                  </a:cubicBezTo>
                  <a:cubicBezTo>
                    <a:pt x="717" y="121"/>
                    <a:pt x="717" y="121"/>
                    <a:pt x="717" y="121"/>
                  </a:cubicBezTo>
                  <a:cubicBezTo>
                    <a:pt x="695" y="102"/>
                    <a:pt x="686" y="95"/>
                    <a:pt x="662" y="76"/>
                  </a:cubicBezTo>
                  <a:cubicBezTo>
                    <a:pt x="562" y="97"/>
                    <a:pt x="562" y="97"/>
                    <a:pt x="562" y="97"/>
                  </a:cubicBezTo>
                  <a:cubicBezTo>
                    <a:pt x="545" y="90"/>
                    <a:pt x="533" y="88"/>
                    <a:pt x="517" y="81"/>
                  </a:cubicBezTo>
                  <a:cubicBezTo>
                    <a:pt x="455" y="0"/>
                    <a:pt x="455" y="0"/>
                    <a:pt x="455" y="0"/>
                  </a:cubicBezTo>
                  <a:cubicBezTo>
                    <a:pt x="383" y="0"/>
                    <a:pt x="383" y="0"/>
                    <a:pt x="383" y="0"/>
                  </a:cubicBezTo>
                  <a:cubicBezTo>
                    <a:pt x="321" y="81"/>
                    <a:pt x="321" y="81"/>
                    <a:pt x="321" y="81"/>
                  </a:cubicBezTo>
                  <a:cubicBezTo>
                    <a:pt x="305" y="88"/>
                    <a:pt x="293" y="90"/>
                    <a:pt x="276" y="97"/>
                  </a:cubicBezTo>
                  <a:cubicBezTo>
                    <a:pt x="176" y="76"/>
                    <a:pt x="176" y="76"/>
                    <a:pt x="176" y="76"/>
                  </a:cubicBezTo>
                  <a:cubicBezTo>
                    <a:pt x="155" y="95"/>
                    <a:pt x="145" y="102"/>
                    <a:pt x="121" y="121"/>
                  </a:cubicBezTo>
                  <a:cubicBezTo>
                    <a:pt x="126" y="224"/>
                    <a:pt x="126" y="224"/>
                    <a:pt x="126" y="224"/>
                  </a:cubicBezTo>
                  <a:cubicBezTo>
                    <a:pt x="117" y="238"/>
                    <a:pt x="112" y="250"/>
                    <a:pt x="102" y="264"/>
                  </a:cubicBezTo>
                  <a:cubicBezTo>
                    <a:pt x="12" y="312"/>
                    <a:pt x="12" y="312"/>
                    <a:pt x="12" y="312"/>
                  </a:cubicBezTo>
                  <a:cubicBezTo>
                    <a:pt x="7" y="340"/>
                    <a:pt x="5" y="352"/>
                    <a:pt x="0" y="381"/>
                  </a:cubicBezTo>
                  <a:cubicBezTo>
                    <a:pt x="69" y="457"/>
                    <a:pt x="69" y="457"/>
                    <a:pt x="69" y="457"/>
                  </a:cubicBezTo>
                  <a:cubicBezTo>
                    <a:pt x="71" y="474"/>
                    <a:pt x="74" y="488"/>
                    <a:pt x="76" y="505"/>
                  </a:cubicBezTo>
                  <a:cubicBezTo>
                    <a:pt x="38" y="600"/>
                    <a:pt x="38" y="600"/>
                    <a:pt x="38" y="600"/>
                  </a:cubicBezTo>
                  <a:cubicBezTo>
                    <a:pt x="52" y="626"/>
                    <a:pt x="59" y="636"/>
                    <a:pt x="74" y="662"/>
                  </a:cubicBezTo>
                  <a:cubicBezTo>
                    <a:pt x="176" y="676"/>
                    <a:pt x="176" y="676"/>
                    <a:pt x="176" y="676"/>
                  </a:cubicBezTo>
                  <a:cubicBezTo>
                    <a:pt x="188" y="688"/>
                    <a:pt x="200" y="695"/>
                    <a:pt x="212" y="707"/>
                  </a:cubicBezTo>
                  <a:cubicBezTo>
                    <a:pt x="243" y="805"/>
                    <a:pt x="243" y="805"/>
                    <a:pt x="243" y="805"/>
                  </a:cubicBezTo>
                  <a:cubicBezTo>
                    <a:pt x="271" y="814"/>
                    <a:pt x="281" y="819"/>
                    <a:pt x="309" y="828"/>
                  </a:cubicBezTo>
                  <a:cubicBezTo>
                    <a:pt x="395" y="774"/>
                    <a:pt x="395" y="774"/>
                    <a:pt x="395" y="774"/>
                  </a:cubicBezTo>
                  <a:cubicBezTo>
                    <a:pt x="443" y="774"/>
                    <a:pt x="443" y="774"/>
                    <a:pt x="443" y="774"/>
                  </a:cubicBezTo>
                  <a:cubicBezTo>
                    <a:pt x="529" y="828"/>
                    <a:pt x="529" y="828"/>
                    <a:pt x="529" y="828"/>
                  </a:cubicBezTo>
                  <a:cubicBezTo>
                    <a:pt x="557" y="819"/>
                    <a:pt x="567" y="814"/>
                    <a:pt x="595" y="805"/>
                  </a:cubicBezTo>
                  <a:cubicBezTo>
                    <a:pt x="626" y="707"/>
                    <a:pt x="626" y="707"/>
                    <a:pt x="626" y="707"/>
                  </a:cubicBezTo>
                  <a:cubicBezTo>
                    <a:pt x="638" y="695"/>
                    <a:pt x="650" y="688"/>
                    <a:pt x="662" y="676"/>
                  </a:cubicBezTo>
                  <a:cubicBezTo>
                    <a:pt x="764" y="662"/>
                    <a:pt x="764" y="662"/>
                    <a:pt x="764" y="662"/>
                  </a:cubicBezTo>
                  <a:cubicBezTo>
                    <a:pt x="779" y="636"/>
                    <a:pt x="786" y="626"/>
                    <a:pt x="800" y="600"/>
                  </a:cubicBezTo>
                  <a:cubicBezTo>
                    <a:pt x="762" y="505"/>
                    <a:pt x="762" y="505"/>
                    <a:pt x="762" y="505"/>
                  </a:cubicBezTo>
                  <a:cubicBezTo>
                    <a:pt x="764" y="488"/>
                    <a:pt x="767" y="474"/>
                    <a:pt x="769" y="457"/>
                  </a:cubicBezTo>
                  <a:close/>
                  <a:moveTo>
                    <a:pt x="419" y="614"/>
                  </a:moveTo>
                  <a:cubicBezTo>
                    <a:pt x="307" y="614"/>
                    <a:pt x="219" y="524"/>
                    <a:pt x="219" y="414"/>
                  </a:cubicBezTo>
                  <a:cubicBezTo>
                    <a:pt x="219" y="302"/>
                    <a:pt x="309" y="214"/>
                    <a:pt x="419" y="214"/>
                  </a:cubicBezTo>
                  <a:cubicBezTo>
                    <a:pt x="531" y="214"/>
                    <a:pt x="619" y="305"/>
                    <a:pt x="619" y="414"/>
                  </a:cubicBezTo>
                  <a:cubicBezTo>
                    <a:pt x="619" y="524"/>
                    <a:pt x="531" y="614"/>
                    <a:pt x="419" y="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4" name="Freeform 33"/>
            <p:cNvSpPr>
              <a:spLocks/>
            </p:cNvSpPr>
            <p:nvPr/>
          </p:nvSpPr>
          <p:spPr bwMode="auto">
            <a:xfrm>
              <a:off x="1567" y="3027"/>
              <a:ext cx="729" cy="725"/>
            </a:xfrm>
            <a:custGeom>
              <a:avLst/>
              <a:gdLst>
                <a:gd name="T0" fmla="*/ 364 w 364"/>
                <a:gd name="T1" fmla="*/ 181 h 362"/>
                <a:gd name="T2" fmla="*/ 181 w 364"/>
                <a:gd name="T3" fmla="*/ 362 h 362"/>
                <a:gd name="T4" fmla="*/ 0 w 364"/>
                <a:gd name="T5" fmla="*/ 181 h 362"/>
                <a:gd name="T6" fmla="*/ 181 w 364"/>
                <a:gd name="T7" fmla="*/ 0 h 362"/>
                <a:gd name="T8" fmla="*/ 364 w 364"/>
                <a:gd name="T9" fmla="*/ 181 h 362"/>
              </a:gdLst>
              <a:ahLst/>
              <a:cxnLst>
                <a:cxn ang="0">
                  <a:pos x="T0" y="T1"/>
                </a:cxn>
                <a:cxn ang="0">
                  <a:pos x="T2" y="T3"/>
                </a:cxn>
                <a:cxn ang="0">
                  <a:pos x="T4" y="T5"/>
                </a:cxn>
                <a:cxn ang="0">
                  <a:pos x="T6" y="T7"/>
                </a:cxn>
                <a:cxn ang="0">
                  <a:pos x="T8" y="T9"/>
                </a:cxn>
              </a:cxnLst>
              <a:rect l="0" t="0" r="r" b="b"/>
              <a:pathLst>
                <a:path w="364" h="362">
                  <a:moveTo>
                    <a:pt x="364" y="181"/>
                  </a:moveTo>
                  <a:cubicBezTo>
                    <a:pt x="364" y="281"/>
                    <a:pt x="284" y="362"/>
                    <a:pt x="181" y="362"/>
                  </a:cubicBezTo>
                  <a:cubicBezTo>
                    <a:pt x="81" y="362"/>
                    <a:pt x="0" y="281"/>
                    <a:pt x="0" y="181"/>
                  </a:cubicBezTo>
                  <a:cubicBezTo>
                    <a:pt x="0" y="81"/>
                    <a:pt x="81" y="0"/>
                    <a:pt x="181" y="0"/>
                  </a:cubicBezTo>
                  <a:cubicBezTo>
                    <a:pt x="281" y="0"/>
                    <a:pt x="364" y="81"/>
                    <a:pt x="36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5" name="Oval 34"/>
            <p:cNvSpPr>
              <a:spLocks noChangeArrowheads="1"/>
            </p:cNvSpPr>
            <p:nvPr/>
          </p:nvSpPr>
          <p:spPr bwMode="auto">
            <a:xfrm>
              <a:off x="-146" y="4237"/>
              <a:ext cx="469" cy="4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6" name="Oval 35"/>
            <p:cNvSpPr>
              <a:spLocks noChangeArrowheads="1"/>
            </p:cNvSpPr>
            <p:nvPr/>
          </p:nvSpPr>
          <p:spPr bwMode="auto">
            <a:xfrm>
              <a:off x="-146" y="4237"/>
              <a:ext cx="469" cy="4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7" name="Freeform 36"/>
            <p:cNvSpPr>
              <a:spLocks/>
            </p:cNvSpPr>
            <p:nvPr/>
          </p:nvSpPr>
          <p:spPr bwMode="auto">
            <a:xfrm>
              <a:off x="1567" y="3027"/>
              <a:ext cx="729" cy="725"/>
            </a:xfrm>
            <a:custGeom>
              <a:avLst/>
              <a:gdLst>
                <a:gd name="T0" fmla="*/ 364 w 364"/>
                <a:gd name="T1" fmla="*/ 181 h 362"/>
                <a:gd name="T2" fmla="*/ 181 w 364"/>
                <a:gd name="T3" fmla="*/ 362 h 362"/>
                <a:gd name="T4" fmla="*/ 0 w 364"/>
                <a:gd name="T5" fmla="*/ 181 h 362"/>
                <a:gd name="T6" fmla="*/ 181 w 364"/>
                <a:gd name="T7" fmla="*/ 0 h 362"/>
                <a:gd name="T8" fmla="*/ 364 w 364"/>
                <a:gd name="T9" fmla="*/ 181 h 362"/>
              </a:gdLst>
              <a:ahLst/>
              <a:cxnLst>
                <a:cxn ang="0">
                  <a:pos x="T0" y="T1"/>
                </a:cxn>
                <a:cxn ang="0">
                  <a:pos x="T2" y="T3"/>
                </a:cxn>
                <a:cxn ang="0">
                  <a:pos x="T4" y="T5"/>
                </a:cxn>
                <a:cxn ang="0">
                  <a:pos x="T6" y="T7"/>
                </a:cxn>
                <a:cxn ang="0">
                  <a:pos x="T8" y="T9"/>
                </a:cxn>
              </a:cxnLst>
              <a:rect l="0" t="0" r="r" b="b"/>
              <a:pathLst>
                <a:path w="364" h="362">
                  <a:moveTo>
                    <a:pt x="364" y="181"/>
                  </a:moveTo>
                  <a:cubicBezTo>
                    <a:pt x="364" y="281"/>
                    <a:pt x="284" y="362"/>
                    <a:pt x="181" y="362"/>
                  </a:cubicBezTo>
                  <a:cubicBezTo>
                    <a:pt x="81" y="362"/>
                    <a:pt x="0" y="281"/>
                    <a:pt x="0" y="181"/>
                  </a:cubicBezTo>
                  <a:cubicBezTo>
                    <a:pt x="0" y="81"/>
                    <a:pt x="81" y="0"/>
                    <a:pt x="181" y="0"/>
                  </a:cubicBezTo>
                  <a:cubicBezTo>
                    <a:pt x="281" y="0"/>
                    <a:pt x="364" y="81"/>
                    <a:pt x="36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8" name="Freeform 37"/>
            <p:cNvSpPr>
              <a:spLocks/>
            </p:cNvSpPr>
            <p:nvPr/>
          </p:nvSpPr>
          <p:spPr bwMode="auto">
            <a:xfrm>
              <a:off x="3021" y="2154"/>
              <a:ext cx="244" cy="238"/>
            </a:xfrm>
            <a:custGeom>
              <a:avLst/>
              <a:gdLst>
                <a:gd name="T0" fmla="*/ 36 w 122"/>
                <a:gd name="T1" fmla="*/ 119 h 119"/>
                <a:gd name="T2" fmla="*/ 0 w 122"/>
                <a:gd name="T3" fmla="*/ 78 h 119"/>
                <a:gd name="T4" fmla="*/ 81 w 122"/>
                <a:gd name="T5" fmla="*/ 0 h 119"/>
                <a:gd name="T6" fmla="*/ 122 w 122"/>
                <a:gd name="T7" fmla="*/ 45 h 119"/>
                <a:gd name="T8" fmla="*/ 36 w 122"/>
                <a:gd name="T9" fmla="*/ 119 h 119"/>
              </a:gdLst>
              <a:ahLst/>
              <a:cxnLst>
                <a:cxn ang="0">
                  <a:pos x="T0" y="T1"/>
                </a:cxn>
                <a:cxn ang="0">
                  <a:pos x="T2" y="T3"/>
                </a:cxn>
                <a:cxn ang="0">
                  <a:pos x="T4" y="T5"/>
                </a:cxn>
                <a:cxn ang="0">
                  <a:pos x="T6" y="T7"/>
                </a:cxn>
                <a:cxn ang="0">
                  <a:pos x="T8" y="T9"/>
                </a:cxn>
              </a:cxnLst>
              <a:rect l="0" t="0" r="r" b="b"/>
              <a:pathLst>
                <a:path w="122" h="119">
                  <a:moveTo>
                    <a:pt x="36" y="119"/>
                  </a:moveTo>
                  <a:cubicBezTo>
                    <a:pt x="24" y="105"/>
                    <a:pt x="12" y="93"/>
                    <a:pt x="0" y="78"/>
                  </a:cubicBezTo>
                  <a:cubicBezTo>
                    <a:pt x="81" y="0"/>
                    <a:pt x="81" y="0"/>
                    <a:pt x="81" y="0"/>
                  </a:cubicBezTo>
                  <a:cubicBezTo>
                    <a:pt x="96" y="14"/>
                    <a:pt x="110" y="28"/>
                    <a:pt x="122" y="45"/>
                  </a:cubicBezTo>
                  <a:lnTo>
                    <a:pt x="36"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39" name="Freeform 38"/>
            <p:cNvSpPr>
              <a:spLocks/>
            </p:cNvSpPr>
            <p:nvPr/>
          </p:nvSpPr>
          <p:spPr bwMode="auto">
            <a:xfrm>
              <a:off x="2854" y="1988"/>
              <a:ext cx="263" cy="270"/>
            </a:xfrm>
            <a:custGeom>
              <a:avLst/>
              <a:gdLst>
                <a:gd name="T0" fmla="*/ 55 w 131"/>
                <a:gd name="T1" fmla="*/ 135 h 135"/>
                <a:gd name="T2" fmla="*/ 0 w 131"/>
                <a:gd name="T3" fmla="*/ 90 h 135"/>
                <a:gd name="T4" fmla="*/ 69 w 131"/>
                <a:gd name="T5" fmla="*/ 0 h 135"/>
                <a:gd name="T6" fmla="*/ 131 w 131"/>
                <a:gd name="T7" fmla="*/ 52 h 135"/>
                <a:gd name="T8" fmla="*/ 55 w 131"/>
                <a:gd name="T9" fmla="*/ 135 h 135"/>
              </a:gdLst>
              <a:ahLst/>
              <a:cxnLst>
                <a:cxn ang="0">
                  <a:pos x="T0" y="T1"/>
                </a:cxn>
                <a:cxn ang="0">
                  <a:pos x="T2" y="T3"/>
                </a:cxn>
                <a:cxn ang="0">
                  <a:pos x="T4" y="T5"/>
                </a:cxn>
                <a:cxn ang="0">
                  <a:pos x="T6" y="T7"/>
                </a:cxn>
                <a:cxn ang="0">
                  <a:pos x="T8" y="T9"/>
                </a:cxn>
              </a:cxnLst>
              <a:rect l="0" t="0" r="r" b="b"/>
              <a:pathLst>
                <a:path w="131" h="135">
                  <a:moveTo>
                    <a:pt x="55" y="135"/>
                  </a:moveTo>
                  <a:cubicBezTo>
                    <a:pt x="38" y="119"/>
                    <a:pt x="19" y="104"/>
                    <a:pt x="0" y="90"/>
                  </a:cubicBezTo>
                  <a:cubicBezTo>
                    <a:pt x="69" y="0"/>
                    <a:pt x="69" y="0"/>
                    <a:pt x="69" y="0"/>
                  </a:cubicBezTo>
                  <a:cubicBezTo>
                    <a:pt x="91" y="16"/>
                    <a:pt x="112" y="33"/>
                    <a:pt x="131" y="52"/>
                  </a:cubicBezTo>
                  <a:lnTo>
                    <a:pt x="55"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0" name="Freeform 39"/>
            <p:cNvSpPr>
              <a:spLocks/>
            </p:cNvSpPr>
            <p:nvPr/>
          </p:nvSpPr>
          <p:spPr bwMode="auto">
            <a:xfrm>
              <a:off x="2582" y="1795"/>
              <a:ext cx="300" cy="307"/>
            </a:xfrm>
            <a:custGeom>
              <a:avLst/>
              <a:gdLst>
                <a:gd name="T0" fmla="*/ 91 w 150"/>
                <a:gd name="T1" fmla="*/ 153 h 153"/>
                <a:gd name="T2" fmla="*/ 0 w 150"/>
                <a:gd name="T3" fmla="*/ 103 h 153"/>
                <a:gd name="T4" fmla="*/ 48 w 150"/>
                <a:gd name="T5" fmla="*/ 0 h 153"/>
                <a:gd name="T6" fmla="*/ 150 w 150"/>
                <a:gd name="T7" fmla="*/ 57 h 153"/>
                <a:gd name="T8" fmla="*/ 91 w 150"/>
                <a:gd name="T9" fmla="*/ 153 h 153"/>
              </a:gdLst>
              <a:ahLst/>
              <a:cxnLst>
                <a:cxn ang="0">
                  <a:pos x="T0" y="T1"/>
                </a:cxn>
                <a:cxn ang="0">
                  <a:pos x="T2" y="T3"/>
                </a:cxn>
                <a:cxn ang="0">
                  <a:pos x="T4" y="T5"/>
                </a:cxn>
                <a:cxn ang="0">
                  <a:pos x="T6" y="T7"/>
                </a:cxn>
                <a:cxn ang="0">
                  <a:pos x="T8" y="T9"/>
                </a:cxn>
              </a:cxnLst>
              <a:rect l="0" t="0" r="r" b="b"/>
              <a:pathLst>
                <a:path w="150" h="153">
                  <a:moveTo>
                    <a:pt x="91" y="153"/>
                  </a:moveTo>
                  <a:cubicBezTo>
                    <a:pt x="62" y="134"/>
                    <a:pt x="31" y="117"/>
                    <a:pt x="0" y="103"/>
                  </a:cubicBezTo>
                  <a:cubicBezTo>
                    <a:pt x="48" y="0"/>
                    <a:pt x="48" y="0"/>
                    <a:pt x="48" y="0"/>
                  </a:cubicBezTo>
                  <a:cubicBezTo>
                    <a:pt x="84" y="17"/>
                    <a:pt x="117" y="36"/>
                    <a:pt x="150" y="57"/>
                  </a:cubicBezTo>
                  <a:lnTo>
                    <a:pt x="91"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1" name="Freeform 40"/>
            <p:cNvSpPr>
              <a:spLocks/>
            </p:cNvSpPr>
            <p:nvPr/>
          </p:nvSpPr>
          <p:spPr bwMode="auto">
            <a:xfrm>
              <a:off x="2143" y="1649"/>
              <a:ext cx="421" cy="309"/>
            </a:xfrm>
            <a:custGeom>
              <a:avLst/>
              <a:gdLst>
                <a:gd name="T0" fmla="*/ 169 w 210"/>
                <a:gd name="T1" fmla="*/ 154 h 154"/>
                <a:gd name="T2" fmla="*/ 0 w 210"/>
                <a:gd name="T3" fmla="*/ 111 h 154"/>
                <a:gd name="T4" fmla="*/ 17 w 210"/>
                <a:gd name="T5" fmla="*/ 0 h 154"/>
                <a:gd name="T6" fmla="*/ 210 w 210"/>
                <a:gd name="T7" fmla="*/ 50 h 154"/>
                <a:gd name="T8" fmla="*/ 169 w 210"/>
                <a:gd name="T9" fmla="*/ 154 h 154"/>
              </a:gdLst>
              <a:ahLst/>
              <a:cxnLst>
                <a:cxn ang="0">
                  <a:pos x="T0" y="T1"/>
                </a:cxn>
                <a:cxn ang="0">
                  <a:pos x="T2" y="T3"/>
                </a:cxn>
                <a:cxn ang="0">
                  <a:pos x="T4" y="T5"/>
                </a:cxn>
                <a:cxn ang="0">
                  <a:pos x="T6" y="T7"/>
                </a:cxn>
                <a:cxn ang="0">
                  <a:pos x="T8" y="T9"/>
                </a:cxn>
              </a:cxnLst>
              <a:rect l="0" t="0" r="r" b="b"/>
              <a:pathLst>
                <a:path w="210" h="154">
                  <a:moveTo>
                    <a:pt x="169" y="154"/>
                  </a:moveTo>
                  <a:cubicBezTo>
                    <a:pt x="115" y="133"/>
                    <a:pt x="57" y="119"/>
                    <a:pt x="0" y="111"/>
                  </a:cubicBezTo>
                  <a:cubicBezTo>
                    <a:pt x="17" y="0"/>
                    <a:pt x="17" y="0"/>
                    <a:pt x="17" y="0"/>
                  </a:cubicBezTo>
                  <a:cubicBezTo>
                    <a:pt x="84" y="9"/>
                    <a:pt x="148" y="26"/>
                    <a:pt x="210" y="50"/>
                  </a:cubicBezTo>
                  <a:lnTo>
                    <a:pt x="169"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2" name="Freeform 41"/>
            <p:cNvSpPr>
              <a:spLocks/>
            </p:cNvSpPr>
            <p:nvPr/>
          </p:nvSpPr>
          <p:spPr bwMode="auto">
            <a:xfrm>
              <a:off x="22" y="1629"/>
              <a:ext cx="1997" cy="1689"/>
            </a:xfrm>
            <a:custGeom>
              <a:avLst/>
              <a:gdLst>
                <a:gd name="T0" fmla="*/ 997 w 997"/>
                <a:gd name="T1" fmla="*/ 0 h 843"/>
                <a:gd name="T2" fmla="*/ 993 w 997"/>
                <a:gd name="T3" fmla="*/ 112 h 843"/>
                <a:gd name="T4" fmla="*/ 954 w 997"/>
                <a:gd name="T5" fmla="*/ 112 h 843"/>
                <a:gd name="T6" fmla="*/ 238 w 997"/>
                <a:gd name="T7" fmla="*/ 607 h 843"/>
                <a:gd name="T8" fmla="*/ 302 w 997"/>
                <a:gd name="T9" fmla="*/ 557 h 843"/>
                <a:gd name="T10" fmla="*/ 371 w 997"/>
                <a:gd name="T11" fmla="*/ 648 h 843"/>
                <a:gd name="T12" fmla="*/ 114 w 997"/>
                <a:gd name="T13" fmla="*/ 843 h 843"/>
                <a:gd name="T14" fmla="*/ 0 w 997"/>
                <a:gd name="T15" fmla="*/ 545 h 843"/>
                <a:gd name="T16" fmla="*/ 104 w 997"/>
                <a:gd name="T17" fmla="*/ 505 h 843"/>
                <a:gd name="T18" fmla="*/ 128 w 997"/>
                <a:gd name="T19" fmla="*/ 569 h 843"/>
                <a:gd name="T20" fmla="*/ 952 w 997"/>
                <a:gd name="T21" fmla="*/ 0 h 843"/>
                <a:gd name="T22" fmla="*/ 997 w 997"/>
                <a:gd name="T23"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7" h="843">
                  <a:moveTo>
                    <a:pt x="997" y="0"/>
                  </a:moveTo>
                  <a:cubicBezTo>
                    <a:pt x="993" y="112"/>
                    <a:pt x="993" y="112"/>
                    <a:pt x="993" y="112"/>
                  </a:cubicBezTo>
                  <a:cubicBezTo>
                    <a:pt x="981" y="112"/>
                    <a:pt x="966" y="112"/>
                    <a:pt x="954" y="112"/>
                  </a:cubicBezTo>
                  <a:cubicBezTo>
                    <a:pt x="631" y="112"/>
                    <a:pt x="347" y="314"/>
                    <a:pt x="238" y="607"/>
                  </a:cubicBezTo>
                  <a:cubicBezTo>
                    <a:pt x="302" y="557"/>
                    <a:pt x="302" y="557"/>
                    <a:pt x="302" y="557"/>
                  </a:cubicBezTo>
                  <a:cubicBezTo>
                    <a:pt x="371" y="648"/>
                    <a:pt x="371" y="648"/>
                    <a:pt x="371" y="648"/>
                  </a:cubicBezTo>
                  <a:cubicBezTo>
                    <a:pt x="114" y="843"/>
                    <a:pt x="114" y="843"/>
                    <a:pt x="114" y="843"/>
                  </a:cubicBezTo>
                  <a:cubicBezTo>
                    <a:pt x="0" y="545"/>
                    <a:pt x="0" y="545"/>
                    <a:pt x="0" y="545"/>
                  </a:cubicBezTo>
                  <a:cubicBezTo>
                    <a:pt x="104" y="505"/>
                    <a:pt x="104" y="505"/>
                    <a:pt x="104" y="505"/>
                  </a:cubicBezTo>
                  <a:cubicBezTo>
                    <a:pt x="128" y="569"/>
                    <a:pt x="128" y="569"/>
                    <a:pt x="128" y="569"/>
                  </a:cubicBezTo>
                  <a:cubicBezTo>
                    <a:pt x="257" y="231"/>
                    <a:pt x="583" y="0"/>
                    <a:pt x="952" y="0"/>
                  </a:cubicBezTo>
                  <a:cubicBezTo>
                    <a:pt x="966" y="0"/>
                    <a:pt x="983" y="0"/>
                    <a:pt x="9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3" name="Freeform 42"/>
            <p:cNvSpPr>
              <a:spLocks/>
            </p:cNvSpPr>
            <p:nvPr/>
          </p:nvSpPr>
          <p:spPr bwMode="auto">
            <a:xfrm>
              <a:off x="-1017" y="5116"/>
              <a:ext cx="1955" cy="643"/>
            </a:xfrm>
            <a:custGeom>
              <a:avLst/>
              <a:gdLst>
                <a:gd name="T0" fmla="*/ 552 w 976"/>
                <a:gd name="T1" fmla="*/ 321 h 321"/>
                <a:gd name="T2" fmla="*/ 131 w 976"/>
                <a:gd name="T3" fmla="*/ 183 h 321"/>
                <a:gd name="T4" fmla="*/ 147 w 976"/>
                <a:gd name="T5" fmla="*/ 254 h 321"/>
                <a:gd name="T6" fmla="*/ 66 w 976"/>
                <a:gd name="T7" fmla="*/ 273 h 321"/>
                <a:gd name="T8" fmla="*/ 0 w 976"/>
                <a:gd name="T9" fmla="*/ 0 h 321"/>
                <a:gd name="T10" fmla="*/ 276 w 976"/>
                <a:gd name="T11" fmla="*/ 11 h 321"/>
                <a:gd name="T12" fmla="*/ 271 w 976"/>
                <a:gd name="T13" fmla="*/ 95 h 321"/>
                <a:gd name="T14" fmla="*/ 197 w 976"/>
                <a:gd name="T15" fmla="*/ 92 h 321"/>
                <a:gd name="T16" fmla="*/ 550 w 976"/>
                <a:gd name="T17" fmla="*/ 209 h 321"/>
                <a:gd name="T18" fmla="*/ 902 w 976"/>
                <a:gd name="T19" fmla="*/ 76 h 321"/>
                <a:gd name="T20" fmla="*/ 976 w 976"/>
                <a:gd name="T21" fmla="*/ 161 h 321"/>
                <a:gd name="T22" fmla="*/ 552 w 976"/>
                <a:gd name="T23"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6" h="321">
                  <a:moveTo>
                    <a:pt x="552" y="321"/>
                  </a:moveTo>
                  <a:cubicBezTo>
                    <a:pt x="373" y="321"/>
                    <a:pt x="231" y="273"/>
                    <a:pt x="131" y="183"/>
                  </a:cubicBezTo>
                  <a:cubicBezTo>
                    <a:pt x="147" y="254"/>
                    <a:pt x="147" y="254"/>
                    <a:pt x="147" y="254"/>
                  </a:cubicBezTo>
                  <a:cubicBezTo>
                    <a:pt x="66" y="273"/>
                    <a:pt x="66" y="273"/>
                    <a:pt x="66" y="273"/>
                  </a:cubicBezTo>
                  <a:cubicBezTo>
                    <a:pt x="0" y="0"/>
                    <a:pt x="0" y="0"/>
                    <a:pt x="0" y="0"/>
                  </a:cubicBezTo>
                  <a:cubicBezTo>
                    <a:pt x="276" y="11"/>
                    <a:pt x="276" y="11"/>
                    <a:pt x="276" y="11"/>
                  </a:cubicBezTo>
                  <a:cubicBezTo>
                    <a:pt x="271" y="95"/>
                    <a:pt x="271" y="95"/>
                    <a:pt x="271" y="95"/>
                  </a:cubicBezTo>
                  <a:cubicBezTo>
                    <a:pt x="197" y="92"/>
                    <a:pt x="197" y="92"/>
                    <a:pt x="197" y="92"/>
                  </a:cubicBezTo>
                  <a:cubicBezTo>
                    <a:pt x="295" y="188"/>
                    <a:pt x="438" y="209"/>
                    <a:pt x="550" y="209"/>
                  </a:cubicBezTo>
                  <a:cubicBezTo>
                    <a:pt x="678" y="209"/>
                    <a:pt x="804" y="161"/>
                    <a:pt x="902" y="76"/>
                  </a:cubicBezTo>
                  <a:cubicBezTo>
                    <a:pt x="976" y="161"/>
                    <a:pt x="976" y="161"/>
                    <a:pt x="976" y="161"/>
                  </a:cubicBezTo>
                  <a:cubicBezTo>
                    <a:pt x="862" y="264"/>
                    <a:pt x="709" y="321"/>
                    <a:pt x="552"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4" name="Freeform 43"/>
            <p:cNvSpPr>
              <a:spLocks/>
            </p:cNvSpPr>
            <p:nvPr/>
          </p:nvSpPr>
          <p:spPr bwMode="auto">
            <a:xfrm>
              <a:off x="872" y="5044"/>
              <a:ext cx="304" cy="300"/>
            </a:xfrm>
            <a:custGeom>
              <a:avLst/>
              <a:gdLst>
                <a:gd name="T0" fmla="*/ 83 w 152"/>
                <a:gd name="T1" fmla="*/ 150 h 150"/>
                <a:gd name="T2" fmla="*/ 0 w 152"/>
                <a:gd name="T3" fmla="*/ 74 h 150"/>
                <a:gd name="T4" fmla="*/ 57 w 152"/>
                <a:gd name="T5" fmla="*/ 0 h 150"/>
                <a:gd name="T6" fmla="*/ 152 w 152"/>
                <a:gd name="T7" fmla="*/ 62 h 150"/>
                <a:gd name="T8" fmla="*/ 83 w 152"/>
                <a:gd name="T9" fmla="*/ 150 h 150"/>
              </a:gdLst>
              <a:ahLst/>
              <a:cxnLst>
                <a:cxn ang="0">
                  <a:pos x="T0" y="T1"/>
                </a:cxn>
                <a:cxn ang="0">
                  <a:pos x="T2" y="T3"/>
                </a:cxn>
                <a:cxn ang="0">
                  <a:pos x="T4" y="T5"/>
                </a:cxn>
                <a:cxn ang="0">
                  <a:pos x="T6" y="T7"/>
                </a:cxn>
                <a:cxn ang="0">
                  <a:pos x="T8" y="T9"/>
                </a:cxn>
              </a:cxnLst>
              <a:rect l="0" t="0" r="r" b="b"/>
              <a:pathLst>
                <a:path w="152" h="150">
                  <a:moveTo>
                    <a:pt x="83" y="150"/>
                  </a:moveTo>
                  <a:cubicBezTo>
                    <a:pt x="0" y="74"/>
                    <a:pt x="0" y="74"/>
                    <a:pt x="0" y="74"/>
                  </a:cubicBezTo>
                  <a:cubicBezTo>
                    <a:pt x="21" y="50"/>
                    <a:pt x="40" y="26"/>
                    <a:pt x="57" y="0"/>
                  </a:cubicBezTo>
                  <a:cubicBezTo>
                    <a:pt x="152" y="62"/>
                    <a:pt x="152" y="62"/>
                    <a:pt x="152" y="62"/>
                  </a:cubicBezTo>
                  <a:cubicBezTo>
                    <a:pt x="133" y="93"/>
                    <a:pt x="109" y="121"/>
                    <a:pt x="8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sp>
          <p:nvSpPr>
            <p:cNvPr id="45" name="Freeform 44"/>
            <p:cNvSpPr>
              <a:spLocks/>
            </p:cNvSpPr>
            <p:nvPr/>
          </p:nvSpPr>
          <p:spPr bwMode="auto">
            <a:xfrm>
              <a:off x="1028" y="4830"/>
              <a:ext cx="276" cy="248"/>
            </a:xfrm>
            <a:custGeom>
              <a:avLst/>
              <a:gdLst>
                <a:gd name="T0" fmla="*/ 100 w 138"/>
                <a:gd name="T1" fmla="*/ 124 h 124"/>
                <a:gd name="T2" fmla="*/ 0 w 138"/>
                <a:gd name="T3" fmla="*/ 71 h 124"/>
                <a:gd name="T4" fmla="*/ 31 w 138"/>
                <a:gd name="T5" fmla="*/ 0 h 124"/>
                <a:gd name="T6" fmla="*/ 138 w 138"/>
                <a:gd name="T7" fmla="*/ 38 h 124"/>
                <a:gd name="T8" fmla="*/ 100 w 138"/>
                <a:gd name="T9" fmla="*/ 124 h 124"/>
              </a:gdLst>
              <a:ahLst/>
              <a:cxnLst>
                <a:cxn ang="0">
                  <a:pos x="T0" y="T1"/>
                </a:cxn>
                <a:cxn ang="0">
                  <a:pos x="T2" y="T3"/>
                </a:cxn>
                <a:cxn ang="0">
                  <a:pos x="T4" y="T5"/>
                </a:cxn>
                <a:cxn ang="0">
                  <a:pos x="T6" y="T7"/>
                </a:cxn>
                <a:cxn ang="0">
                  <a:pos x="T8" y="T9"/>
                </a:cxn>
              </a:cxnLst>
              <a:rect l="0" t="0" r="r" b="b"/>
              <a:pathLst>
                <a:path w="138" h="124">
                  <a:moveTo>
                    <a:pt x="100" y="124"/>
                  </a:moveTo>
                  <a:cubicBezTo>
                    <a:pt x="0" y="71"/>
                    <a:pt x="0" y="71"/>
                    <a:pt x="0" y="71"/>
                  </a:cubicBezTo>
                  <a:cubicBezTo>
                    <a:pt x="12" y="47"/>
                    <a:pt x="24" y="24"/>
                    <a:pt x="31" y="0"/>
                  </a:cubicBezTo>
                  <a:cubicBezTo>
                    <a:pt x="138" y="38"/>
                    <a:pt x="138" y="38"/>
                    <a:pt x="138" y="38"/>
                  </a:cubicBezTo>
                  <a:cubicBezTo>
                    <a:pt x="129" y="66"/>
                    <a:pt x="114" y="95"/>
                    <a:pt x="10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US" sz="2400" kern="0" dirty="0">
                <a:solidFill>
                  <a:prstClr val="black"/>
                </a:solidFill>
                <a:latin typeface="Arial" panose="020B0604020202020204" pitchFamily="34" charset="0"/>
                <a:cs typeface="Arial" panose="020B0604020202020204" pitchFamily="34" charset="0"/>
              </a:endParaRPr>
            </a:p>
          </p:txBody>
        </p:sp>
      </p:grpSp>
      <p:pic>
        <p:nvPicPr>
          <p:cNvPr id="46" name="Picture 45">
            <a:extLst>
              <a:ext uri="{FF2B5EF4-FFF2-40B4-BE49-F238E27FC236}">
                <a16:creationId xmlns:a16="http://schemas.microsoft.com/office/drawing/2014/main" id="{FD6E3338-2A1F-3F40-9C2E-B3B22CADFB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9717" y="4512944"/>
            <a:ext cx="701712" cy="701712"/>
          </a:xfrm>
          <a:prstGeom prst="rect">
            <a:avLst/>
          </a:prstGeom>
        </p:spPr>
      </p:pic>
    </p:spTree>
    <p:extLst>
      <p:ext uri="{BB962C8B-B14F-4D97-AF65-F5344CB8AC3E}">
        <p14:creationId xmlns:p14="http://schemas.microsoft.com/office/powerpoint/2010/main" val="139094077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95299" y="71014"/>
            <a:ext cx="11696701" cy="618385"/>
          </a:xfrm>
        </p:spPr>
        <p:txBody>
          <a:bodyPr/>
          <a:lstStyle/>
          <a:p>
            <a:r>
              <a:rPr lang="en-US" dirty="0"/>
              <a:t>Monitoring </a:t>
            </a:r>
            <a:r>
              <a:rPr lang="en-US" dirty="0" smtClean="0"/>
              <a:t>Transformation with PID 3.0 – Operational Overview</a:t>
            </a:r>
            <a:br>
              <a:rPr lang="en-US" dirty="0" smtClean="0"/>
            </a:br>
            <a:r>
              <a:rPr lang="en-US" dirty="0" smtClean="0"/>
              <a:t>Reactive &gt;  Preventive &gt; Proactive &gt; Predictive</a:t>
            </a:r>
            <a:endParaRPr lang="en-US" dirty="0"/>
          </a:p>
        </p:txBody>
      </p:sp>
      <p:sp>
        <p:nvSpPr>
          <p:cNvPr id="2" name="Slide Number Placeholder 1"/>
          <p:cNvSpPr>
            <a:spLocks noGrp="1"/>
          </p:cNvSpPr>
          <p:nvPr>
            <p:ph type="sldNum" sz="quarter" idx="4294967295"/>
          </p:nvPr>
        </p:nvSpPr>
        <p:spPr>
          <a:xfrm>
            <a:off x="0" y="6340475"/>
            <a:ext cx="717550" cy="501650"/>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32AB80A-78BA-6B42-BA0D-B44ACF890F5A}" type="slidenum">
              <a:rPr kumimoji="0" lang="en-US" sz="1200" b="0" i="0" u="none" strike="noStrike" kern="1200" cap="none" spc="0" normalizeH="0" baseline="0" noProof="0">
                <a:ln>
                  <a:noFill/>
                </a:ln>
                <a:solidFill>
                  <a:srgbClr val="141414">
                    <a:lumMod val="75000"/>
                    <a:lumOff val="25000"/>
                  </a:srgbClr>
                </a:solidFill>
                <a:effectLst/>
                <a:uLnTx/>
                <a:uFillTx/>
                <a:latin typeface="Arial"/>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srgbClr val="141414">
                  <a:lumMod val="75000"/>
                  <a:lumOff val="25000"/>
                </a:srgbClr>
              </a:solidFill>
              <a:effectLst/>
              <a:uLnTx/>
              <a:uFillTx/>
              <a:latin typeface="Arial"/>
              <a:ea typeface="+mn-ea"/>
              <a:cs typeface="+mn-cs"/>
            </a:endParaRP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5389" y="1961162"/>
            <a:ext cx="447316" cy="447316"/>
          </a:xfrm>
          <a:prstGeom prst="rect">
            <a:avLst/>
          </a:prstGeom>
        </p:spPr>
      </p:pic>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249" y="4994088"/>
            <a:ext cx="902513" cy="781513"/>
          </a:xfrm>
          <a:prstGeom prst="rect">
            <a:avLst/>
          </a:prstGeom>
        </p:spPr>
      </p:pic>
      <p:pic>
        <p:nvPicPr>
          <p:cNvPr id="23" name="Pictur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7256" y="3646207"/>
            <a:ext cx="471960" cy="471960"/>
          </a:xfrm>
          <a:prstGeom prst="rect">
            <a:avLst/>
          </a:prstGeom>
        </p:spPr>
      </p:pic>
      <p:sp>
        <p:nvSpPr>
          <p:cNvPr id="41" name="Rectangle 40"/>
          <p:cNvSpPr/>
          <p:nvPr/>
        </p:nvSpPr>
        <p:spPr>
          <a:xfrm>
            <a:off x="225364" y="2377141"/>
            <a:ext cx="675185" cy="256545"/>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Business</a:t>
            </a:r>
            <a:endParaRPr kumimoji="0" lang="en-US" sz="1067" b="0" i="0" u="none" strike="noStrike" kern="1200" cap="none" spc="0" normalizeH="0" baseline="0" noProof="0" dirty="0">
              <a:ln>
                <a:noFill/>
              </a:ln>
              <a:solidFill>
                <a:srgbClr val="50B3CF"/>
              </a:solidFill>
              <a:effectLst/>
              <a:uLnTx/>
              <a:uFillTx/>
              <a:latin typeface="Arial"/>
              <a:ea typeface="+mn-ea"/>
              <a:cs typeface="+mn-cs"/>
            </a:endParaRPr>
          </a:p>
        </p:txBody>
      </p:sp>
      <p:sp>
        <p:nvSpPr>
          <p:cNvPr id="75" name="Rectangle 74"/>
          <p:cNvSpPr/>
          <p:nvPr/>
        </p:nvSpPr>
        <p:spPr>
          <a:xfrm>
            <a:off x="129767" y="4057959"/>
            <a:ext cx="837089" cy="256545"/>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Application</a:t>
            </a:r>
            <a:endParaRPr kumimoji="0" lang="en-US" sz="1067" b="0" i="0" u="none" strike="noStrike" kern="1200" cap="none" spc="0" normalizeH="0" baseline="0" noProof="0" dirty="0">
              <a:ln>
                <a:noFill/>
              </a:ln>
              <a:solidFill>
                <a:srgbClr val="50B3CF"/>
              </a:solidFill>
              <a:effectLst/>
              <a:uLnTx/>
              <a:uFillTx/>
              <a:latin typeface="Arial"/>
              <a:ea typeface="+mn-ea"/>
              <a:cs typeface="+mn-cs"/>
            </a:endParaRPr>
          </a:p>
        </p:txBody>
      </p:sp>
      <p:sp>
        <p:nvSpPr>
          <p:cNvPr id="76" name="Rectangle 75"/>
          <p:cNvSpPr/>
          <p:nvPr/>
        </p:nvSpPr>
        <p:spPr>
          <a:xfrm>
            <a:off x="58845" y="5815450"/>
            <a:ext cx="974946" cy="256545"/>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Infrastructure</a:t>
            </a:r>
            <a:endParaRPr kumimoji="0" lang="en-US" sz="1067" b="0" i="0" u="none" strike="noStrike" kern="1200" cap="none" spc="0" normalizeH="0" baseline="0" noProof="0" dirty="0">
              <a:ln>
                <a:noFill/>
              </a:ln>
              <a:solidFill>
                <a:srgbClr val="50B3CF"/>
              </a:solidFill>
              <a:effectLst/>
              <a:uLnTx/>
              <a:uFillTx/>
              <a:latin typeface="Arial"/>
              <a:ea typeface="+mn-ea"/>
              <a:cs typeface="+mn-cs"/>
            </a:endParaRPr>
          </a:p>
        </p:txBody>
      </p:sp>
      <p:sp>
        <p:nvSpPr>
          <p:cNvPr id="79" name="Rectangle 78"/>
          <p:cNvSpPr/>
          <p:nvPr/>
        </p:nvSpPr>
        <p:spPr>
          <a:xfrm>
            <a:off x="264544" y="1440938"/>
            <a:ext cx="693267" cy="297454"/>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LAYERS</a:t>
            </a:r>
            <a:endParaRPr kumimoji="0" lang="en-US" sz="1333" b="0" i="0" u="sng" strike="noStrike" kern="1200" cap="none" spc="0" normalizeH="0" baseline="0" noProof="0" dirty="0">
              <a:ln>
                <a:noFill/>
              </a:ln>
              <a:solidFill>
                <a:srgbClr val="50B3CF">
                  <a:lumMod val="50000"/>
                </a:srgbClr>
              </a:solidFill>
              <a:effectLst/>
              <a:uLnTx/>
              <a:uFillTx/>
              <a:latin typeface="Arial"/>
              <a:ea typeface="+mn-ea"/>
              <a:cs typeface="+mn-cs"/>
            </a:endParaRPr>
          </a:p>
        </p:txBody>
      </p:sp>
      <p:grpSp>
        <p:nvGrpSpPr>
          <p:cNvPr id="45" name="Group 44"/>
          <p:cNvGrpSpPr/>
          <p:nvPr/>
        </p:nvGrpSpPr>
        <p:grpSpPr>
          <a:xfrm>
            <a:off x="835485" y="2027973"/>
            <a:ext cx="927759" cy="4020984"/>
            <a:chOff x="626613" y="1520980"/>
            <a:chExt cx="695819" cy="3015738"/>
          </a:xfrm>
        </p:grpSpPr>
        <p:pic>
          <p:nvPicPr>
            <p:cNvPr id="82" name="Picture 2" descr="Image result for arrow up"/>
            <p:cNvPicPr>
              <a:picLocks noChangeAspect="1" noChangeArrowheads="1"/>
            </p:cNvPicPr>
            <p:nvPr/>
          </p:nvPicPr>
          <p:blipFill rotWithShape="1">
            <a:blip r:embed="rId6" cstate="screen">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29518" y="3065692"/>
              <a:ext cx="684485" cy="675903"/>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nvGrpSpPr>
            <p:cNvPr id="44" name="Group 43"/>
            <p:cNvGrpSpPr/>
            <p:nvPr/>
          </p:nvGrpSpPr>
          <p:grpSpPr>
            <a:xfrm>
              <a:off x="626613" y="1520980"/>
              <a:ext cx="695819" cy="3015738"/>
              <a:chOff x="626613" y="1520980"/>
              <a:chExt cx="695819" cy="3015738"/>
            </a:xfrm>
          </p:grpSpPr>
          <p:pic>
            <p:nvPicPr>
              <p:cNvPr id="1026" name="Picture 2" descr="Image result for arrow up"/>
              <p:cNvPicPr>
                <a:picLocks noChangeAspect="1" noChangeArrowheads="1"/>
              </p:cNvPicPr>
              <p:nvPr/>
            </p:nvPicPr>
            <p: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630076" y="1520980"/>
                <a:ext cx="684485" cy="1981556"/>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83" name="Picture 2" descr="Image result for arrow up"/>
              <p:cNvPicPr>
                <a:picLocks noChangeAspect="1" noChangeArrowheads="1"/>
              </p:cNvPicPr>
              <p:nvPr/>
            </p:nvPicPr>
            <p:blipFill rotWithShape="1">
              <a:blip r:embed="rId6" cstate="screen">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37947" y="3492977"/>
                <a:ext cx="684485" cy="675903"/>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pic>
            <p:nvPicPr>
              <p:cNvPr id="84" name="Picture 2" descr="Image result for arrow up"/>
              <p:cNvPicPr>
                <a:picLocks noChangeAspect="1" noChangeArrowheads="1"/>
              </p:cNvPicPr>
              <p:nvPr/>
            </p:nvPicPr>
            <p:blipFill rotWithShape="1">
              <a:blip r:embed="rId6" cstate="screen">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626613" y="3860815"/>
                <a:ext cx="684485" cy="675903"/>
              </a:xfrm>
              <a:prstGeom prst="rect">
                <a:avLst/>
              </a:prstGeom>
              <a:noFill/>
              <a:scene3d>
                <a:camera prst="isometricRightUp"/>
                <a:lightRig rig="threePt" dir="t"/>
              </a:scene3d>
              <a:extLst>
                <a:ext uri="{909E8E84-426E-40DD-AFC4-6F175D3DCCD1}">
                  <a14:hiddenFill xmlns:a14="http://schemas.microsoft.com/office/drawing/2010/main">
                    <a:solidFill>
                      <a:srgbClr val="FFFFFF"/>
                    </a:solidFill>
                  </a14:hiddenFill>
                </a:ext>
              </a:extLst>
            </p:spPr>
          </p:pic>
        </p:grpSp>
      </p:grpSp>
      <p:sp>
        <p:nvSpPr>
          <p:cNvPr id="121" name="Rectangle 120"/>
          <p:cNvSpPr/>
          <p:nvPr/>
        </p:nvSpPr>
        <p:spPr>
          <a:xfrm>
            <a:off x="7165143" y="1778362"/>
            <a:ext cx="4465884" cy="297454"/>
          </a:xfrm>
          <a:prstGeom prst="rect">
            <a:avLst/>
          </a:prstGeom>
          <a:solidFill>
            <a:schemeClr val="tx1">
              <a:lumMod val="20000"/>
              <a:lumOff val="80000"/>
              <a:alpha val="47000"/>
            </a:schemeClr>
          </a:solidFill>
          <a:ln>
            <a:noFill/>
          </a:ln>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Critical  Path Monitoring &amp; Impact mitigation</a:t>
            </a:r>
            <a:r>
              <a:rPr kumimoji="0" lang="en-US" sz="1333" b="1" i="0" u="none"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 </a:t>
            </a:r>
          </a:p>
        </p:txBody>
      </p:sp>
      <p:pic>
        <p:nvPicPr>
          <p:cNvPr id="5" name="Picture 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77058" y="1830243"/>
            <a:ext cx="225943" cy="225943"/>
          </a:xfrm>
          <a:prstGeom prst="rect">
            <a:avLst/>
          </a:prstGeom>
        </p:spPr>
      </p:pic>
      <p:sp>
        <p:nvSpPr>
          <p:cNvPr id="91" name="Rectangle 90"/>
          <p:cNvSpPr/>
          <p:nvPr/>
        </p:nvSpPr>
        <p:spPr>
          <a:xfrm>
            <a:off x="7152509" y="2144390"/>
            <a:ext cx="4465884" cy="297454"/>
          </a:xfrm>
          <a:prstGeom prst="rect">
            <a:avLst/>
          </a:prstGeom>
          <a:solidFill>
            <a:schemeClr val="tx1">
              <a:lumMod val="20000"/>
              <a:lumOff val="80000"/>
              <a:alpha val="47000"/>
            </a:schemeClr>
          </a:solidFill>
          <a:ln>
            <a:noFill/>
          </a:ln>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Application &amp; Infrastructure Monitoring </a:t>
            </a:r>
          </a:p>
        </p:txBody>
      </p:sp>
      <p:sp>
        <p:nvSpPr>
          <p:cNvPr id="99" name="Rectangle 98"/>
          <p:cNvSpPr/>
          <p:nvPr/>
        </p:nvSpPr>
        <p:spPr>
          <a:xfrm>
            <a:off x="7139175" y="2514352"/>
            <a:ext cx="4465884" cy="297454"/>
          </a:xfrm>
          <a:prstGeom prst="rect">
            <a:avLst/>
          </a:prstGeom>
          <a:solidFill>
            <a:schemeClr val="tx1">
              <a:lumMod val="20000"/>
              <a:lumOff val="80000"/>
              <a:alpha val="47000"/>
            </a:schemeClr>
          </a:solidFill>
          <a:ln>
            <a:noFill/>
          </a:ln>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Business Process Monitoring </a:t>
            </a:r>
          </a:p>
        </p:txBody>
      </p:sp>
      <p:pic>
        <p:nvPicPr>
          <p:cNvPr id="107" name="Picture 10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77058" y="2187506"/>
            <a:ext cx="225943" cy="225943"/>
          </a:xfrm>
          <a:prstGeom prst="rect">
            <a:avLst/>
          </a:prstGeom>
        </p:spPr>
      </p:pic>
      <p:sp>
        <p:nvSpPr>
          <p:cNvPr id="118" name="Rectangle 117"/>
          <p:cNvSpPr/>
          <p:nvPr/>
        </p:nvSpPr>
        <p:spPr>
          <a:xfrm>
            <a:off x="9902866" y="4725399"/>
            <a:ext cx="2469353" cy="970779"/>
          </a:xfrm>
          <a:prstGeom prst="rect">
            <a:avLst/>
          </a:prstGeom>
          <a:solidFill>
            <a:schemeClr val="bg1">
              <a:lumMod val="95000"/>
              <a:alpha val="47000"/>
            </a:schemeClr>
          </a:solidFill>
          <a:ln>
            <a:noFill/>
          </a:ln>
        </p:spPr>
        <p:txBody>
          <a:bodyPr wrap="square">
            <a:spAutoFit/>
          </a:bodyPr>
          <a:lstStyle/>
          <a:p>
            <a:pPr marL="228594" marR="0" lvl="0" indent="-228594" algn="l" defTabSz="609585"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US" sz="1067" b="0" i="0" u="none" strike="noStrike" kern="1200" cap="none" spc="0" normalizeH="0" baseline="0" noProof="0" dirty="0">
                <a:ln>
                  <a:noFill/>
                </a:ln>
                <a:solidFill>
                  <a:srgbClr val="141414"/>
                </a:solidFill>
                <a:effectLst/>
                <a:uLnTx/>
                <a:uFillTx/>
                <a:latin typeface="Calibri" panose="020F0502020204030204" pitchFamily="34" charset="0"/>
                <a:ea typeface="Calibri" panose="020F0502020204030204" pitchFamily="34" charset="0"/>
                <a:cs typeface="Times New Roman" panose="02020603050405020304" pitchFamily="18" charset="0"/>
              </a:rPr>
              <a:t>Business Service level view </a:t>
            </a:r>
          </a:p>
          <a:p>
            <a:pPr marL="228594" marR="0" lvl="0" indent="-228594" algn="l" defTabSz="609585"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US" sz="1067" b="0" i="0" u="none" strike="noStrike" kern="1200" cap="none" spc="0" normalizeH="0" baseline="0" noProof="0" dirty="0">
                <a:ln>
                  <a:noFill/>
                </a:ln>
                <a:solidFill>
                  <a:srgbClr val="141414"/>
                </a:solidFill>
                <a:effectLst/>
                <a:uLnTx/>
                <a:uFillTx/>
                <a:latin typeface="Calibri" panose="020F0502020204030204" pitchFamily="34" charset="0"/>
                <a:ea typeface="Calibri" panose="020F0502020204030204" pitchFamily="34" charset="0"/>
                <a:cs typeface="Times New Roman" panose="02020603050405020304" pitchFamily="18" charset="0"/>
              </a:rPr>
              <a:t>Application &amp; Infra Monitoring</a:t>
            </a:r>
          </a:p>
          <a:p>
            <a:pPr marL="228594" marR="0" lvl="0" indent="-228594" algn="l" defTabSz="609585"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US" sz="1067" b="0" i="0" u="none" strike="noStrike" kern="1200" cap="none" spc="0" normalizeH="0" baseline="0" noProof="0" dirty="0">
                <a:ln>
                  <a:noFill/>
                </a:ln>
                <a:solidFill>
                  <a:srgbClr val="141414"/>
                </a:solidFill>
                <a:effectLst/>
                <a:uLnTx/>
                <a:uFillTx/>
                <a:latin typeface="Calibri" panose="020F0502020204030204" pitchFamily="34" charset="0"/>
                <a:ea typeface="Calibri" panose="020F0502020204030204" pitchFamily="34" charset="0"/>
                <a:cs typeface="Times New Roman" panose="02020603050405020304" pitchFamily="18" charset="0"/>
              </a:rPr>
              <a:t>Critical Job Monitoring</a:t>
            </a:r>
          </a:p>
          <a:p>
            <a:pPr marL="228594" marR="0" lvl="0" indent="-228594" algn="l" defTabSz="609585"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US" sz="1067" b="0" i="0" u="none" strike="noStrike" kern="1200" cap="none" spc="0" normalizeH="0" baseline="0" noProof="0" dirty="0">
                <a:ln>
                  <a:noFill/>
                </a:ln>
                <a:solidFill>
                  <a:srgbClr val="141414"/>
                </a:solidFill>
                <a:effectLst/>
                <a:uLnTx/>
                <a:uFillTx/>
                <a:latin typeface="Calibri" panose="020F0502020204030204" pitchFamily="34" charset="0"/>
                <a:ea typeface="Calibri" panose="020F0502020204030204" pitchFamily="34" charset="0"/>
                <a:cs typeface="Times New Roman" panose="02020603050405020304" pitchFamily="18" charset="0"/>
              </a:rPr>
              <a:t>Portfolio/LOB view </a:t>
            </a:r>
          </a:p>
          <a:p>
            <a:pPr marL="228594" marR="0" lvl="0" indent="-228594" algn="l" defTabSz="609585"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US" sz="1067" b="0" i="0" u="none" strike="noStrike" kern="1200" cap="none" spc="0" normalizeH="0" baseline="0" noProof="0" dirty="0">
                <a:ln>
                  <a:noFill/>
                </a:ln>
                <a:solidFill>
                  <a:srgbClr val="141414"/>
                </a:solidFill>
                <a:effectLst/>
                <a:uLnTx/>
                <a:uFillTx/>
                <a:latin typeface="Calibri" panose="020F0502020204030204" pitchFamily="34" charset="0"/>
                <a:ea typeface="Calibri" panose="020F0502020204030204" pitchFamily="34" charset="0"/>
                <a:cs typeface="Times New Roman" panose="02020603050405020304" pitchFamily="18" charset="0"/>
              </a:rPr>
              <a:t>Platform/Scheduler independent</a:t>
            </a:r>
          </a:p>
        </p:txBody>
      </p:sp>
      <p:pic>
        <p:nvPicPr>
          <p:cNvPr id="185" name="Picture 18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809611" y="843227"/>
            <a:ext cx="832285" cy="867661"/>
          </a:xfrm>
          <a:prstGeom prst="rect">
            <a:avLst/>
          </a:prstGeom>
        </p:spPr>
      </p:pic>
      <p:cxnSp>
        <p:nvCxnSpPr>
          <p:cNvPr id="186" name="Straight Connector 185"/>
          <p:cNvCxnSpPr/>
          <p:nvPr/>
        </p:nvCxnSpPr>
        <p:spPr>
          <a:xfrm flipV="1">
            <a:off x="8190156" y="3343275"/>
            <a:ext cx="1518995" cy="5736"/>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p:nvCxnSpPr>
        <p:spPr>
          <a:xfrm>
            <a:off x="8353465" y="2844021"/>
            <a:ext cx="1792" cy="458248"/>
          </a:xfrm>
          <a:prstGeom prst="line">
            <a:avLst/>
          </a:prstGeom>
          <a:ln>
            <a:solidFill>
              <a:schemeClr val="tx2">
                <a:lumMod val="90000"/>
                <a:lumOff val="10000"/>
              </a:schemeClr>
            </a:solidFill>
          </a:ln>
        </p:spPr>
        <p:style>
          <a:lnRef idx="2">
            <a:schemeClr val="accent1"/>
          </a:lnRef>
          <a:fillRef idx="0">
            <a:schemeClr val="accent1"/>
          </a:fillRef>
          <a:effectRef idx="1">
            <a:schemeClr val="accent1"/>
          </a:effectRef>
          <a:fontRef idx="minor">
            <a:schemeClr val="tx1"/>
          </a:fontRef>
        </p:style>
      </p:cxnSp>
      <p:pic>
        <p:nvPicPr>
          <p:cNvPr id="188" name="Picture 187"/>
          <p:cNvPicPr>
            <a:picLocks noChangeAspect="1"/>
          </p:cNvPicPr>
          <p:nvPr/>
        </p:nvPicPr>
        <p:blipFill>
          <a:blip r:embed="rId10"/>
          <a:stretch>
            <a:fillRect/>
          </a:stretch>
        </p:blipFill>
        <p:spPr>
          <a:xfrm>
            <a:off x="9580856" y="2842430"/>
            <a:ext cx="2508067" cy="1824551"/>
          </a:xfrm>
          <a:prstGeom prst="rect">
            <a:avLst/>
          </a:prstGeom>
        </p:spPr>
      </p:pic>
      <p:sp>
        <p:nvSpPr>
          <p:cNvPr id="190" name="Trapezoid 189"/>
          <p:cNvSpPr/>
          <p:nvPr/>
        </p:nvSpPr>
        <p:spPr>
          <a:xfrm rot="5400000">
            <a:off x="5356911" y="2612935"/>
            <a:ext cx="3579275" cy="1480336"/>
          </a:xfrm>
          <a:prstGeom prst="trapezoid">
            <a:avLst>
              <a:gd name="adj" fmla="val 120894"/>
            </a:avLst>
          </a:prstGeom>
          <a:solidFill>
            <a:srgbClr val="FFFF99">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pic>
        <p:nvPicPr>
          <p:cNvPr id="191" name="Picture 19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20828218">
            <a:off x="7486764" y="2938784"/>
            <a:ext cx="1048021" cy="1021953"/>
          </a:xfrm>
          <a:prstGeom prst="rect">
            <a:avLst/>
          </a:prstGeom>
          <a:effectLst>
            <a:outerShdw blurRad="50800" dist="38100" dir="5400000" algn="t" rotWithShape="0">
              <a:prstClr val="black">
                <a:alpha val="40000"/>
              </a:prstClr>
            </a:outerShdw>
          </a:effectLst>
        </p:spPr>
      </p:pic>
      <p:pic>
        <p:nvPicPr>
          <p:cNvPr id="47" name="Picture 4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53245" y="3080589"/>
            <a:ext cx="2066584" cy="1315692"/>
          </a:xfrm>
          <a:prstGeom prst="rect">
            <a:avLst/>
          </a:prstGeom>
        </p:spPr>
      </p:pic>
      <p:pic>
        <p:nvPicPr>
          <p:cNvPr id="102" name="Picture 10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27042" y="4300070"/>
            <a:ext cx="324517" cy="324517"/>
          </a:xfrm>
          <a:prstGeom prst="rect">
            <a:avLst/>
          </a:prstGeom>
          <a:effectLst>
            <a:outerShdw blurRad="50800" dist="38100" dir="2700000" algn="tl" rotWithShape="0">
              <a:prstClr val="black">
                <a:alpha val="40000"/>
              </a:prstClr>
            </a:outerShdw>
          </a:effectLst>
        </p:spPr>
      </p:pic>
      <p:pic>
        <p:nvPicPr>
          <p:cNvPr id="103" name="Picture 10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349772" y="4684162"/>
            <a:ext cx="472073" cy="368423"/>
          </a:xfrm>
          <a:prstGeom prst="rect">
            <a:avLst/>
          </a:prstGeom>
          <a:effectLst>
            <a:outerShdw blurRad="50800" dist="38100" dir="2700000" algn="tl" rotWithShape="0">
              <a:prstClr val="black">
                <a:alpha val="40000"/>
              </a:prstClr>
            </a:outerShdw>
          </a:effectLst>
        </p:spPr>
      </p:pic>
      <p:sp>
        <p:nvSpPr>
          <p:cNvPr id="104" name="Rectangle 103"/>
          <p:cNvSpPr/>
          <p:nvPr/>
        </p:nvSpPr>
        <p:spPr>
          <a:xfrm>
            <a:off x="7797820" y="4350439"/>
            <a:ext cx="1745075" cy="268022"/>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0" i="1" u="none" strike="noStrike" kern="1200" cap="none" spc="0" normalizeH="0" baseline="0" noProof="0" dirty="0">
                <a:ln>
                  <a:noFill/>
                </a:ln>
                <a:solidFill>
                  <a:srgbClr val="00728F">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Scheduler/ Scheduler DB</a:t>
            </a:r>
          </a:p>
        </p:txBody>
      </p:sp>
      <p:sp>
        <p:nvSpPr>
          <p:cNvPr id="105" name="Rectangle 104"/>
          <p:cNvSpPr/>
          <p:nvPr/>
        </p:nvSpPr>
        <p:spPr>
          <a:xfrm>
            <a:off x="7707238" y="4654815"/>
            <a:ext cx="1996807" cy="268022"/>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0" i="1" u="none" strike="noStrike" kern="1200" cap="none" spc="0" normalizeH="0" baseline="0" noProof="0" dirty="0">
                <a:ln>
                  <a:noFill/>
                </a:ln>
                <a:solidFill>
                  <a:srgbClr val="00728F">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Historical Data Repository Tool </a:t>
            </a:r>
          </a:p>
        </p:txBody>
      </p:sp>
      <p:sp>
        <p:nvSpPr>
          <p:cNvPr id="106" name="Rectangle 105"/>
          <p:cNvSpPr/>
          <p:nvPr/>
        </p:nvSpPr>
        <p:spPr>
          <a:xfrm>
            <a:off x="8043278" y="3895148"/>
            <a:ext cx="1389565" cy="443711"/>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0" i="1" u="none" strike="noStrike" kern="1200" cap="none" spc="0" normalizeH="0" baseline="0" noProof="0" dirty="0">
                <a:ln>
                  <a:noFill/>
                </a:ln>
                <a:solidFill>
                  <a:srgbClr val="00728F">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Adapters for GUI/UI FTP monitoring</a:t>
            </a:r>
          </a:p>
        </p:txBody>
      </p:sp>
      <p:sp>
        <p:nvSpPr>
          <p:cNvPr id="108" name="Rectangle 107"/>
          <p:cNvSpPr/>
          <p:nvPr/>
        </p:nvSpPr>
        <p:spPr>
          <a:xfrm>
            <a:off x="7510699" y="4967119"/>
            <a:ext cx="1794168" cy="443711"/>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0" i="1" u="none" strike="noStrike" kern="1200" cap="none" spc="0" normalizeH="0" baseline="0" noProof="0" dirty="0">
                <a:ln>
                  <a:noFill/>
                </a:ln>
                <a:solidFill>
                  <a:srgbClr val="00728F">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Customizable Adapters for Service/ Infra monitoring</a:t>
            </a:r>
          </a:p>
        </p:txBody>
      </p:sp>
      <p:sp>
        <p:nvSpPr>
          <p:cNvPr id="109" name="Rectangle 108"/>
          <p:cNvSpPr/>
          <p:nvPr/>
        </p:nvSpPr>
        <p:spPr>
          <a:xfrm>
            <a:off x="8241151" y="3565195"/>
            <a:ext cx="1133259" cy="297454"/>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Key Enablers:</a:t>
            </a:r>
            <a:endParaRPr kumimoji="0" lang="en-US" sz="1333" b="0" i="0" u="sng" strike="noStrike" kern="1200" cap="none" spc="0" normalizeH="0" baseline="0" noProof="0" dirty="0">
              <a:ln>
                <a:noFill/>
              </a:ln>
              <a:solidFill>
                <a:srgbClr val="50B3CF">
                  <a:lumMod val="50000"/>
                </a:srgbClr>
              </a:solidFill>
              <a:effectLst/>
              <a:uLnTx/>
              <a:uFillTx/>
              <a:latin typeface="Arial"/>
              <a:ea typeface="+mn-ea"/>
              <a:cs typeface="+mn-cs"/>
            </a:endParaRPr>
          </a:p>
        </p:txBody>
      </p:sp>
      <p:pic>
        <p:nvPicPr>
          <p:cNvPr id="110" name="Picture 10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726867" y="3929411"/>
            <a:ext cx="307863" cy="307863"/>
          </a:xfrm>
          <a:prstGeom prst="rect">
            <a:avLst/>
          </a:prstGeom>
        </p:spPr>
      </p:pic>
      <p:pic>
        <p:nvPicPr>
          <p:cNvPr id="111" name="Picture 11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234389" y="5095463"/>
            <a:ext cx="257012" cy="257012"/>
          </a:xfrm>
          <a:prstGeom prst="rect">
            <a:avLst/>
          </a:prstGeom>
        </p:spPr>
      </p:pic>
      <p:pic>
        <p:nvPicPr>
          <p:cNvPr id="9" name="Picture 8"/>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025144" y="5408811"/>
            <a:ext cx="317717" cy="317717"/>
          </a:xfrm>
          <a:prstGeom prst="rect">
            <a:avLst/>
          </a:prstGeom>
        </p:spPr>
      </p:pic>
      <p:sp>
        <p:nvSpPr>
          <p:cNvPr id="189" name="Rectangle 188"/>
          <p:cNvSpPr/>
          <p:nvPr/>
        </p:nvSpPr>
        <p:spPr>
          <a:xfrm>
            <a:off x="7262971" y="5439998"/>
            <a:ext cx="1996807" cy="268022"/>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0" i="1" u="none" strike="noStrike" kern="1200" cap="none" spc="0" normalizeH="0" baseline="0" noProof="0" dirty="0">
                <a:ln>
                  <a:noFill/>
                </a:ln>
                <a:solidFill>
                  <a:srgbClr val="00B050"/>
                </a:solidFill>
                <a:effectLst/>
                <a:uLnTx/>
                <a:uFillTx/>
                <a:latin typeface="Calibri" panose="020F0502020204030204" pitchFamily="34" charset="0"/>
                <a:ea typeface="Calibri" panose="020F0502020204030204" pitchFamily="34" charset="0"/>
                <a:cs typeface="Times New Roman" panose="02020603050405020304" pitchFamily="18" charset="0"/>
              </a:rPr>
              <a:t>Business Process Dashboard</a:t>
            </a:r>
          </a:p>
        </p:txBody>
      </p:sp>
      <p:sp>
        <p:nvSpPr>
          <p:cNvPr id="198" name="Rectangle 197"/>
          <p:cNvSpPr/>
          <p:nvPr/>
        </p:nvSpPr>
        <p:spPr>
          <a:xfrm>
            <a:off x="10485170" y="4470074"/>
            <a:ext cx="842282" cy="297454"/>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Features:</a:t>
            </a:r>
            <a:endParaRPr kumimoji="0" lang="en-US" sz="1333" b="0" i="0" u="sng" strike="noStrike" kern="1200" cap="none" spc="0" normalizeH="0" baseline="0" noProof="0" dirty="0">
              <a:ln>
                <a:noFill/>
              </a:ln>
              <a:solidFill>
                <a:srgbClr val="50B3CF">
                  <a:lumMod val="50000"/>
                </a:srgbClr>
              </a:solidFill>
              <a:effectLst/>
              <a:uLnTx/>
              <a:uFillTx/>
              <a:latin typeface="Arial"/>
              <a:ea typeface="+mn-ea"/>
              <a:cs typeface="+mn-cs"/>
            </a:endParaRPr>
          </a:p>
        </p:txBody>
      </p:sp>
      <p:sp>
        <p:nvSpPr>
          <p:cNvPr id="199" name="Cube 198"/>
          <p:cNvSpPr/>
          <p:nvPr/>
        </p:nvSpPr>
        <p:spPr>
          <a:xfrm>
            <a:off x="1735914" y="4948720"/>
            <a:ext cx="4675153" cy="1109609"/>
          </a:xfrm>
          <a:prstGeom prst="cube">
            <a:avLst>
              <a:gd name="adj" fmla="val 80954"/>
            </a:avLst>
          </a:prstGeom>
          <a:solidFill>
            <a:schemeClr val="bg1">
              <a:lumMod val="95000"/>
              <a:alpha val="43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IT - Infrastructure</a:t>
            </a:r>
          </a:p>
        </p:txBody>
      </p:sp>
      <p:sp>
        <p:nvSpPr>
          <p:cNvPr id="200" name="Cube 199"/>
          <p:cNvSpPr/>
          <p:nvPr/>
        </p:nvSpPr>
        <p:spPr>
          <a:xfrm>
            <a:off x="1735913" y="3722417"/>
            <a:ext cx="4675153" cy="1109609"/>
          </a:xfrm>
          <a:prstGeom prst="cube">
            <a:avLst>
              <a:gd name="adj" fmla="val 80954"/>
            </a:avLst>
          </a:prstGeom>
          <a:solidFill>
            <a:schemeClr val="bg1">
              <a:lumMod val="95000"/>
              <a:alpha val="43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IT - Application Services</a:t>
            </a:r>
            <a:endParaRPr kumimoji="0" lang="en-US" sz="1333" b="0" i="0" u="none" strike="noStrike" kern="1200" cap="none" spc="0" normalizeH="0" baseline="0" noProof="0" dirty="0">
              <a:ln>
                <a:noFill/>
              </a:ln>
              <a:solidFill>
                <a:prstClr val="white"/>
              </a:solidFill>
              <a:effectLst/>
              <a:uLnTx/>
              <a:uFillTx/>
              <a:latin typeface="Arial"/>
              <a:ea typeface="+mn-ea"/>
              <a:cs typeface="+mn-cs"/>
            </a:endParaRPr>
          </a:p>
        </p:txBody>
      </p:sp>
      <p:sp>
        <p:nvSpPr>
          <p:cNvPr id="201" name="Cube 200"/>
          <p:cNvSpPr/>
          <p:nvPr/>
        </p:nvSpPr>
        <p:spPr>
          <a:xfrm>
            <a:off x="1735913" y="2496114"/>
            <a:ext cx="4675153" cy="1109609"/>
          </a:xfrm>
          <a:prstGeom prst="cube">
            <a:avLst>
              <a:gd name="adj" fmla="val 81926"/>
            </a:avLst>
          </a:prstGeom>
          <a:solidFill>
            <a:schemeClr val="bg1">
              <a:lumMod val="95000"/>
              <a:alpha val="43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IT – Application Architecture</a:t>
            </a:r>
            <a:endParaRPr kumimoji="0" lang="en-US" sz="1333" b="0" i="0" u="none" strike="noStrike" kern="1200" cap="none" spc="0" normalizeH="0" baseline="0" noProof="0" dirty="0">
              <a:ln>
                <a:noFill/>
              </a:ln>
              <a:solidFill>
                <a:prstClr val="white"/>
              </a:solidFill>
              <a:effectLst/>
              <a:uLnTx/>
              <a:uFillTx/>
              <a:latin typeface="Arial"/>
              <a:ea typeface="+mn-ea"/>
              <a:cs typeface="+mn-cs"/>
            </a:endParaRPr>
          </a:p>
        </p:txBody>
      </p:sp>
      <p:pic>
        <p:nvPicPr>
          <p:cNvPr id="202" name="Picture 201"/>
          <p:cNvPicPr>
            <a:picLocks noChangeAspect="1"/>
          </p:cNvPicPr>
          <p:nvPr/>
        </p:nvPicPr>
        <p:blipFill>
          <a:blip r:embed="rId18"/>
          <a:stretch>
            <a:fillRect/>
          </a:stretch>
        </p:blipFill>
        <p:spPr>
          <a:xfrm>
            <a:off x="3877312" y="3638092"/>
            <a:ext cx="191123" cy="538096"/>
          </a:xfrm>
          <a:prstGeom prst="rect">
            <a:avLst/>
          </a:prstGeom>
        </p:spPr>
      </p:pic>
      <p:cxnSp>
        <p:nvCxnSpPr>
          <p:cNvPr id="203" name="Straight Connector 202"/>
          <p:cNvCxnSpPr>
            <a:stCxn id="199" idx="5"/>
            <a:endCxn id="217" idx="5"/>
          </p:cNvCxnSpPr>
          <p:nvPr/>
        </p:nvCxnSpPr>
        <p:spPr>
          <a:xfrm flipV="1">
            <a:off x="6411067" y="1399144"/>
            <a:ext cx="7672" cy="3655243"/>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a:stCxn id="199" idx="2"/>
            <a:endCxn id="217" idx="2"/>
          </p:cNvCxnSpPr>
          <p:nvPr/>
        </p:nvCxnSpPr>
        <p:spPr>
          <a:xfrm flipV="1">
            <a:off x="1735913" y="2308201"/>
            <a:ext cx="7672" cy="3644459"/>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sp>
        <p:nvSpPr>
          <p:cNvPr id="205" name="TextBox 204"/>
          <p:cNvSpPr txBox="1"/>
          <p:nvPr/>
        </p:nvSpPr>
        <p:spPr>
          <a:xfrm>
            <a:off x="3356324" y="5588024"/>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Hardware</a:t>
            </a:r>
          </a:p>
        </p:txBody>
      </p:sp>
      <p:sp>
        <p:nvSpPr>
          <p:cNvPr id="206" name="TextBox 205"/>
          <p:cNvSpPr txBox="1"/>
          <p:nvPr/>
        </p:nvSpPr>
        <p:spPr>
          <a:xfrm>
            <a:off x="4084804" y="5352285"/>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Network</a:t>
            </a:r>
          </a:p>
        </p:txBody>
      </p:sp>
      <p:cxnSp>
        <p:nvCxnSpPr>
          <p:cNvPr id="207" name="Straight Connector 206"/>
          <p:cNvCxnSpPr>
            <a:endCxn id="217" idx="4"/>
          </p:cNvCxnSpPr>
          <p:nvPr/>
        </p:nvCxnSpPr>
        <p:spPr>
          <a:xfrm flipH="1" flipV="1">
            <a:off x="5509681" y="2308202"/>
            <a:ext cx="26172" cy="3553383"/>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sp>
        <p:nvSpPr>
          <p:cNvPr id="208" name="TextBox 207"/>
          <p:cNvSpPr txBox="1"/>
          <p:nvPr/>
        </p:nvSpPr>
        <p:spPr>
          <a:xfrm>
            <a:off x="2682778" y="4082207"/>
            <a:ext cx="654551"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DBMS</a:t>
            </a:r>
          </a:p>
        </p:txBody>
      </p:sp>
      <p:sp>
        <p:nvSpPr>
          <p:cNvPr id="209" name="TextBox 208"/>
          <p:cNvSpPr txBox="1"/>
          <p:nvPr/>
        </p:nvSpPr>
        <p:spPr>
          <a:xfrm>
            <a:off x="5443062" y="5101378"/>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Memory</a:t>
            </a:r>
          </a:p>
        </p:txBody>
      </p:sp>
      <p:sp>
        <p:nvSpPr>
          <p:cNvPr id="210" name="TextBox 209"/>
          <p:cNvSpPr txBox="1"/>
          <p:nvPr/>
        </p:nvSpPr>
        <p:spPr>
          <a:xfrm>
            <a:off x="3149998" y="4379721"/>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Middleware</a:t>
            </a:r>
          </a:p>
        </p:txBody>
      </p:sp>
      <p:sp>
        <p:nvSpPr>
          <p:cNvPr id="211" name="TextBox 210"/>
          <p:cNvSpPr txBox="1"/>
          <p:nvPr/>
        </p:nvSpPr>
        <p:spPr>
          <a:xfrm>
            <a:off x="1994660" y="4379771"/>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Integrators</a:t>
            </a:r>
          </a:p>
        </p:txBody>
      </p:sp>
      <p:sp>
        <p:nvSpPr>
          <p:cNvPr id="212" name="TextBox 211"/>
          <p:cNvSpPr txBox="1"/>
          <p:nvPr/>
        </p:nvSpPr>
        <p:spPr>
          <a:xfrm>
            <a:off x="4927291" y="4365091"/>
            <a:ext cx="512963"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FTP</a:t>
            </a:r>
          </a:p>
        </p:txBody>
      </p:sp>
      <p:sp>
        <p:nvSpPr>
          <p:cNvPr id="213" name="TextBox 212"/>
          <p:cNvSpPr txBox="1"/>
          <p:nvPr/>
        </p:nvSpPr>
        <p:spPr>
          <a:xfrm>
            <a:off x="4745729" y="5508327"/>
            <a:ext cx="98638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Storage</a:t>
            </a:r>
          </a:p>
        </p:txBody>
      </p:sp>
      <p:sp>
        <p:nvSpPr>
          <p:cNvPr id="214" name="TextBox 213"/>
          <p:cNvSpPr txBox="1"/>
          <p:nvPr/>
        </p:nvSpPr>
        <p:spPr>
          <a:xfrm>
            <a:off x="3984863" y="4012404"/>
            <a:ext cx="1097471"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Web Services</a:t>
            </a:r>
          </a:p>
        </p:txBody>
      </p:sp>
      <p:sp>
        <p:nvSpPr>
          <p:cNvPr id="215" name="TextBox 214"/>
          <p:cNvSpPr txBox="1"/>
          <p:nvPr/>
        </p:nvSpPr>
        <p:spPr>
          <a:xfrm>
            <a:off x="5537485" y="3962027"/>
            <a:ext cx="512963"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Jobs</a:t>
            </a:r>
          </a:p>
        </p:txBody>
      </p:sp>
      <p:sp>
        <p:nvSpPr>
          <p:cNvPr id="216" name="TextBox 215"/>
          <p:cNvSpPr txBox="1"/>
          <p:nvPr/>
        </p:nvSpPr>
        <p:spPr>
          <a:xfrm>
            <a:off x="4736349" y="2986296"/>
            <a:ext cx="512963"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GUI</a:t>
            </a:r>
          </a:p>
        </p:txBody>
      </p:sp>
      <p:sp>
        <p:nvSpPr>
          <p:cNvPr id="217" name="Cube 216"/>
          <p:cNvSpPr/>
          <p:nvPr/>
        </p:nvSpPr>
        <p:spPr>
          <a:xfrm>
            <a:off x="1743586" y="1298869"/>
            <a:ext cx="4675153" cy="1109609"/>
          </a:xfrm>
          <a:prstGeom prst="cube">
            <a:avLst>
              <a:gd name="adj" fmla="val 81926"/>
            </a:avLst>
          </a:prstGeom>
          <a:solidFill>
            <a:schemeClr val="bg1">
              <a:lumMod val="95000"/>
              <a:alpha val="43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lumMod val="25000"/>
                  </a:srgbClr>
                </a:solidFill>
                <a:effectLst/>
                <a:uLnTx/>
                <a:uFillTx/>
                <a:latin typeface="Calibri" panose="020F0502020204030204" pitchFamily="34" charset="0"/>
                <a:ea typeface="+mn-ea"/>
                <a:cs typeface="+mn-cs"/>
              </a:rPr>
              <a:t>Business Architecture </a:t>
            </a:r>
            <a:endParaRPr kumimoji="0" lang="en-US" sz="1333" b="0" i="0" u="none" strike="noStrike" kern="1200" cap="none" spc="0" normalizeH="0" baseline="0" noProof="0" dirty="0">
              <a:ln>
                <a:noFill/>
              </a:ln>
              <a:solidFill>
                <a:prstClr val="white"/>
              </a:solidFill>
              <a:effectLst/>
              <a:uLnTx/>
              <a:uFillTx/>
              <a:latin typeface="Arial"/>
              <a:ea typeface="+mn-ea"/>
              <a:cs typeface="+mn-cs"/>
            </a:endParaRPr>
          </a:p>
        </p:txBody>
      </p:sp>
      <p:sp>
        <p:nvSpPr>
          <p:cNvPr id="218" name="TextBox 217"/>
          <p:cNvSpPr txBox="1"/>
          <p:nvPr/>
        </p:nvSpPr>
        <p:spPr>
          <a:xfrm>
            <a:off x="2291118" y="2986740"/>
            <a:ext cx="780609"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Utilities</a:t>
            </a:r>
          </a:p>
        </p:txBody>
      </p:sp>
      <p:sp>
        <p:nvSpPr>
          <p:cNvPr id="219" name="TextBox 218"/>
          <p:cNvSpPr txBox="1"/>
          <p:nvPr/>
        </p:nvSpPr>
        <p:spPr>
          <a:xfrm>
            <a:off x="3994604" y="3006039"/>
            <a:ext cx="780609"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Scripts</a:t>
            </a:r>
          </a:p>
        </p:txBody>
      </p:sp>
      <p:sp>
        <p:nvSpPr>
          <p:cNvPr id="220" name="TextBox 219"/>
          <p:cNvSpPr txBox="1"/>
          <p:nvPr/>
        </p:nvSpPr>
        <p:spPr>
          <a:xfrm>
            <a:off x="3181876" y="2954615"/>
            <a:ext cx="509273"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APIs</a:t>
            </a:r>
          </a:p>
        </p:txBody>
      </p:sp>
      <p:sp>
        <p:nvSpPr>
          <p:cNvPr id="221" name="TextBox 220"/>
          <p:cNvSpPr txBox="1"/>
          <p:nvPr/>
        </p:nvSpPr>
        <p:spPr>
          <a:xfrm>
            <a:off x="2298117" y="1734875"/>
            <a:ext cx="914460"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smtClean="0">
                <a:ln>
                  <a:noFill/>
                </a:ln>
                <a:solidFill>
                  <a:srgbClr val="50B3CF">
                    <a:lumMod val="75000"/>
                  </a:srgbClr>
                </a:solidFill>
                <a:effectLst/>
                <a:uLnTx/>
                <a:uFillTx/>
                <a:latin typeface="Calibri" panose="020F0502020204030204" pitchFamily="34" charset="0"/>
                <a:ea typeface="+mn-ea"/>
                <a:cs typeface="+mn-cs"/>
              </a:rPr>
              <a:t>Facilities</a:t>
            </a:r>
            <a:endPar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endParaRPr>
          </a:p>
        </p:txBody>
      </p:sp>
      <p:sp>
        <p:nvSpPr>
          <p:cNvPr id="222" name="TextBox 221"/>
          <p:cNvSpPr txBox="1"/>
          <p:nvPr/>
        </p:nvSpPr>
        <p:spPr>
          <a:xfrm>
            <a:off x="4499862" y="1895203"/>
            <a:ext cx="828259"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smtClean="0">
                <a:ln>
                  <a:noFill/>
                </a:ln>
                <a:solidFill>
                  <a:srgbClr val="50B3CF">
                    <a:lumMod val="75000"/>
                  </a:srgbClr>
                </a:solidFill>
                <a:effectLst/>
                <a:uLnTx/>
                <a:uFillTx/>
                <a:latin typeface="Calibri" panose="020F0502020204030204" pitchFamily="34" charset="0"/>
                <a:ea typeface="+mn-ea"/>
                <a:cs typeface="+mn-cs"/>
              </a:rPr>
              <a:t>Properties</a:t>
            </a:r>
            <a:endPar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endParaRPr>
          </a:p>
        </p:txBody>
      </p:sp>
      <p:sp>
        <p:nvSpPr>
          <p:cNvPr id="223" name="TextBox 222"/>
          <p:cNvSpPr txBox="1"/>
          <p:nvPr/>
        </p:nvSpPr>
        <p:spPr>
          <a:xfrm>
            <a:off x="2118753" y="5586081"/>
            <a:ext cx="416337"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OS</a:t>
            </a:r>
          </a:p>
        </p:txBody>
      </p:sp>
      <p:sp>
        <p:nvSpPr>
          <p:cNvPr id="224" name="TextBox 223"/>
          <p:cNvSpPr txBox="1"/>
          <p:nvPr/>
        </p:nvSpPr>
        <p:spPr>
          <a:xfrm>
            <a:off x="2738013" y="5364697"/>
            <a:ext cx="861555"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Processor</a:t>
            </a:r>
          </a:p>
        </p:txBody>
      </p:sp>
      <p:sp>
        <p:nvSpPr>
          <p:cNvPr id="225" name="Rectangle 224"/>
          <p:cNvSpPr/>
          <p:nvPr/>
        </p:nvSpPr>
        <p:spPr>
          <a:xfrm>
            <a:off x="5204261" y="952619"/>
            <a:ext cx="1216487" cy="297454"/>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COMPONENTS</a:t>
            </a:r>
            <a:endParaRPr kumimoji="0" lang="en-US" sz="1333" b="0" i="0" u="sng" strike="noStrike" kern="1200" cap="none" spc="0" normalizeH="0" baseline="0" noProof="0" dirty="0">
              <a:ln>
                <a:noFill/>
              </a:ln>
              <a:solidFill>
                <a:srgbClr val="50B3CF">
                  <a:lumMod val="50000"/>
                </a:srgbClr>
              </a:solidFill>
              <a:effectLst/>
              <a:uLnTx/>
              <a:uFillTx/>
              <a:latin typeface="Arial"/>
              <a:ea typeface="+mn-ea"/>
              <a:cs typeface="+mn-cs"/>
            </a:endParaRPr>
          </a:p>
        </p:txBody>
      </p:sp>
      <p:pic>
        <p:nvPicPr>
          <p:cNvPr id="226" name="Picture 225"/>
          <p:cNvPicPr>
            <a:picLocks noChangeAspect="1"/>
          </p:cNvPicPr>
          <p:nvPr/>
        </p:nvPicPr>
        <p:blipFill>
          <a:blip r:embed="rId19"/>
          <a:stretch>
            <a:fillRect/>
          </a:stretch>
        </p:blipFill>
        <p:spPr>
          <a:xfrm rot="16200000">
            <a:off x="5599953" y="3477964"/>
            <a:ext cx="553359" cy="629921"/>
          </a:xfrm>
          <a:prstGeom prst="rect">
            <a:avLst/>
          </a:prstGeom>
          <a:effectLst>
            <a:outerShdw blurRad="50800" dist="38100" dir="2700000" algn="tl" rotWithShape="0">
              <a:prstClr val="black">
                <a:alpha val="40000"/>
              </a:prstClr>
            </a:outerShdw>
          </a:effectLst>
        </p:spPr>
      </p:pic>
      <p:cxnSp>
        <p:nvCxnSpPr>
          <p:cNvPr id="227" name="Elbow Connector 226"/>
          <p:cNvCxnSpPr/>
          <p:nvPr/>
        </p:nvCxnSpPr>
        <p:spPr>
          <a:xfrm>
            <a:off x="5220691" y="3895313"/>
            <a:ext cx="340979" cy="49056"/>
          </a:xfrm>
          <a:prstGeom prst="bentConnector3">
            <a:avLst>
              <a:gd name="adj1" fmla="val 50000"/>
            </a:avLst>
          </a:prstGeom>
          <a:ln w="9525">
            <a:solidFill>
              <a:schemeClr val="tx2">
                <a:lumMod val="50000"/>
                <a:lumOff val="50000"/>
              </a:schemeClr>
            </a:solidFill>
          </a:ln>
        </p:spPr>
        <p:style>
          <a:lnRef idx="2">
            <a:schemeClr val="accent1"/>
          </a:lnRef>
          <a:fillRef idx="0">
            <a:schemeClr val="accent1"/>
          </a:fillRef>
          <a:effectRef idx="1">
            <a:schemeClr val="accent1"/>
          </a:effectRef>
          <a:fontRef idx="minor">
            <a:schemeClr val="tx1"/>
          </a:fontRef>
        </p:style>
      </p:cxnSp>
      <p:pic>
        <p:nvPicPr>
          <p:cNvPr id="228" name="Picture 227"/>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091999" y="2614452"/>
            <a:ext cx="438248" cy="451331"/>
          </a:xfrm>
          <a:prstGeom prst="rect">
            <a:avLst/>
          </a:prstGeom>
          <a:effectLst>
            <a:outerShdw blurRad="50800" dist="38100" dir="2700000" algn="tl" rotWithShape="0">
              <a:prstClr val="black">
                <a:alpha val="40000"/>
              </a:prstClr>
            </a:outerShdw>
          </a:effectLst>
        </p:spPr>
      </p:pic>
      <p:pic>
        <p:nvPicPr>
          <p:cNvPr id="229" name="Picture 228"/>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173367" y="2622447"/>
            <a:ext cx="385660" cy="385660"/>
          </a:xfrm>
          <a:prstGeom prst="rect">
            <a:avLst/>
          </a:prstGeom>
          <a:effectLst>
            <a:outerShdw blurRad="50800" dist="38100" dir="5400000" algn="t" rotWithShape="0">
              <a:prstClr val="black">
                <a:alpha val="40000"/>
              </a:prstClr>
            </a:outerShdw>
          </a:effectLst>
        </p:spPr>
      </p:pic>
      <p:pic>
        <p:nvPicPr>
          <p:cNvPr id="230" name="Picture 229"/>
          <p:cNvPicPr>
            <a:picLocks noChangeAspect="1"/>
          </p:cNvPicPr>
          <p:nvPr/>
        </p:nvPicPr>
        <p:blipFill>
          <a:blip r:embed="rId22"/>
          <a:stretch>
            <a:fillRect/>
          </a:stretch>
        </p:blipFill>
        <p:spPr>
          <a:xfrm rot="16200000">
            <a:off x="4945362" y="2513037"/>
            <a:ext cx="338725" cy="682524"/>
          </a:xfrm>
          <a:prstGeom prst="rect">
            <a:avLst/>
          </a:prstGeom>
          <a:effectLst>
            <a:outerShdw blurRad="50800" dist="38100" dir="5400000" algn="t" rotWithShape="0">
              <a:prstClr val="black">
                <a:alpha val="40000"/>
              </a:prstClr>
            </a:outerShdw>
          </a:effectLst>
        </p:spPr>
      </p:pic>
      <p:pic>
        <p:nvPicPr>
          <p:cNvPr id="231" name="Picture 230"/>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2525477" y="2704765"/>
            <a:ext cx="369463" cy="349283"/>
          </a:xfrm>
          <a:prstGeom prst="rect">
            <a:avLst/>
          </a:prstGeom>
          <a:effectLst>
            <a:outerShdw blurRad="50800" dist="38100" dir="2700000" algn="tl" rotWithShape="0">
              <a:prstClr val="black">
                <a:alpha val="40000"/>
              </a:prstClr>
            </a:outerShdw>
          </a:effectLst>
        </p:spPr>
      </p:pic>
      <p:pic>
        <p:nvPicPr>
          <p:cNvPr id="232" name="Picture 23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887627" y="1318794"/>
            <a:ext cx="476212" cy="476212"/>
          </a:xfrm>
          <a:prstGeom prst="rect">
            <a:avLst/>
          </a:prstGeom>
          <a:effectLst>
            <a:outerShdw blurRad="50800" dist="38100" dir="2700000" algn="tl" rotWithShape="0">
              <a:prstClr val="black">
                <a:alpha val="40000"/>
              </a:prstClr>
            </a:outerShdw>
          </a:effectLst>
        </p:spPr>
      </p:pic>
      <p:pic>
        <p:nvPicPr>
          <p:cNvPr id="233" name="Picture 23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3444993" y="1440938"/>
            <a:ext cx="306599" cy="306599"/>
          </a:xfrm>
          <a:prstGeom prst="rect">
            <a:avLst/>
          </a:prstGeom>
          <a:effectLst>
            <a:outerShdw blurRad="50800" dist="38100" dir="2700000" algn="tl" rotWithShape="0">
              <a:prstClr val="black">
                <a:alpha val="40000"/>
              </a:prstClr>
            </a:outerShdw>
          </a:effectLst>
        </p:spPr>
      </p:pic>
      <p:pic>
        <p:nvPicPr>
          <p:cNvPr id="234" name="Picture 233"/>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217223" y="1085240"/>
            <a:ext cx="1215735" cy="741152"/>
          </a:xfrm>
          <a:prstGeom prst="rect">
            <a:avLst/>
          </a:prstGeom>
          <a:effectLst>
            <a:outerShdw blurRad="50800" dist="38100" dir="2700000" algn="tl" rotWithShape="0">
              <a:prstClr val="black">
                <a:alpha val="40000"/>
              </a:prstClr>
            </a:outerShdw>
          </a:effectLst>
        </p:spPr>
      </p:pic>
      <p:pic>
        <p:nvPicPr>
          <p:cNvPr id="235" name="Picture 23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333495" y="1691497"/>
            <a:ext cx="754296" cy="441249"/>
          </a:xfrm>
          <a:prstGeom prst="rect">
            <a:avLst/>
          </a:prstGeom>
          <a:effectLst>
            <a:outerShdw blurRad="50800" dist="38100" dir="2700000" algn="tl" rotWithShape="0">
              <a:prstClr val="black">
                <a:alpha val="40000"/>
              </a:prstClr>
            </a:outerShdw>
          </a:effectLst>
        </p:spPr>
      </p:pic>
      <p:sp>
        <p:nvSpPr>
          <p:cNvPr id="238" name="TextBox 237"/>
          <p:cNvSpPr txBox="1"/>
          <p:nvPr/>
        </p:nvSpPr>
        <p:spPr>
          <a:xfrm>
            <a:off x="3915794" y="1957007"/>
            <a:ext cx="914460"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50B3CF">
                    <a:lumMod val="75000"/>
                  </a:srgbClr>
                </a:solidFill>
                <a:effectLst/>
                <a:uLnTx/>
                <a:uFillTx/>
                <a:latin typeface="Calibri" panose="020F0502020204030204" pitchFamily="34" charset="0"/>
                <a:ea typeface="+mn-ea"/>
                <a:cs typeface="+mn-cs"/>
              </a:rPr>
              <a:t>Logistics</a:t>
            </a:r>
          </a:p>
        </p:txBody>
      </p:sp>
      <p:pic>
        <p:nvPicPr>
          <p:cNvPr id="240" name="Picture 239"/>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2233804" y="4034213"/>
            <a:ext cx="485408" cy="423923"/>
          </a:xfrm>
          <a:prstGeom prst="rect">
            <a:avLst/>
          </a:prstGeom>
          <a:effectLst>
            <a:outerShdw blurRad="50800" dist="38100" dir="2700000" algn="tl" rotWithShape="0">
              <a:prstClr val="black">
                <a:alpha val="40000"/>
              </a:prstClr>
            </a:outerShdw>
          </a:effectLst>
        </p:spPr>
      </p:pic>
      <p:pic>
        <p:nvPicPr>
          <p:cNvPr id="241" name="Picture 240"/>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3395165" y="4017198"/>
            <a:ext cx="529708" cy="411303"/>
          </a:xfrm>
          <a:prstGeom prst="rect">
            <a:avLst/>
          </a:prstGeom>
          <a:effectLst>
            <a:outerShdw blurRad="50800" dist="38100" dir="2700000" algn="tl" rotWithShape="0">
              <a:prstClr val="black">
                <a:alpha val="40000"/>
              </a:prstClr>
            </a:outerShdw>
          </a:effectLst>
        </p:spPr>
      </p:pic>
      <p:pic>
        <p:nvPicPr>
          <p:cNvPr id="242" name="Picture 24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2802911" y="3700460"/>
            <a:ext cx="446069" cy="458193"/>
          </a:xfrm>
          <a:prstGeom prst="rect">
            <a:avLst/>
          </a:prstGeom>
          <a:effectLst>
            <a:outerShdw blurRad="50800" dist="38100" dir="2700000" algn="tl" rotWithShape="0">
              <a:prstClr val="black">
                <a:alpha val="40000"/>
              </a:prstClr>
            </a:outerShdw>
          </a:effectLst>
        </p:spPr>
      </p:pic>
      <p:pic>
        <p:nvPicPr>
          <p:cNvPr id="243" name="Picture 242"/>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4956760" y="4124046"/>
            <a:ext cx="309925" cy="309925"/>
          </a:xfrm>
          <a:prstGeom prst="rect">
            <a:avLst/>
          </a:prstGeom>
          <a:effectLst>
            <a:outerShdw blurRad="50800" dist="38100" dir="2700000" algn="tl" rotWithShape="0">
              <a:prstClr val="black">
                <a:alpha val="40000"/>
              </a:prstClr>
            </a:outerShdw>
          </a:effectLst>
        </p:spPr>
      </p:pic>
      <p:pic>
        <p:nvPicPr>
          <p:cNvPr id="244" name="Picture 243"/>
          <p:cNvPicPr>
            <a:picLocks noChangeAspect="1"/>
          </p:cNvPicPr>
          <p:nvPr/>
        </p:nvPicPr>
        <p:blipFill>
          <a:blip r:embed="rId19"/>
          <a:stretch>
            <a:fillRect/>
          </a:stretch>
        </p:blipFill>
        <p:spPr>
          <a:xfrm rot="16200000">
            <a:off x="4890682" y="3490568"/>
            <a:ext cx="553359" cy="629921"/>
          </a:xfrm>
          <a:prstGeom prst="rect">
            <a:avLst/>
          </a:prstGeom>
          <a:effectLst>
            <a:outerShdw blurRad="50800" dist="38100" dir="2700000" algn="tl" rotWithShape="0">
              <a:prstClr val="black">
                <a:alpha val="40000"/>
              </a:prstClr>
            </a:outerShdw>
          </a:effectLst>
        </p:spPr>
      </p:pic>
      <p:cxnSp>
        <p:nvCxnSpPr>
          <p:cNvPr id="245" name="Elbow Connector 244"/>
          <p:cNvCxnSpPr>
            <a:stCxn id="247" idx="3"/>
            <a:endCxn id="246" idx="1"/>
          </p:cNvCxnSpPr>
          <p:nvPr/>
        </p:nvCxnSpPr>
        <p:spPr>
          <a:xfrm flipV="1">
            <a:off x="2517480" y="5241528"/>
            <a:ext cx="327065" cy="250208"/>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46" name="Picture 245"/>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2844545" y="4979533"/>
            <a:ext cx="523991" cy="523991"/>
          </a:xfrm>
          <a:prstGeom prst="rect">
            <a:avLst/>
          </a:prstGeom>
          <a:effectLst>
            <a:outerShdw blurRad="50800" dist="38100" dir="2700000" algn="tl" rotWithShape="0">
              <a:prstClr val="black">
                <a:alpha val="40000"/>
              </a:prstClr>
            </a:outerShdw>
          </a:effectLst>
        </p:spPr>
      </p:pic>
      <p:pic>
        <p:nvPicPr>
          <p:cNvPr id="247" name="Picture 246"/>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2095307" y="5285798"/>
            <a:ext cx="422172" cy="411876"/>
          </a:xfrm>
          <a:prstGeom prst="rect">
            <a:avLst/>
          </a:prstGeom>
          <a:effectLst>
            <a:outerShdw blurRad="50800" dist="38100" dir="2700000" algn="tl" rotWithShape="0">
              <a:prstClr val="black">
                <a:alpha val="40000"/>
              </a:prstClr>
            </a:outerShdw>
          </a:effectLst>
        </p:spPr>
      </p:pic>
      <p:cxnSp>
        <p:nvCxnSpPr>
          <p:cNvPr id="248" name="Elbow Connector 247"/>
          <p:cNvCxnSpPr>
            <a:stCxn id="246" idx="3"/>
            <a:endCxn id="259" idx="1"/>
          </p:cNvCxnSpPr>
          <p:nvPr/>
        </p:nvCxnSpPr>
        <p:spPr>
          <a:xfrm>
            <a:off x="3368535" y="5241528"/>
            <a:ext cx="213032" cy="237064"/>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49" name="Elbow Connector 248"/>
          <p:cNvCxnSpPr>
            <a:stCxn id="259" idx="3"/>
            <a:endCxn id="251" idx="1"/>
          </p:cNvCxnSpPr>
          <p:nvPr/>
        </p:nvCxnSpPr>
        <p:spPr>
          <a:xfrm flipV="1">
            <a:off x="3962453" y="5171557"/>
            <a:ext cx="187159" cy="307035"/>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50" name="Elbow Connector 249"/>
          <p:cNvCxnSpPr/>
          <p:nvPr/>
        </p:nvCxnSpPr>
        <p:spPr>
          <a:xfrm rot="10800000">
            <a:off x="4549468" y="5199191"/>
            <a:ext cx="624251" cy="176288"/>
          </a:xfrm>
          <a:prstGeom prst="bentConnector3">
            <a:avLst>
              <a:gd name="adj1" fmla="val 107981"/>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51" name="Picture 250"/>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149612" y="4967635"/>
            <a:ext cx="575225" cy="407844"/>
          </a:xfrm>
          <a:prstGeom prst="rect">
            <a:avLst/>
          </a:prstGeom>
          <a:effectLst>
            <a:outerShdw blurRad="50800" dist="38100" dir="2700000" algn="tl" rotWithShape="0">
              <a:prstClr val="black">
                <a:alpha val="40000"/>
              </a:prstClr>
            </a:outerShdw>
          </a:effectLst>
        </p:spPr>
      </p:pic>
      <p:cxnSp>
        <p:nvCxnSpPr>
          <p:cNvPr id="252" name="Elbow Connector 251"/>
          <p:cNvCxnSpPr>
            <a:stCxn id="258" idx="0"/>
            <a:endCxn id="253" idx="1"/>
          </p:cNvCxnSpPr>
          <p:nvPr/>
        </p:nvCxnSpPr>
        <p:spPr>
          <a:xfrm rot="5400000" flipH="1" flipV="1">
            <a:off x="5296183" y="4873520"/>
            <a:ext cx="64027" cy="488301"/>
          </a:xfrm>
          <a:prstGeom prst="bentConnector2">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53" name="Picture 252"/>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5572347" y="4894301"/>
            <a:ext cx="382712" cy="382712"/>
          </a:xfrm>
          <a:prstGeom prst="rect">
            <a:avLst/>
          </a:prstGeom>
          <a:effectLst>
            <a:outerShdw blurRad="50800" dist="38100" dir="2700000" algn="tl" rotWithShape="0">
              <a:prstClr val="black">
                <a:alpha val="40000"/>
              </a:prstClr>
            </a:outerShdw>
          </a:effectLst>
        </p:spPr>
      </p:pic>
      <p:cxnSp>
        <p:nvCxnSpPr>
          <p:cNvPr id="254" name="Elbow Connector 253"/>
          <p:cNvCxnSpPr>
            <a:stCxn id="247" idx="2"/>
          </p:cNvCxnSpPr>
          <p:nvPr/>
        </p:nvCxnSpPr>
        <p:spPr>
          <a:xfrm rot="5400000" flipH="1" flipV="1">
            <a:off x="2934467" y="5010093"/>
            <a:ext cx="59507" cy="1315655"/>
          </a:xfrm>
          <a:prstGeom prst="bentConnector4">
            <a:avLst>
              <a:gd name="adj1" fmla="val 56912"/>
              <a:gd name="adj2" fmla="val 58666"/>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55" name="Elbow Connector 254"/>
          <p:cNvCxnSpPr/>
          <p:nvPr/>
        </p:nvCxnSpPr>
        <p:spPr>
          <a:xfrm flipV="1">
            <a:off x="3189896" y="5062125"/>
            <a:ext cx="1091417" cy="47168"/>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56" name="Picture 255"/>
          <p:cNvPicPr>
            <a:picLocks noChangeAspect="1"/>
          </p:cNvPicPr>
          <p:nvPr/>
        </p:nvPicPr>
        <p:blipFill>
          <a:blip r:embed="rId18"/>
          <a:stretch>
            <a:fillRect/>
          </a:stretch>
        </p:blipFill>
        <p:spPr>
          <a:xfrm>
            <a:off x="3866961" y="4853604"/>
            <a:ext cx="169064" cy="475989"/>
          </a:xfrm>
          <a:prstGeom prst="rect">
            <a:avLst/>
          </a:prstGeom>
        </p:spPr>
      </p:pic>
      <p:cxnSp>
        <p:nvCxnSpPr>
          <p:cNvPr id="257" name="Elbow Connector 256"/>
          <p:cNvCxnSpPr/>
          <p:nvPr/>
        </p:nvCxnSpPr>
        <p:spPr>
          <a:xfrm rot="10800000" flipV="1">
            <a:off x="3920897" y="5495913"/>
            <a:ext cx="1048516" cy="107416"/>
          </a:xfrm>
          <a:prstGeom prst="bentConnector3">
            <a:avLst>
              <a:gd name="adj1" fmla="val 2093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58" name="Picture 257"/>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845155" y="5149685"/>
            <a:ext cx="477780" cy="462849"/>
          </a:xfrm>
          <a:prstGeom prst="rect">
            <a:avLst/>
          </a:prstGeom>
          <a:effectLst>
            <a:outerShdw blurRad="50800" dist="38100" dir="2700000" algn="tl" rotWithShape="0">
              <a:prstClr val="black">
                <a:alpha val="40000"/>
              </a:prstClr>
            </a:outerShdw>
          </a:effectLst>
        </p:spPr>
      </p:pic>
      <p:pic>
        <p:nvPicPr>
          <p:cNvPr id="259" name="Picture 258"/>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3581567" y="5285799"/>
            <a:ext cx="380885" cy="385587"/>
          </a:xfrm>
          <a:prstGeom prst="rect">
            <a:avLst/>
          </a:prstGeom>
          <a:effectLst>
            <a:outerShdw blurRad="50800" dist="38100" dir="2700000" algn="tl" rotWithShape="0">
              <a:prstClr val="black">
                <a:alpha val="40000"/>
              </a:prstClr>
            </a:outerShdw>
          </a:effectLst>
        </p:spPr>
      </p:pic>
      <p:cxnSp>
        <p:nvCxnSpPr>
          <p:cNvPr id="260" name="Elbow Connector 259"/>
          <p:cNvCxnSpPr>
            <a:endCxn id="253" idx="2"/>
          </p:cNvCxnSpPr>
          <p:nvPr/>
        </p:nvCxnSpPr>
        <p:spPr>
          <a:xfrm flipV="1">
            <a:off x="5094364" y="5277014"/>
            <a:ext cx="669339" cy="124036"/>
          </a:xfrm>
          <a:prstGeom prst="bentConnector2">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1" name="Elbow Connector 260"/>
          <p:cNvCxnSpPr/>
          <p:nvPr/>
        </p:nvCxnSpPr>
        <p:spPr>
          <a:xfrm flipV="1">
            <a:off x="2534926" y="4196220"/>
            <a:ext cx="1162956" cy="191121"/>
          </a:xfrm>
          <a:prstGeom prst="bentConnector3">
            <a:avLst>
              <a:gd name="adj1" fmla="val 67473"/>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2" name="Elbow Connector 261"/>
          <p:cNvCxnSpPr>
            <a:stCxn id="240" idx="0"/>
            <a:endCxn id="242" idx="1"/>
          </p:cNvCxnSpPr>
          <p:nvPr/>
        </p:nvCxnSpPr>
        <p:spPr>
          <a:xfrm rot="5400000" flipH="1" flipV="1">
            <a:off x="2587382" y="3818684"/>
            <a:ext cx="104657" cy="326403"/>
          </a:xfrm>
          <a:prstGeom prst="bentConnector2">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3" name="Elbow Connector 262"/>
          <p:cNvCxnSpPr/>
          <p:nvPr/>
        </p:nvCxnSpPr>
        <p:spPr>
          <a:xfrm flipV="1">
            <a:off x="3665091" y="3875027"/>
            <a:ext cx="731120" cy="320571"/>
          </a:xfrm>
          <a:prstGeom prst="bentConnector3">
            <a:avLst>
              <a:gd name="adj1" fmla="val 56948"/>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4" name="Elbow Connector 263"/>
          <p:cNvCxnSpPr>
            <a:stCxn id="242" idx="3"/>
          </p:cNvCxnSpPr>
          <p:nvPr/>
        </p:nvCxnSpPr>
        <p:spPr>
          <a:xfrm>
            <a:off x="3248981" y="3929557"/>
            <a:ext cx="395967" cy="239991"/>
          </a:xfrm>
          <a:prstGeom prst="bentConnector3">
            <a:avLst>
              <a:gd name="adj1" fmla="val 105594"/>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5" name="Elbow Connector 264"/>
          <p:cNvCxnSpPr>
            <a:stCxn id="241" idx="3"/>
          </p:cNvCxnSpPr>
          <p:nvPr/>
        </p:nvCxnSpPr>
        <p:spPr>
          <a:xfrm>
            <a:off x="3924872" y="4222850"/>
            <a:ext cx="1157461" cy="286565"/>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6" name="Elbow Connector 265"/>
          <p:cNvCxnSpPr/>
          <p:nvPr/>
        </p:nvCxnSpPr>
        <p:spPr>
          <a:xfrm rot="10800000" flipV="1">
            <a:off x="3862382" y="3974494"/>
            <a:ext cx="1060153" cy="387423"/>
          </a:xfrm>
          <a:prstGeom prst="bentConnector3">
            <a:avLst>
              <a:gd name="adj1" fmla="val -313"/>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7" name="Elbow Connector 266"/>
          <p:cNvCxnSpPr>
            <a:stCxn id="243" idx="3"/>
          </p:cNvCxnSpPr>
          <p:nvPr/>
        </p:nvCxnSpPr>
        <p:spPr>
          <a:xfrm flipV="1">
            <a:off x="5266686" y="3956784"/>
            <a:ext cx="96677" cy="322225"/>
          </a:xfrm>
          <a:prstGeom prst="bentConnector2">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8" name="Elbow Connector 267"/>
          <p:cNvCxnSpPr/>
          <p:nvPr/>
        </p:nvCxnSpPr>
        <p:spPr>
          <a:xfrm flipV="1">
            <a:off x="4599268" y="3852092"/>
            <a:ext cx="436275" cy="5707"/>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69" name="Elbow Connector 268"/>
          <p:cNvCxnSpPr>
            <a:endCxn id="229" idx="1"/>
          </p:cNvCxnSpPr>
          <p:nvPr/>
        </p:nvCxnSpPr>
        <p:spPr>
          <a:xfrm flipV="1">
            <a:off x="2802914" y="2815278"/>
            <a:ext cx="370453" cy="339175"/>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70" name="Elbow Connector 269"/>
          <p:cNvCxnSpPr>
            <a:endCxn id="228" idx="1"/>
          </p:cNvCxnSpPr>
          <p:nvPr/>
        </p:nvCxnSpPr>
        <p:spPr>
          <a:xfrm>
            <a:off x="3481009" y="2671008"/>
            <a:ext cx="610991" cy="169109"/>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71" name="Elbow Connector 270"/>
          <p:cNvCxnSpPr/>
          <p:nvPr/>
        </p:nvCxnSpPr>
        <p:spPr>
          <a:xfrm rot="10800000">
            <a:off x="4441896" y="2770816"/>
            <a:ext cx="403259" cy="235221"/>
          </a:xfrm>
          <a:prstGeom prst="bentConnector3">
            <a:avLst>
              <a:gd name="adj1" fmla="val 50000"/>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cxnSp>
        <p:nvCxnSpPr>
          <p:cNvPr id="272" name="Elbow Connector 271"/>
          <p:cNvCxnSpPr>
            <a:stCxn id="228" idx="2"/>
            <a:endCxn id="229" idx="3"/>
          </p:cNvCxnSpPr>
          <p:nvPr/>
        </p:nvCxnSpPr>
        <p:spPr>
          <a:xfrm rot="5400000" flipH="1">
            <a:off x="3809822" y="2564483"/>
            <a:ext cx="250505" cy="752096"/>
          </a:xfrm>
          <a:prstGeom prst="bentConnector4">
            <a:avLst>
              <a:gd name="adj1" fmla="val -7604"/>
              <a:gd name="adj2" fmla="val 89051"/>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73" name="Picture 272"/>
          <p:cNvPicPr>
            <a:picLocks noChangeAspect="1"/>
          </p:cNvPicPr>
          <p:nvPr/>
        </p:nvPicPr>
        <p:blipFill>
          <a:blip r:embed="rId18"/>
          <a:stretch>
            <a:fillRect/>
          </a:stretch>
        </p:blipFill>
        <p:spPr>
          <a:xfrm>
            <a:off x="3900845" y="2430056"/>
            <a:ext cx="124745" cy="717621"/>
          </a:xfrm>
          <a:prstGeom prst="rect">
            <a:avLst/>
          </a:prstGeom>
        </p:spPr>
      </p:pic>
      <p:cxnSp>
        <p:nvCxnSpPr>
          <p:cNvPr id="274" name="Elbow Connector 273"/>
          <p:cNvCxnSpPr>
            <a:stCxn id="230" idx="1"/>
          </p:cNvCxnSpPr>
          <p:nvPr/>
        </p:nvCxnSpPr>
        <p:spPr>
          <a:xfrm rot="5400000">
            <a:off x="3915575" y="1933178"/>
            <a:ext cx="108667" cy="2289636"/>
          </a:xfrm>
          <a:prstGeom prst="bentConnector4">
            <a:avLst>
              <a:gd name="adj1" fmla="val 280491"/>
              <a:gd name="adj2" fmla="val 82541"/>
            </a:avLst>
          </a:prstGeom>
          <a:ln w="3175">
            <a:solidFill>
              <a:srgbClr val="6DB33F"/>
            </a:solidFill>
            <a:prstDash val="dash"/>
          </a:ln>
        </p:spPr>
        <p:style>
          <a:lnRef idx="2">
            <a:schemeClr val="accent1"/>
          </a:lnRef>
          <a:fillRef idx="0">
            <a:schemeClr val="accent1"/>
          </a:fillRef>
          <a:effectRef idx="1">
            <a:schemeClr val="accent1"/>
          </a:effectRef>
          <a:fontRef idx="minor">
            <a:schemeClr val="tx1"/>
          </a:fontRef>
        </p:style>
      </p:cxnSp>
      <p:pic>
        <p:nvPicPr>
          <p:cNvPr id="275" name="Picture 274"/>
          <p:cNvPicPr>
            <a:picLocks noChangeAspect="1"/>
          </p:cNvPicPr>
          <p:nvPr/>
        </p:nvPicPr>
        <p:blipFill>
          <a:blip r:embed="rId38"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238954" y="3686518"/>
            <a:ext cx="393972" cy="393972"/>
          </a:xfrm>
          <a:prstGeom prst="rect">
            <a:avLst/>
          </a:prstGeom>
          <a:effectLst>
            <a:outerShdw blurRad="50800" dist="38100" dir="2700000" algn="tl" rotWithShape="0">
              <a:prstClr val="black">
                <a:alpha val="40000"/>
              </a:prstClr>
            </a:outerShdw>
          </a:effectLst>
        </p:spPr>
      </p:pic>
      <p:cxnSp>
        <p:nvCxnSpPr>
          <p:cNvPr id="192" name="Straight Connector 191"/>
          <p:cNvCxnSpPr/>
          <p:nvPr/>
        </p:nvCxnSpPr>
        <p:spPr>
          <a:xfrm flipH="1" flipV="1">
            <a:off x="6438423" y="1617480"/>
            <a:ext cx="1288444" cy="1582920"/>
          </a:xfrm>
          <a:prstGeom prst="line">
            <a:avLst/>
          </a:prstGeom>
          <a:ln w="6350">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p:nvCxnSpPr>
        <p:spPr>
          <a:xfrm flipH="1">
            <a:off x="6435251" y="3625391"/>
            <a:ext cx="1246555" cy="1486004"/>
          </a:xfrm>
          <a:prstGeom prst="line">
            <a:avLst/>
          </a:prstGeom>
          <a:ln w="6350">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276" name="Picture 275"/>
          <p:cNvPicPr>
            <a:picLocks noChangeAspect="1"/>
          </p:cNvPicPr>
          <p:nvPr/>
        </p:nvPicPr>
        <p:blipFill>
          <a:blip r:embed="rId39">
            <a:duotone>
              <a:schemeClr val="bg2">
                <a:shade val="45000"/>
                <a:satMod val="135000"/>
              </a:schemeClr>
              <a:prstClr val="white"/>
            </a:duotone>
          </a:blip>
          <a:stretch>
            <a:fillRect/>
          </a:stretch>
        </p:blipFill>
        <p:spPr>
          <a:xfrm>
            <a:off x="8656913" y="1102632"/>
            <a:ext cx="1728999" cy="333344"/>
          </a:xfrm>
          <a:prstGeom prst="rect">
            <a:avLst/>
          </a:prstGeom>
        </p:spPr>
      </p:pic>
      <p:sp>
        <p:nvSpPr>
          <p:cNvPr id="277" name="TextBox 276"/>
          <p:cNvSpPr txBox="1"/>
          <p:nvPr/>
        </p:nvSpPr>
        <p:spPr>
          <a:xfrm>
            <a:off x="9131878" y="1067009"/>
            <a:ext cx="1067337"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DB33F">
                    <a:lumMod val="50000"/>
                  </a:srgbClr>
                </a:solidFill>
                <a:effectLst/>
                <a:uLnTx/>
                <a:uFillTx/>
                <a:latin typeface="Arial"/>
                <a:ea typeface="+mn-ea"/>
                <a:cs typeface="+mn-cs"/>
              </a:rPr>
              <a:t>PID 3.0</a:t>
            </a:r>
          </a:p>
        </p:txBody>
      </p:sp>
      <p:sp>
        <p:nvSpPr>
          <p:cNvPr id="114" name="Up Arrow 113"/>
          <p:cNvSpPr/>
          <p:nvPr/>
        </p:nvSpPr>
        <p:spPr>
          <a:xfrm rot="18228000">
            <a:off x="7438155" y="3756045"/>
            <a:ext cx="144875" cy="301891"/>
          </a:xfrm>
          <a:prstGeom prst="upArrow">
            <a:avLst>
              <a:gd name="adj1" fmla="val 50000"/>
              <a:gd name="adj2" fmla="val 52489"/>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15" name="Up Arrow 114"/>
          <p:cNvSpPr/>
          <p:nvPr/>
        </p:nvSpPr>
        <p:spPr>
          <a:xfrm rot="18228000">
            <a:off x="7242111" y="4090129"/>
            <a:ext cx="144875" cy="338956"/>
          </a:xfrm>
          <a:prstGeom prst="upArrow">
            <a:avLst>
              <a:gd name="adj1" fmla="val 50000"/>
              <a:gd name="adj2" fmla="val 52489"/>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17" name="Up Arrow 116"/>
          <p:cNvSpPr/>
          <p:nvPr/>
        </p:nvSpPr>
        <p:spPr>
          <a:xfrm rot="18228000">
            <a:off x="7009727" y="4377511"/>
            <a:ext cx="144875" cy="417248"/>
          </a:xfrm>
          <a:prstGeom prst="upArrow">
            <a:avLst>
              <a:gd name="adj1" fmla="val 50000"/>
              <a:gd name="adj2" fmla="val 52489"/>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19" name="Up Arrow 118"/>
          <p:cNvSpPr/>
          <p:nvPr/>
        </p:nvSpPr>
        <p:spPr>
          <a:xfrm rot="18228000">
            <a:off x="6897671" y="4590924"/>
            <a:ext cx="157931" cy="638597"/>
          </a:xfrm>
          <a:prstGeom prst="upArrow">
            <a:avLst>
              <a:gd name="adj1" fmla="val 50000"/>
              <a:gd name="adj2" fmla="val 52489"/>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24" name="Up Arrow 123"/>
          <p:cNvSpPr/>
          <p:nvPr/>
        </p:nvSpPr>
        <p:spPr>
          <a:xfrm rot="18228000">
            <a:off x="6675644" y="4877455"/>
            <a:ext cx="157931" cy="638597"/>
          </a:xfrm>
          <a:prstGeom prst="upArrow">
            <a:avLst>
              <a:gd name="adj1" fmla="val 50000"/>
              <a:gd name="adj2" fmla="val 52489"/>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32" name="Rectangle 131"/>
          <p:cNvSpPr/>
          <p:nvPr/>
        </p:nvSpPr>
        <p:spPr>
          <a:xfrm>
            <a:off x="6482390" y="5839004"/>
            <a:ext cx="1070293" cy="297454"/>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sng" strike="noStrike" kern="1200" cap="none" spc="0" normalizeH="0" baseline="0" noProof="0" dirty="0">
                <a:ln>
                  <a:noFill/>
                </a:ln>
                <a:solidFill>
                  <a:srgbClr val="50B3CF">
                    <a:lumMod val="50000"/>
                  </a:srgbClr>
                </a:solidFill>
                <a:effectLst/>
                <a:uLnTx/>
                <a:uFillTx/>
                <a:latin typeface="Calibri" panose="020F0502020204030204" pitchFamily="34" charset="0"/>
                <a:ea typeface="+mn-ea"/>
                <a:cs typeface="+mn-cs"/>
              </a:rPr>
              <a:t>Powered by:</a:t>
            </a:r>
            <a:endParaRPr kumimoji="0" lang="en-US" sz="1333" b="0" i="0" u="sng" strike="noStrike" kern="1200" cap="none" spc="0" normalizeH="0" baseline="0" noProof="0" dirty="0">
              <a:ln>
                <a:noFill/>
              </a:ln>
              <a:solidFill>
                <a:srgbClr val="50B3CF">
                  <a:lumMod val="50000"/>
                </a:srgbClr>
              </a:solidFill>
              <a:effectLst/>
              <a:uLnTx/>
              <a:uFillTx/>
              <a:latin typeface="Arial"/>
              <a:ea typeface="+mn-ea"/>
              <a:cs typeface="+mn-cs"/>
            </a:endParaRPr>
          </a:p>
        </p:txBody>
      </p:sp>
      <p:pic>
        <p:nvPicPr>
          <p:cNvPr id="133" name="Picture 132"/>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7640675" y="5896125"/>
            <a:ext cx="712207" cy="271175"/>
          </a:xfrm>
          <a:prstGeom prst="rect">
            <a:avLst/>
          </a:prstGeom>
        </p:spPr>
      </p:pic>
      <p:pic>
        <p:nvPicPr>
          <p:cNvPr id="134" name="Picture 133"/>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479039" y="5860027"/>
            <a:ext cx="305972" cy="346232"/>
          </a:xfrm>
          <a:prstGeom prst="rect">
            <a:avLst/>
          </a:prstGeom>
        </p:spPr>
      </p:pic>
      <p:sp>
        <p:nvSpPr>
          <p:cNvPr id="135" name="Rectangle 134"/>
          <p:cNvSpPr/>
          <p:nvPr/>
        </p:nvSpPr>
        <p:spPr>
          <a:xfrm>
            <a:off x="8683918" y="5868585"/>
            <a:ext cx="1389565" cy="268022"/>
          </a:xfrm>
          <a:prstGeom prst="rect">
            <a:avLst/>
          </a:prstGeom>
        </p:spPr>
        <p:txBody>
          <a:bodyPr wrap="square">
            <a:spAutoFit/>
          </a:bodyPr>
          <a:lstStyle/>
          <a:p>
            <a:pPr marL="0" marR="0" lvl="0" indent="0" algn="l" defTabSz="609585" rtl="0" eaLnBrk="1" fontAlgn="auto" latinLnBrk="0" hangingPunct="1">
              <a:lnSpc>
                <a:spcPct val="107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728F">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Capacity Planner</a:t>
            </a:r>
          </a:p>
        </p:txBody>
      </p:sp>
      <p:sp>
        <p:nvSpPr>
          <p:cNvPr id="137" name="Rectangle 136"/>
          <p:cNvSpPr/>
          <p:nvPr/>
        </p:nvSpPr>
        <p:spPr>
          <a:xfrm>
            <a:off x="6422363" y="5803975"/>
            <a:ext cx="5517388" cy="402285"/>
          </a:xfrm>
          <a:prstGeom prst="rect">
            <a:avLst/>
          </a:prstGeom>
          <a:noFill/>
          <a:ln>
            <a:solidFill>
              <a:schemeClr val="tx1">
                <a:lumMod val="50000"/>
              </a:schemeClr>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pic>
        <p:nvPicPr>
          <p:cNvPr id="4" name="Picture 3"/>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10881460" y="5907418"/>
            <a:ext cx="610641" cy="221047"/>
          </a:xfrm>
          <a:prstGeom prst="rect">
            <a:avLst/>
          </a:prstGeom>
        </p:spPr>
      </p:pic>
      <p:pic>
        <p:nvPicPr>
          <p:cNvPr id="138" name="Picture 137">
            <a:hlinkClick r:id="" action="ppaction://noaction"/>
          </p:cNvPr>
          <p:cNvPicPr>
            <a:picLocks noChangeAspect="1"/>
          </p:cNvPicPr>
          <p:nvPr/>
        </p:nvPicPr>
        <p:blipFill>
          <a:blip r:embed="rId43" cstate="screen">
            <a:extLst>
              <a:ext uri="{BEBA8EAE-BF5A-486C-A8C5-ECC9F3942E4B}">
                <a14:imgProps xmlns:a14="http://schemas.microsoft.com/office/drawing/2010/main">
                  <a14:imgLayer r:embed="rId44">
                    <a14:imgEffect>
                      <a14:backgroundRemoval t="7556" b="89778" l="0" r="99556">
                        <a14:foregroundMark x1="36889" y1="66667" x2="36889" y2="66667"/>
                        <a14:foregroundMark x1="45333" y1="64444" x2="45333" y2="64444"/>
                        <a14:foregroundMark x1="51111" y1="64000" x2="51111" y2="64000"/>
                        <a14:foregroundMark x1="55111" y1="63111" x2="55111" y2="63111"/>
                        <a14:foregroundMark x1="59556" y1="61778" x2="59556" y2="61778"/>
                        <a14:foregroundMark x1="64444" y1="64000" x2="64444" y2="64000"/>
                      </a14:backgroundRemoval>
                    </a14:imgEffect>
                  </a14:imgLayer>
                </a14:imgProps>
              </a:ext>
              <a:ext uri="{28A0092B-C50C-407E-A947-70E740481C1C}">
                <a14:useLocalDpi xmlns:a14="http://schemas.microsoft.com/office/drawing/2010/main"/>
              </a:ext>
            </a:extLst>
          </a:blip>
          <a:stretch>
            <a:fillRect/>
          </a:stretch>
        </p:blipFill>
        <p:spPr>
          <a:xfrm>
            <a:off x="10860877" y="754969"/>
            <a:ext cx="927231" cy="927231"/>
          </a:xfrm>
          <a:prstGeom prst="rect">
            <a:avLst/>
          </a:prstGeom>
          <a:effectLst>
            <a:outerShdw blurRad="50800" dist="38100" dir="2700000" algn="tl" rotWithShape="0">
              <a:prstClr val="black">
                <a:alpha val="40000"/>
              </a:prstClr>
            </a:outerShdw>
          </a:effectLst>
        </p:spPr>
      </p:pic>
      <p:sp>
        <p:nvSpPr>
          <p:cNvPr id="139" name="Rounded Rectangle 138"/>
          <p:cNvSpPr/>
          <p:nvPr/>
        </p:nvSpPr>
        <p:spPr>
          <a:xfrm>
            <a:off x="9866025" y="5878714"/>
            <a:ext cx="884364" cy="283767"/>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141414"/>
                </a:solidFill>
                <a:effectLst/>
                <a:uLnTx/>
                <a:uFillTx/>
                <a:latin typeface="Arial"/>
                <a:ea typeface="+mn-ea"/>
                <a:cs typeface="+mn-cs"/>
              </a:rPr>
              <a:t>APM Tool</a:t>
            </a:r>
            <a:r>
              <a:rPr kumimoji="0" lang="en-US" sz="1400" b="0" i="0" u="none" strike="noStrike" kern="1200" cap="none" spc="0" normalizeH="0" baseline="0" noProof="0" dirty="0">
                <a:ln>
                  <a:noFill/>
                </a:ln>
                <a:solidFill>
                  <a:prstClr val="white"/>
                </a:solidFill>
                <a:effectLst/>
                <a:uLnTx/>
                <a:uFillTx/>
                <a:latin typeface="Arial"/>
                <a:ea typeface="+mn-ea"/>
                <a:cs typeface="+mn-cs"/>
              </a:rPr>
              <a:t> </a:t>
            </a:r>
          </a:p>
        </p:txBody>
      </p:sp>
      <p:sp>
        <p:nvSpPr>
          <p:cNvPr id="136" name="Oval 135">
            <a:extLst>
              <a:ext uri="{FF2B5EF4-FFF2-40B4-BE49-F238E27FC236}">
                <a16:creationId xmlns:a16="http://schemas.microsoft.com/office/drawing/2014/main" id="{42CD869C-4CAA-ED43-8221-D716610BD640}"/>
              </a:ext>
            </a:extLst>
          </p:cNvPr>
          <p:cNvSpPr/>
          <p:nvPr/>
        </p:nvSpPr>
        <p:spPr>
          <a:xfrm>
            <a:off x="11444948" y="35197"/>
            <a:ext cx="609600" cy="6096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2</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2" descr="Hotel Icons"/>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4547096" y="1350943"/>
            <a:ext cx="803233" cy="536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88731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0DBBC3-69F5-584E-9634-0731918DCB5E}"/>
              </a:ext>
            </a:extLst>
          </p:cNvPr>
          <p:cNvSpPr>
            <a:spLocks noGrp="1"/>
          </p:cNvSpPr>
          <p:nvPr>
            <p:ph type="title"/>
          </p:nvPr>
        </p:nvSpPr>
        <p:spPr>
          <a:xfrm>
            <a:off x="256481" y="0"/>
            <a:ext cx="11180064" cy="1060704"/>
          </a:xfrm>
        </p:spPr>
        <p:txBody>
          <a:bodyPr vert="horz" lIns="0" tIns="0" rIns="0" bIns="0" rtlCol="0" anchor="t" anchorCtr="0">
            <a:normAutofit/>
          </a:bodyPr>
          <a:lstStyle/>
          <a:p>
            <a:r>
              <a:rPr lang="en-US" sz="2667" dirty="0"/>
              <a:t>Transition Framework: ADAPT™</a:t>
            </a:r>
          </a:p>
        </p:txBody>
      </p:sp>
      <p:sp>
        <p:nvSpPr>
          <p:cNvPr id="3" name="Slide Number Placeholder 2">
            <a:extLst>
              <a:ext uri="{FF2B5EF4-FFF2-40B4-BE49-F238E27FC236}">
                <a16:creationId xmlns:a16="http://schemas.microsoft.com/office/drawing/2014/main" id="{2257B3A7-36BF-4F0B-90BE-9534ADFC84E2}"/>
              </a:ext>
            </a:extLst>
          </p:cNvPr>
          <p:cNvSpPr>
            <a:spLocks noGrp="1"/>
          </p:cNvSpPr>
          <p:nvPr>
            <p:ph type="sldNum" sz="quarter" idx="12"/>
          </p:nvPr>
        </p:nvSpPr>
        <p:spPr/>
        <p:txBody>
          <a:bodyPr/>
          <a:lstStyle/>
          <a:p>
            <a:pPr defTabSz="609570"/>
            <a:fld id="{2EFEF571-C9B4-4D92-A7F7-315B894862A8}" type="slidenum">
              <a:rPr lang="en-US">
                <a:solidFill>
                  <a:srgbClr val="00B140"/>
                </a:solidFill>
                <a:latin typeface="Arial" panose="020B0604020202020204"/>
              </a:rPr>
              <a:pPr defTabSz="609570"/>
              <a:t>83</a:t>
            </a:fld>
            <a:endParaRPr lang="en-US" dirty="0">
              <a:solidFill>
                <a:srgbClr val="00B140"/>
              </a:solidFill>
              <a:latin typeface="Arial" panose="020B0604020202020204"/>
            </a:endParaRPr>
          </a:p>
        </p:txBody>
      </p:sp>
      <p:sp>
        <p:nvSpPr>
          <p:cNvPr id="51" name="Rounded Rectangle 50">
            <a:extLst>
              <a:ext uri="{FF2B5EF4-FFF2-40B4-BE49-F238E27FC236}">
                <a16:creationId xmlns:a16="http://schemas.microsoft.com/office/drawing/2014/main" id="{6F0256FD-43A7-CC47-8E0A-00A10134E391}"/>
              </a:ext>
            </a:extLst>
          </p:cNvPr>
          <p:cNvSpPr/>
          <p:nvPr/>
        </p:nvSpPr>
        <p:spPr>
          <a:xfrm>
            <a:off x="2983274" y="1141560"/>
            <a:ext cx="2041052" cy="886305"/>
          </a:xfrm>
          <a:prstGeom prst="roundRect">
            <a:avLst>
              <a:gd name="adj" fmla="val 0"/>
            </a:avLst>
          </a:prstGeom>
          <a:solidFill>
            <a:schemeClr val="accent1">
              <a:lumMod val="60000"/>
              <a:lumOff val="40000"/>
            </a:schemeClr>
          </a:solidFill>
          <a:ln w="9525" cap="flat" cmpd="sng" algn="ctr">
            <a:noFill/>
            <a:prstDash val="solid"/>
          </a:ln>
          <a:effectLst/>
        </p:spPr>
        <p:txBody>
          <a:bodyPr lIns="121915" tIns="60959" rIns="121915" bIns="60959" rtlCol="0" anchor="ctr"/>
          <a:lstStyle/>
          <a:p>
            <a:pPr marL="226442" indent="-226442" defTabSz="1219010">
              <a:buFont typeface="Arial" pitchFamily="34" charset="0"/>
              <a:buChar char="•"/>
              <a:defRPr/>
            </a:pPr>
            <a:r>
              <a:rPr lang="en-US" sz="1200" b="1" kern="0" dirty="0">
                <a:solidFill>
                  <a:prstClr val="white"/>
                </a:solidFill>
                <a:cs typeface="Calibri" panose="020F0502020204030204" pitchFamily="34" charset="0"/>
              </a:rPr>
              <a:t>First-hand information gathering</a:t>
            </a:r>
          </a:p>
          <a:p>
            <a:pPr marL="226442" indent="-226442" defTabSz="1219010">
              <a:buFont typeface="Arial" pitchFamily="34" charset="0"/>
              <a:buChar char="•"/>
              <a:defRPr/>
            </a:pPr>
            <a:r>
              <a:rPr lang="en-US" sz="1200" b="1" kern="0" dirty="0">
                <a:solidFill>
                  <a:prstClr val="white"/>
                </a:solidFill>
                <a:cs typeface="Calibri" panose="020F0502020204030204" pitchFamily="34" charset="0"/>
              </a:rPr>
              <a:t>Finalize solution</a:t>
            </a:r>
          </a:p>
        </p:txBody>
      </p:sp>
      <p:sp>
        <p:nvSpPr>
          <p:cNvPr id="52" name="Rounded Rectangle 51">
            <a:extLst>
              <a:ext uri="{FF2B5EF4-FFF2-40B4-BE49-F238E27FC236}">
                <a16:creationId xmlns:a16="http://schemas.microsoft.com/office/drawing/2014/main" id="{ACDB6026-76D1-FC43-BE5F-A984362466AC}"/>
              </a:ext>
            </a:extLst>
          </p:cNvPr>
          <p:cNvSpPr/>
          <p:nvPr/>
        </p:nvSpPr>
        <p:spPr>
          <a:xfrm>
            <a:off x="5185277" y="1141560"/>
            <a:ext cx="2065615" cy="886305"/>
          </a:xfrm>
          <a:prstGeom prst="roundRect">
            <a:avLst>
              <a:gd name="adj" fmla="val 0"/>
            </a:avLst>
          </a:prstGeom>
          <a:solidFill>
            <a:srgbClr val="0033A0"/>
          </a:solidFill>
          <a:ln w="9525" cap="flat" cmpd="sng" algn="ctr">
            <a:noFill/>
            <a:prstDash val="solid"/>
          </a:ln>
          <a:effectLst/>
        </p:spPr>
        <p:txBody>
          <a:bodyPr lIns="121915" tIns="60959" rIns="121915" bIns="60959" rtlCol="0" anchor="ctr"/>
          <a:lstStyle/>
          <a:p>
            <a:pPr marL="226442" indent="-226442" defTabSz="1219010">
              <a:buFont typeface="Arial" pitchFamily="34" charset="0"/>
              <a:buChar char="•"/>
              <a:defRPr/>
            </a:pPr>
            <a:r>
              <a:rPr lang="en-US" sz="1200" b="1" kern="0" dirty="0">
                <a:solidFill>
                  <a:prstClr val="white"/>
                </a:solidFill>
                <a:cs typeface="Calibri" panose="020F0502020204030204" pitchFamily="34" charset="0"/>
              </a:rPr>
              <a:t>Comprehensive onboarding package</a:t>
            </a:r>
          </a:p>
        </p:txBody>
      </p:sp>
      <p:sp>
        <p:nvSpPr>
          <p:cNvPr id="53" name="Rounded Rectangle 52">
            <a:extLst>
              <a:ext uri="{FF2B5EF4-FFF2-40B4-BE49-F238E27FC236}">
                <a16:creationId xmlns:a16="http://schemas.microsoft.com/office/drawing/2014/main" id="{3915E84A-A813-554E-87B3-CD8606D8D5B9}"/>
              </a:ext>
            </a:extLst>
          </p:cNvPr>
          <p:cNvSpPr/>
          <p:nvPr/>
        </p:nvSpPr>
        <p:spPr>
          <a:xfrm>
            <a:off x="7406402" y="1141560"/>
            <a:ext cx="2065615" cy="886305"/>
          </a:xfrm>
          <a:prstGeom prst="roundRect">
            <a:avLst>
              <a:gd name="adj" fmla="val 0"/>
            </a:avLst>
          </a:prstGeom>
          <a:solidFill>
            <a:schemeClr val="accent1">
              <a:lumMod val="60000"/>
              <a:lumOff val="40000"/>
            </a:schemeClr>
          </a:solidFill>
          <a:ln w="9525" cap="flat" cmpd="sng" algn="ctr">
            <a:noFill/>
            <a:prstDash val="solid"/>
          </a:ln>
          <a:effectLst/>
        </p:spPr>
        <p:txBody>
          <a:bodyPr lIns="121915" tIns="60959" rIns="121915" bIns="60959" rtlCol="0" anchor="ctr"/>
          <a:lstStyle/>
          <a:p>
            <a:pPr marL="226442" indent="-226442" defTabSz="1219010">
              <a:buFont typeface="Arial" pitchFamily="34" charset="0"/>
              <a:buChar char="•"/>
              <a:defRPr/>
            </a:pPr>
            <a:r>
              <a:rPr lang="en-US" sz="1200" b="1" kern="0" dirty="0">
                <a:solidFill>
                  <a:prstClr val="white"/>
                </a:solidFill>
                <a:cs typeface="Calibri" panose="020F0502020204030204" pitchFamily="34" charset="0"/>
              </a:rPr>
              <a:t>People alignment</a:t>
            </a:r>
          </a:p>
          <a:p>
            <a:pPr marL="226442" indent="-226442" defTabSz="1219010">
              <a:buFont typeface="Arial" pitchFamily="34" charset="0"/>
              <a:buChar char="•"/>
              <a:defRPr/>
            </a:pPr>
            <a:r>
              <a:rPr lang="en-US" sz="1200" b="1" kern="0" dirty="0">
                <a:solidFill>
                  <a:prstClr val="white"/>
                </a:solidFill>
                <a:cs typeface="Calibri" panose="020F0502020204030204" pitchFamily="34" charset="0"/>
              </a:rPr>
              <a:t>Process convergence</a:t>
            </a:r>
          </a:p>
          <a:p>
            <a:pPr marL="226442" indent="-226442" defTabSz="1219010">
              <a:buFont typeface="Arial" pitchFamily="34" charset="0"/>
              <a:buChar char="•"/>
              <a:defRPr/>
            </a:pPr>
            <a:r>
              <a:rPr lang="en-US" sz="1200" b="1" kern="0" dirty="0">
                <a:solidFill>
                  <a:prstClr val="white"/>
                </a:solidFill>
                <a:cs typeface="Calibri" panose="020F0502020204030204" pitchFamily="34" charset="0"/>
              </a:rPr>
              <a:t>Infrastructure setup</a:t>
            </a:r>
          </a:p>
        </p:txBody>
      </p:sp>
      <p:sp>
        <p:nvSpPr>
          <p:cNvPr id="54" name="Rounded Rectangle 53">
            <a:extLst>
              <a:ext uri="{FF2B5EF4-FFF2-40B4-BE49-F238E27FC236}">
                <a16:creationId xmlns:a16="http://schemas.microsoft.com/office/drawing/2014/main" id="{BF9FA1C7-32C1-2043-A922-ABD91535CC05}"/>
              </a:ext>
            </a:extLst>
          </p:cNvPr>
          <p:cNvSpPr/>
          <p:nvPr/>
        </p:nvSpPr>
        <p:spPr>
          <a:xfrm>
            <a:off x="9627524" y="1141560"/>
            <a:ext cx="2098099" cy="886305"/>
          </a:xfrm>
          <a:prstGeom prst="roundRect">
            <a:avLst>
              <a:gd name="adj" fmla="val 0"/>
            </a:avLst>
          </a:prstGeom>
          <a:solidFill>
            <a:srgbClr val="0033A0"/>
          </a:solidFill>
          <a:ln w="9525" cap="flat" cmpd="sng" algn="ctr">
            <a:noFill/>
            <a:prstDash val="solid"/>
          </a:ln>
          <a:effectLst/>
        </p:spPr>
        <p:txBody>
          <a:bodyPr lIns="121915" tIns="60959" rIns="121915" bIns="60959" rtlCol="0" anchor="ctr"/>
          <a:lstStyle/>
          <a:p>
            <a:pPr marL="171442" indent="-171442" defTabSz="1219010">
              <a:buFont typeface="Arial" panose="020B0604020202020204" pitchFamily="34" charset="0"/>
              <a:buChar char="•"/>
              <a:defRPr/>
            </a:pPr>
            <a:r>
              <a:rPr lang="en-US" sz="1200" b="1" kern="0" dirty="0">
                <a:solidFill>
                  <a:prstClr val="white"/>
                </a:solidFill>
                <a:cs typeface="Calibri" panose="020F0502020204030204" pitchFamily="34" charset="0"/>
              </a:rPr>
              <a:t>Risk mitigated transition</a:t>
            </a:r>
          </a:p>
          <a:p>
            <a:pPr marL="171442" indent="-171442" defTabSz="1219010">
              <a:buFont typeface="Arial" panose="020B0604020202020204" pitchFamily="34" charset="0"/>
              <a:buChar char="•"/>
              <a:defRPr/>
            </a:pPr>
            <a:r>
              <a:rPr lang="en-US" sz="1200" b="1" kern="0" dirty="0">
                <a:solidFill>
                  <a:prstClr val="white"/>
                </a:solidFill>
                <a:cs typeface="Calibri" panose="020F0502020204030204" pitchFamily="34" charset="0"/>
              </a:rPr>
              <a:t>Effectiveness measurement</a:t>
            </a:r>
          </a:p>
        </p:txBody>
      </p:sp>
      <p:sp>
        <p:nvSpPr>
          <p:cNvPr id="55" name="Trapezoid 54">
            <a:extLst>
              <a:ext uri="{FF2B5EF4-FFF2-40B4-BE49-F238E27FC236}">
                <a16:creationId xmlns:a16="http://schemas.microsoft.com/office/drawing/2014/main" id="{9EA59153-AC2D-3041-88F5-6A1F77822F41}"/>
              </a:ext>
            </a:extLst>
          </p:cNvPr>
          <p:cNvSpPr/>
          <p:nvPr/>
        </p:nvSpPr>
        <p:spPr>
          <a:xfrm rot="10800000">
            <a:off x="792154" y="2037180"/>
            <a:ext cx="2041052" cy="284328"/>
          </a:xfrm>
          <a:prstGeom prst="trapezoid">
            <a:avLst>
              <a:gd name="adj" fmla="val 38173"/>
            </a:avLst>
          </a:prstGeom>
          <a:solidFill>
            <a:schemeClr val="bg1">
              <a:lumMod val="85000"/>
            </a:schemeClr>
          </a:solidFill>
          <a:ln w="9525" cap="flat" cmpd="sng" algn="ctr">
            <a:noFill/>
            <a:prstDash val="solid"/>
          </a:ln>
          <a:effectLst/>
        </p:spPr>
        <p:txBody>
          <a:bodyPr lIns="121915" tIns="60959" rIns="121915" bIns="60959" rtlCol="0" anchor="ctr"/>
          <a:lstStyle/>
          <a:p>
            <a:pPr algn="ctr" defTabSz="1219010">
              <a:defRPr/>
            </a:pPr>
            <a:endParaRPr lang="en-US" sz="1467" kern="0" dirty="0">
              <a:solidFill>
                <a:sysClr val="windowText" lastClr="000000"/>
              </a:solidFill>
              <a:cs typeface="Calibri" panose="020F0502020204030204" pitchFamily="34" charset="0"/>
            </a:endParaRPr>
          </a:p>
        </p:txBody>
      </p:sp>
      <p:sp>
        <p:nvSpPr>
          <p:cNvPr id="62" name="Rounded Rectangle 61">
            <a:extLst>
              <a:ext uri="{FF2B5EF4-FFF2-40B4-BE49-F238E27FC236}">
                <a16:creationId xmlns:a16="http://schemas.microsoft.com/office/drawing/2014/main" id="{D3EDEB44-7370-9E41-BB99-3CDF35DAD984}"/>
              </a:ext>
            </a:extLst>
          </p:cNvPr>
          <p:cNvSpPr/>
          <p:nvPr/>
        </p:nvSpPr>
        <p:spPr>
          <a:xfrm>
            <a:off x="792151" y="1141560"/>
            <a:ext cx="2041052" cy="886305"/>
          </a:xfrm>
          <a:prstGeom prst="roundRect">
            <a:avLst>
              <a:gd name="adj" fmla="val 0"/>
            </a:avLst>
          </a:prstGeom>
          <a:solidFill>
            <a:schemeClr val="accent4">
              <a:lumMod val="50000"/>
            </a:schemeClr>
          </a:solidFill>
          <a:ln w="9525" cap="flat" cmpd="sng" algn="ctr">
            <a:noFill/>
            <a:prstDash val="solid"/>
          </a:ln>
          <a:effectLst/>
        </p:spPr>
        <p:txBody>
          <a:bodyPr lIns="121915" tIns="60959" rIns="121915" bIns="60959" rtlCol="0" anchor="ctr"/>
          <a:lstStyle/>
          <a:p>
            <a:pPr marL="226442" indent="-226442" defTabSz="1219010">
              <a:buFont typeface="Arial" pitchFamily="34" charset="0"/>
              <a:buChar char="•"/>
              <a:defRPr/>
            </a:pPr>
            <a:r>
              <a:rPr lang="en-US" sz="1200" b="1" kern="0" dirty="0">
                <a:solidFill>
                  <a:prstClr val="white"/>
                </a:solidFill>
                <a:cs typeface="Calibri" panose="020F0502020204030204" pitchFamily="34" charset="0"/>
              </a:rPr>
              <a:t>Scientific model for application analysis</a:t>
            </a:r>
          </a:p>
        </p:txBody>
      </p:sp>
      <p:sp>
        <p:nvSpPr>
          <p:cNvPr id="101" name="Round Same Side Corner Rectangle 100">
            <a:extLst>
              <a:ext uri="{FF2B5EF4-FFF2-40B4-BE49-F238E27FC236}">
                <a16:creationId xmlns:a16="http://schemas.microsoft.com/office/drawing/2014/main" id="{0BBDAA19-453F-7C40-BFA4-106B22A34580}"/>
              </a:ext>
            </a:extLst>
          </p:cNvPr>
          <p:cNvSpPr/>
          <p:nvPr/>
        </p:nvSpPr>
        <p:spPr>
          <a:xfrm>
            <a:off x="792151" y="2355758"/>
            <a:ext cx="2041055" cy="351431"/>
          </a:xfrm>
          <a:prstGeom prst="round2SameRect">
            <a:avLst>
              <a:gd name="adj1" fmla="val 0"/>
              <a:gd name="adj2" fmla="val 0"/>
            </a:avLst>
          </a:prstGeom>
          <a:solidFill>
            <a:srgbClr val="0033A0"/>
          </a:solidFill>
          <a:ln w="9525" cap="flat" cmpd="sng" algn="ctr">
            <a:noFill/>
            <a:prstDash val="solid"/>
          </a:ln>
          <a:effectLst/>
        </p:spPr>
        <p:txBody>
          <a:bodyPr lIns="121915" tIns="60959" rIns="121915" bIns="60959" rtlCol="0" anchor="ctr"/>
          <a:lstStyle/>
          <a:p>
            <a:pPr algn="ctr" defTabSz="1219010">
              <a:defRPr/>
            </a:pPr>
            <a:r>
              <a:rPr lang="en-GB" sz="1200" b="1" kern="0" dirty="0">
                <a:solidFill>
                  <a:prstClr val="white"/>
                </a:solidFill>
                <a:cs typeface="Calibri" panose="020F0502020204030204" pitchFamily="34" charset="0"/>
              </a:rPr>
              <a:t>Analysis</a:t>
            </a:r>
          </a:p>
        </p:txBody>
      </p:sp>
      <p:sp>
        <p:nvSpPr>
          <p:cNvPr id="102" name="Round Same Side Corner Rectangle 101">
            <a:extLst>
              <a:ext uri="{FF2B5EF4-FFF2-40B4-BE49-F238E27FC236}">
                <a16:creationId xmlns:a16="http://schemas.microsoft.com/office/drawing/2014/main" id="{B8390365-2BE9-A040-9169-4F5E04ACDD68}"/>
              </a:ext>
            </a:extLst>
          </p:cNvPr>
          <p:cNvSpPr/>
          <p:nvPr/>
        </p:nvSpPr>
        <p:spPr>
          <a:xfrm>
            <a:off x="2983274" y="2357675"/>
            <a:ext cx="2041052" cy="351431"/>
          </a:xfrm>
          <a:prstGeom prst="round2SameRect">
            <a:avLst>
              <a:gd name="adj1" fmla="val 0"/>
              <a:gd name="adj2" fmla="val 0"/>
            </a:avLst>
          </a:prstGeom>
          <a:solidFill>
            <a:schemeClr val="accent1">
              <a:lumMod val="60000"/>
              <a:lumOff val="40000"/>
            </a:schemeClr>
          </a:solidFill>
          <a:ln w="9525" cap="flat" cmpd="sng" algn="ctr">
            <a:noFill/>
            <a:prstDash val="solid"/>
          </a:ln>
          <a:effectLst/>
        </p:spPr>
        <p:txBody>
          <a:bodyPr lIns="121915" tIns="60959" rIns="121915" bIns="60959" rtlCol="0" anchor="ctr"/>
          <a:lstStyle/>
          <a:p>
            <a:pPr algn="ctr" defTabSz="1219010">
              <a:defRPr/>
            </a:pPr>
            <a:r>
              <a:rPr lang="en-GB" sz="1200" b="1" kern="0" dirty="0">
                <a:solidFill>
                  <a:prstClr val="white"/>
                </a:solidFill>
                <a:cs typeface="Calibri" panose="020F0502020204030204" pitchFamily="34" charset="0"/>
              </a:rPr>
              <a:t>Due Diligence</a:t>
            </a:r>
          </a:p>
        </p:txBody>
      </p:sp>
      <p:sp>
        <p:nvSpPr>
          <p:cNvPr id="103" name="Round Same Side Corner Rectangle 102">
            <a:extLst>
              <a:ext uri="{FF2B5EF4-FFF2-40B4-BE49-F238E27FC236}">
                <a16:creationId xmlns:a16="http://schemas.microsoft.com/office/drawing/2014/main" id="{3D246904-1CA3-A34E-87BB-3C32C12FA928}"/>
              </a:ext>
            </a:extLst>
          </p:cNvPr>
          <p:cNvSpPr/>
          <p:nvPr/>
        </p:nvSpPr>
        <p:spPr>
          <a:xfrm>
            <a:off x="9639770" y="2355758"/>
            <a:ext cx="2085853" cy="351431"/>
          </a:xfrm>
          <a:prstGeom prst="round2SameRect">
            <a:avLst>
              <a:gd name="adj1" fmla="val 0"/>
              <a:gd name="adj2" fmla="val 0"/>
            </a:avLst>
          </a:prstGeom>
          <a:solidFill>
            <a:srgbClr val="0033A0"/>
          </a:solidFill>
          <a:ln w="9525" cap="flat" cmpd="sng" algn="ctr">
            <a:noFill/>
            <a:prstDash val="solid"/>
          </a:ln>
          <a:effectLst/>
        </p:spPr>
        <p:txBody>
          <a:bodyPr lIns="121915" tIns="60959" rIns="121915" bIns="60959" rtlCol="0" anchor="ctr"/>
          <a:lstStyle/>
          <a:p>
            <a:pPr algn="ctr" defTabSz="1219010">
              <a:defRPr/>
            </a:pPr>
            <a:r>
              <a:rPr lang="en-GB" sz="1200" b="1" kern="0" dirty="0">
                <a:solidFill>
                  <a:prstClr val="white"/>
                </a:solidFill>
                <a:cs typeface="Calibri" panose="020F0502020204030204" pitchFamily="34" charset="0"/>
              </a:rPr>
              <a:t>Transition</a:t>
            </a:r>
          </a:p>
        </p:txBody>
      </p:sp>
      <p:sp>
        <p:nvSpPr>
          <p:cNvPr id="104" name="Round Same Side Corner Rectangle 103">
            <a:extLst>
              <a:ext uri="{FF2B5EF4-FFF2-40B4-BE49-F238E27FC236}">
                <a16:creationId xmlns:a16="http://schemas.microsoft.com/office/drawing/2014/main" id="{C6CFAF4E-5968-1D49-9521-2A099F7983BB}"/>
              </a:ext>
            </a:extLst>
          </p:cNvPr>
          <p:cNvSpPr/>
          <p:nvPr/>
        </p:nvSpPr>
        <p:spPr>
          <a:xfrm>
            <a:off x="792151" y="2712998"/>
            <a:ext cx="2041055" cy="1331285"/>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625397">
              <a:buFont typeface="Arial" pitchFamily="34" charset="0"/>
              <a:buChar char="•"/>
              <a:defRPr/>
            </a:pPr>
            <a:r>
              <a:rPr lang="en-US" sz="1067" kern="0" dirty="0">
                <a:solidFill>
                  <a:sysClr val="windowText" lastClr="000000"/>
                </a:solidFill>
                <a:cs typeface="Calibri" panose="020F0502020204030204" pitchFamily="34" charset="0"/>
              </a:rPr>
              <a:t>ATI-BRI (Application Transition Index and Business Risk Index) analysis of the in-scope applications</a:t>
            </a:r>
            <a:endParaRPr lang="en-GB" sz="1067" kern="0" dirty="0">
              <a:solidFill>
                <a:sysClr val="windowText" lastClr="000000"/>
              </a:solidFill>
              <a:cs typeface="Calibri" panose="020F0502020204030204" pitchFamily="34" charset="0"/>
            </a:endParaRPr>
          </a:p>
          <a:p>
            <a:pPr marL="228594" indent="-228594" defTabSz="1625397">
              <a:buFont typeface="Arial" pitchFamily="34" charset="0"/>
              <a:buChar char="•"/>
              <a:defRPr/>
            </a:pPr>
            <a:endParaRPr lang="en-GB" sz="1067" kern="0" dirty="0">
              <a:solidFill>
                <a:sysClr val="windowText" lastClr="000000"/>
              </a:solidFill>
              <a:cs typeface="Calibri" panose="020F0502020204030204" pitchFamily="34" charset="0"/>
            </a:endParaRPr>
          </a:p>
        </p:txBody>
      </p:sp>
      <p:sp>
        <p:nvSpPr>
          <p:cNvPr id="105" name="Round Same Side Corner Rectangle 104">
            <a:extLst>
              <a:ext uri="{FF2B5EF4-FFF2-40B4-BE49-F238E27FC236}">
                <a16:creationId xmlns:a16="http://schemas.microsoft.com/office/drawing/2014/main" id="{6EFCE222-7D7C-774E-854D-7B6842D41391}"/>
              </a:ext>
            </a:extLst>
          </p:cNvPr>
          <p:cNvSpPr/>
          <p:nvPr/>
        </p:nvSpPr>
        <p:spPr>
          <a:xfrm>
            <a:off x="2987970" y="2712998"/>
            <a:ext cx="2033743" cy="1331285"/>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rgbClr val="479B95"/>
              </a:buClr>
              <a:buFont typeface="Arial" panose="020B0604020202020204" pitchFamily="34" charset="0"/>
              <a:buChar char="•"/>
              <a:defRPr/>
            </a:pPr>
            <a:r>
              <a:rPr lang="en-US" sz="1067" kern="0" dirty="0">
                <a:solidFill>
                  <a:sysClr val="windowText" lastClr="000000"/>
                </a:solidFill>
                <a:cs typeface="Calibri" panose="020F0502020204030204" pitchFamily="34" charset="0"/>
              </a:rPr>
              <a:t>Tool assisted data collection and collaboration</a:t>
            </a:r>
          </a:p>
          <a:p>
            <a:pPr marL="228594" indent="-228594" defTabSz="1219010">
              <a:buClr>
                <a:srgbClr val="479B95"/>
              </a:buClr>
              <a:buFont typeface="Arial" panose="020B0604020202020204" pitchFamily="34" charset="0"/>
              <a:buChar char="•"/>
              <a:defRPr/>
            </a:pPr>
            <a:r>
              <a:rPr lang="en-US" sz="1067" kern="0" dirty="0">
                <a:solidFill>
                  <a:sysClr val="windowText" lastClr="000000"/>
                </a:solidFill>
                <a:cs typeface="Calibri" panose="020F0502020204030204" pitchFamily="34" charset="0"/>
              </a:rPr>
              <a:t>Validate and finalize the </a:t>
            </a:r>
            <a:r>
              <a:rPr lang="en-US" sz="1067" kern="0" dirty="0" smtClean="0">
                <a:solidFill>
                  <a:sysClr val="windowText" lastClr="000000"/>
                </a:solidFill>
                <a:cs typeface="Calibri" panose="020F0502020204030204" pitchFamily="34" charset="0"/>
              </a:rPr>
              <a:t>Marriott </a:t>
            </a:r>
            <a:r>
              <a:rPr lang="en-US" sz="1067" kern="0" dirty="0">
                <a:solidFill>
                  <a:sysClr val="windowText" lastClr="000000"/>
                </a:solidFill>
                <a:cs typeface="Calibri" panose="020F0502020204030204" pitchFamily="34" charset="0"/>
              </a:rPr>
              <a:t>transition strategy and staffing plan</a:t>
            </a:r>
            <a:endParaRPr lang="en-GB" sz="1067" kern="0" dirty="0">
              <a:solidFill>
                <a:sysClr val="windowText" lastClr="000000"/>
              </a:solidFill>
              <a:cs typeface="Calibri" panose="020F0502020204030204" pitchFamily="34" charset="0"/>
            </a:endParaRPr>
          </a:p>
        </p:txBody>
      </p:sp>
      <p:sp>
        <p:nvSpPr>
          <p:cNvPr id="106" name="Round Same Side Corner Rectangle 105">
            <a:extLst>
              <a:ext uri="{FF2B5EF4-FFF2-40B4-BE49-F238E27FC236}">
                <a16:creationId xmlns:a16="http://schemas.microsoft.com/office/drawing/2014/main" id="{FB82976C-64C3-C54B-94C1-53597878228C}"/>
              </a:ext>
            </a:extLst>
          </p:cNvPr>
          <p:cNvSpPr/>
          <p:nvPr/>
        </p:nvSpPr>
        <p:spPr>
          <a:xfrm>
            <a:off x="5183331" y="2712998"/>
            <a:ext cx="2065615" cy="1331285"/>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rgbClr val="52A072"/>
              </a:buClr>
              <a:buFont typeface="Arial" panose="020B0604020202020204" pitchFamily="34" charset="0"/>
              <a:buChar char="•"/>
              <a:defRPr/>
            </a:pPr>
            <a:r>
              <a:rPr lang="en-US" sz="1067" kern="0" dirty="0">
                <a:solidFill>
                  <a:sysClr val="windowText" lastClr="000000"/>
                </a:solidFill>
                <a:cs typeface="Calibri" panose="020F0502020204030204" pitchFamily="34" charset="0"/>
              </a:rPr>
              <a:t>Asynchronous KT boot camps covering domain, process, technology and environment will be organized to acclimatize the team</a:t>
            </a:r>
          </a:p>
        </p:txBody>
      </p:sp>
      <p:sp>
        <p:nvSpPr>
          <p:cNvPr id="107" name="Round Same Side Corner Rectangle 106">
            <a:extLst>
              <a:ext uri="{FF2B5EF4-FFF2-40B4-BE49-F238E27FC236}">
                <a16:creationId xmlns:a16="http://schemas.microsoft.com/office/drawing/2014/main" id="{6EEBFE63-6A10-8F44-8D44-C192F57C5E9E}"/>
              </a:ext>
            </a:extLst>
          </p:cNvPr>
          <p:cNvSpPr/>
          <p:nvPr/>
        </p:nvSpPr>
        <p:spPr>
          <a:xfrm>
            <a:off x="7412538" y="2712998"/>
            <a:ext cx="2065615" cy="1331285"/>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rgbClr val="59A45E"/>
              </a:buClr>
              <a:buFont typeface="Arial" panose="020B0604020202020204" pitchFamily="34" charset="0"/>
              <a:buChar char="•"/>
              <a:defRPr/>
            </a:pPr>
            <a:r>
              <a:rPr lang="en-US" sz="1067" kern="0" dirty="0">
                <a:solidFill>
                  <a:sysClr val="windowText" lastClr="000000"/>
                </a:solidFill>
                <a:cs typeface="Calibri" panose="020F0502020204030204" pitchFamily="34" charset="0"/>
              </a:rPr>
              <a:t>Understand </a:t>
            </a:r>
            <a:r>
              <a:rPr lang="en-US" sz="1067" kern="0" dirty="0" smtClean="0">
                <a:solidFill>
                  <a:sysClr val="windowText" lastClr="000000"/>
                </a:solidFill>
                <a:cs typeface="Calibri" panose="020F0502020204030204" pitchFamily="34" charset="0"/>
              </a:rPr>
              <a:t>Marriott’s </a:t>
            </a:r>
            <a:r>
              <a:rPr lang="en-US" sz="1067" kern="0" dirty="0">
                <a:solidFill>
                  <a:sysClr val="windowText" lastClr="000000"/>
                </a:solidFill>
                <a:cs typeface="Calibri" panose="020F0502020204030204" pitchFamily="34" charset="0"/>
              </a:rPr>
              <a:t>current processes</a:t>
            </a:r>
          </a:p>
          <a:p>
            <a:pPr marL="228594" indent="-228594" defTabSz="1219010">
              <a:buClr>
                <a:srgbClr val="59A45E"/>
              </a:buClr>
              <a:buFont typeface="Arial" panose="020B0604020202020204" pitchFamily="34" charset="0"/>
              <a:buChar char="•"/>
              <a:defRPr/>
            </a:pPr>
            <a:r>
              <a:rPr lang="en-US" sz="1067" kern="0" dirty="0">
                <a:solidFill>
                  <a:sysClr val="windowText" lastClr="000000"/>
                </a:solidFill>
                <a:cs typeface="Calibri" panose="020F0502020204030204" pitchFamily="34" charset="0"/>
              </a:rPr>
              <a:t>Socialize common process standards</a:t>
            </a:r>
          </a:p>
          <a:p>
            <a:pPr marL="228594" indent="-228594" defTabSz="1219010">
              <a:buClr>
                <a:srgbClr val="59A45E"/>
              </a:buClr>
              <a:buFont typeface="Arial" panose="020B0604020202020204" pitchFamily="34" charset="0"/>
              <a:buChar char="•"/>
              <a:defRPr/>
            </a:pPr>
            <a:r>
              <a:rPr lang="en-US" sz="1067" kern="0" dirty="0">
                <a:solidFill>
                  <a:sysClr val="windowText" lastClr="000000"/>
                </a:solidFill>
                <a:cs typeface="Calibri" panose="020F0502020204030204" pitchFamily="34" charset="0"/>
              </a:rPr>
              <a:t>Support change management</a:t>
            </a:r>
          </a:p>
        </p:txBody>
      </p:sp>
      <p:sp>
        <p:nvSpPr>
          <p:cNvPr id="108" name="Round Same Side Corner Rectangle 107">
            <a:extLst>
              <a:ext uri="{FF2B5EF4-FFF2-40B4-BE49-F238E27FC236}">
                <a16:creationId xmlns:a16="http://schemas.microsoft.com/office/drawing/2014/main" id="{0D2691BD-6FDD-C440-B1FD-095ABD8040EC}"/>
              </a:ext>
            </a:extLst>
          </p:cNvPr>
          <p:cNvSpPr/>
          <p:nvPr/>
        </p:nvSpPr>
        <p:spPr>
          <a:xfrm>
            <a:off x="9639770" y="2712998"/>
            <a:ext cx="2085853" cy="1331285"/>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rgbClr val="4B9D3C"/>
              </a:buClr>
              <a:buFont typeface="Arial" panose="020B0604020202020204" pitchFamily="34" charset="0"/>
              <a:buChar char="•"/>
              <a:defRPr/>
            </a:pPr>
            <a:r>
              <a:rPr lang="en-US" sz="1067" kern="0" dirty="0">
                <a:solidFill>
                  <a:sysClr val="windowText" lastClr="000000"/>
                </a:solidFill>
                <a:cs typeface="Calibri" panose="020F0502020204030204" pitchFamily="34" charset="0"/>
              </a:rPr>
              <a:t>Detailed planning, KA, shadow support, reverse shadow and steady state</a:t>
            </a:r>
          </a:p>
          <a:p>
            <a:pPr marL="228594" indent="-228594" defTabSz="1219010">
              <a:buClr>
                <a:srgbClr val="4B9D3C"/>
              </a:buClr>
              <a:buFont typeface="Arial" panose="020B0604020202020204" pitchFamily="34" charset="0"/>
              <a:buChar char="•"/>
              <a:defRPr/>
            </a:pPr>
            <a:r>
              <a:rPr lang="en-US" sz="1067" kern="0" dirty="0">
                <a:solidFill>
                  <a:sysClr val="windowText" lastClr="000000"/>
                </a:solidFill>
                <a:cs typeface="Calibri" panose="020F0502020204030204" pitchFamily="34" charset="0"/>
              </a:rPr>
              <a:t>Establish governance model and communication plan </a:t>
            </a:r>
          </a:p>
          <a:p>
            <a:pPr marL="228594" indent="-228594" defTabSz="1219010">
              <a:buClr>
                <a:srgbClr val="4B9D3C"/>
              </a:buClr>
              <a:buFont typeface="Arial" panose="020B0604020202020204" pitchFamily="34" charset="0"/>
              <a:buChar char="•"/>
              <a:defRPr/>
            </a:pPr>
            <a:endParaRPr lang="en-US" sz="1067" kern="0" dirty="0">
              <a:solidFill>
                <a:sysClr val="windowText" lastClr="000000"/>
              </a:solidFill>
              <a:cs typeface="Calibri" panose="020F0502020204030204" pitchFamily="34" charset="0"/>
            </a:endParaRPr>
          </a:p>
        </p:txBody>
      </p:sp>
      <p:sp>
        <p:nvSpPr>
          <p:cNvPr id="109" name="Round Same Side Corner Rectangle 108">
            <a:extLst>
              <a:ext uri="{FF2B5EF4-FFF2-40B4-BE49-F238E27FC236}">
                <a16:creationId xmlns:a16="http://schemas.microsoft.com/office/drawing/2014/main" id="{D534A74C-E327-1A40-AB47-5A5749C9764F}"/>
              </a:ext>
            </a:extLst>
          </p:cNvPr>
          <p:cNvSpPr/>
          <p:nvPr/>
        </p:nvSpPr>
        <p:spPr>
          <a:xfrm>
            <a:off x="5183331" y="2355758"/>
            <a:ext cx="2065615" cy="351431"/>
          </a:xfrm>
          <a:prstGeom prst="round2SameRect">
            <a:avLst>
              <a:gd name="adj1" fmla="val 0"/>
              <a:gd name="adj2" fmla="val 0"/>
            </a:avLst>
          </a:prstGeom>
          <a:solidFill>
            <a:srgbClr val="0033A0"/>
          </a:solidFill>
          <a:ln w="9525" cap="flat" cmpd="sng" algn="ctr">
            <a:noFill/>
            <a:prstDash val="solid"/>
          </a:ln>
          <a:effectLst/>
        </p:spPr>
        <p:txBody>
          <a:bodyPr lIns="121915" tIns="60959" rIns="121915" bIns="60959" rtlCol="0" anchor="ctr"/>
          <a:lstStyle/>
          <a:p>
            <a:pPr algn="ctr" defTabSz="1219010">
              <a:defRPr/>
            </a:pPr>
            <a:r>
              <a:rPr lang="en-GB" sz="1200" b="1" kern="0" dirty="0">
                <a:solidFill>
                  <a:prstClr val="white"/>
                </a:solidFill>
                <a:cs typeface="Calibri" panose="020F0502020204030204" pitchFamily="34" charset="0"/>
              </a:rPr>
              <a:t>Acclimatization</a:t>
            </a:r>
          </a:p>
        </p:txBody>
      </p:sp>
      <p:sp>
        <p:nvSpPr>
          <p:cNvPr id="110" name="Round Same Side Corner Rectangle 109">
            <a:extLst>
              <a:ext uri="{FF2B5EF4-FFF2-40B4-BE49-F238E27FC236}">
                <a16:creationId xmlns:a16="http://schemas.microsoft.com/office/drawing/2014/main" id="{5E57BBA9-FB5F-0649-B955-4B0543CF14D3}"/>
              </a:ext>
            </a:extLst>
          </p:cNvPr>
          <p:cNvSpPr/>
          <p:nvPr/>
        </p:nvSpPr>
        <p:spPr>
          <a:xfrm>
            <a:off x="7419908" y="2355758"/>
            <a:ext cx="2058243" cy="351431"/>
          </a:xfrm>
          <a:prstGeom prst="round2SameRect">
            <a:avLst>
              <a:gd name="adj1" fmla="val 0"/>
              <a:gd name="adj2" fmla="val 0"/>
            </a:avLst>
          </a:prstGeom>
          <a:solidFill>
            <a:schemeClr val="accent1">
              <a:lumMod val="60000"/>
              <a:lumOff val="40000"/>
            </a:schemeClr>
          </a:solidFill>
          <a:ln w="9525" cap="flat" cmpd="sng" algn="ctr">
            <a:noFill/>
            <a:prstDash val="solid"/>
          </a:ln>
          <a:effectLst/>
        </p:spPr>
        <p:txBody>
          <a:bodyPr lIns="121915" tIns="60959" rIns="121915" bIns="60959" rtlCol="0" anchor="ctr"/>
          <a:lstStyle/>
          <a:p>
            <a:pPr algn="ctr" defTabSz="1219010">
              <a:defRPr/>
            </a:pPr>
            <a:r>
              <a:rPr lang="en-GB" sz="1200" b="1" kern="0" dirty="0">
                <a:solidFill>
                  <a:prstClr val="white"/>
                </a:solidFill>
                <a:cs typeface="Calibri" panose="020F0502020204030204" pitchFamily="34" charset="0"/>
              </a:rPr>
              <a:t>Process &amp; Infrastructure</a:t>
            </a:r>
          </a:p>
        </p:txBody>
      </p:sp>
      <p:sp>
        <p:nvSpPr>
          <p:cNvPr id="111" name="Round Same Side Corner Rectangle 110">
            <a:extLst>
              <a:ext uri="{FF2B5EF4-FFF2-40B4-BE49-F238E27FC236}">
                <a16:creationId xmlns:a16="http://schemas.microsoft.com/office/drawing/2014/main" id="{543A1A77-AA70-594B-9E9D-7D3C21718819}"/>
              </a:ext>
            </a:extLst>
          </p:cNvPr>
          <p:cNvSpPr/>
          <p:nvPr/>
        </p:nvSpPr>
        <p:spPr>
          <a:xfrm>
            <a:off x="792151" y="4125138"/>
            <a:ext cx="2045381" cy="1271372"/>
          </a:xfrm>
          <a:prstGeom prst="round2SameRect">
            <a:avLst>
              <a:gd name="adj1" fmla="val 0"/>
              <a:gd name="adj2" fmla="val 0"/>
            </a:avLst>
          </a:prstGeom>
          <a:solidFill>
            <a:srgbClr val="CCFF9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Application grouping </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Sequencing </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Indicative Transition effort and timelines</a:t>
            </a:r>
          </a:p>
        </p:txBody>
      </p:sp>
      <p:sp>
        <p:nvSpPr>
          <p:cNvPr id="112" name="Round Same Side Corner Rectangle 111">
            <a:extLst>
              <a:ext uri="{FF2B5EF4-FFF2-40B4-BE49-F238E27FC236}">
                <a16:creationId xmlns:a16="http://schemas.microsoft.com/office/drawing/2014/main" id="{84CBFF18-AF22-0A4B-ABD0-765DD13A9613}"/>
              </a:ext>
            </a:extLst>
          </p:cNvPr>
          <p:cNvSpPr/>
          <p:nvPr/>
        </p:nvSpPr>
        <p:spPr>
          <a:xfrm>
            <a:off x="2983274" y="4125138"/>
            <a:ext cx="2038421" cy="1271372"/>
          </a:xfrm>
          <a:prstGeom prst="round2SameRect">
            <a:avLst>
              <a:gd name="adj1" fmla="val 0"/>
              <a:gd name="adj2" fmla="val 0"/>
            </a:avLst>
          </a:prstGeom>
          <a:solidFill>
            <a:srgbClr val="CCFF9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KT plan and risk management plan </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Detailed due diligence Report</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Revised transition solution</a:t>
            </a:r>
          </a:p>
        </p:txBody>
      </p:sp>
      <p:sp>
        <p:nvSpPr>
          <p:cNvPr id="113" name="Round Same Side Corner Rectangle 112">
            <a:extLst>
              <a:ext uri="{FF2B5EF4-FFF2-40B4-BE49-F238E27FC236}">
                <a16:creationId xmlns:a16="http://schemas.microsoft.com/office/drawing/2014/main" id="{45EBC33C-2B38-A741-B154-12DB84FB4CA4}"/>
              </a:ext>
            </a:extLst>
          </p:cNvPr>
          <p:cNvSpPr/>
          <p:nvPr/>
        </p:nvSpPr>
        <p:spPr>
          <a:xfrm>
            <a:off x="5174761" y="4125138"/>
            <a:ext cx="2071279" cy="1271372"/>
          </a:xfrm>
          <a:prstGeom prst="round2SameRect">
            <a:avLst>
              <a:gd name="adj1" fmla="val 0"/>
              <a:gd name="adj2" fmla="val 0"/>
            </a:avLst>
          </a:prstGeom>
          <a:solidFill>
            <a:srgbClr val="CCFF9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Asynchronous KT and boot camp training plan</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Boot camp scorecard</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Identification of change agents</a:t>
            </a:r>
          </a:p>
        </p:txBody>
      </p:sp>
      <p:sp>
        <p:nvSpPr>
          <p:cNvPr id="114" name="Round Same Side Corner Rectangle 113">
            <a:extLst>
              <a:ext uri="{FF2B5EF4-FFF2-40B4-BE49-F238E27FC236}">
                <a16:creationId xmlns:a16="http://schemas.microsoft.com/office/drawing/2014/main" id="{E39D6934-BF9E-4345-91E3-6CC23C045910}"/>
              </a:ext>
            </a:extLst>
          </p:cNvPr>
          <p:cNvSpPr/>
          <p:nvPr/>
        </p:nvSpPr>
        <p:spPr>
          <a:xfrm>
            <a:off x="7400901" y="4125138"/>
            <a:ext cx="2077251" cy="1271372"/>
          </a:xfrm>
          <a:prstGeom prst="round2SameRect">
            <a:avLst>
              <a:gd name="adj1" fmla="val 0"/>
              <a:gd name="adj2" fmla="val 0"/>
            </a:avLst>
          </a:prstGeom>
          <a:solidFill>
            <a:srgbClr val="CCFF9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Infrastructure and access provisioning plan</a:t>
            </a:r>
          </a:p>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Operational process document</a:t>
            </a:r>
          </a:p>
        </p:txBody>
      </p:sp>
      <p:sp>
        <p:nvSpPr>
          <p:cNvPr id="115" name="Round Same Side Corner Rectangle 114">
            <a:extLst>
              <a:ext uri="{FF2B5EF4-FFF2-40B4-BE49-F238E27FC236}">
                <a16:creationId xmlns:a16="http://schemas.microsoft.com/office/drawing/2014/main" id="{B42AEE14-D84F-0A4B-9767-D150C2494DD5}"/>
              </a:ext>
            </a:extLst>
          </p:cNvPr>
          <p:cNvSpPr/>
          <p:nvPr/>
        </p:nvSpPr>
        <p:spPr>
          <a:xfrm>
            <a:off x="9643963" y="4125138"/>
            <a:ext cx="2081660" cy="1271372"/>
          </a:xfrm>
          <a:prstGeom prst="round2SameRect">
            <a:avLst>
              <a:gd name="adj1" fmla="val 0"/>
              <a:gd name="adj2" fmla="val 0"/>
            </a:avLst>
          </a:prstGeom>
          <a:solidFill>
            <a:srgbClr val="CCFF99"/>
          </a:solidFill>
          <a:ln w="9525" cap="flat" cmpd="sng" algn="ctr">
            <a:solidFill>
              <a:schemeClr val="bg1">
                <a:lumMod val="85000"/>
              </a:schemeClr>
            </a:solidFill>
            <a:prstDash val="solid"/>
          </a:ln>
          <a:effectLst/>
        </p:spPr>
        <p:txBody>
          <a:bodyPr lIns="121915" tIns="60959" rIns="121915" bIns="60959" rtlCol="0" anchor="t"/>
          <a:lstStyle/>
          <a:p>
            <a:pPr marL="228594" indent="-228594" defTabSz="1219010">
              <a:buClr>
                <a:schemeClr val="tx2"/>
              </a:buClr>
              <a:buFont typeface="Arial" panose="020B0604020202020204" pitchFamily="34" charset="0"/>
              <a:buChar char="•"/>
              <a:defRPr/>
            </a:pPr>
            <a:r>
              <a:rPr lang="en-US" sz="1200" kern="0" dirty="0">
                <a:solidFill>
                  <a:sysClr val="windowText" lastClr="000000"/>
                </a:solidFill>
                <a:cs typeface="Calibri" panose="020F0502020204030204" pitchFamily="34" charset="0"/>
              </a:rPr>
              <a:t>Transition plan, application handbook, status report, metrics</a:t>
            </a:r>
          </a:p>
        </p:txBody>
      </p:sp>
      <p:sp>
        <p:nvSpPr>
          <p:cNvPr id="118" name="Round Same Side Corner Rectangle 117">
            <a:extLst>
              <a:ext uri="{FF2B5EF4-FFF2-40B4-BE49-F238E27FC236}">
                <a16:creationId xmlns:a16="http://schemas.microsoft.com/office/drawing/2014/main" id="{84704EA4-6F0E-0847-A278-B8A42E6B353D}"/>
              </a:ext>
            </a:extLst>
          </p:cNvPr>
          <p:cNvSpPr/>
          <p:nvPr/>
        </p:nvSpPr>
        <p:spPr>
          <a:xfrm rot="16200000">
            <a:off x="-65495" y="3262854"/>
            <a:ext cx="1331285" cy="231580"/>
          </a:xfrm>
          <a:prstGeom prst="round2SameRect">
            <a:avLst>
              <a:gd name="adj1" fmla="val 0"/>
              <a:gd name="adj2" fmla="val 0"/>
            </a:avLst>
          </a:prstGeom>
          <a:solidFill>
            <a:srgbClr val="002060"/>
          </a:solidFill>
          <a:ln w="9525" cap="flat" cmpd="sng" algn="ctr">
            <a:noFill/>
            <a:prstDash val="solid"/>
          </a:ln>
          <a:effectLst/>
        </p:spPr>
        <p:txBody>
          <a:bodyPr lIns="121915" tIns="60959" rIns="121915" bIns="60959" rtlCol="0" anchor="ctr"/>
          <a:lstStyle/>
          <a:p>
            <a:pPr algn="ctr" defTabSz="1219010">
              <a:defRPr/>
            </a:pPr>
            <a:r>
              <a:rPr lang="en-US" sz="1333" b="1" kern="0" dirty="0">
                <a:solidFill>
                  <a:prstClr val="white"/>
                </a:solidFill>
                <a:cs typeface="Calibri" panose="020F0502020204030204" pitchFamily="34" charset="0"/>
              </a:rPr>
              <a:t>Process</a:t>
            </a:r>
          </a:p>
        </p:txBody>
      </p:sp>
      <p:sp>
        <p:nvSpPr>
          <p:cNvPr id="119" name="Round Same Side Corner Rectangle 118">
            <a:extLst>
              <a:ext uri="{FF2B5EF4-FFF2-40B4-BE49-F238E27FC236}">
                <a16:creationId xmlns:a16="http://schemas.microsoft.com/office/drawing/2014/main" id="{D55685E6-23BA-974E-B35F-F8FD7689F6FF}"/>
              </a:ext>
            </a:extLst>
          </p:cNvPr>
          <p:cNvSpPr/>
          <p:nvPr/>
        </p:nvSpPr>
        <p:spPr>
          <a:xfrm rot="16200000">
            <a:off x="-43802" y="4626205"/>
            <a:ext cx="1260804" cy="258668"/>
          </a:xfrm>
          <a:prstGeom prst="round2SameRect">
            <a:avLst>
              <a:gd name="adj1" fmla="val 0"/>
              <a:gd name="adj2" fmla="val 0"/>
            </a:avLst>
          </a:prstGeom>
          <a:solidFill>
            <a:srgbClr val="00B050"/>
          </a:solidFill>
          <a:ln w="9525" cap="flat" cmpd="sng" algn="ctr">
            <a:noFill/>
            <a:prstDash val="solid"/>
          </a:ln>
          <a:effectLst/>
        </p:spPr>
        <p:txBody>
          <a:bodyPr lIns="121915" tIns="60959" rIns="121915" bIns="60959" rtlCol="0" anchor="ctr"/>
          <a:lstStyle/>
          <a:p>
            <a:pPr algn="ctr" defTabSz="1219010">
              <a:defRPr/>
            </a:pPr>
            <a:r>
              <a:rPr lang="en-US" sz="1351" b="1" kern="0" dirty="0">
                <a:solidFill>
                  <a:prstClr val="white"/>
                </a:solidFill>
                <a:cs typeface="Calibri" panose="020F0502020204030204" pitchFamily="34" charset="0"/>
              </a:rPr>
              <a:t>Outcome</a:t>
            </a:r>
          </a:p>
        </p:txBody>
      </p:sp>
      <p:sp>
        <p:nvSpPr>
          <p:cNvPr id="121" name="Trapezoid 120">
            <a:extLst>
              <a:ext uri="{FF2B5EF4-FFF2-40B4-BE49-F238E27FC236}">
                <a16:creationId xmlns:a16="http://schemas.microsoft.com/office/drawing/2014/main" id="{57CD571D-24D6-FF4F-90C0-C532774542B4}"/>
              </a:ext>
            </a:extLst>
          </p:cNvPr>
          <p:cNvSpPr/>
          <p:nvPr/>
        </p:nvSpPr>
        <p:spPr>
          <a:xfrm rot="10800000">
            <a:off x="2987971" y="2037180"/>
            <a:ext cx="2041052" cy="284328"/>
          </a:xfrm>
          <a:prstGeom prst="trapezoid">
            <a:avLst>
              <a:gd name="adj" fmla="val 38173"/>
            </a:avLst>
          </a:prstGeom>
          <a:solidFill>
            <a:schemeClr val="bg1">
              <a:lumMod val="85000"/>
            </a:schemeClr>
          </a:solidFill>
          <a:ln w="9525" cap="flat" cmpd="sng" algn="ctr">
            <a:noFill/>
            <a:prstDash val="solid"/>
          </a:ln>
          <a:effectLst/>
        </p:spPr>
        <p:txBody>
          <a:bodyPr lIns="121915" tIns="60959" rIns="121915" bIns="60959" rtlCol="0" anchor="ctr"/>
          <a:lstStyle/>
          <a:p>
            <a:pPr algn="ctr" defTabSz="1219010">
              <a:defRPr/>
            </a:pPr>
            <a:endParaRPr lang="en-US" sz="1600" kern="0" dirty="0">
              <a:solidFill>
                <a:sysClr val="windowText" lastClr="000000"/>
              </a:solidFill>
              <a:cs typeface="Calibri" panose="020F0502020204030204" pitchFamily="34" charset="0"/>
            </a:endParaRPr>
          </a:p>
        </p:txBody>
      </p:sp>
      <p:sp>
        <p:nvSpPr>
          <p:cNvPr id="122" name="Trapezoid 121">
            <a:extLst>
              <a:ext uri="{FF2B5EF4-FFF2-40B4-BE49-F238E27FC236}">
                <a16:creationId xmlns:a16="http://schemas.microsoft.com/office/drawing/2014/main" id="{221695A1-59C2-F94F-B6B6-70B24B14A42A}"/>
              </a:ext>
            </a:extLst>
          </p:cNvPr>
          <p:cNvSpPr/>
          <p:nvPr/>
        </p:nvSpPr>
        <p:spPr>
          <a:xfrm rot="10800000">
            <a:off x="5188789" y="2037180"/>
            <a:ext cx="2041052" cy="284328"/>
          </a:xfrm>
          <a:prstGeom prst="trapezoid">
            <a:avLst>
              <a:gd name="adj" fmla="val 38173"/>
            </a:avLst>
          </a:prstGeom>
          <a:solidFill>
            <a:schemeClr val="bg1">
              <a:lumMod val="85000"/>
            </a:schemeClr>
          </a:solidFill>
          <a:ln w="9525" cap="flat" cmpd="sng" algn="ctr">
            <a:noFill/>
            <a:prstDash val="solid"/>
          </a:ln>
          <a:effectLst/>
        </p:spPr>
        <p:txBody>
          <a:bodyPr lIns="121915" tIns="60959" rIns="121915" bIns="60959" rtlCol="0" anchor="ctr"/>
          <a:lstStyle/>
          <a:p>
            <a:pPr algn="ctr" defTabSz="1219010">
              <a:defRPr/>
            </a:pPr>
            <a:endParaRPr lang="en-US" sz="1600" kern="0" dirty="0">
              <a:solidFill>
                <a:sysClr val="windowText" lastClr="000000"/>
              </a:solidFill>
              <a:cs typeface="Calibri" panose="020F0502020204030204" pitchFamily="34" charset="0"/>
            </a:endParaRPr>
          </a:p>
        </p:txBody>
      </p:sp>
      <p:sp>
        <p:nvSpPr>
          <p:cNvPr id="123" name="Trapezoid 122">
            <a:extLst>
              <a:ext uri="{FF2B5EF4-FFF2-40B4-BE49-F238E27FC236}">
                <a16:creationId xmlns:a16="http://schemas.microsoft.com/office/drawing/2014/main" id="{454CF9F0-DB22-DB4E-BE0F-25A00E224B8E}"/>
              </a:ext>
            </a:extLst>
          </p:cNvPr>
          <p:cNvSpPr/>
          <p:nvPr/>
        </p:nvSpPr>
        <p:spPr>
          <a:xfrm rot="10800000">
            <a:off x="7419910" y="2037180"/>
            <a:ext cx="2041052" cy="284328"/>
          </a:xfrm>
          <a:prstGeom prst="trapezoid">
            <a:avLst>
              <a:gd name="adj" fmla="val 38173"/>
            </a:avLst>
          </a:prstGeom>
          <a:solidFill>
            <a:schemeClr val="bg1">
              <a:lumMod val="85000"/>
            </a:schemeClr>
          </a:solidFill>
          <a:ln w="9525" cap="flat" cmpd="sng" algn="ctr">
            <a:noFill/>
            <a:prstDash val="solid"/>
          </a:ln>
          <a:effectLst/>
        </p:spPr>
        <p:txBody>
          <a:bodyPr lIns="121915" tIns="60959" rIns="121915" bIns="60959" rtlCol="0" anchor="ctr"/>
          <a:lstStyle/>
          <a:p>
            <a:pPr algn="ctr" defTabSz="1219010">
              <a:defRPr/>
            </a:pPr>
            <a:endParaRPr lang="en-US" sz="1600" kern="0" dirty="0">
              <a:solidFill>
                <a:sysClr val="windowText" lastClr="000000"/>
              </a:solidFill>
              <a:cs typeface="Calibri" panose="020F0502020204030204" pitchFamily="34" charset="0"/>
            </a:endParaRPr>
          </a:p>
        </p:txBody>
      </p:sp>
      <p:sp>
        <p:nvSpPr>
          <p:cNvPr id="124" name="Trapezoid 123">
            <a:extLst>
              <a:ext uri="{FF2B5EF4-FFF2-40B4-BE49-F238E27FC236}">
                <a16:creationId xmlns:a16="http://schemas.microsoft.com/office/drawing/2014/main" id="{1895111D-F3E8-A54E-B7F5-668E1716B745}"/>
              </a:ext>
            </a:extLst>
          </p:cNvPr>
          <p:cNvSpPr/>
          <p:nvPr/>
        </p:nvSpPr>
        <p:spPr>
          <a:xfrm rot="10800000">
            <a:off x="9639770" y="2037180"/>
            <a:ext cx="2085852" cy="284328"/>
          </a:xfrm>
          <a:prstGeom prst="trapezoid">
            <a:avLst>
              <a:gd name="adj" fmla="val 38173"/>
            </a:avLst>
          </a:prstGeom>
          <a:solidFill>
            <a:schemeClr val="bg1">
              <a:lumMod val="85000"/>
            </a:schemeClr>
          </a:solidFill>
          <a:ln w="9525" cap="flat" cmpd="sng" algn="ctr">
            <a:noFill/>
            <a:prstDash val="solid"/>
          </a:ln>
          <a:effectLst/>
        </p:spPr>
        <p:txBody>
          <a:bodyPr lIns="121915" tIns="60959" rIns="121915" bIns="60959" rtlCol="0" anchor="ctr"/>
          <a:lstStyle/>
          <a:p>
            <a:pPr algn="ctr" defTabSz="1219010">
              <a:defRPr/>
            </a:pPr>
            <a:endParaRPr lang="en-US" sz="1600" kern="0" dirty="0">
              <a:solidFill>
                <a:sysClr val="windowText" lastClr="000000"/>
              </a:solidFill>
              <a:cs typeface="Calibri" panose="020F0502020204030204" pitchFamily="34" charset="0"/>
            </a:endParaRPr>
          </a:p>
        </p:txBody>
      </p:sp>
      <p:sp>
        <p:nvSpPr>
          <p:cNvPr id="125" name="Round Same Side Corner Rectangle 124">
            <a:extLst>
              <a:ext uri="{FF2B5EF4-FFF2-40B4-BE49-F238E27FC236}">
                <a16:creationId xmlns:a16="http://schemas.microsoft.com/office/drawing/2014/main" id="{E6619D9C-313B-104A-A64E-E7CD21420A42}"/>
              </a:ext>
            </a:extLst>
          </p:cNvPr>
          <p:cNvSpPr/>
          <p:nvPr/>
        </p:nvSpPr>
        <p:spPr>
          <a:xfrm>
            <a:off x="3645701" y="2044691"/>
            <a:ext cx="725593" cy="287387"/>
          </a:xfrm>
          <a:prstGeom prst="round2SameRect">
            <a:avLst/>
          </a:prstGeom>
          <a:noFill/>
          <a:ln w="12700" cap="flat" cmpd="sng" algn="ctr">
            <a:noFill/>
            <a:prstDash val="solid"/>
          </a:ln>
          <a:effectLst/>
        </p:spPr>
        <p:txBody>
          <a:bodyPr lIns="121915" tIns="60959" rIns="121915" bIns="60959" rtlCol="0" anchor="ctr"/>
          <a:lstStyle/>
          <a:p>
            <a:pPr algn="ctr" defTabSz="1219010">
              <a:defRPr/>
            </a:pPr>
            <a:r>
              <a:rPr lang="en-US" sz="1600" b="1" kern="0" dirty="0">
                <a:solidFill>
                  <a:srgbClr val="000000"/>
                </a:solidFill>
                <a:cs typeface="Calibri" panose="020F0502020204030204" pitchFamily="34" charset="0"/>
              </a:rPr>
              <a:t>D</a:t>
            </a:r>
          </a:p>
        </p:txBody>
      </p:sp>
      <p:sp>
        <p:nvSpPr>
          <p:cNvPr id="126" name="Round Same Side Corner Rectangle 125">
            <a:extLst>
              <a:ext uri="{FF2B5EF4-FFF2-40B4-BE49-F238E27FC236}">
                <a16:creationId xmlns:a16="http://schemas.microsoft.com/office/drawing/2014/main" id="{BE9FD27B-4E90-D544-92DF-19841C676D52}"/>
              </a:ext>
            </a:extLst>
          </p:cNvPr>
          <p:cNvSpPr/>
          <p:nvPr/>
        </p:nvSpPr>
        <p:spPr>
          <a:xfrm>
            <a:off x="5846514" y="2044691"/>
            <a:ext cx="725593" cy="287387"/>
          </a:xfrm>
          <a:prstGeom prst="round2SameRect">
            <a:avLst/>
          </a:prstGeom>
          <a:noFill/>
          <a:ln w="12700" cap="flat" cmpd="sng" algn="ctr">
            <a:noFill/>
            <a:prstDash val="solid"/>
          </a:ln>
          <a:effectLst/>
        </p:spPr>
        <p:txBody>
          <a:bodyPr lIns="121915" tIns="60959" rIns="121915" bIns="60959" rtlCol="0" anchor="ctr"/>
          <a:lstStyle/>
          <a:p>
            <a:pPr algn="ctr" defTabSz="1219010">
              <a:defRPr/>
            </a:pPr>
            <a:r>
              <a:rPr lang="en-US" sz="1600" b="1" kern="0" dirty="0">
                <a:solidFill>
                  <a:srgbClr val="000000"/>
                </a:solidFill>
                <a:cs typeface="Calibri" panose="020F0502020204030204" pitchFamily="34" charset="0"/>
              </a:rPr>
              <a:t>A</a:t>
            </a:r>
          </a:p>
        </p:txBody>
      </p:sp>
      <p:sp>
        <p:nvSpPr>
          <p:cNvPr id="127" name="Round Same Side Corner Rectangle 126">
            <a:extLst>
              <a:ext uri="{FF2B5EF4-FFF2-40B4-BE49-F238E27FC236}">
                <a16:creationId xmlns:a16="http://schemas.microsoft.com/office/drawing/2014/main" id="{6516F7EB-BA85-F54E-83FD-346FCE5D0F3A}"/>
              </a:ext>
            </a:extLst>
          </p:cNvPr>
          <p:cNvSpPr/>
          <p:nvPr/>
        </p:nvSpPr>
        <p:spPr>
          <a:xfrm>
            <a:off x="8077638" y="2044691"/>
            <a:ext cx="725593" cy="287387"/>
          </a:xfrm>
          <a:prstGeom prst="round2SameRect">
            <a:avLst/>
          </a:prstGeom>
          <a:noFill/>
          <a:ln w="12700" cap="flat" cmpd="sng" algn="ctr">
            <a:noFill/>
            <a:prstDash val="solid"/>
          </a:ln>
          <a:effectLst/>
        </p:spPr>
        <p:txBody>
          <a:bodyPr lIns="121915" tIns="60959" rIns="121915" bIns="60959" rtlCol="0" anchor="ctr"/>
          <a:lstStyle/>
          <a:p>
            <a:pPr algn="ctr" defTabSz="1219010">
              <a:defRPr/>
            </a:pPr>
            <a:r>
              <a:rPr lang="en-US" sz="1600" b="1" kern="0" dirty="0">
                <a:solidFill>
                  <a:srgbClr val="000000"/>
                </a:solidFill>
                <a:cs typeface="Calibri" panose="020F0502020204030204" pitchFamily="34" charset="0"/>
              </a:rPr>
              <a:t>P</a:t>
            </a:r>
          </a:p>
        </p:txBody>
      </p:sp>
      <p:sp>
        <p:nvSpPr>
          <p:cNvPr id="128" name="Round Same Side Corner Rectangle 127">
            <a:extLst>
              <a:ext uri="{FF2B5EF4-FFF2-40B4-BE49-F238E27FC236}">
                <a16:creationId xmlns:a16="http://schemas.microsoft.com/office/drawing/2014/main" id="{30C45233-A80F-9346-929F-36D233EAF737}"/>
              </a:ext>
            </a:extLst>
          </p:cNvPr>
          <p:cNvSpPr/>
          <p:nvPr/>
        </p:nvSpPr>
        <p:spPr>
          <a:xfrm>
            <a:off x="10297501" y="2044691"/>
            <a:ext cx="725593" cy="287387"/>
          </a:xfrm>
          <a:prstGeom prst="round2SameRect">
            <a:avLst/>
          </a:prstGeom>
          <a:noFill/>
          <a:ln w="12700" cap="flat" cmpd="sng" algn="ctr">
            <a:noFill/>
            <a:prstDash val="solid"/>
          </a:ln>
          <a:effectLst/>
        </p:spPr>
        <p:txBody>
          <a:bodyPr lIns="121915" tIns="60959" rIns="121915" bIns="60959" rtlCol="0" anchor="ctr"/>
          <a:lstStyle/>
          <a:p>
            <a:pPr algn="ctr" defTabSz="1219010">
              <a:defRPr/>
            </a:pPr>
            <a:r>
              <a:rPr lang="en-US" sz="1600" b="1" kern="0" dirty="0">
                <a:solidFill>
                  <a:srgbClr val="000000"/>
                </a:solidFill>
                <a:cs typeface="Calibri" panose="020F0502020204030204" pitchFamily="34" charset="0"/>
              </a:rPr>
              <a:t>T</a:t>
            </a:r>
          </a:p>
        </p:txBody>
      </p:sp>
      <p:sp>
        <p:nvSpPr>
          <p:cNvPr id="129" name="Round Same Side Corner Rectangle 128">
            <a:extLst>
              <a:ext uri="{FF2B5EF4-FFF2-40B4-BE49-F238E27FC236}">
                <a16:creationId xmlns:a16="http://schemas.microsoft.com/office/drawing/2014/main" id="{1E63402D-930B-1C49-8B35-CCC7F58A394A}"/>
              </a:ext>
            </a:extLst>
          </p:cNvPr>
          <p:cNvSpPr/>
          <p:nvPr/>
        </p:nvSpPr>
        <p:spPr>
          <a:xfrm>
            <a:off x="1449882" y="2034855"/>
            <a:ext cx="725593" cy="295371"/>
          </a:xfrm>
          <a:prstGeom prst="round2SameRect">
            <a:avLst/>
          </a:prstGeom>
          <a:noFill/>
          <a:ln w="12700" cap="flat" cmpd="sng" algn="ctr">
            <a:noFill/>
            <a:prstDash val="solid"/>
          </a:ln>
          <a:effectLst/>
        </p:spPr>
        <p:txBody>
          <a:bodyPr lIns="121915" tIns="60959" rIns="121915" bIns="60959" rtlCol="0" anchor="ctr"/>
          <a:lstStyle/>
          <a:p>
            <a:pPr algn="ctr" defTabSz="1219010">
              <a:defRPr/>
            </a:pPr>
            <a:r>
              <a:rPr lang="en-US" sz="1600" b="1" kern="0" dirty="0">
                <a:solidFill>
                  <a:srgbClr val="000000"/>
                </a:solidFill>
                <a:cs typeface="Calibri" panose="020F0502020204030204" pitchFamily="34" charset="0"/>
              </a:rPr>
              <a:t>A</a:t>
            </a:r>
          </a:p>
        </p:txBody>
      </p:sp>
      <p:sp>
        <p:nvSpPr>
          <p:cNvPr id="138" name="Rectangle 137">
            <a:extLst>
              <a:ext uri="{FF2B5EF4-FFF2-40B4-BE49-F238E27FC236}">
                <a16:creationId xmlns:a16="http://schemas.microsoft.com/office/drawing/2014/main" id="{33B132AF-E1F8-7745-A763-49B729582EFC}"/>
              </a:ext>
            </a:extLst>
          </p:cNvPr>
          <p:cNvSpPr/>
          <p:nvPr/>
        </p:nvSpPr>
        <p:spPr>
          <a:xfrm>
            <a:off x="358111" y="5385942"/>
            <a:ext cx="11702397" cy="584775"/>
          </a:xfrm>
          <a:prstGeom prst="rect">
            <a:avLst/>
          </a:prstGeom>
          <a:noFill/>
          <a:ln w="6350">
            <a:noFill/>
          </a:ln>
        </p:spPr>
        <p:txBody>
          <a:bodyPr wrap="square">
            <a:spAutoFit/>
          </a:bodyPr>
          <a:lstStyle/>
          <a:p>
            <a:pPr algn="ctr" defTabSz="685766">
              <a:defRPr/>
            </a:pPr>
            <a:r>
              <a:rPr lang="en-US" sz="1600" b="1" i="1" dirty="0">
                <a:solidFill>
                  <a:srgbClr val="0033A0"/>
                </a:solidFill>
                <a:cs typeface="Calibri" panose="020F0502020204030204" pitchFamily="34" charset="0"/>
              </a:rPr>
              <a:t>Cognizant’s solution conceptualization begins with a detailed analysis of the application and infrastructure data provided by </a:t>
            </a:r>
            <a:r>
              <a:rPr lang="en-US" sz="1600" b="1" i="1" dirty="0" smtClean="0">
                <a:solidFill>
                  <a:srgbClr val="0033A0"/>
                </a:solidFill>
                <a:cs typeface="Calibri" panose="020F0502020204030204" pitchFamily="34" charset="0"/>
              </a:rPr>
              <a:t>Marriott</a:t>
            </a:r>
            <a:endParaRPr lang="en-US" sz="1600" b="1" i="1" dirty="0">
              <a:solidFill>
                <a:srgbClr val="0033A0"/>
              </a:solidFill>
              <a:cs typeface="Calibri" panose="020F0502020204030204" pitchFamily="34" charset="0"/>
            </a:endParaRPr>
          </a:p>
        </p:txBody>
      </p:sp>
      <p:sp>
        <p:nvSpPr>
          <p:cNvPr id="37" name="Diagonal Stripe 36"/>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Placeholder, pls modify as appropriate</a:t>
            </a:r>
          </a:p>
        </p:txBody>
      </p:sp>
    </p:spTree>
    <p:extLst>
      <p:ext uri="{BB962C8B-B14F-4D97-AF65-F5344CB8AC3E}">
        <p14:creationId xmlns:p14="http://schemas.microsoft.com/office/powerpoint/2010/main" val="1168305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11499476" cy="618385"/>
          </a:xfrm>
        </p:spPr>
        <p:txBody>
          <a:bodyPr>
            <a:normAutofit/>
          </a:bodyPr>
          <a:lstStyle/>
          <a:p>
            <a:r>
              <a:rPr lang="en-US" dirty="0"/>
              <a:t>Blue print for Pod Based Delivery for Moderns Team</a:t>
            </a:r>
            <a:endParaRPr lang="en-US" dirty="0">
              <a:latin typeface="Calibri" panose="020F0502020204030204" pitchFamily="34" charset="0"/>
            </a:endParaRPr>
          </a:p>
        </p:txBody>
      </p:sp>
      <p:sp>
        <p:nvSpPr>
          <p:cNvPr id="58" name="Rectangle 57"/>
          <p:cNvSpPr/>
          <p:nvPr/>
        </p:nvSpPr>
        <p:spPr>
          <a:xfrm>
            <a:off x="1000447" y="906132"/>
            <a:ext cx="10707391" cy="751979"/>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endParaRPr lang="en-US" sz="2400" dirty="0">
              <a:solidFill>
                <a:prstClr val="white"/>
              </a:solidFill>
              <a:latin typeface="Arial"/>
            </a:endParaRPr>
          </a:p>
        </p:txBody>
      </p:sp>
      <p:grpSp>
        <p:nvGrpSpPr>
          <p:cNvPr id="59" name="Group 58"/>
          <p:cNvGrpSpPr/>
          <p:nvPr/>
        </p:nvGrpSpPr>
        <p:grpSpPr>
          <a:xfrm>
            <a:off x="5145004" y="907482"/>
            <a:ext cx="1247933" cy="671836"/>
            <a:chOff x="4004256" y="495599"/>
            <a:chExt cx="935950" cy="503877"/>
          </a:xfrm>
        </p:grpSpPr>
        <p:sp>
          <p:nvSpPr>
            <p:cNvPr id="60" name="Rounded Rectangle 83"/>
            <p:cNvSpPr/>
            <p:nvPr/>
          </p:nvSpPr>
          <p:spPr bwMode="auto">
            <a:xfrm>
              <a:off x="4004256" y="847591"/>
              <a:ext cx="935950" cy="15188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18" eaLnBrk="0" hangingPunct="0">
                <a:defRPr/>
              </a:pPr>
              <a:r>
                <a:rPr lang="en-US" sz="1100" kern="0" dirty="0">
                  <a:solidFill>
                    <a:sysClr val="windowText" lastClr="000000"/>
                  </a:solidFill>
                  <a:latin typeface="Calibri" panose="020F0502020204030204" pitchFamily="34" charset="0"/>
                  <a:ea typeface="ＭＳ Ｐゴシック" pitchFamily="-12" charset="-128"/>
                  <a:cs typeface="Calibri" pitchFamily="34" charset="0"/>
                </a:rPr>
                <a:t>Solution/Platform Architects.</a:t>
              </a:r>
            </a:p>
          </p:txBody>
        </p:sp>
        <p:pic>
          <p:nvPicPr>
            <p:cNvPr id="61" name="Picture 60"/>
            <p:cNvPicPr>
              <a:picLocks noChangeAspect="1"/>
            </p:cNvPicPr>
            <p:nvPr/>
          </p:nvPicPr>
          <p:blipFill>
            <a:blip r:embed="rId3"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4265765" y="495599"/>
              <a:ext cx="274320" cy="274320"/>
            </a:xfrm>
            <a:prstGeom prst="rect">
              <a:avLst/>
            </a:prstGeom>
          </p:spPr>
        </p:pic>
        <p:pic>
          <p:nvPicPr>
            <p:cNvPr id="62" name="Picture 61"/>
            <p:cNvPicPr>
              <a:picLocks noChangeAspect="1"/>
            </p:cNvPicPr>
            <p:nvPr/>
          </p:nvPicPr>
          <p:blipFill>
            <a:blip r:embed="rId4"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436567" y="530162"/>
              <a:ext cx="274320" cy="274320"/>
            </a:xfrm>
            <a:prstGeom prst="rect">
              <a:avLst/>
            </a:prstGeom>
          </p:spPr>
        </p:pic>
      </p:grpSp>
      <p:sp>
        <p:nvSpPr>
          <p:cNvPr id="63" name="Rectangle 62"/>
          <p:cNvSpPr/>
          <p:nvPr/>
        </p:nvSpPr>
        <p:spPr>
          <a:xfrm>
            <a:off x="3659803" y="1858281"/>
            <a:ext cx="5454528" cy="434733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endParaRPr lang="en-US" sz="2400" dirty="0">
              <a:solidFill>
                <a:prstClr val="white"/>
              </a:solidFill>
              <a:latin typeface="Arial"/>
            </a:endParaRPr>
          </a:p>
        </p:txBody>
      </p:sp>
      <p:grpSp>
        <p:nvGrpSpPr>
          <p:cNvPr id="64" name="Group 63"/>
          <p:cNvGrpSpPr/>
          <p:nvPr/>
        </p:nvGrpSpPr>
        <p:grpSpPr>
          <a:xfrm>
            <a:off x="1023908" y="4174178"/>
            <a:ext cx="7695875" cy="2045180"/>
            <a:chOff x="767930" y="1532857"/>
            <a:chExt cx="5457821" cy="1533885"/>
          </a:xfrm>
        </p:grpSpPr>
        <p:sp>
          <p:nvSpPr>
            <p:cNvPr id="65" name="Oval 64"/>
            <p:cNvSpPr/>
            <p:nvPr/>
          </p:nvSpPr>
          <p:spPr>
            <a:xfrm>
              <a:off x="767930" y="1532857"/>
              <a:ext cx="2667729" cy="1533885"/>
            </a:xfrm>
            <a:prstGeom prst="ellipse">
              <a:avLst/>
            </a:prstGeom>
            <a:solidFill>
              <a:srgbClr val="93E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2400" dirty="0">
                <a:solidFill>
                  <a:prstClr val="white"/>
                </a:solidFill>
                <a:latin typeface="Arial"/>
              </a:endParaRPr>
            </a:p>
          </p:txBody>
        </p:sp>
        <p:sp>
          <p:nvSpPr>
            <p:cNvPr id="66" name="Oval 65"/>
            <p:cNvSpPr/>
            <p:nvPr/>
          </p:nvSpPr>
          <p:spPr>
            <a:xfrm>
              <a:off x="3558022" y="1532857"/>
              <a:ext cx="2667729" cy="1533885"/>
            </a:xfrm>
            <a:prstGeom prst="ellipse">
              <a:avLst/>
            </a:prstGeom>
            <a:solidFill>
              <a:srgbClr val="93E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2400" dirty="0">
                <a:solidFill>
                  <a:prstClr val="white"/>
                </a:solidFill>
                <a:latin typeface="Arial"/>
              </a:endParaRPr>
            </a:p>
          </p:txBody>
        </p:sp>
      </p:grpSp>
      <p:grpSp>
        <p:nvGrpSpPr>
          <p:cNvPr id="67" name="Group 66"/>
          <p:cNvGrpSpPr/>
          <p:nvPr/>
        </p:nvGrpSpPr>
        <p:grpSpPr>
          <a:xfrm>
            <a:off x="1023908" y="2043811"/>
            <a:ext cx="7695875" cy="2045180"/>
            <a:chOff x="767930" y="1532857"/>
            <a:chExt cx="5457821" cy="1533885"/>
          </a:xfrm>
        </p:grpSpPr>
        <p:sp>
          <p:nvSpPr>
            <p:cNvPr id="68" name="Oval 67"/>
            <p:cNvSpPr/>
            <p:nvPr/>
          </p:nvSpPr>
          <p:spPr>
            <a:xfrm>
              <a:off x="767930" y="1532857"/>
              <a:ext cx="2667729" cy="1533885"/>
            </a:xfrm>
            <a:prstGeom prst="ellipse">
              <a:avLst/>
            </a:prstGeom>
            <a:solidFill>
              <a:srgbClr val="93E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2400" dirty="0">
                <a:solidFill>
                  <a:prstClr val="white"/>
                </a:solidFill>
                <a:latin typeface="Arial"/>
              </a:endParaRPr>
            </a:p>
          </p:txBody>
        </p:sp>
        <p:sp>
          <p:nvSpPr>
            <p:cNvPr id="69" name="Oval 68"/>
            <p:cNvSpPr/>
            <p:nvPr/>
          </p:nvSpPr>
          <p:spPr>
            <a:xfrm>
              <a:off x="3558022" y="1532857"/>
              <a:ext cx="2667729" cy="1533885"/>
            </a:xfrm>
            <a:prstGeom prst="ellipse">
              <a:avLst/>
            </a:prstGeom>
            <a:solidFill>
              <a:srgbClr val="93E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2400" dirty="0">
                <a:solidFill>
                  <a:prstClr val="white"/>
                </a:solidFill>
                <a:latin typeface="Arial"/>
              </a:endParaRPr>
            </a:p>
          </p:txBody>
        </p:sp>
      </p:grpSp>
      <p:sp>
        <p:nvSpPr>
          <p:cNvPr id="125" name="Oval 124"/>
          <p:cNvSpPr/>
          <p:nvPr/>
        </p:nvSpPr>
        <p:spPr>
          <a:xfrm>
            <a:off x="4181367" y="4127098"/>
            <a:ext cx="1292756" cy="2083689"/>
          </a:xfrm>
          <a:prstGeom prst="ellipse">
            <a:avLst/>
          </a:prstGeom>
          <a:solidFill>
            <a:srgbClr val="FFC000">
              <a:alpha val="4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2400" dirty="0">
              <a:solidFill>
                <a:prstClr val="white"/>
              </a:solidFill>
              <a:latin typeface="Arial"/>
            </a:endParaRPr>
          </a:p>
        </p:txBody>
      </p:sp>
      <p:sp>
        <p:nvSpPr>
          <p:cNvPr id="126" name="Round Same Side Corner Rectangle 125"/>
          <p:cNvSpPr/>
          <p:nvPr/>
        </p:nvSpPr>
        <p:spPr>
          <a:xfrm rot="16200000">
            <a:off x="317503" y="989794"/>
            <a:ext cx="735724" cy="568401"/>
          </a:xfrm>
          <a:prstGeom prst="round2SameRect">
            <a:avLst>
              <a:gd name="adj1" fmla="val 32840"/>
              <a:gd name="adj2" fmla="val 0"/>
            </a:avLst>
          </a:prstGeom>
          <a:solidFill>
            <a:schemeClr val="tx2">
              <a:lumMod val="65000"/>
              <a:lumOff val="35000"/>
            </a:schemeClr>
          </a:solidFill>
          <a:ln w="9525" cap="flat" cmpd="sng" algn="ctr">
            <a:noFill/>
            <a:prstDash val="solid"/>
          </a:ln>
          <a:effectLst/>
        </p:spPr>
        <p:txBody>
          <a:bodyPr rtlCol="0" anchor="ctr"/>
          <a:lstStyle/>
          <a:p>
            <a:pPr algn="ctr" defTabSz="602001">
              <a:defRPr/>
            </a:pPr>
            <a:endParaRPr lang="en-US" sz="1600" b="1" kern="0" dirty="0">
              <a:solidFill>
                <a:srgbClr val="FFFFFF"/>
              </a:solidFill>
              <a:latin typeface="Calibri" panose="020F0502020204030204"/>
              <a:cs typeface="Arial" panose="020B0604020202020204" pitchFamily="34" charset="0"/>
            </a:endParaRPr>
          </a:p>
        </p:txBody>
      </p:sp>
      <p:grpSp>
        <p:nvGrpSpPr>
          <p:cNvPr id="127" name="Group 126"/>
          <p:cNvGrpSpPr/>
          <p:nvPr/>
        </p:nvGrpSpPr>
        <p:grpSpPr>
          <a:xfrm>
            <a:off x="2870753" y="986933"/>
            <a:ext cx="1643443" cy="613041"/>
            <a:chOff x="1973238" y="533355"/>
            <a:chExt cx="1232582" cy="459781"/>
          </a:xfrm>
        </p:grpSpPr>
        <p:sp>
          <p:nvSpPr>
            <p:cNvPr id="128" name="Rounded Rectangle 83"/>
            <p:cNvSpPr/>
            <p:nvPr/>
          </p:nvSpPr>
          <p:spPr bwMode="auto">
            <a:xfrm>
              <a:off x="1973238" y="785791"/>
              <a:ext cx="1232582" cy="20734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18" eaLnBrk="0" hangingPunct="0">
                <a:defRPr/>
              </a:pPr>
              <a:r>
                <a:rPr lang="en-US" sz="1100" kern="0" dirty="0">
                  <a:solidFill>
                    <a:sysClr val="windowText" lastClr="000000"/>
                  </a:solidFill>
                  <a:latin typeface="Calibri" panose="020F0502020204030204" pitchFamily="34" charset="0"/>
                  <a:ea typeface="ＭＳ Ｐゴシック" pitchFamily="-12" charset="-128"/>
                  <a:cs typeface="Calibri" pitchFamily="34" charset="0"/>
                </a:rPr>
                <a:t>Release Train </a:t>
              </a:r>
              <a:r>
                <a:rPr lang="en-US" sz="1100" kern="0" dirty="0" smtClean="0">
                  <a:solidFill>
                    <a:sysClr val="windowText" lastClr="000000"/>
                  </a:solidFill>
                  <a:latin typeface="Calibri" panose="020F0502020204030204" pitchFamily="34" charset="0"/>
                  <a:ea typeface="ＭＳ Ｐゴシック" pitchFamily="-12" charset="-128"/>
                  <a:cs typeface="Calibri" pitchFamily="34" charset="0"/>
                </a:rPr>
                <a:t>Engineer / </a:t>
              </a:r>
            </a:p>
            <a:p>
              <a:pPr algn="ctr" defTabSz="685718" eaLnBrk="0" hangingPunct="0">
                <a:defRPr/>
              </a:pPr>
              <a:r>
                <a:rPr lang="en-US" sz="1100" kern="0" dirty="0" smtClean="0">
                  <a:solidFill>
                    <a:sysClr val="windowText" lastClr="000000"/>
                  </a:solidFill>
                  <a:latin typeface="Calibri" panose="020F0502020204030204" pitchFamily="34" charset="0"/>
                  <a:ea typeface="ＭＳ Ｐゴシック" pitchFamily="-12" charset="-128"/>
                  <a:cs typeface="Calibri" pitchFamily="34" charset="0"/>
                </a:rPr>
                <a:t>Release Engineer</a:t>
              </a:r>
            </a:p>
          </p:txBody>
        </p:sp>
        <p:pic>
          <p:nvPicPr>
            <p:cNvPr id="129" name="Picture 128"/>
            <p:cNvPicPr>
              <a:picLocks noChangeAspect="1"/>
            </p:cNvPicPr>
            <p:nvPr/>
          </p:nvPicPr>
          <p:blipFill>
            <a:blip r:embed="rId4"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451033" y="533355"/>
              <a:ext cx="274320" cy="274320"/>
            </a:xfrm>
            <a:prstGeom prst="rect">
              <a:avLst/>
            </a:prstGeom>
          </p:spPr>
        </p:pic>
      </p:grpSp>
      <p:sp>
        <p:nvSpPr>
          <p:cNvPr id="130" name="Rounded Rectangle 83"/>
          <p:cNvSpPr/>
          <p:nvPr/>
        </p:nvSpPr>
        <p:spPr bwMode="auto">
          <a:xfrm>
            <a:off x="1382330" y="1337450"/>
            <a:ext cx="1122153" cy="231433"/>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18" eaLnBrk="0" hangingPunct="0">
              <a:defRPr/>
            </a:pPr>
            <a:r>
              <a:rPr lang="en-US" sz="1100" kern="0" dirty="0">
                <a:solidFill>
                  <a:sysClr val="windowText" lastClr="000000"/>
                </a:solidFill>
                <a:latin typeface="Calibri" panose="020F0502020204030204" pitchFamily="34" charset="0"/>
                <a:ea typeface="ＭＳ Ｐゴシック" pitchFamily="-12" charset="-128"/>
                <a:cs typeface="Calibri" pitchFamily="34" charset="0"/>
              </a:rPr>
              <a:t>Product </a:t>
            </a:r>
            <a:r>
              <a:rPr lang="en-US" sz="1100" kern="0" dirty="0" smtClean="0">
                <a:solidFill>
                  <a:sysClr val="windowText" lastClr="000000"/>
                </a:solidFill>
                <a:latin typeface="Calibri" panose="020F0502020204030204" pitchFamily="34" charset="0"/>
                <a:ea typeface="ＭＳ Ｐゴシック" pitchFamily="-12" charset="-128"/>
                <a:cs typeface="Calibri" pitchFamily="34" charset="0"/>
              </a:rPr>
              <a:t>Manager</a:t>
            </a:r>
          </a:p>
          <a:p>
            <a:pPr algn="ctr" defTabSz="685718" eaLnBrk="0" hangingPunct="0">
              <a:defRPr/>
            </a:pPr>
            <a:r>
              <a:rPr lang="en-US" sz="1100" kern="0" dirty="0" smtClean="0">
                <a:solidFill>
                  <a:sysClr val="windowText" lastClr="000000"/>
                </a:solidFill>
                <a:latin typeface="Calibri" panose="020F0502020204030204" pitchFamily="34" charset="0"/>
                <a:ea typeface="ＭＳ Ｐゴシック" pitchFamily="-12" charset="-128"/>
                <a:cs typeface="Calibri" pitchFamily="34" charset="0"/>
              </a:rPr>
              <a:t>/ Service Manager</a:t>
            </a:r>
            <a:endParaRPr lang="en-US" sz="1100" kern="0" dirty="0">
              <a:solidFill>
                <a:sysClr val="windowText" lastClr="000000"/>
              </a:solidFill>
              <a:latin typeface="Calibri" panose="020F0502020204030204" pitchFamily="34" charset="0"/>
              <a:ea typeface="ＭＳ Ｐゴシック" pitchFamily="-12" charset="-128"/>
              <a:cs typeface="Calibri" pitchFamily="34" charset="0"/>
            </a:endParaRPr>
          </a:p>
        </p:txBody>
      </p:sp>
      <p:grpSp>
        <p:nvGrpSpPr>
          <p:cNvPr id="131" name="Group 130"/>
          <p:cNvGrpSpPr/>
          <p:nvPr/>
        </p:nvGrpSpPr>
        <p:grpSpPr>
          <a:xfrm>
            <a:off x="7218921" y="944744"/>
            <a:ext cx="794640" cy="665243"/>
            <a:chOff x="4464286" y="633434"/>
            <a:chExt cx="794640" cy="665242"/>
          </a:xfrm>
        </p:grpSpPr>
        <p:sp>
          <p:nvSpPr>
            <p:cNvPr id="132" name="Rounded Rectangle 83"/>
            <p:cNvSpPr/>
            <p:nvPr/>
          </p:nvSpPr>
          <p:spPr bwMode="auto">
            <a:xfrm>
              <a:off x="4464286" y="1028128"/>
              <a:ext cx="794640" cy="27054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18" eaLnBrk="0" hangingPunct="0">
                <a:defRPr/>
              </a:pPr>
              <a:r>
                <a:rPr lang="en-US" sz="1100" kern="0" dirty="0">
                  <a:solidFill>
                    <a:sysClr val="windowText" lastClr="000000"/>
                  </a:solidFill>
                  <a:latin typeface="Calibri" panose="020F0502020204030204" pitchFamily="34" charset="0"/>
                  <a:ea typeface="ＭＳ Ｐゴシック" pitchFamily="-12" charset="-128"/>
                  <a:cs typeface="Calibri" pitchFamily="34" charset="0"/>
                </a:rPr>
                <a:t>Agile Coaches </a:t>
              </a:r>
            </a:p>
          </p:txBody>
        </p:sp>
        <p:pic>
          <p:nvPicPr>
            <p:cNvPr id="133" name="Picture 132"/>
            <p:cNvPicPr>
              <a:picLocks noChangeAspect="1"/>
            </p:cNvPicPr>
            <p:nvPr/>
          </p:nvPicPr>
          <p:blipFill>
            <a:blip r:embed="rId4"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73331" y="633434"/>
              <a:ext cx="365760" cy="365760"/>
            </a:xfrm>
            <a:prstGeom prst="rect">
              <a:avLst/>
            </a:prstGeom>
          </p:spPr>
        </p:pic>
        <p:pic>
          <p:nvPicPr>
            <p:cNvPr id="134" name="Picture 133"/>
            <p:cNvPicPr>
              <a:picLocks noChangeAspect="1"/>
            </p:cNvPicPr>
            <p:nvPr/>
          </p:nvPicPr>
          <p:blipFill>
            <a:blip r:embed="rId4"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823573" y="728688"/>
              <a:ext cx="365760" cy="365760"/>
            </a:xfrm>
            <a:prstGeom prst="rect">
              <a:avLst/>
            </a:prstGeom>
          </p:spPr>
        </p:pic>
      </p:grpSp>
      <p:grpSp>
        <p:nvGrpSpPr>
          <p:cNvPr id="135" name="Group 134"/>
          <p:cNvGrpSpPr/>
          <p:nvPr/>
        </p:nvGrpSpPr>
        <p:grpSpPr>
          <a:xfrm>
            <a:off x="1741347" y="988154"/>
            <a:ext cx="8612597" cy="542244"/>
            <a:chOff x="1826710" y="557590"/>
            <a:chExt cx="6459446" cy="406683"/>
          </a:xfrm>
        </p:grpSpPr>
        <p:sp>
          <p:nvSpPr>
            <p:cNvPr id="136" name="Rounded Rectangle 83"/>
            <p:cNvSpPr/>
            <p:nvPr/>
          </p:nvSpPr>
          <p:spPr bwMode="auto">
            <a:xfrm>
              <a:off x="7277998" y="809550"/>
              <a:ext cx="1008158" cy="154723"/>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18" eaLnBrk="0" hangingPunct="0">
                <a:defRPr/>
              </a:pPr>
              <a:r>
                <a:rPr lang="en-US" sz="1100" kern="0" dirty="0">
                  <a:solidFill>
                    <a:sysClr val="windowText" lastClr="000000"/>
                  </a:solidFill>
                  <a:latin typeface="Calibri" panose="020F0502020204030204" pitchFamily="34" charset="0"/>
                  <a:ea typeface="ＭＳ Ｐゴシック" pitchFamily="-12" charset="-128"/>
                  <a:cs typeface="Calibri" pitchFamily="34" charset="0"/>
                </a:rPr>
                <a:t>QE Tower Lead</a:t>
              </a:r>
            </a:p>
          </p:txBody>
        </p:sp>
        <p:pic>
          <p:nvPicPr>
            <p:cNvPr id="137" name="Picture 136"/>
            <p:cNvPicPr>
              <a:picLocks noChangeAspect="1"/>
            </p:cNvPicPr>
            <p:nvPr/>
          </p:nvPicPr>
          <p:blipFill>
            <a:blip r:embed="rId3"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650493" y="568093"/>
              <a:ext cx="274320" cy="274320"/>
            </a:xfrm>
            <a:prstGeom prst="rect">
              <a:avLst/>
            </a:prstGeom>
          </p:spPr>
        </p:pic>
        <p:pic>
          <p:nvPicPr>
            <p:cNvPr id="138" name="Picture 137"/>
            <p:cNvPicPr>
              <a:picLocks noChangeAspect="1"/>
            </p:cNvPicPr>
            <p:nvPr/>
          </p:nvPicPr>
          <p:blipFill>
            <a:blip r:embed="rId3"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826710" y="557590"/>
              <a:ext cx="274320" cy="274320"/>
            </a:xfrm>
            <a:prstGeom prst="rect">
              <a:avLst/>
            </a:prstGeom>
          </p:spPr>
        </p:pic>
      </p:grpSp>
      <p:sp>
        <p:nvSpPr>
          <p:cNvPr id="139" name="Rectangle 138"/>
          <p:cNvSpPr/>
          <p:nvPr/>
        </p:nvSpPr>
        <p:spPr>
          <a:xfrm>
            <a:off x="9091010" y="1837967"/>
            <a:ext cx="2616828" cy="436765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endParaRPr lang="en-US" sz="2400" dirty="0">
              <a:solidFill>
                <a:prstClr val="white"/>
              </a:solidFill>
              <a:latin typeface="Arial"/>
            </a:endParaRPr>
          </a:p>
        </p:txBody>
      </p:sp>
      <p:sp>
        <p:nvSpPr>
          <p:cNvPr id="140" name="TextBox 139"/>
          <p:cNvSpPr txBox="1"/>
          <p:nvPr/>
        </p:nvSpPr>
        <p:spPr>
          <a:xfrm>
            <a:off x="9465317" y="2599658"/>
            <a:ext cx="1827507" cy="261610"/>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Platform Infra Architect</a:t>
            </a:r>
          </a:p>
        </p:txBody>
      </p:sp>
      <p:sp>
        <p:nvSpPr>
          <p:cNvPr id="141" name="TextBox 140"/>
          <p:cNvSpPr txBox="1"/>
          <p:nvPr/>
        </p:nvSpPr>
        <p:spPr>
          <a:xfrm>
            <a:off x="9540763" y="3220537"/>
            <a:ext cx="1031580" cy="600164"/>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DevOps Engineers/</a:t>
            </a:r>
          </a:p>
          <a:p>
            <a:pPr algn="ctr" defTabSz="1218846">
              <a:defRPr/>
            </a:pPr>
            <a:r>
              <a:rPr lang="en-US" sz="1100" b="1" kern="0" dirty="0" smtClean="0">
                <a:solidFill>
                  <a:sysClr val="windowText" lastClr="000000"/>
                </a:solidFill>
                <a:latin typeface="Calibri" pitchFamily="34" charset="0"/>
              </a:rPr>
              <a:t>Dev</a:t>
            </a:r>
          </a:p>
        </p:txBody>
      </p:sp>
      <p:sp>
        <p:nvSpPr>
          <p:cNvPr id="142" name="TextBox 141"/>
          <p:cNvSpPr txBox="1"/>
          <p:nvPr/>
        </p:nvSpPr>
        <p:spPr>
          <a:xfrm>
            <a:off x="10311381" y="3205160"/>
            <a:ext cx="937800"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Infra Engineers</a:t>
            </a:r>
          </a:p>
        </p:txBody>
      </p:sp>
      <p:sp>
        <p:nvSpPr>
          <p:cNvPr id="143" name="Circular Arrow 142"/>
          <p:cNvSpPr/>
          <p:nvPr/>
        </p:nvSpPr>
        <p:spPr>
          <a:xfrm>
            <a:off x="9246979" y="1939854"/>
            <a:ext cx="2288532" cy="2255129"/>
          </a:xfrm>
          <a:prstGeom prst="circularArrow">
            <a:avLst>
              <a:gd name="adj1" fmla="val 3279"/>
              <a:gd name="adj2" fmla="val 1148341"/>
              <a:gd name="adj3" fmla="val 19725280"/>
              <a:gd name="adj4" fmla="val 21468055"/>
              <a:gd name="adj5" fmla="val 6736"/>
            </a:avLst>
          </a:prstGeom>
          <a:solidFill>
            <a:schemeClr val="tx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endParaRPr lang="en-US" sz="2400" dirty="0">
              <a:solidFill>
                <a:srgbClr val="50B3CF"/>
              </a:solidFill>
              <a:latin typeface="Arial"/>
            </a:endParaRPr>
          </a:p>
        </p:txBody>
      </p:sp>
      <p:sp>
        <p:nvSpPr>
          <p:cNvPr id="144" name="Round Same Side Corner Rectangle 143"/>
          <p:cNvSpPr/>
          <p:nvPr/>
        </p:nvSpPr>
        <p:spPr>
          <a:xfrm rot="16200000">
            <a:off x="-1555049" y="3699491"/>
            <a:ext cx="4545425" cy="503799"/>
          </a:xfrm>
          <a:prstGeom prst="round2SameRect">
            <a:avLst>
              <a:gd name="adj1" fmla="val 50000"/>
              <a:gd name="adj2" fmla="val 0"/>
            </a:avLst>
          </a:prstGeom>
          <a:solidFill>
            <a:srgbClr val="0070C0"/>
          </a:solidFill>
          <a:ln w="9525" cap="flat" cmpd="sng" algn="ctr">
            <a:noFill/>
            <a:prstDash val="solid"/>
          </a:ln>
          <a:effectLst/>
        </p:spPr>
        <p:txBody>
          <a:bodyPr rtlCol="0" anchor="ctr"/>
          <a:lstStyle/>
          <a:p>
            <a:pPr algn="ctr" defTabSz="602001">
              <a:defRPr/>
            </a:pPr>
            <a:r>
              <a:rPr lang="en-US" sz="1600" b="1" kern="0" dirty="0">
                <a:solidFill>
                  <a:srgbClr val="FFFFFF"/>
                </a:solidFill>
                <a:latin typeface="Calibri" panose="020F0502020204030204"/>
                <a:cs typeface="Arial" panose="020B0604020202020204" pitchFamily="34" charset="0"/>
              </a:rPr>
              <a:t>Delivery Team</a:t>
            </a:r>
          </a:p>
        </p:txBody>
      </p:sp>
      <p:sp>
        <p:nvSpPr>
          <p:cNvPr id="145" name="Rectangle 144"/>
          <p:cNvSpPr/>
          <p:nvPr/>
        </p:nvSpPr>
        <p:spPr>
          <a:xfrm>
            <a:off x="1004900" y="1713597"/>
            <a:ext cx="8069753" cy="256665"/>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r>
              <a:rPr lang="en-US" sz="1600" b="1" dirty="0" smtClean="0">
                <a:solidFill>
                  <a:prstClr val="white"/>
                </a:solidFill>
                <a:latin typeface="Calibri" panose="020F0502020204030204" pitchFamily="34" charset="0"/>
              </a:rPr>
              <a:t>Module Specific Support/Feature </a:t>
            </a:r>
            <a:r>
              <a:rPr lang="en-US" sz="1600" b="1" dirty="0">
                <a:solidFill>
                  <a:prstClr val="white"/>
                </a:solidFill>
                <a:latin typeface="Calibri" panose="020F0502020204030204" pitchFamily="34" charset="0"/>
              </a:rPr>
              <a:t>PODS</a:t>
            </a:r>
          </a:p>
        </p:txBody>
      </p:sp>
      <p:sp>
        <p:nvSpPr>
          <p:cNvPr id="146" name="Rectangle 145"/>
          <p:cNvSpPr/>
          <p:nvPr/>
        </p:nvSpPr>
        <p:spPr>
          <a:xfrm>
            <a:off x="9091010" y="1713595"/>
            <a:ext cx="2602369" cy="274320"/>
          </a:xfrm>
          <a:prstGeom prst="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r>
              <a:rPr lang="en-US" sz="1600" b="1" dirty="0" smtClean="0">
                <a:solidFill>
                  <a:prstClr val="white"/>
                </a:solidFill>
                <a:latin typeface="Calibri" panose="020F0502020204030204" pitchFamily="34" charset="0"/>
              </a:rPr>
              <a:t>Platform POD</a:t>
            </a:r>
            <a:endParaRPr lang="en-US" sz="1600" b="1" dirty="0">
              <a:solidFill>
                <a:prstClr val="white"/>
              </a:solidFill>
              <a:latin typeface="Calibri" panose="020F0502020204030204" pitchFamily="34" charset="0"/>
            </a:endParaRPr>
          </a:p>
        </p:txBody>
      </p:sp>
      <p:sp>
        <p:nvSpPr>
          <p:cNvPr id="147" name="TextBox 146"/>
          <p:cNvSpPr txBox="1"/>
          <p:nvPr/>
        </p:nvSpPr>
        <p:spPr>
          <a:xfrm rot="16200000">
            <a:off x="-185504" y="4070257"/>
            <a:ext cx="2491247" cy="297454"/>
          </a:xfrm>
          <a:prstGeom prst="rect">
            <a:avLst/>
          </a:prstGeom>
          <a:noFill/>
          <a:ln>
            <a:noFill/>
            <a:prstDash val="dash"/>
          </a:ln>
        </p:spPr>
        <p:txBody>
          <a:bodyPr wrap="square" rtlCol="0">
            <a:spAutoFit/>
          </a:bodyPr>
          <a:lstStyle/>
          <a:p>
            <a:pPr algn="ctr" defTabSz="609539">
              <a:defRPr/>
            </a:pPr>
            <a:r>
              <a:rPr lang="en-US" sz="1333" b="1" i="1" dirty="0">
                <a:solidFill>
                  <a:srgbClr val="141414"/>
                </a:solidFill>
                <a:latin typeface="Arial"/>
              </a:rPr>
              <a:t>Pod Size : 6-9 x 3</a:t>
            </a:r>
          </a:p>
        </p:txBody>
      </p:sp>
      <p:sp>
        <p:nvSpPr>
          <p:cNvPr id="148" name="TextBox 147"/>
          <p:cNvSpPr txBox="1"/>
          <p:nvPr/>
        </p:nvSpPr>
        <p:spPr>
          <a:xfrm rot="16200000">
            <a:off x="8243587" y="3130998"/>
            <a:ext cx="1971004" cy="297454"/>
          </a:xfrm>
          <a:prstGeom prst="rect">
            <a:avLst/>
          </a:prstGeom>
          <a:noFill/>
          <a:ln>
            <a:noFill/>
            <a:prstDash val="dash"/>
          </a:ln>
        </p:spPr>
        <p:txBody>
          <a:bodyPr wrap="square" rtlCol="0">
            <a:spAutoFit/>
          </a:bodyPr>
          <a:lstStyle/>
          <a:p>
            <a:pPr algn="ctr" defTabSz="609539">
              <a:defRPr/>
            </a:pPr>
            <a:r>
              <a:rPr lang="en-US" sz="1333" b="1" i="1" dirty="0">
                <a:solidFill>
                  <a:srgbClr val="141414"/>
                </a:solidFill>
                <a:latin typeface="Arial"/>
              </a:rPr>
              <a:t>Pod Size : 4-6 x 1</a:t>
            </a:r>
          </a:p>
        </p:txBody>
      </p:sp>
      <p:sp>
        <p:nvSpPr>
          <p:cNvPr id="149" name="TextBox 148"/>
          <p:cNvSpPr txBox="1"/>
          <p:nvPr/>
        </p:nvSpPr>
        <p:spPr>
          <a:xfrm>
            <a:off x="3979817" y="5705747"/>
            <a:ext cx="1827505" cy="261610"/>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Scrum Master</a:t>
            </a:r>
            <a:endParaRPr lang="en-US" sz="1100" b="1" kern="0" dirty="0">
              <a:solidFill>
                <a:sysClr val="windowText" lastClr="000000"/>
              </a:solidFill>
              <a:latin typeface="Calibri" pitchFamily="34" charset="0"/>
            </a:endParaRPr>
          </a:p>
        </p:txBody>
      </p:sp>
      <p:pic>
        <p:nvPicPr>
          <p:cNvPr id="150" name="Picture 149"/>
          <p:cNvPicPr>
            <a:picLocks noChangeAspect="1"/>
          </p:cNvPicPr>
          <p:nvPr/>
        </p:nvPicPr>
        <p:blipFill>
          <a:blip r:embed="rId5"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51468" y="4468971"/>
            <a:ext cx="252523" cy="326176"/>
          </a:xfrm>
          <a:prstGeom prst="rect">
            <a:avLst/>
          </a:prstGeom>
        </p:spPr>
      </p:pic>
      <p:sp>
        <p:nvSpPr>
          <p:cNvPr id="151" name="TextBox 150"/>
          <p:cNvSpPr txBox="1"/>
          <p:nvPr/>
        </p:nvSpPr>
        <p:spPr>
          <a:xfrm>
            <a:off x="4254207" y="4775797"/>
            <a:ext cx="1296868" cy="261610"/>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Product Owner</a:t>
            </a:r>
            <a:endParaRPr lang="en-US" sz="1100" b="1" kern="0" dirty="0">
              <a:solidFill>
                <a:sysClr val="windowText" lastClr="000000"/>
              </a:solidFill>
              <a:latin typeface="Calibri" pitchFamily="34" charset="0"/>
            </a:endParaRPr>
          </a:p>
        </p:txBody>
      </p:sp>
      <p:grpSp>
        <p:nvGrpSpPr>
          <p:cNvPr id="152" name="Group 151"/>
          <p:cNvGrpSpPr/>
          <p:nvPr/>
        </p:nvGrpSpPr>
        <p:grpSpPr>
          <a:xfrm>
            <a:off x="4633880" y="6353912"/>
            <a:ext cx="3529411" cy="391320"/>
            <a:chOff x="2530536" y="4755976"/>
            <a:chExt cx="2612458" cy="302581"/>
          </a:xfrm>
        </p:grpSpPr>
        <p:sp>
          <p:nvSpPr>
            <p:cNvPr id="153" name="Rounded Rectangle 152"/>
            <p:cNvSpPr/>
            <p:nvPr/>
          </p:nvSpPr>
          <p:spPr>
            <a:xfrm>
              <a:off x="2530536" y="4755976"/>
              <a:ext cx="2557973" cy="302581"/>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defRPr/>
              </a:pPr>
              <a:endParaRPr lang="en-US" sz="1067" dirty="0">
                <a:solidFill>
                  <a:prstClr val="white"/>
                </a:solidFill>
                <a:latin typeface="Arial"/>
              </a:endParaRPr>
            </a:p>
          </p:txBody>
        </p:sp>
        <p:pic>
          <p:nvPicPr>
            <p:cNvPr id="154" name="Picture 153"/>
            <p:cNvPicPr>
              <a:picLocks noChangeAspect="1"/>
            </p:cNvPicPr>
            <p:nvPr/>
          </p:nvPicPr>
          <p:blipFill>
            <a:blip r:embed="rId6" cstate="print">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62483" y="4828860"/>
              <a:ext cx="131764" cy="159604"/>
            </a:xfrm>
            <a:prstGeom prst="rect">
              <a:avLst/>
            </a:prstGeom>
          </p:spPr>
        </p:pic>
        <p:pic>
          <p:nvPicPr>
            <p:cNvPr id="155" name="Picture 154"/>
            <p:cNvPicPr>
              <a:picLocks noChangeAspect="1"/>
            </p:cNvPicPr>
            <p:nvPr/>
          </p:nvPicPr>
          <p:blipFill>
            <a:blip r:embed="rId6"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341445" y="4829956"/>
              <a:ext cx="144154" cy="174612"/>
            </a:xfrm>
            <a:prstGeom prst="rect">
              <a:avLst/>
            </a:prstGeom>
          </p:spPr>
        </p:pic>
        <p:pic>
          <p:nvPicPr>
            <p:cNvPr id="156" name="Picture 155"/>
            <p:cNvPicPr>
              <a:picLocks noChangeAspect="1"/>
            </p:cNvPicPr>
            <p:nvPr/>
          </p:nvPicPr>
          <p:blipFill>
            <a:blip r:embed="rId7"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025962" y="4822274"/>
              <a:ext cx="128664" cy="166191"/>
            </a:xfrm>
            <a:prstGeom prst="rect">
              <a:avLst/>
            </a:prstGeom>
          </p:spPr>
        </p:pic>
        <p:sp>
          <p:nvSpPr>
            <p:cNvPr id="157" name="Rounded Rectangle 83"/>
            <p:cNvSpPr/>
            <p:nvPr/>
          </p:nvSpPr>
          <p:spPr bwMode="auto">
            <a:xfrm>
              <a:off x="2849222" y="4829478"/>
              <a:ext cx="595980" cy="20291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685718" eaLnBrk="0" hangingPunct="0">
                <a:defRPr/>
              </a:pPr>
              <a:r>
                <a:rPr lang="en-US" sz="1067" kern="0" dirty="0" smtClean="0">
                  <a:solidFill>
                    <a:sysClr val="windowText" lastClr="000000"/>
                  </a:solidFill>
                  <a:latin typeface="Calibri" panose="020F0502020204030204" pitchFamily="34" charset="0"/>
                  <a:ea typeface="ＭＳ Ｐゴシック" pitchFamily="-12" charset="-128"/>
                  <a:cs typeface="Calibri" pitchFamily="34" charset="0"/>
                </a:rPr>
                <a:t>Marriott</a:t>
              </a:r>
              <a:endParaRPr lang="en-US" sz="1067" kern="0" dirty="0">
                <a:solidFill>
                  <a:sysClr val="windowText" lastClr="000000"/>
                </a:solidFill>
                <a:latin typeface="Calibri" panose="020F0502020204030204" pitchFamily="34" charset="0"/>
                <a:ea typeface="ＭＳ Ｐゴシック" pitchFamily="-12" charset="-128"/>
                <a:cs typeface="Calibri" pitchFamily="34" charset="0"/>
              </a:endParaRPr>
            </a:p>
          </p:txBody>
        </p:sp>
        <p:sp>
          <p:nvSpPr>
            <p:cNvPr id="158" name="Rounded Rectangle 83"/>
            <p:cNvSpPr/>
            <p:nvPr/>
          </p:nvSpPr>
          <p:spPr bwMode="auto">
            <a:xfrm>
              <a:off x="3502994" y="4831326"/>
              <a:ext cx="595980" cy="20291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685718" eaLnBrk="0" hangingPunct="0">
                <a:defRPr/>
              </a:pPr>
              <a:r>
                <a:rPr lang="en-US" sz="1067" kern="0" dirty="0">
                  <a:solidFill>
                    <a:sysClr val="windowText" lastClr="000000"/>
                  </a:solidFill>
                  <a:latin typeface="Calibri" panose="020F0502020204030204" pitchFamily="34" charset="0"/>
                  <a:ea typeface="ＭＳ Ｐゴシック" pitchFamily="-12" charset="-128"/>
                  <a:cs typeface="Calibri" pitchFamily="34" charset="0"/>
                </a:rPr>
                <a:t>Cognizant</a:t>
              </a:r>
            </a:p>
          </p:txBody>
        </p:sp>
        <p:sp>
          <p:nvSpPr>
            <p:cNvPr id="159" name="Rounded Rectangle 83"/>
            <p:cNvSpPr/>
            <p:nvPr/>
          </p:nvSpPr>
          <p:spPr bwMode="auto">
            <a:xfrm>
              <a:off x="4232894" y="4804834"/>
              <a:ext cx="910100" cy="203853"/>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685718" eaLnBrk="0" hangingPunct="0">
                <a:defRPr/>
              </a:pPr>
              <a:r>
                <a:rPr lang="en-US" sz="1067" kern="0" dirty="0" smtClean="0">
                  <a:solidFill>
                    <a:sysClr val="windowText" lastClr="000000"/>
                  </a:solidFill>
                  <a:latin typeface="Calibri" panose="020F0502020204030204" pitchFamily="34" charset="0"/>
                  <a:ea typeface="ＭＳ Ｐゴシック" pitchFamily="-12" charset="-128"/>
                  <a:cs typeface="Calibri" pitchFamily="34" charset="0"/>
                </a:rPr>
                <a:t>Marriott </a:t>
              </a:r>
              <a:r>
                <a:rPr lang="en-US" sz="1067" kern="0" dirty="0">
                  <a:solidFill>
                    <a:sysClr val="windowText" lastClr="000000"/>
                  </a:solidFill>
                  <a:latin typeface="Calibri" panose="020F0502020204030204" pitchFamily="34" charset="0"/>
                  <a:ea typeface="ＭＳ Ｐゴシック" pitchFamily="-12" charset="-128"/>
                  <a:cs typeface="Calibri" pitchFamily="34" charset="0"/>
                </a:rPr>
                <a:t>/ Cognizant</a:t>
              </a:r>
            </a:p>
          </p:txBody>
        </p:sp>
      </p:grpSp>
      <p:pic>
        <p:nvPicPr>
          <p:cNvPr id="160" name="Picture 159"/>
          <p:cNvPicPr>
            <a:picLocks noChangeAspect="1"/>
          </p:cNvPicPr>
          <p:nvPr/>
        </p:nvPicPr>
        <p:blipFill>
          <a:blip r:embed="rId8"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9992240" y="2965293"/>
            <a:ext cx="227525" cy="293887"/>
          </a:xfrm>
          <a:prstGeom prst="rect">
            <a:avLst/>
          </a:prstGeom>
        </p:spPr>
      </p:pic>
      <p:pic>
        <p:nvPicPr>
          <p:cNvPr id="161" name="Picture 160"/>
          <p:cNvPicPr>
            <a:picLocks noChangeAspect="1"/>
          </p:cNvPicPr>
          <p:nvPr/>
        </p:nvPicPr>
        <p:blipFill>
          <a:blip r:embed="rId8"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0456008" y="2971800"/>
            <a:ext cx="224085" cy="289444"/>
          </a:xfrm>
          <a:prstGeom prst="rect">
            <a:avLst/>
          </a:prstGeom>
        </p:spPr>
      </p:pic>
      <p:pic>
        <p:nvPicPr>
          <p:cNvPr id="162" name="Picture 161"/>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633661" y="2962143"/>
            <a:ext cx="231563" cy="299102"/>
          </a:xfrm>
          <a:prstGeom prst="rect">
            <a:avLst/>
          </a:prstGeom>
        </p:spPr>
      </p:pic>
      <p:pic>
        <p:nvPicPr>
          <p:cNvPr id="163" name="Picture 162"/>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067623" y="2455534"/>
            <a:ext cx="260696" cy="307697"/>
          </a:xfrm>
          <a:prstGeom prst="rect">
            <a:avLst/>
          </a:prstGeom>
        </p:spPr>
      </p:pic>
      <p:sp>
        <p:nvSpPr>
          <p:cNvPr id="164" name="TextBox 163"/>
          <p:cNvSpPr txBox="1"/>
          <p:nvPr/>
        </p:nvSpPr>
        <p:spPr>
          <a:xfrm>
            <a:off x="5621951" y="2705540"/>
            <a:ext cx="1047790" cy="430887"/>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Full Stack Engineers</a:t>
            </a:r>
            <a:endParaRPr lang="en-US" sz="1100" b="1" kern="0" dirty="0">
              <a:solidFill>
                <a:sysClr val="windowText" lastClr="000000"/>
              </a:solidFill>
              <a:latin typeface="Calibri" pitchFamily="34" charset="0"/>
            </a:endParaRPr>
          </a:p>
        </p:txBody>
      </p:sp>
      <p:pic>
        <p:nvPicPr>
          <p:cNvPr id="165" name="Picture 164"/>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884899" y="3046990"/>
            <a:ext cx="260696" cy="307697"/>
          </a:xfrm>
          <a:prstGeom prst="rect">
            <a:avLst/>
          </a:prstGeom>
        </p:spPr>
      </p:pic>
      <p:pic>
        <p:nvPicPr>
          <p:cNvPr id="166" name="Picture 165"/>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495583" y="3400087"/>
            <a:ext cx="260696" cy="307697"/>
          </a:xfrm>
          <a:prstGeom prst="rect">
            <a:avLst/>
          </a:prstGeom>
        </p:spPr>
      </p:pic>
      <p:sp>
        <p:nvSpPr>
          <p:cNvPr id="167" name="TextBox 166"/>
          <p:cNvSpPr txBox="1"/>
          <p:nvPr/>
        </p:nvSpPr>
        <p:spPr>
          <a:xfrm>
            <a:off x="6224481" y="3641666"/>
            <a:ext cx="118596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Quality Engineers</a:t>
            </a:r>
          </a:p>
        </p:txBody>
      </p:sp>
      <p:pic>
        <p:nvPicPr>
          <p:cNvPr id="168" name="Picture 167"/>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31571" y="3046990"/>
            <a:ext cx="260696" cy="307697"/>
          </a:xfrm>
          <a:prstGeom prst="rect">
            <a:avLst/>
          </a:prstGeom>
        </p:spPr>
      </p:pic>
      <p:pic>
        <p:nvPicPr>
          <p:cNvPr id="169" name="Picture 168"/>
          <p:cNvPicPr>
            <a:picLocks noChangeAspect="1"/>
          </p:cNvPicPr>
          <p:nvPr/>
        </p:nvPicPr>
        <p:blipFill>
          <a:blip r:embed="rId9"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704190" y="2145558"/>
            <a:ext cx="260696" cy="307697"/>
          </a:xfrm>
          <a:prstGeom prst="rect">
            <a:avLst/>
          </a:prstGeom>
        </p:spPr>
      </p:pic>
      <p:pic>
        <p:nvPicPr>
          <p:cNvPr id="170" name="Picture 169"/>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664539" y="3400087"/>
            <a:ext cx="260696" cy="307697"/>
          </a:xfrm>
          <a:prstGeom prst="rect">
            <a:avLst/>
          </a:prstGeom>
        </p:spPr>
      </p:pic>
      <p:sp>
        <p:nvSpPr>
          <p:cNvPr id="171" name="Oval 170"/>
          <p:cNvSpPr/>
          <p:nvPr/>
        </p:nvSpPr>
        <p:spPr>
          <a:xfrm>
            <a:off x="5636430" y="2206933"/>
            <a:ext cx="376303" cy="404539"/>
          </a:xfrm>
          <a:prstGeom prst="ellipse">
            <a:avLst/>
          </a:prstGeom>
          <a:solidFill>
            <a:schemeClr val="bg1"/>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2700">
              <a:defRPr/>
            </a:pPr>
            <a:r>
              <a:rPr lang="en-US" sz="1600" b="1" dirty="0">
                <a:solidFill>
                  <a:srgbClr val="141414"/>
                </a:solidFill>
                <a:latin typeface="Arial"/>
              </a:rPr>
              <a:t>2</a:t>
            </a:r>
          </a:p>
        </p:txBody>
      </p:sp>
      <p:sp>
        <p:nvSpPr>
          <p:cNvPr id="172" name="TextBox 171"/>
          <p:cNvSpPr txBox="1"/>
          <p:nvPr/>
        </p:nvSpPr>
        <p:spPr>
          <a:xfrm>
            <a:off x="6282004" y="2376675"/>
            <a:ext cx="111880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Business Analyst</a:t>
            </a:r>
          </a:p>
        </p:txBody>
      </p:sp>
      <p:pic>
        <p:nvPicPr>
          <p:cNvPr id="173" name="Picture 172"/>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247678" y="3184287"/>
            <a:ext cx="260696" cy="307697"/>
          </a:xfrm>
          <a:prstGeom prst="rect">
            <a:avLst/>
          </a:prstGeom>
        </p:spPr>
      </p:pic>
      <p:sp>
        <p:nvSpPr>
          <p:cNvPr id="174" name="TextBox 173"/>
          <p:cNvSpPr txBox="1"/>
          <p:nvPr/>
        </p:nvSpPr>
        <p:spPr>
          <a:xfrm>
            <a:off x="7067073" y="3425960"/>
            <a:ext cx="75177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Project Manage</a:t>
            </a:r>
          </a:p>
        </p:txBody>
      </p:sp>
      <p:pic>
        <p:nvPicPr>
          <p:cNvPr id="175" name="Picture 174"/>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305391" y="2497479"/>
            <a:ext cx="260696" cy="307697"/>
          </a:xfrm>
          <a:prstGeom prst="rect">
            <a:avLst/>
          </a:prstGeom>
        </p:spPr>
      </p:pic>
      <p:sp>
        <p:nvSpPr>
          <p:cNvPr id="176" name="TextBox 175"/>
          <p:cNvSpPr txBox="1"/>
          <p:nvPr/>
        </p:nvSpPr>
        <p:spPr>
          <a:xfrm>
            <a:off x="7080937" y="2734469"/>
            <a:ext cx="771352"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Lead/</a:t>
            </a:r>
          </a:p>
          <a:p>
            <a:pPr algn="ctr" defTabSz="1218846">
              <a:defRPr/>
            </a:pPr>
            <a:r>
              <a:rPr lang="en-US" sz="1100" b="1" kern="0" dirty="0">
                <a:solidFill>
                  <a:sysClr val="windowText" lastClr="000000"/>
                </a:solidFill>
                <a:latin typeface="Calibri" pitchFamily="34" charset="0"/>
              </a:rPr>
              <a:t>Designer</a:t>
            </a:r>
          </a:p>
        </p:txBody>
      </p:sp>
      <p:sp>
        <p:nvSpPr>
          <p:cNvPr id="177" name="Oval 176"/>
          <p:cNvSpPr/>
          <p:nvPr/>
        </p:nvSpPr>
        <p:spPr>
          <a:xfrm>
            <a:off x="6653255" y="4118729"/>
            <a:ext cx="376303" cy="404539"/>
          </a:xfrm>
          <a:prstGeom prst="ellipse">
            <a:avLst/>
          </a:prstGeom>
          <a:solidFill>
            <a:schemeClr val="bg1"/>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2700">
              <a:defRPr/>
            </a:pPr>
            <a:r>
              <a:rPr lang="en-US" sz="1600" b="1" dirty="0">
                <a:solidFill>
                  <a:srgbClr val="141414"/>
                </a:solidFill>
                <a:latin typeface="Arial"/>
              </a:rPr>
              <a:t>4</a:t>
            </a:r>
          </a:p>
        </p:txBody>
      </p:sp>
      <p:pic>
        <p:nvPicPr>
          <p:cNvPr id="179" name="Picture 178"/>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083707" y="4639235"/>
            <a:ext cx="225393" cy="266029"/>
          </a:xfrm>
          <a:prstGeom prst="rect">
            <a:avLst/>
          </a:prstGeom>
        </p:spPr>
      </p:pic>
      <p:sp>
        <p:nvSpPr>
          <p:cNvPr id="180" name="TextBox 179"/>
          <p:cNvSpPr txBox="1"/>
          <p:nvPr/>
        </p:nvSpPr>
        <p:spPr>
          <a:xfrm>
            <a:off x="1638807" y="4860795"/>
            <a:ext cx="1155260"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Support Engineers</a:t>
            </a:r>
          </a:p>
        </p:txBody>
      </p:sp>
      <p:pic>
        <p:nvPicPr>
          <p:cNvPr id="181" name="Picture 180"/>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551224" y="5382986"/>
            <a:ext cx="203820" cy="240567"/>
          </a:xfrm>
          <a:prstGeom prst="rect">
            <a:avLst/>
          </a:prstGeom>
        </p:spPr>
      </p:pic>
      <p:sp>
        <p:nvSpPr>
          <p:cNvPr id="182" name="TextBox 181"/>
          <p:cNvSpPr txBox="1"/>
          <p:nvPr/>
        </p:nvSpPr>
        <p:spPr>
          <a:xfrm>
            <a:off x="3139653" y="5614020"/>
            <a:ext cx="118596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Quality Engineers</a:t>
            </a:r>
          </a:p>
        </p:txBody>
      </p:sp>
      <p:pic>
        <p:nvPicPr>
          <p:cNvPr id="183" name="Picture 182"/>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22722" y="5409880"/>
            <a:ext cx="203820" cy="240567"/>
          </a:xfrm>
          <a:prstGeom prst="rect">
            <a:avLst/>
          </a:prstGeom>
        </p:spPr>
      </p:pic>
      <p:sp>
        <p:nvSpPr>
          <p:cNvPr id="184" name="Oval 183"/>
          <p:cNvSpPr/>
          <p:nvPr/>
        </p:nvSpPr>
        <p:spPr>
          <a:xfrm>
            <a:off x="2630999" y="4149137"/>
            <a:ext cx="376303" cy="404539"/>
          </a:xfrm>
          <a:prstGeom prst="ellipse">
            <a:avLst/>
          </a:prstGeom>
          <a:solidFill>
            <a:schemeClr val="bg1"/>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2700">
              <a:defRPr/>
            </a:pPr>
            <a:r>
              <a:rPr lang="en-US" sz="1600" b="1" dirty="0">
                <a:solidFill>
                  <a:srgbClr val="141414"/>
                </a:solidFill>
                <a:latin typeface="Arial"/>
              </a:rPr>
              <a:t>3</a:t>
            </a:r>
          </a:p>
        </p:txBody>
      </p:sp>
      <p:pic>
        <p:nvPicPr>
          <p:cNvPr id="185" name="Picture 184"/>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177450" y="4651224"/>
            <a:ext cx="224656" cy="265159"/>
          </a:xfrm>
          <a:prstGeom prst="rect">
            <a:avLst/>
          </a:prstGeom>
        </p:spPr>
      </p:pic>
      <p:sp>
        <p:nvSpPr>
          <p:cNvPr id="186" name="TextBox 185"/>
          <p:cNvSpPr txBox="1"/>
          <p:nvPr/>
        </p:nvSpPr>
        <p:spPr>
          <a:xfrm>
            <a:off x="2958421" y="4860525"/>
            <a:ext cx="808835"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Lead/</a:t>
            </a:r>
          </a:p>
          <a:p>
            <a:pPr algn="ctr" defTabSz="1218846">
              <a:defRPr/>
            </a:pPr>
            <a:r>
              <a:rPr lang="en-US" sz="1100" b="1" kern="0" dirty="0">
                <a:solidFill>
                  <a:sysClr val="windowText" lastClr="000000"/>
                </a:solidFill>
                <a:latin typeface="Calibri" pitchFamily="34" charset="0"/>
              </a:rPr>
              <a:t>Designer</a:t>
            </a:r>
          </a:p>
        </p:txBody>
      </p:sp>
      <p:sp>
        <p:nvSpPr>
          <p:cNvPr id="187" name="TextBox 186"/>
          <p:cNvSpPr txBox="1"/>
          <p:nvPr/>
        </p:nvSpPr>
        <p:spPr>
          <a:xfrm>
            <a:off x="1515813" y="5649443"/>
            <a:ext cx="907805" cy="261610"/>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Developers</a:t>
            </a:r>
            <a:endParaRPr lang="en-US" sz="1100" b="1" kern="0" dirty="0">
              <a:solidFill>
                <a:sysClr val="windowText" lastClr="000000"/>
              </a:solidFill>
              <a:latin typeface="Calibri" pitchFamily="34" charset="0"/>
            </a:endParaRPr>
          </a:p>
        </p:txBody>
      </p:sp>
      <p:pic>
        <p:nvPicPr>
          <p:cNvPr id="188" name="Picture 187"/>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749536" y="5428434"/>
            <a:ext cx="239323" cy="282470"/>
          </a:xfrm>
          <a:prstGeom prst="rect">
            <a:avLst/>
          </a:prstGeom>
        </p:spPr>
      </p:pic>
      <p:pic>
        <p:nvPicPr>
          <p:cNvPr id="189" name="Picture 188"/>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789042" y="5485453"/>
            <a:ext cx="202704" cy="239249"/>
          </a:xfrm>
          <a:prstGeom prst="rect">
            <a:avLst/>
          </a:prstGeom>
        </p:spPr>
      </p:pic>
      <p:pic>
        <p:nvPicPr>
          <p:cNvPr id="190" name="Picture 189"/>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35378" y="5458559"/>
            <a:ext cx="202704" cy="239249"/>
          </a:xfrm>
          <a:prstGeom prst="rect">
            <a:avLst/>
          </a:prstGeom>
        </p:spPr>
      </p:pic>
      <p:sp>
        <p:nvSpPr>
          <p:cNvPr id="191" name="Circular Arrow 190"/>
          <p:cNvSpPr/>
          <p:nvPr/>
        </p:nvSpPr>
        <p:spPr>
          <a:xfrm>
            <a:off x="9227401" y="4284135"/>
            <a:ext cx="2355001" cy="2011824"/>
          </a:xfrm>
          <a:prstGeom prst="circularArrow">
            <a:avLst>
              <a:gd name="adj1" fmla="val 3279"/>
              <a:gd name="adj2" fmla="val 1148341"/>
              <a:gd name="adj3" fmla="val 19725280"/>
              <a:gd name="adj4" fmla="val 21468055"/>
              <a:gd name="adj5" fmla="val 6736"/>
            </a:avLst>
          </a:prstGeom>
          <a:solidFill>
            <a:schemeClr val="tx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endParaRPr lang="en-US" sz="2400" dirty="0">
              <a:solidFill>
                <a:srgbClr val="50B3CF"/>
              </a:solidFill>
              <a:latin typeface="Arial"/>
            </a:endParaRPr>
          </a:p>
        </p:txBody>
      </p:sp>
      <p:pic>
        <p:nvPicPr>
          <p:cNvPr id="192" name="Picture 191"/>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35754" y="2990557"/>
            <a:ext cx="225015" cy="265583"/>
          </a:xfrm>
          <a:prstGeom prst="rect">
            <a:avLst/>
          </a:prstGeom>
        </p:spPr>
      </p:pic>
      <p:sp>
        <p:nvSpPr>
          <p:cNvPr id="193" name="Rectangle 192"/>
          <p:cNvSpPr/>
          <p:nvPr/>
        </p:nvSpPr>
        <p:spPr>
          <a:xfrm>
            <a:off x="9107543" y="4088891"/>
            <a:ext cx="2560320" cy="274320"/>
          </a:xfrm>
          <a:prstGeom prst="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39">
              <a:defRPr/>
            </a:pPr>
            <a:r>
              <a:rPr lang="en-US" sz="1600" b="1" dirty="0">
                <a:solidFill>
                  <a:prstClr val="white"/>
                </a:solidFill>
                <a:latin typeface="Calibri" panose="020F0502020204030204" pitchFamily="34" charset="0"/>
              </a:rPr>
              <a:t>Release Certification POD</a:t>
            </a:r>
          </a:p>
        </p:txBody>
      </p:sp>
      <p:sp>
        <p:nvSpPr>
          <p:cNvPr id="195" name="TextBox 194"/>
          <p:cNvSpPr txBox="1"/>
          <p:nvPr/>
        </p:nvSpPr>
        <p:spPr>
          <a:xfrm>
            <a:off x="9362584" y="4826184"/>
            <a:ext cx="106616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Functional Test Architect</a:t>
            </a:r>
          </a:p>
        </p:txBody>
      </p:sp>
      <p:sp>
        <p:nvSpPr>
          <p:cNvPr id="196" name="TextBox 195"/>
          <p:cNvSpPr txBox="1"/>
          <p:nvPr/>
        </p:nvSpPr>
        <p:spPr>
          <a:xfrm>
            <a:off x="10274454" y="4816188"/>
            <a:ext cx="992047"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Performance Engineers</a:t>
            </a:r>
          </a:p>
        </p:txBody>
      </p:sp>
      <p:pic>
        <p:nvPicPr>
          <p:cNvPr id="199" name="Picture 198"/>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545154" y="5317735"/>
            <a:ext cx="260407" cy="307355"/>
          </a:xfrm>
          <a:prstGeom prst="rect">
            <a:avLst/>
          </a:prstGeom>
        </p:spPr>
      </p:pic>
      <p:pic>
        <p:nvPicPr>
          <p:cNvPr id="200" name="Picture 199"/>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810449" y="5315005"/>
            <a:ext cx="260407" cy="307355"/>
          </a:xfrm>
          <a:prstGeom prst="rect">
            <a:avLst/>
          </a:prstGeom>
        </p:spPr>
      </p:pic>
      <p:sp>
        <p:nvSpPr>
          <p:cNvPr id="202" name="TextBox 201"/>
          <p:cNvSpPr txBox="1"/>
          <p:nvPr/>
        </p:nvSpPr>
        <p:spPr>
          <a:xfrm>
            <a:off x="10266695" y="5567747"/>
            <a:ext cx="1031580"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Quality Engineers</a:t>
            </a:r>
          </a:p>
        </p:txBody>
      </p:sp>
      <p:sp>
        <p:nvSpPr>
          <p:cNvPr id="203" name="TextBox 202"/>
          <p:cNvSpPr txBox="1"/>
          <p:nvPr/>
        </p:nvSpPr>
        <p:spPr>
          <a:xfrm>
            <a:off x="9578891" y="5597000"/>
            <a:ext cx="1031580"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Security Test Engineers</a:t>
            </a:r>
          </a:p>
        </p:txBody>
      </p:sp>
      <p:pic>
        <p:nvPicPr>
          <p:cNvPr id="204" name="Picture 203"/>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957237" y="5312131"/>
            <a:ext cx="259683" cy="306501"/>
          </a:xfrm>
          <a:prstGeom prst="rect">
            <a:avLst/>
          </a:prstGeom>
        </p:spPr>
      </p:pic>
      <p:sp>
        <p:nvSpPr>
          <p:cNvPr id="205" name="Rectangle 204"/>
          <p:cNvSpPr/>
          <p:nvPr/>
        </p:nvSpPr>
        <p:spPr>
          <a:xfrm rot="16200000">
            <a:off x="347921" y="1156581"/>
            <a:ext cx="702435" cy="338554"/>
          </a:xfrm>
          <a:prstGeom prst="rect">
            <a:avLst/>
          </a:prstGeom>
        </p:spPr>
        <p:txBody>
          <a:bodyPr wrap="none" anchor="ctr">
            <a:spAutoFit/>
          </a:bodyPr>
          <a:lstStyle/>
          <a:p>
            <a:pPr algn="ctr" defTabSz="602001">
              <a:defRPr/>
            </a:pPr>
            <a:r>
              <a:rPr lang="en-US" sz="1600" b="1" kern="0" dirty="0">
                <a:solidFill>
                  <a:srgbClr val="FFFFFF"/>
                </a:solidFill>
                <a:latin typeface="Calibri" panose="020F0502020204030204"/>
                <a:cs typeface="Arial" panose="020B0604020202020204" pitchFamily="34" charset="0"/>
              </a:rPr>
              <a:t> Team</a:t>
            </a:r>
          </a:p>
        </p:txBody>
      </p:sp>
      <p:pic>
        <p:nvPicPr>
          <p:cNvPr id="206" name="Picture 205"/>
          <p:cNvPicPr>
            <a:picLocks noChangeAspect="1"/>
          </p:cNvPicPr>
          <p:nvPr/>
        </p:nvPicPr>
        <p:blipFill>
          <a:blip r:embed="rId8"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0235037" y="2365430"/>
            <a:ext cx="199882" cy="258182"/>
          </a:xfrm>
          <a:prstGeom prst="rect">
            <a:avLst/>
          </a:prstGeom>
        </p:spPr>
      </p:pic>
      <p:grpSp>
        <p:nvGrpSpPr>
          <p:cNvPr id="207" name="Group 206"/>
          <p:cNvGrpSpPr/>
          <p:nvPr/>
        </p:nvGrpSpPr>
        <p:grpSpPr>
          <a:xfrm>
            <a:off x="1620338" y="2190024"/>
            <a:ext cx="2565350" cy="1882827"/>
            <a:chOff x="2789803" y="1642516"/>
            <a:chExt cx="1924012" cy="1412120"/>
          </a:xfrm>
        </p:grpSpPr>
        <p:pic>
          <p:nvPicPr>
            <p:cNvPr id="208" name="Picture 207"/>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255166" y="1874998"/>
              <a:ext cx="167457" cy="197648"/>
            </a:xfrm>
            <a:prstGeom prst="rect">
              <a:avLst/>
            </a:prstGeom>
          </p:spPr>
        </p:pic>
        <p:sp>
          <p:nvSpPr>
            <p:cNvPr id="209" name="TextBox 208"/>
            <p:cNvSpPr txBox="1"/>
            <p:nvPr/>
          </p:nvSpPr>
          <p:spPr>
            <a:xfrm>
              <a:off x="2920912" y="2029377"/>
              <a:ext cx="866445" cy="323165"/>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Support Engineers</a:t>
              </a:r>
              <a:endParaRPr lang="en-US" sz="1100" b="1" kern="0" dirty="0">
                <a:solidFill>
                  <a:sysClr val="windowText" lastClr="000000"/>
                </a:solidFill>
                <a:latin typeface="Calibri" pitchFamily="34" charset="0"/>
              </a:endParaRPr>
            </a:p>
          </p:txBody>
        </p:sp>
        <p:pic>
          <p:nvPicPr>
            <p:cNvPr id="210" name="Picture 209"/>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056956" y="2396932"/>
              <a:ext cx="171144" cy="202000"/>
            </a:xfrm>
            <a:prstGeom prst="rect">
              <a:avLst/>
            </a:prstGeom>
          </p:spPr>
        </p:pic>
        <p:sp>
          <p:nvSpPr>
            <p:cNvPr id="211" name="TextBox 210"/>
            <p:cNvSpPr txBox="1"/>
            <p:nvPr/>
          </p:nvSpPr>
          <p:spPr>
            <a:xfrm>
              <a:off x="2789803" y="2571326"/>
              <a:ext cx="846692" cy="196208"/>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Developers</a:t>
              </a:r>
              <a:endParaRPr lang="en-US" sz="1100" b="1" kern="0" dirty="0">
                <a:solidFill>
                  <a:sysClr val="windowText" lastClr="000000"/>
                </a:solidFill>
                <a:latin typeface="Calibri" pitchFamily="34" charset="0"/>
              </a:endParaRPr>
            </a:p>
          </p:txBody>
        </p:sp>
        <p:pic>
          <p:nvPicPr>
            <p:cNvPr id="212" name="Picture 211"/>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576136" y="2579060"/>
              <a:ext cx="171144" cy="202000"/>
            </a:xfrm>
            <a:prstGeom prst="rect">
              <a:avLst/>
            </a:prstGeom>
          </p:spPr>
        </p:pic>
        <p:sp>
          <p:nvSpPr>
            <p:cNvPr id="213" name="TextBox 212"/>
            <p:cNvSpPr txBox="1"/>
            <p:nvPr/>
          </p:nvSpPr>
          <p:spPr>
            <a:xfrm>
              <a:off x="3372808" y="2731471"/>
              <a:ext cx="889477" cy="323165"/>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Quality Engineers</a:t>
              </a:r>
            </a:p>
          </p:txBody>
        </p:sp>
        <p:pic>
          <p:nvPicPr>
            <p:cNvPr id="214" name="Picture 213"/>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66959" y="2396932"/>
              <a:ext cx="171144" cy="202000"/>
            </a:xfrm>
            <a:prstGeom prst="rect">
              <a:avLst/>
            </a:prstGeom>
          </p:spPr>
        </p:pic>
        <p:pic>
          <p:nvPicPr>
            <p:cNvPr id="215" name="Picture 214"/>
            <p:cNvPicPr>
              <a:picLocks noChangeAspect="1"/>
            </p:cNvPicPr>
            <p:nvPr/>
          </p:nvPicPr>
          <p:blipFill>
            <a:blip r:embed="rId9" cstate="screen">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732590" y="1642516"/>
              <a:ext cx="167457" cy="197648"/>
            </a:xfrm>
            <a:prstGeom prst="rect">
              <a:avLst/>
            </a:prstGeom>
          </p:spPr>
        </p:pic>
        <p:pic>
          <p:nvPicPr>
            <p:cNvPr id="216" name="Picture 215"/>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02852" y="2579060"/>
              <a:ext cx="171144" cy="202000"/>
            </a:xfrm>
            <a:prstGeom prst="rect">
              <a:avLst/>
            </a:prstGeom>
          </p:spPr>
        </p:pic>
        <p:sp>
          <p:nvSpPr>
            <p:cNvPr id="217" name="Oval 216"/>
            <p:cNvSpPr/>
            <p:nvPr/>
          </p:nvSpPr>
          <p:spPr>
            <a:xfrm>
              <a:off x="2931770" y="1655422"/>
              <a:ext cx="282227" cy="303404"/>
            </a:xfrm>
            <a:prstGeom prst="ellipse">
              <a:avLst/>
            </a:prstGeom>
            <a:solidFill>
              <a:schemeClr val="bg1"/>
            </a:solid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2700">
                <a:defRPr/>
              </a:pPr>
              <a:r>
                <a:rPr lang="en-US" sz="1600" b="1" dirty="0">
                  <a:solidFill>
                    <a:srgbClr val="141414"/>
                  </a:solidFill>
                  <a:latin typeface="Arial"/>
                </a:rPr>
                <a:t>1</a:t>
              </a:r>
            </a:p>
          </p:txBody>
        </p:sp>
        <p:sp>
          <p:nvSpPr>
            <p:cNvPr id="218" name="TextBox 217"/>
            <p:cNvSpPr txBox="1"/>
            <p:nvPr/>
          </p:nvSpPr>
          <p:spPr>
            <a:xfrm>
              <a:off x="3415950" y="1782727"/>
              <a:ext cx="839107" cy="323165"/>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Business Analyst</a:t>
              </a:r>
              <a:endParaRPr lang="en-US" sz="1100" b="1" kern="0" dirty="0">
                <a:solidFill>
                  <a:sysClr val="windowText" lastClr="000000"/>
                </a:solidFill>
                <a:latin typeface="Calibri" pitchFamily="34" charset="0"/>
              </a:endParaRPr>
            </a:p>
          </p:txBody>
        </p:sp>
        <p:pic>
          <p:nvPicPr>
            <p:cNvPr id="219" name="Picture 218"/>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140206" y="2421563"/>
              <a:ext cx="167457" cy="197647"/>
            </a:xfrm>
            <a:prstGeom prst="rect">
              <a:avLst/>
            </a:prstGeom>
          </p:spPr>
        </p:pic>
        <p:sp>
          <p:nvSpPr>
            <p:cNvPr id="220" name="TextBox 219"/>
            <p:cNvSpPr txBox="1"/>
            <p:nvPr/>
          </p:nvSpPr>
          <p:spPr>
            <a:xfrm>
              <a:off x="3894729" y="2569693"/>
              <a:ext cx="692126" cy="323165"/>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Project Manager</a:t>
              </a:r>
              <a:endParaRPr lang="en-US" sz="1100" b="1" kern="0" dirty="0">
                <a:solidFill>
                  <a:sysClr val="windowText" lastClr="000000"/>
                </a:solidFill>
                <a:latin typeface="Calibri" pitchFamily="34" charset="0"/>
              </a:endParaRPr>
            </a:p>
          </p:txBody>
        </p:sp>
        <p:pic>
          <p:nvPicPr>
            <p:cNvPr id="221" name="Picture 220"/>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183491" y="1906457"/>
              <a:ext cx="167457" cy="197647"/>
            </a:xfrm>
            <a:prstGeom prst="rect">
              <a:avLst/>
            </a:prstGeom>
          </p:spPr>
        </p:pic>
        <p:sp>
          <p:nvSpPr>
            <p:cNvPr id="222" name="TextBox 221"/>
            <p:cNvSpPr txBox="1"/>
            <p:nvPr/>
          </p:nvSpPr>
          <p:spPr>
            <a:xfrm>
              <a:off x="3895003" y="2051075"/>
              <a:ext cx="818812" cy="323165"/>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Lead/</a:t>
              </a:r>
            </a:p>
            <a:p>
              <a:pPr algn="ctr" defTabSz="1218846">
                <a:defRPr/>
              </a:pPr>
              <a:r>
                <a:rPr lang="en-US" sz="1100" b="1" kern="0" dirty="0">
                  <a:solidFill>
                    <a:sysClr val="windowText" lastClr="000000"/>
                  </a:solidFill>
                  <a:latin typeface="Calibri" pitchFamily="34" charset="0"/>
                </a:rPr>
                <a:t>Designer</a:t>
              </a:r>
            </a:p>
          </p:txBody>
        </p:sp>
      </p:grpSp>
      <p:pic>
        <p:nvPicPr>
          <p:cNvPr id="223" name="Picture 222"/>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001111" y="4622170"/>
            <a:ext cx="239851" cy="283094"/>
          </a:xfrm>
          <a:prstGeom prst="rect">
            <a:avLst/>
          </a:prstGeom>
        </p:spPr>
      </p:pic>
      <p:sp>
        <p:nvSpPr>
          <p:cNvPr id="224" name="TextBox 223"/>
          <p:cNvSpPr txBox="1"/>
          <p:nvPr/>
        </p:nvSpPr>
        <p:spPr>
          <a:xfrm>
            <a:off x="5556211" y="4860795"/>
            <a:ext cx="1155260" cy="430887"/>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Support Engineers</a:t>
            </a:r>
            <a:endParaRPr lang="en-US" sz="1100" b="1" kern="0" dirty="0">
              <a:solidFill>
                <a:sysClr val="windowText" lastClr="000000"/>
              </a:solidFill>
              <a:latin typeface="Calibri" pitchFamily="34" charset="0"/>
            </a:endParaRPr>
          </a:p>
        </p:txBody>
      </p:sp>
      <p:pic>
        <p:nvPicPr>
          <p:cNvPr id="225" name="Picture 224"/>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535863" y="5300118"/>
            <a:ext cx="239851" cy="283094"/>
          </a:xfrm>
          <a:prstGeom prst="rect">
            <a:avLst/>
          </a:prstGeom>
        </p:spPr>
      </p:pic>
      <p:sp>
        <p:nvSpPr>
          <p:cNvPr id="226" name="TextBox 225"/>
          <p:cNvSpPr txBox="1"/>
          <p:nvPr/>
        </p:nvSpPr>
        <p:spPr>
          <a:xfrm>
            <a:off x="7231869" y="5560231"/>
            <a:ext cx="1185969"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Quality Engineers</a:t>
            </a:r>
          </a:p>
        </p:txBody>
      </p:sp>
      <p:pic>
        <p:nvPicPr>
          <p:cNvPr id="227" name="Picture 226"/>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747702" y="5300118"/>
            <a:ext cx="239851" cy="283094"/>
          </a:xfrm>
          <a:prstGeom prst="rect">
            <a:avLst/>
          </a:prstGeom>
        </p:spPr>
      </p:pic>
      <p:pic>
        <p:nvPicPr>
          <p:cNvPr id="228" name="Picture 227"/>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094854" y="4633289"/>
            <a:ext cx="239851" cy="283094"/>
          </a:xfrm>
          <a:prstGeom prst="rect">
            <a:avLst/>
          </a:prstGeom>
        </p:spPr>
      </p:pic>
      <p:sp>
        <p:nvSpPr>
          <p:cNvPr id="229" name="TextBox 228"/>
          <p:cNvSpPr txBox="1"/>
          <p:nvPr/>
        </p:nvSpPr>
        <p:spPr>
          <a:xfrm>
            <a:off x="6875825" y="4860525"/>
            <a:ext cx="808835" cy="430887"/>
          </a:xfrm>
          <a:prstGeom prst="rect">
            <a:avLst/>
          </a:prstGeom>
          <a:noFill/>
        </p:spPr>
        <p:txBody>
          <a:bodyPr wrap="square" rtlCol="0">
            <a:spAutoFit/>
          </a:bodyPr>
          <a:lstStyle/>
          <a:p>
            <a:pPr algn="ctr" defTabSz="1218846">
              <a:defRPr/>
            </a:pPr>
            <a:r>
              <a:rPr lang="en-US" sz="1100" b="1" kern="0" dirty="0">
                <a:solidFill>
                  <a:sysClr val="windowText" lastClr="000000"/>
                </a:solidFill>
                <a:latin typeface="Calibri" pitchFamily="34" charset="0"/>
              </a:rPr>
              <a:t>Lead/</a:t>
            </a:r>
          </a:p>
          <a:p>
            <a:pPr algn="ctr" defTabSz="1218846">
              <a:defRPr/>
            </a:pPr>
            <a:r>
              <a:rPr lang="en-US" sz="1100" b="1" kern="0" dirty="0">
                <a:solidFill>
                  <a:sysClr val="windowText" lastClr="000000"/>
                </a:solidFill>
                <a:latin typeface="Calibri" pitchFamily="34" charset="0"/>
              </a:rPr>
              <a:t>Designer</a:t>
            </a:r>
          </a:p>
        </p:txBody>
      </p:sp>
      <p:sp>
        <p:nvSpPr>
          <p:cNvPr id="230" name="TextBox 229"/>
          <p:cNvSpPr txBox="1"/>
          <p:nvPr/>
        </p:nvSpPr>
        <p:spPr>
          <a:xfrm>
            <a:off x="5433217" y="5649443"/>
            <a:ext cx="967553" cy="261610"/>
          </a:xfrm>
          <a:prstGeom prst="rect">
            <a:avLst/>
          </a:prstGeom>
          <a:noFill/>
        </p:spPr>
        <p:txBody>
          <a:bodyPr wrap="square" rtlCol="0">
            <a:spAutoFit/>
          </a:bodyPr>
          <a:lstStyle/>
          <a:p>
            <a:pPr algn="ctr" defTabSz="1218846">
              <a:defRPr/>
            </a:pPr>
            <a:r>
              <a:rPr lang="en-US" sz="1100" b="1" kern="0" smtClean="0">
                <a:solidFill>
                  <a:sysClr val="windowText" lastClr="000000"/>
                </a:solidFill>
                <a:latin typeface="Calibri" pitchFamily="34" charset="0"/>
              </a:rPr>
              <a:t>Developers</a:t>
            </a:r>
            <a:endParaRPr lang="en-US" sz="1100" b="1" kern="0" dirty="0">
              <a:solidFill>
                <a:sysClr val="windowText" lastClr="000000"/>
              </a:solidFill>
              <a:latin typeface="Calibri" pitchFamily="34" charset="0"/>
            </a:endParaRPr>
          </a:p>
        </p:txBody>
      </p:sp>
      <p:pic>
        <p:nvPicPr>
          <p:cNvPr id="231" name="Picture 230"/>
          <p:cNvPicPr>
            <a:picLocks noChangeAspect="1"/>
          </p:cNvPicPr>
          <p:nvPr/>
        </p:nvPicPr>
        <p:blipFill>
          <a:blip r:embed="rId9" cstate="screen">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585423" y="5347478"/>
            <a:ext cx="239851" cy="283094"/>
          </a:xfrm>
          <a:prstGeom prst="rect">
            <a:avLst/>
          </a:prstGeom>
        </p:spPr>
      </p:pic>
      <p:pic>
        <p:nvPicPr>
          <p:cNvPr id="232" name="Picture 231"/>
          <p:cNvPicPr>
            <a:picLocks noChangeAspect="1"/>
          </p:cNvPicPr>
          <p:nvPr/>
        </p:nvPicPr>
        <p:blipFill>
          <a:blip r:embed="rId9" cstate="screen">
            <a:duotone>
              <a:schemeClr val="accent6">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85547" y="5347478"/>
            <a:ext cx="239851" cy="283094"/>
          </a:xfrm>
          <a:prstGeom prst="rect">
            <a:avLst/>
          </a:prstGeom>
        </p:spPr>
      </p:pic>
      <p:pic>
        <p:nvPicPr>
          <p:cNvPr id="233" name="Picture 232"/>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86055" y="2971800"/>
            <a:ext cx="216323" cy="279417"/>
          </a:xfrm>
          <a:prstGeom prst="rect">
            <a:avLst/>
          </a:prstGeom>
        </p:spPr>
      </p:pic>
      <p:pic>
        <p:nvPicPr>
          <p:cNvPr id="235" name="Picture 234"/>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720289" y="5326578"/>
            <a:ext cx="225618" cy="291423"/>
          </a:xfrm>
          <a:prstGeom prst="rect">
            <a:avLst/>
          </a:prstGeom>
        </p:spPr>
      </p:pic>
      <p:pic>
        <p:nvPicPr>
          <p:cNvPr id="236" name="Picture 235"/>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55941" y="5311448"/>
            <a:ext cx="250378" cy="323405"/>
          </a:xfrm>
          <a:prstGeom prst="rect">
            <a:avLst/>
          </a:prstGeom>
        </p:spPr>
      </p:pic>
      <p:pic>
        <p:nvPicPr>
          <p:cNvPr id="237" name="Picture 236"/>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26969" y="2367229"/>
            <a:ext cx="196208" cy="253435"/>
          </a:xfrm>
          <a:prstGeom prst="rect">
            <a:avLst/>
          </a:prstGeom>
        </p:spPr>
      </p:pic>
      <p:sp>
        <p:nvSpPr>
          <p:cNvPr id="241" name="TextBox 240"/>
          <p:cNvSpPr txBox="1"/>
          <p:nvPr/>
        </p:nvSpPr>
        <p:spPr>
          <a:xfrm>
            <a:off x="5541269" y="3377893"/>
            <a:ext cx="1047790" cy="430887"/>
          </a:xfrm>
          <a:prstGeom prst="rect">
            <a:avLst/>
          </a:prstGeom>
          <a:noFill/>
        </p:spPr>
        <p:txBody>
          <a:bodyPr wrap="square" rtlCol="0">
            <a:spAutoFit/>
          </a:bodyPr>
          <a:lstStyle/>
          <a:p>
            <a:pPr algn="ctr" defTabSz="1218846">
              <a:defRPr/>
            </a:pPr>
            <a:r>
              <a:rPr lang="en-US" sz="1100" b="1" kern="0" dirty="0" smtClean="0">
                <a:solidFill>
                  <a:sysClr val="windowText" lastClr="000000"/>
                </a:solidFill>
                <a:latin typeface="Calibri" pitchFamily="34" charset="0"/>
              </a:rPr>
              <a:t>Full Stack Engineers</a:t>
            </a:r>
            <a:endParaRPr lang="en-US" sz="1100" b="1" kern="0" dirty="0">
              <a:solidFill>
                <a:sysClr val="windowText" lastClr="000000"/>
              </a:solidFill>
              <a:latin typeface="Calibri" pitchFamily="34" charset="0"/>
            </a:endParaRPr>
          </a:p>
        </p:txBody>
      </p:sp>
      <p:pic>
        <p:nvPicPr>
          <p:cNvPr id="242" name="Picture 241"/>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34917" y="5298001"/>
            <a:ext cx="250378" cy="323405"/>
          </a:xfrm>
          <a:prstGeom prst="rect">
            <a:avLst/>
          </a:prstGeom>
        </p:spPr>
      </p:pic>
      <p:pic>
        <p:nvPicPr>
          <p:cNvPr id="243" name="Picture 242"/>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72371" y="5326578"/>
            <a:ext cx="225618" cy="291423"/>
          </a:xfrm>
          <a:prstGeom prst="rect">
            <a:avLst/>
          </a:prstGeom>
        </p:spPr>
      </p:pic>
      <p:pic>
        <p:nvPicPr>
          <p:cNvPr id="244" name="Picture 243"/>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19335" y="4573543"/>
            <a:ext cx="225618" cy="291423"/>
          </a:xfrm>
          <a:prstGeom prst="rect">
            <a:avLst/>
          </a:prstGeom>
        </p:spPr>
      </p:pic>
      <p:pic>
        <p:nvPicPr>
          <p:cNvPr id="245" name="Picture 244"/>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67252" y="4573543"/>
            <a:ext cx="225618" cy="291423"/>
          </a:xfrm>
          <a:prstGeom prst="rect">
            <a:avLst/>
          </a:prstGeom>
        </p:spPr>
      </p:pic>
      <p:pic>
        <p:nvPicPr>
          <p:cNvPr id="246" name="Picture 245"/>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18582" y="4573543"/>
            <a:ext cx="225618" cy="291423"/>
          </a:xfrm>
          <a:prstGeom prst="rect">
            <a:avLst/>
          </a:prstGeom>
        </p:spPr>
      </p:pic>
      <p:pic>
        <p:nvPicPr>
          <p:cNvPr id="247" name="Picture 246"/>
          <p:cNvPicPr>
            <a:picLocks noChangeAspect="1"/>
          </p:cNvPicPr>
          <p:nvPr/>
        </p:nvPicPr>
        <p:blipFill>
          <a:blip r:embed="rId5" cstate="screen">
            <a:duotone>
              <a:schemeClr val="accent3">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653053" y="4586990"/>
            <a:ext cx="225618" cy="291423"/>
          </a:xfrm>
          <a:prstGeom prst="rect">
            <a:avLst/>
          </a:prstGeom>
        </p:spPr>
      </p:pic>
    </p:spTree>
    <p:extLst>
      <p:ext uri="{BB962C8B-B14F-4D97-AF65-F5344CB8AC3E}">
        <p14:creationId xmlns:p14="http://schemas.microsoft.com/office/powerpoint/2010/main" val="200514157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1014"/>
            <a:ext cx="8893859" cy="618385"/>
          </a:xfrm>
        </p:spPr>
        <p:txBody>
          <a:bodyPr>
            <a:normAutofit fontScale="90000"/>
          </a:bodyPr>
          <a:lstStyle/>
          <a:p>
            <a:r>
              <a:rPr lang="en-US" dirty="0" smtClean="0"/>
              <a:t>Debt Management via Applens</a:t>
            </a:r>
            <a:r>
              <a:rPr lang="en-US" baseline="30000" dirty="0" smtClean="0"/>
              <a:t>TM </a:t>
            </a:r>
            <a:r>
              <a:rPr lang="en-US" dirty="0" smtClean="0"/>
              <a:t>Platform – Sample Tower View </a:t>
            </a:r>
            <a:endParaRPr lang="en-US" dirty="0"/>
          </a:p>
        </p:txBody>
      </p:sp>
      <p:graphicFrame>
        <p:nvGraphicFramePr>
          <p:cNvPr id="15" name="Table 14"/>
          <p:cNvGraphicFramePr>
            <a:graphicFrameLocks noGrp="1"/>
          </p:cNvGraphicFramePr>
          <p:nvPr>
            <p:extLst/>
          </p:nvPr>
        </p:nvGraphicFramePr>
        <p:xfrm>
          <a:off x="1611731" y="1035692"/>
          <a:ext cx="10381596" cy="5200790"/>
        </p:xfrm>
        <a:graphic>
          <a:graphicData uri="http://schemas.openxmlformats.org/drawingml/2006/table">
            <a:tbl>
              <a:tblPr/>
              <a:tblGrid>
                <a:gridCol w="2079658">
                  <a:extLst>
                    <a:ext uri="{9D8B030D-6E8A-4147-A177-3AD203B41FA5}">
                      <a16:colId xmlns:a16="http://schemas.microsoft.com/office/drawing/2014/main" val="45949132"/>
                    </a:ext>
                  </a:extLst>
                </a:gridCol>
                <a:gridCol w="2123939">
                  <a:extLst>
                    <a:ext uri="{9D8B030D-6E8A-4147-A177-3AD203B41FA5}">
                      <a16:colId xmlns:a16="http://schemas.microsoft.com/office/drawing/2014/main" val="4196787366"/>
                    </a:ext>
                  </a:extLst>
                </a:gridCol>
                <a:gridCol w="2123939">
                  <a:extLst>
                    <a:ext uri="{9D8B030D-6E8A-4147-A177-3AD203B41FA5}">
                      <a16:colId xmlns:a16="http://schemas.microsoft.com/office/drawing/2014/main" val="3121771863"/>
                    </a:ext>
                  </a:extLst>
                </a:gridCol>
                <a:gridCol w="2027030">
                  <a:extLst>
                    <a:ext uri="{9D8B030D-6E8A-4147-A177-3AD203B41FA5}">
                      <a16:colId xmlns:a16="http://schemas.microsoft.com/office/drawing/2014/main" val="1462324825"/>
                    </a:ext>
                  </a:extLst>
                </a:gridCol>
                <a:gridCol w="2027030">
                  <a:extLst>
                    <a:ext uri="{9D8B030D-6E8A-4147-A177-3AD203B41FA5}">
                      <a16:colId xmlns:a16="http://schemas.microsoft.com/office/drawing/2014/main" val="1109331008"/>
                    </a:ext>
                  </a:extLst>
                </a:gridCol>
              </a:tblGrid>
              <a:tr h="831896">
                <a:tc>
                  <a:txBody>
                    <a:bodyPr/>
                    <a:lstStyle/>
                    <a:p>
                      <a:pPr algn="ctr" rtl="0" fontAlgn="ctr">
                        <a:lnSpc>
                          <a:spcPct val="100000"/>
                        </a:lnSpc>
                      </a:pPr>
                      <a:r>
                        <a:rPr lang="en-US" sz="1900" b="1" i="0" u="none" strike="noStrike" dirty="0" smtClean="0">
                          <a:solidFill>
                            <a:schemeClr val="bg1"/>
                          </a:solidFill>
                          <a:effectLst/>
                          <a:latin typeface="Calibri" panose="020F0502020204030204" pitchFamily="34" charset="0"/>
                        </a:rPr>
                        <a:t>Tower 1</a:t>
                      </a:r>
                    </a:p>
                  </a:txBody>
                  <a:tcPr marL="7957" marR="7957" marT="795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ctr">
                        <a:lnSpc>
                          <a:spcPct val="100000"/>
                        </a:lnSpc>
                      </a:pPr>
                      <a:r>
                        <a:rPr lang="en-US" sz="1900" b="1" i="0" u="none" strike="noStrike" dirty="0" smtClean="0">
                          <a:solidFill>
                            <a:schemeClr val="bg1"/>
                          </a:solidFill>
                          <a:effectLst/>
                          <a:latin typeface="Calibri" panose="020F0502020204030204" pitchFamily="34" charset="0"/>
                        </a:rPr>
                        <a:t>Tower 2</a:t>
                      </a:r>
                      <a:endParaRPr lang="en-US" sz="1900" b="0" i="1" u="none" strike="noStrike" dirty="0" smtClean="0">
                        <a:solidFill>
                          <a:schemeClr val="bg1"/>
                        </a:solidFill>
                        <a:effectLst/>
                        <a:latin typeface="Calibri" panose="020F0502020204030204" pitchFamily="34" charset="0"/>
                      </a:endParaRPr>
                    </a:p>
                  </a:txBody>
                  <a:tcPr marL="7957" marR="7957" marT="795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530"/>
                    </a:solidFill>
                  </a:tcPr>
                </a:tc>
                <a:tc>
                  <a:txBody>
                    <a:bodyPr/>
                    <a:lstStyle/>
                    <a:p>
                      <a:pPr algn="ctr" rtl="0" fontAlgn="ctr">
                        <a:lnSpc>
                          <a:spcPct val="100000"/>
                        </a:lnSpc>
                      </a:pPr>
                      <a:r>
                        <a:rPr lang="en-US" sz="1900" b="1" i="0" u="none" strike="noStrike" kern="1200" dirty="0" smtClean="0">
                          <a:solidFill>
                            <a:schemeClr val="bg1"/>
                          </a:solidFill>
                          <a:effectLst/>
                          <a:latin typeface="Calibri" panose="020F0502020204030204" pitchFamily="34" charset="0"/>
                          <a:ea typeface="+mn-ea"/>
                          <a:cs typeface="+mn-cs"/>
                        </a:rPr>
                        <a:t>Tower 3</a:t>
                      </a:r>
                    </a:p>
                  </a:txBody>
                  <a:tcPr marL="7957" marR="7957" marT="795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530"/>
                    </a:solidFill>
                  </a:tcPr>
                </a:tc>
                <a:tc>
                  <a:txBody>
                    <a:bodyPr/>
                    <a:lstStyle/>
                    <a:p>
                      <a:pPr algn="ctr" rtl="0" fontAlgn="ctr">
                        <a:lnSpc>
                          <a:spcPct val="100000"/>
                        </a:lnSpc>
                      </a:pPr>
                      <a:r>
                        <a:rPr lang="en-US" sz="1900" b="1" i="0" u="none" strike="noStrike" dirty="0" smtClean="0">
                          <a:solidFill>
                            <a:schemeClr val="bg1"/>
                          </a:solidFill>
                          <a:effectLst/>
                          <a:latin typeface="Calibri" panose="020F0502020204030204" pitchFamily="34" charset="0"/>
                        </a:rPr>
                        <a:t>Tower 4</a:t>
                      </a:r>
                      <a:endParaRPr lang="en-US" sz="1900" b="0" i="1" u="none" strike="noStrike" dirty="0" smtClean="0">
                        <a:solidFill>
                          <a:schemeClr val="bg1"/>
                        </a:solidFill>
                        <a:effectLst/>
                        <a:latin typeface="Calibri" panose="020F0502020204030204" pitchFamily="34" charset="0"/>
                      </a:endParaRPr>
                    </a:p>
                  </a:txBody>
                  <a:tcPr marL="7957" marR="7957" marT="795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6666"/>
                    </a:solidFill>
                  </a:tcPr>
                </a:tc>
                <a:tc>
                  <a:txBody>
                    <a:bodyPr/>
                    <a:lstStyle/>
                    <a:p>
                      <a:pPr algn="ctr" rtl="0" fontAlgn="ctr">
                        <a:lnSpc>
                          <a:spcPct val="100000"/>
                        </a:lnSpc>
                      </a:pPr>
                      <a:r>
                        <a:rPr lang="en-US" sz="1900" b="1" i="0" u="none" strike="noStrike" kern="1200" dirty="0" smtClean="0">
                          <a:solidFill>
                            <a:schemeClr val="bg1"/>
                          </a:solidFill>
                          <a:effectLst/>
                          <a:latin typeface="Calibri" panose="020F0502020204030204" pitchFamily="34" charset="0"/>
                          <a:ea typeface="+mn-ea"/>
                          <a:cs typeface="+mn-cs"/>
                        </a:rPr>
                        <a:t>Tower 5</a:t>
                      </a:r>
                    </a:p>
                  </a:txBody>
                  <a:tcPr marL="7957" marR="7957" marT="795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6666"/>
                    </a:solidFill>
                  </a:tcPr>
                </a:tc>
                <a:extLst>
                  <a:ext uri="{0D108BD9-81ED-4DB2-BD59-A6C34878D82A}">
                    <a16:rowId xmlns:a16="http://schemas.microsoft.com/office/drawing/2014/main" val="3926913234"/>
                  </a:ext>
                </a:extLst>
              </a:tr>
              <a:tr h="433670">
                <a:tc>
                  <a:txBody>
                    <a:bodyPr/>
                    <a:lstStyle/>
                    <a:p>
                      <a:pPr algn="ctr" rtl="0" fontAlgn="ctr"/>
                      <a:r>
                        <a:rPr lang="en-US" sz="1600" b="0" i="0" u="none" strike="noStrike" dirty="0" smtClean="0">
                          <a:solidFill>
                            <a:schemeClr val="tx1"/>
                          </a:solidFill>
                          <a:effectLst/>
                          <a:latin typeface="Calibri" panose="020F0502020204030204" pitchFamily="34" charset="0"/>
                        </a:rPr>
                        <a:t>19700</a:t>
                      </a: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12057</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3238</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796</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314</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7201175"/>
                  </a:ext>
                </a:extLst>
              </a:tr>
              <a:tr h="585806">
                <a:tc>
                  <a:txBody>
                    <a:bodyPr/>
                    <a:lstStyle/>
                    <a:p>
                      <a:pPr algn="ctr" rtl="0" fontAlgn="ctr"/>
                      <a:r>
                        <a:rPr lang="en-US" sz="1600" b="0" i="0" u="none" strike="noStrike" dirty="0" smtClean="0">
                          <a:solidFill>
                            <a:schemeClr val="tx1"/>
                          </a:solidFill>
                          <a:effectLst/>
                          <a:latin typeface="Calibri" panose="020F0502020204030204" pitchFamily="34" charset="0"/>
                        </a:rPr>
                        <a:t>5.65%</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3.63%</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13.37%</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11.06%</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18.79%</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8477737"/>
                  </a:ext>
                </a:extLst>
              </a:tr>
              <a:tr h="551510">
                <a:tc>
                  <a:txBody>
                    <a:bodyPr/>
                    <a:lstStyle/>
                    <a:p>
                      <a:pPr algn="ctr" rtl="0" fontAlgn="ctr"/>
                      <a:r>
                        <a:rPr lang="en-US" sz="1600" b="0" i="0" u="none" strike="noStrike" dirty="0" smtClean="0">
                          <a:solidFill>
                            <a:schemeClr val="tx1"/>
                          </a:solidFill>
                          <a:effectLst/>
                          <a:latin typeface="Calibri" panose="020F0502020204030204" pitchFamily="34" charset="0"/>
                        </a:rPr>
                        <a:t>43.19%</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600" b="0" i="0" u="none" strike="noStrike" dirty="0" smtClean="0">
                          <a:solidFill>
                            <a:schemeClr val="tx1"/>
                          </a:solidFill>
                          <a:effectLst/>
                          <a:latin typeface="Calibri" panose="020F0502020204030204" pitchFamily="34" charset="0"/>
                        </a:rPr>
                        <a:t>66.65%</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600" b="0" i="0" u="none" strike="noStrike" dirty="0" smtClean="0">
                          <a:solidFill>
                            <a:schemeClr val="tx1"/>
                          </a:solidFill>
                          <a:effectLst/>
                          <a:latin typeface="Calibri" panose="020F0502020204030204" pitchFamily="34" charset="0"/>
                        </a:rPr>
                        <a:t>59.88%</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600" b="0" i="0" u="none" strike="noStrike" dirty="0" smtClean="0">
                          <a:solidFill>
                            <a:schemeClr val="tx1"/>
                          </a:solidFill>
                          <a:effectLst/>
                          <a:latin typeface="Calibri" panose="020F0502020204030204" pitchFamily="34" charset="0"/>
                        </a:rPr>
                        <a:t>61.06%</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600" b="0" i="0" u="none" strike="noStrike" dirty="0" smtClean="0">
                          <a:solidFill>
                            <a:schemeClr val="tx1"/>
                          </a:solidFill>
                          <a:effectLst/>
                          <a:latin typeface="Calibri" panose="020F0502020204030204" pitchFamily="34" charset="0"/>
                        </a:rPr>
                        <a:t>43.31%</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7056368"/>
                  </a:ext>
                </a:extLst>
              </a:tr>
              <a:tr h="591867">
                <a:tc>
                  <a:txBody>
                    <a:bodyPr/>
                    <a:lstStyle/>
                    <a:p>
                      <a:pPr algn="ctr" rtl="0" fontAlgn="ctr"/>
                      <a:r>
                        <a:rPr lang="en-US" sz="1600" b="0" i="0" u="none" strike="noStrike" dirty="0" smtClean="0">
                          <a:solidFill>
                            <a:schemeClr val="tx1"/>
                          </a:solidFill>
                          <a:effectLst/>
                          <a:latin typeface="Calibri" panose="020F0502020204030204" pitchFamily="34" charset="0"/>
                        </a:rPr>
                        <a:t>39.95%</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9.92%</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3.37%</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6.41%</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1600" b="0" i="0" u="none" strike="noStrike" dirty="0" smtClean="0">
                          <a:solidFill>
                            <a:schemeClr val="tx1"/>
                          </a:solidFill>
                          <a:effectLst/>
                          <a:latin typeface="Calibri" panose="020F0502020204030204" pitchFamily="34" charset="0"/>
                        </a:rPr>
                        <a:t>3.82%</a:t>
                      </a:r>
                      <a:endParaRPr lang="en-US" sz="1600" b="0" i="0" u="none" strike="noStrike" dirty="0">
                        <a:solidFill>
                          <a:schemeClr val="tx1"/>
                        </a:solidFill>
                        <a:effectLst/>
                        <a:latin typeface="Calibri" panose="020F0502020204030204" pitchFamily="34" charset="0"/>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52435936"/>
                  </a:ext>
                </a:extLst>
              </a:tr>
              <a:tr h="591867">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54%</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0.06%</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0.86%</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0.32%</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272075"/>
                  </a:ext>
                </a:extLst>
              </a:tr>
              <a:tr h="538058">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46.4%</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0.5%</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7.4%</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7.4%</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25.5%</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9874548"/>
                  </a:ext>
                </a:extLst>
              </a:tr>
              <a:tr h="538058">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38%</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35%</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36%</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2%</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21%</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7474487"/>
                  </a:ext>
                </a:extLst>
              </a:tr>
              <a:tr h="538058">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9.66%</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19.74%</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22.51%</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21.48%</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544245" rtl="0" eaLnBrk="1" fontAlgn="ctr" latinLnBrk="0" hangingPunct="1"/>
                      <a:r>
                        <a:rPr lang="en-US" sz="1600" b="0" i="0" u="none" strike="noStrike" kern="1200" dirty="0" smtClean="0">
                          <a:solidFill>
                            <a:schemeClr val="tx1"/>
                          </a:solidFill>
                          <a:effectLst/>
                          <a:latin typeface="Calibri" panose="020F0502020204030204" pitchFamily="34" charset="0"/>
                          <a:ea typeface="+mn-ea"/>
                          <a:cs typeface="+mn-cs"/>
                        </a:rPr>
                        <a:t>33.76%</a:t>
                      </a:r>
                      <a:endParaRPr lang="en-US" sz="1600" b="0" i="0" u="none" strike="noStrike" kern="1200" dirty="0">
                        <a:solidFill>
                          <a:schemeClr val="tx1"/>
                        </a:solidFill>
                        <a:effectLst/>
                        <a:latin typeface="Calibri" panose="020F0502020204030204" pitchFamily="34" charset="0"/>
                        <a:ea typeface="+mn-ea"/>
                        <a:cs typeface="+mn-cs"/>
                      </a:endParaRPr>
                    </a:p>
                  </a:txBody>
                  <a:tcPr marL="5968" marR="5968" marT="5968"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11932509"/>
                  </a:ext>
                </a:extLst>
              </a:tr>
            </a:tbl>
          </a:graphicData>
        </a:graphic>
      </p:graphicFrame>
      <p:grpSp>
        <p:nvGrpSpPr>
          <p:cNvPr id="16" name="Group 15"/>
          <p:cNvGrpSpPr/>
          <p:nvPr/>
        </p:nvGrpSpPr>
        <p:grpSpPr>
          <a:xfrm>
            <a:off x="304802" y="1694572"/>
            <a:ext cx="1295541" cy="4541909"/>
            <a:chOff x="385637" y="1294990"/>
            <a:chExt cx="1097890" cy="4842280"/>
          </a:xfrm>
        </p:grpSpPr>
        <p:sp>
          <p:nvSpPr>
            <p:cNvPr id="17" name="Pentagon 16"/>
            <p:cNvSpPr/>
            <p:nvPr/>
          </p:nvSpPr>
          <p:spPr bwMode="auto">
            <a:xfrm>
              <a:off x="401186" y="1872340"/>
              <a:ext cx="1082341" cy="504778"/>
            </a:xfrm>
            <a:prstGeom prst="homePlate">
              <a:avLst/>
            </a:prstGeom>
            <a:solidFill>
              <a:srgbClr val="BF8F00"/>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815661" rtl="0" eaLnBrk="0" fontAlgn="base" latinLnBrk="0" hangingPunct="0">
                <a:lnSpc>
                  <a:spcPct val="100000"/>
                </a:lnSpc>
                <a:spcBef>
                  <a:spcPct val="0"/>
                </a:spcBef>
                <a:spcAft>
                  <a:spcPct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Technical</a:t>
              </a:r>
            </a:p>
            <a:p>
              <a:pPr marL="0" marR="0" lvl="0" indent="0" algn="ctr" defTabSz="815661" rtl="0" eaLnBrk="0" fontAlgn="base" latinLnBrk="0" hangingPunct="0">
                <a:lnSpc>
                  <a:spcPct val="100000"/>
                </a:lnSpc>
                <a:spcBef>
                  <a:spcPct val="0"/>
                </a:spcBef>
                <a:spcAft>
                  <a:spcPct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Debt</a:t>
              </a:r>
            </a:p>
          </p:txBody>
        </p:sp>
        <p:sp>
          <p:nvSpPr>
            <p:cNvPr id="18" name="Pentagon 17"/>
            <p:cNvSpPr/>
            <p:nvPr/>
          </p:nvSpPr>
          <p:spPr bwMode="auto">
            <a:xfrm>
              <a:off x="398586" y="2519302"/>
              <a:ext cx="1084911" cy="504778"/>
            </a:xfrm>
            <a:prstGeom prst="homePlate">
              <a:avLst/>
            </a:prstGeom>
            <a:solidFill>
              <a:srgbClr val="BF8F00"/>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815661" rtl="0" eaLnBrk="0" fontAlgn="base" latinLnBrk="0" hangingPunct="0">
                <a:lnSpc>
                  <a:spcPct val="100000"/>
                </a:lnSpc>
                <a:spcBef>
                  <a:spcPct val="0"/>
                </a:spcBef>
                <a:spcAft>
                  <a:spcPct val="0"/>
                </a:spcAft>
                <a:buClrTx/>
                <a:buSzTx/>
                <a:buFontTx/>
                <a:buNone/>
                <a:tabLst/>
                <a:defRPr/>
              </a:pPr>
              <a:endPar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endParaRPr>
            </a:p>
            <a:p>
              <a:pPr marL="0" marR="0" lvl="0" indent="0" algn="ctr" defTabSz="815661" rtl="0" eaLnBrk="0" fontAlgn="base" latinLnBrk="0" hangingPunct="0">
                <a:lnSpc>
                  <a:spcPct val="100000"/>
                </a:lnSpc>
                <a:spcBef>
                  <a:spcPct val="0"/>
                </a:spcBef>
                <a:spcAft>
                  <a:spcPct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Operational Debt</a:t>
              </a:r>
            </a:p>
            <a:p>
              <a:pPr marL="0" marR="0" lvl="0" indent="0" algn="ctr" defTabSz="815661" rtl="0" eaLnBrk="0" fontAlgn="base" latinLnBrk="0" hangingPunct="0">
                <a:lnSpc>
                  <a:spcPct val="100000"/>
                </a:lnSpc>
                <a:spcBef>
                  <a:spcPct val="0"/>
                </a:spcBef>
                <a:spcAft>
                  <a:spcPct val="0"/>
                </a:spcAft>
                <a:buClrTx/>
                <a:buSzTx/>
                <a:buFontTx/>
                <a:buNone/>
                <a:tabLst/>
                <a:defRPr/>
              </a:pPr>
              <a:endParaRPr kumimoji="0" lang="en-US" sz="1401" b="1" i="1"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endParaRPr>
            </a:p>
          </p:txBody>
        </p:sp>
        <p:sp>
          <p:nvSpPr>
            <p:cNvPr id="19" name="Pentagon 18"/>
            <p:cNvSpPr/>
            <p:nvPr/>
          </p:nvSpPr>
          <p:spPr bwMode="auto">
            <a:xfrm>
              <a:off x="401186" y="3147310"/>
              <a:ext cx="1082341" cy="504778"/>
            </a:xfrm>
            <a:prstGeom prst="homePlate">
              <a:avLst/>
            </a:prstGeom>
            <a:solidFill>
              <a:srgbClr val="BF8F00"/>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815661"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Functional Debt</a:t>
              </a:r>
            </a:p>
          </p:txBody>
        </p:sp>
        <p:sp>
          <p:nvSpPr>
            <p:cNvPr id="20" name="Pentagon 19"/>
            <p:cNvSpPr/>
            <p:nvPr/>
          </p:nvSpPr>
          <p:spPr bwMode="auto">
            <a:xfrm>
              <a:off x="390309" y="3792737"/>
              <a:ext cx="1082341" cy="522544"/>
            </a:xfrm>
            <a:prstGeom prst="homePlate">
              <a:avLst/>
            </a:prstGeom>
            <a:solidFill>
              <a:srgbClr val="BF8F00"/>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1174645"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Knowledge Debt</a:t>
              </a:r>
            </a:p>
          </p:txBody>
        </p:sp>
        <p:sp>
          <p:nvSpPr>
            <p:cNvPr id="31" name="Pentagon 30"/>
            <p:cNvSpPr/>
            <p:nvPr/>
          </p:nvSpPr>
          <p:spPr bwMode="auto">
            <a:xfrm>
              <a:off x="390308" y="4429826"/>
              <a:ext cx="1082341" cy="522544"/>
            </a:xfrm>
            <a:prstGeom prst="homePlate">
              <a:avLst/>
            </a:prstGeom>
            <a:solidFill>
              <a:schemeClr val="accent6"/>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1174645"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Eliminate</a:t>
              </a:r>
            </a:p>
          </p:txBody>
        </p:sp>
        <p:sp>
          <p:nvSpPr>
            <p:cNvPr id="32" name="Pentagon 31"/>
            <p:cNvSpPr/>
            <p:nvPr/>
          </p:nvSpPr>
          <p:spPr bwMode="auto">
            <a:xfrm>
              <a:off x="390307" y="5015204"/>
              <a:ext cx="1082341" cy="522544"/>
            </a:xfrm>
            <a:prstGeom prst="homePlate">
              <a:avLst/>
            </a:prstGeom>
            <a:solidFill>
              <a:schemeClr val="accent6"/>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1174645"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Automate</a:t>
              </a:r>
              <a:endPar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endParaRPr>
            </a:p>
          </p:txBody>
        </p:sp>
        <p:sp>
          <p:nvSpPr>
            <p:cNvPr id="33" name="Pentagon 32"/>
            <p:cNvSpPr/>
            <p:nvPr/>
          </p:nvSpPr>
          <p:spPr bwMode="auto">
            <a:xfrm>
              <a:off x="385637" y="5614725"/>
              <a:ext cx="1082340" cy="522545"/>
            </a:xfrm>
            <a:prstGeom prst="homePlate">
              <a:avLst/>
            </a:prstGeom>
            <a:solidFill>
              <a:srgbClr val="666666"/>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1174645"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Unclassified</a:t>
              </a:r>
            </a:p>
          </p:txBody>
        </p:sp>
        <p:sp>
          <p:nvSpPr>
            <p:cNvPr id="34" name="Pentagon 33"/>
            <p:cNvSpPr/>
            <p:nvPr/>
          </p:nvSpPr>
          <p:spPr bwMode="auto">
            <a:xfrm>
              <a:off x="401156" y="1294990"/>
              <a:ext cx="1082341" cy="475636"/>
            </a:xfrm>
            <a:prstGeom prst="homePlate">
              <a:avLst/>
            </a:prstGeom>
            <a:solidFill>
              <a:srgbClr val="008530"/>
            </a:solidFill>
            <a:ln w="9525" cap="flat" cmpd="sng" algn="ctr">
              <a:noFill/>
              <a:prstDash val="solid"/>
              <a:round/>
              <a:headEnd type="none" w="med" len="med"/>
              <a:tailEnd type="none" w="med" len="med"/>
            </a:ln>
            <a:effectLst/>
          </p:spPr>
          <p:txBody>
            <a:bodyPr vert="horz" wrap="square" lIns="81569" tIns="40785" rIns="81569" bIns="40785" numCol="1" rtlCol="0" anchor="ctr" anchorCtr="0" compatLnSpc="1">
              <a:prstTxWarp prst="textNoShape">
                <a:avLst/>
              </a:prstTxWarp>
            </a:bodyPr>
            <a:lstStyle/>
            <a:p>
              <a:pPr marL="0" marR="0" lvl="0" indent="0" algn="ctr" defTabSz="1174645" rtl="0" eaLnBrk="0" fontAlgn="auto" latinLnBrk="0" hangingPunct="0">
                <a:lnSpc>
                  <a:spcPct val="10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Arial" panose="020B0604020202020204" pitchFamily="34" charset="0"/>
                </a:rPr>
                <a:t>Ticket Count</a:t>
              </a:r>
            </a:p>
          </p:txBody>
        </p:sp>
      </p:grpSp>
      <p:sp>
        <p:nvSpPr>
          <p:cNvPr id="13" name="Rectangle 12"/>
          <p:cNvSpPr/>
          <p:nvPr/>
        </p:nvSpPr>
        <p:spPr bwMode="auto">
          <a:xfrm>
            <a:off x="1611697" y="4634951"/>
            <a:ext cx="10357440" cy="1028084"/>
          </a:xfrm>
          <a:prstGeom prst="rect">
            <a:avLst/>
          </a:prstGeom>
          <a:noFill/>
          <a:ln w="28575" cap="flat" cmpd="sng" algn="ctr">
            <a:solidFill>
              <a:srgbClr val="FF0000"/>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685783"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itchFamily="-12" charset="0"/>
              <a:ea typeface="ＭＳ Ｐゴシック" pitchFamily="-12" charset="-128"/>
              <a:cs typeface="ＭＳ Ｐゴシック" pitchFamily="-12" charset="-128"/>
            </a:endParaRPr>
          </a:p>
        </p:txBody>
      </p:sp>
      <p:graphicFrame>
        <p:nvGraphicFramePr>
          <p:cNvPr id="24" name="Diagram 23"/>
          <p:cNvGraphicFramePr/>
          <p:nvPr>
            <p:extLst/>
          </p:nvPr>
        </p:nvGraphicFramePr>
        <p:xfrm>
          <a:off x="7040272" y="760077"/>
          <a:ext cx="5112370" cy="2090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5" name="Rounded Rectangle 24"/>
          <p:cNvSpPr/>
          <p:nvPr/>
        </p:nvSpPr>
        <p:spPr>
          <a:xfrm>
            <a:off x="8072846" y="730319"/>
            <a:ext cx="4110218" cy="234694"/>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6" name="Group 25"/>
          <p:cNvGrpSpPr/>
          <p:nvPr/>
        </p:nvGrpSpPr>
        <p:grpSpPr>
          <a:xfrm>
            <a:off x="9449651" y="340788"/>
            <a:ext cx="2700482" cy="289121"/>
            <a:chOff x="8145350" y="215971"/>
            <a:chExt cx="2700482" cy="289121"/>
          </a:xfrm>
        </p:grpSpPr>
        <p:grpSp>
          <p:nvGrpSpPr>
            <p:cNvPr id="27" name="Group 26"/>
            <p:cNvGrpSpPr/>
            <p:nvPr/>
          </p:nvGrpSpPr>
          <p:grpSpPr>
            <a:xfrm>
              <a:off x="8335160" y="246313"/>
              <a:ext cx="2505542" cy="212634"/>
              <a:chOff x="299631" y="452732"/>
              <a:chExt cx="3147489" cy="320558"/>
            </a:xfrm>
          </p:grpSpPr>
          <p:grpSp>
            <p:nvGrpSpPr>
              <p:cNvPr id="30" name="Group 29"/>
              <p:cNvGrpSpPr/>
              <p:nvPr/>
            </p:nvGrpSpPr>
            <p:grpSpPr>
              <a:xfrm>
                <a:off x="299631" y="484807"/>
                <a:ext cx="270857" cy="281833"/>
                <a:chOff x="299631" y="484807"/>
                <a:chExt cx="270857" cy="281833"/>
              </a:xfrm>
            </p:grpSpPr>
            <p:sp>
              <p:nvSpPr>
                <p:cNvPr id="44" name="Oval 43"/>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45" name="Picture 44" descr="http://i1.cpcache.com/product_zoom/1264121174/skydiving_icon_business_cards.jpg?height=250&amp;width=250&amp;padToSquare=tru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35" name="TextBox 34"/>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36" name="Group 35"/>
              <p:cNvGrpSpPr/>
              <p:nvPr/>
            </p:nvGrpSpPr>
            <p:grpSpPr>
              <a:xfrm>
                <a:off x="1298515" y="490776"/>
                <a:ext cx="271717" cy="275864"/>
                <a:chOff x="5057725" y="5770940"/>
                <a:chExt cx="496562" cy="496562"/>
              </a:xfrm>
            </p:grpSpPr>
            <p:sp>
              <p:nvSpPr>
                <p:cNvPr id="42" name="Oval 41"/>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43" name="Picture 4" descr="http://sr.photos3.fotosearch.com/bthumb/CSP/CSP345/k3453379.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37" name="TextBox 36"/>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38" name="Group 37"/>
              <p:cNvGrpSpPr/>
              <p:nvPr/>
            </p:nvGrpSpPr>
            <p:grpSpPr>
              <a:xfrm>
                <a:off x="2310382" y="479627"/>
                <a:ext cx="304919" cy="293663"/>
                <a:chOff x="8469842" y="5748867"/>
                <a:chExt cx="496562" cy="496562"/>
              </a:xfrm>
            </p:grpSpPr>
            <p:sp>
              <p:nvSpPr>
                <p:cNvPr id="40" name="Oval 39"/>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41" name="Picture 2" descr="http://www.kewauneeprcommittee.com/High_hurdles.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39" name="TextBox 38"/>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28" name="Rounded Rectangle 27"/>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9" name="Rounded Rectangle 28"/>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46" name="Oval 45">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2</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60153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Eliminate: orchestrating “elimination” of </a:t>
            </a:r>
            <a:r>
              <a:rPr lang="en-US" dirty="0" smtClean="0"/>
              <a:t>debt - Sample</a:t>
            </a:r>
            <a:endParaRPr lang="en-US" dirty="0"/>
          </a:p>
        </p:txBody>
      </p:sp>
      <p:graphicFrame>
        <p:nvGraphicFramePr>
          <p:cNvPr id="76" name="Table 75"/>
          <p:cNvGraphicFramePr>
            <a:graphicFrameLocks noGrp="1"/>
          </p:cNvGraphicFramePr>
          <p:nvPr>
            <p:extLst/>
          </p:nvPr>
        </p:nvGraphicFramePr>
        <p:xfrm>
          <a:off x="421533" y="1702915"/>
          <a:ext cx="7581088" cy="4197929"/>
        </p:xfrm>
        <a:graphic>
          <a:graphicData uri="http://schemas.openxmlformats.org/drawingml/2006/table">
            <a:tbl>
              <a:tblPr firstRow="1"/>
              <a:tblGrid>
                <a:gridCol w="1788229">
                  <a:extLst>
                    <a:ext uri="{9D8B030D-6E8A-4147-A177-3AD203B41FA5}">
                      <a16:colId xmlns:a16="http://schemas.microsoft.com/office/drawing/2014/main" val="20000"/>
                    </a:ext>
                  </a:extLst>
                </a:gridCol>
                <a:gridCol w="2971660">
                  <a:extLst>
                    <a:ext uri="{9D8B030D-6E8A-4147-A177-3AD203B41FA5}">
                      <a16:colId xmlns:a16="http://schemas.microsoft.com/office/drawing/2014/main" val="20001"/>
                    </a:ext>
                  </a:extLst>
                </a:gridCol>
                <a:gridCol w="1478652">
                  <a:extLst>
                    <a:ext uri="{9D8B030D-6E8A-4147-A177-3AD203B41FA5}">
                      <a16:colId xmlns:a16="http://schemas.microsoft.com/office/drawing/2014/main" val="20002"/>
                    </a:ext>
                  </a:extLst>
                </a:gridCol>
                <a:gridCol w="1342547">
                  <a:extLst>
                    <a:ext uri="{9D8B030D-6E8A-4147-A177-3AD203B41FA5}">
                      <a16:colId xmlns:a16="http://schemas.microsoft.com/office/drawing/2014/main" val="20003"/>
                    </a:ext>
                  </a:extLst>
                </a:gridCol>
              </a:tblGrid>
              <a:tr h="529788">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algn="ctr" fontAlgn="ctr"/>
                      <a:r>
                        <a:rPr lang="en-US" sz="1600" b="1" i="0" u="none" strike="noStrike" dirty="0" smtClean="0">
                          <a:solidFill>
                            <a:schemeClr val="bg1"/>
                          </a:solidFill>
                          <a:effectLst/>
                          <a:latin typeface="Arial" panose="020B0604020202020204" pitchFamily="34" charset="0"/>
                          <a:cs typeface="Arial" panose="020B0604020202020204" pitchFamily="34" charset="0"/>
                        </a:rPr>
                        <a:t>Typical Use </a:t>
                      </a:r>
                      <a:r>
                        <a:rPr lang="en-US" sz="1600" b="1" i="0" u="none" strike="noStrike" dirty="0">
                          <a:solidFill>
                            <a:schemeClr val="bg1"/>
                          </a:solidFill>
                          <a:effectLst/>
                          <a:latin typeface="Arial" panose="020B0604020202020204" pitchFamily="34" charset="0"/>
                          <a:cs typeface="Arial" panose="020B0604020202020204" pitchFamily="34" charset="0"/>
                        </a:rPr>
                        <a:t>case</a:t>
                      </a:r>
                    </a:p>
                  </a:txBody>
                  <a:tcPr marL="9391" marR="9391" marT="9391" marB="0" anchor="ctr">
                    <a:lnL w="12700" cap="flat" cmpd="sng" algn="ctr">
                      <a:solidFill>
                        <a:sysClr val="windowText" lastClr="000000">
                          <a:lumMod val="50000"/>
                          <a:lumOff val="50000"/>
                        </a:sysClr>
                      </a:solidFill>
                      <a:prstDash val="solid"/>
                      <a:round/>
                      <a:headEnd type="none" w="med" len="med"/>
                      <a:tailEnd type="none" w="med" len="med"/>
                    </a:lnL>
                    <a:lnR w="12700" cmpd="sng">
                      <a:solidFill>
                        <a:sysClr val="window" lastClr="FFFFFF"/>
                      </a:solidFill>
                    </a:lnR>
                    <a:lnT w="12700" cap="flat" cmpd="sng" algn="ctr">
                      <a:solidFill>
                        <a:sysClr val="windowText" lastClr="000000">
                          <a:lumMod val="50000"/>
                          <a:lumOff val="50000"/>
                        </a:sys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28F"/>
                    </a:solidFill>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algn="ctr" fontAlgn="ctr"/>
                      <a:r>
                        <a:rPr lang="en-US" sz="1600" b="1" i="0" u="none" strike="noStrike" dirty="0" smtClean="0">
                          <a:solidFill>
                            <a:schemeClr val="bg1"/>
                          </a:solidFill>
                          <a:effectLst/>
                          <a:latin typeface="Arial" panose="020B0604020202020204" pitchFamily="34" charset="0"/>
                          <a:cs typeface="Arial" panose="020B0604020202020204" pitchFamily="34" charset="0"/>
                        </a:rPr>
                        <a:t>Sample Ticket</a:t>
                      </a:r>
                      <a:r>
                        <a:rPr lang="en-US" sz="1600" b="1" i="0" u="none" strike="noStrike" baseline="0" dirty="0" smtClean="0">
                          <a:solidFill>
                            <a:schemeClr val="bg1"/>
                          </a:solidFill>
                          <a:effectLst/>
                          <a:latin typeface="Arial" panose="020B0604020202020204" pitchFamily="34" charset="0"/>
                          <a:cs typeface="Arial" panose="020B0604020202020204" pitchFamily="34" charset="0"/>
                        </a:rPr>
                        <a:t> </a:t>
                      </a:r>
                      <a:r>
                        <a:rPr lang="en-US" sz="1600" b="1" i="0" u="none" strike="noStrike" dirty="0" smtClean="0">
                          <a:solidFill>
                            <a:schemeClr val="bg1"/>
                          </a:solidFill>
                          <a:effectLst/>
                          <a:latin typeface="Arial" panose="020B0604020202020204" pitchFamily="34" charset="0"/>
                          <a:cs typeface="Arial" panose="020B0604020202020204" pitchFamily="34" charset="0"/>
                        </a:rPr>
                        <a:t>description</a:t>
                      </a:r>
                      <a:endParaRPr lang="en-US" sz="1600" b="1" i="0" u="none" strike="noStrike" dirty="0">
                        <a:solidFill>
                          <a:schemeClr val="bg1"/>
                        </a:solidFill>
                        <a:effectLst/>
                        <a:latin typeface="Arial" panose="020B0604020202020204" pitchFamily="34" charset="0"/>
                        <a:cs typeface="Arial" panose="020B0604020202020204" pitchFamily="34" charset="0"/>
                      </a:endParaRPr>
                    </a:p>
                  </a:txBody>
                  <a:tcPr marL="9391" marR="9391" marT="9391" marB="0" anchor="ctr">
                    <a:lnL w="12700" cmpd="sng">
                      <a:solidFill>
                        <a:sysClr val="window" lastClr="FFFFFF"/>
                      </a:solidFill>
                    </a:lnL>
                    <a:lnR w="12700" cmpd="sng">
                      <a:solidFill>
                        <a:sysClr val="window" lastClr="FFFFFF"/>
                      </a:solidFill>
                    </a:lnR>
                    <a:lnT w="12700" cap="flat" cmpd="sng" algn="ctr">
                      <a:solidFill>
                        <a:sysClr val="windowText" lastClr="000000">
                          <a:lumMod val="50000"/>
                          <a:lumOff val="50000"/>
                        </a:sysClr>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rgbClr val="6DB33F"/>
                    </a:solidFill>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algn="ctr" fontAlgn="ctr"/>
                      <a:r>
                        <a:rPr lang="en-US" sz="1600" b="1" i="0" u="none" strike="noStrike" dirty="0">
                          <a:solidFill>
                            <a:schemeClr val="bg1"/>
                          </a:solidFill>
                          <a:effectLst/>
                          <a:latin typeface="Arial" panose="020B0604020202020204" pitchFamily="34" charset="0"/>
                          <a:cs typeface="Arial" panose="020B0604020202020204" pitchFamily="34" charset="0"/>
                        </a:rPr>
                        <a:t>Elimination % </a:t>
                      </a:r>
                    </a:p>
                  </a:txBody>
                  <a:tcPr marL="9391" marR="9391" marT="9391" marB="0" anchor="ctr">
                    <a:lnL w="12700" cmpd="sng">
                      <a:solidFill>
                        <a:sysClr val="window" lastClr="FFFFFF"/>
                      </a:solidFill>
                    </a:lnL>
                    <a:lnR w="12700" cmpd="sng">
                      <a:solidFill>
                        <a:sysClr val="window" lastClr="FFFFFF"/>
                      </a:solidFill>
                    </a:lnR>
                    <a:lnT w="12700" cap="flat" cmpd="sng" algn="ctr">
                      <a:solidFill>
                        <a:sysClr val="windowText" lastClr="000000">
                          <a:lumMod val="50000"/>
                          <a:lumOff val="50000"/>
                        </a:sys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298B5"/>
                    </a:solidFill>
                  </a:tcPr>
                </a:tc>
                <a:tc>
                  <a:txBody>
                    <a:bodyPr/>
                    <a:lstStyle>
                      <a:lvl1pPr marL="0" algn="l" defTabSz="1213838" rtl="0" eaLnBrk="1" latinLnBrk="0" hangingPunct="1">
                        <a:defRPr sz="2370" b="1" kern="1200">
                          <a:solidFill>
                            <a:schemeClr val="tx1"/>
                          </a:solidFill>
                          <a:latin typeface="Calibri" panose="020F0502020204030204"/>
                        </a:defRPr>
                      </a:lvl1pPr>
                      <a:lvl2pPr marL="606919" algn="l" defTabSz="1213838" rtl="0" eaLnBrk="1" latinLnBrk="0" hangingPunct="1">
                        <a:defRPr sz="2370" b="1" kern="1200">
                          <a:solidFill>
                            <a:schemeClr val="tx1"/>
                          </a:solidFill>
                          <a:latin typeface="Calibri" panose="020F0502020204030204"/>
                        </a:defRPr>
                      </a:lvl2pPr>
                      <a:lvl3pPr marL="1213838" algn="l" defTabSz="1213838" rtl="0" eaLnBrk="1" latinLnBrk="0" hangingPunct="1">
                        <a:defRPr sz="2370" b="1" kern="1200">
                          <a:solidFill>
                            <a:schemeClr val="tx1"/>
                          </a:solidFill>
                          <a:latin typeface="Calibri" panose="020F0502020204030204"/>
                        </a:defRPr>
                      </a:lvl3pPr>
                      <a:lvl4pPr marL="1820756" algn="l" defTabSz="1213838" rtl="0" eaLnBrk="1" latinLnBrk="0" hangingPunct="1">
                        <a:defRPr sz="2370" b="1" kern="1200">
                          <a:solidFill>
                            <a:schemeClr val="tx1"/>
                          </a:solidFill>
                          <a:latin typeface="Calibri" panose="020F0502020204030204"/>
                        </a:defRPr>
                      </a:lvl4pPr>
                      <a:lvl5pPr marL="2427675" algn="l" defTabSz="1213838" rtl="0" eaLnBrk="1" latinLnBrk="0" hangingPunct="1">
                        <a:defRPr sz="2370" b="1" kern="1200">
                          <a:solidFill>
                            <a:schemeClr val="tx1"/>
                          </a:solidFill>
                          <a:latin typeface="Calibri" panose="020F0502020204030204"/>
                        </a:defRPr>
                      </a:lvl5pPr>
                      <a:lvl6pPr marL="3034594" algn="l" defTabSz="1213838" rtl="0" eaLnBrk="1" latinLnBrk="0" hangingPunct="1">
                        <a:defRPr sz="2370" b="1" kern="1200">
                          <a:solidFill>
                            <a:schemeClr val="tx1"/>
                          </a:solidFill>
                          <a:latin typeface="Calibri" panose="020F0502020204030204"/>
                        </a:defRPr>
                      </a:lvl6pPr>
                      <a:lvl7pPr marL="3641513" algn="l" defTabSz="1213838" rtl="0" eaLnBrk="1" latinLnBrk="0" hangingPunct="1">
                        <a:defRPr sz="2370" b="1" kern="1200">
                          <a:solidFill>
                            <a:schemeClr val="tx1"/>
                          </a:solidFill>
                          <a:latin typeface="Calibri" panose="020F0502020204030204"/>
                        </a:defRPr>
                      </a:lvl7pPr>
                      <a:lvl8pPr marL="4248432" algn="l" defTabSz="1213838" rtl="0" eaLnBrk="1" latinLnBrk="0" hangingPunct="1">
                        <a:defRPr sz="2370" b="1" kern="1200">
                          <a:solidFill>
                            <a:schemeClr val="tx1"/>
                          </a:solidFill>
                          <a:latin typeface="Calibri" panose="020F0502020204030204"/>
                        </a:defRPr>
                      </a:lvl8pPr>
                      <a:lvl9pPr marL="4855349" algn="l" defTabSz="1213838" rtl="0" eaLnBrk="1" latinLnBrk="0" hangingPunct="1">
                        <a:defRPr sz="2370" b="1" kern="1200">
                          <a:solidFill>
                            <a:schemeClr val="tx1"/>
                          </a:solidFill>
                          <a:latin typeface="Calibri" panose="020F0502020204030204"/>
                        </a:defRPr>
                      </a:lvl9pPr>
                    </a:lstStyle>
                    <a:p>
                      <a:pPr algn="ctr" fontAlgn="ctr"/>
                      <a:r>
                        <a:rPr lang="en-US" sz="1600" b="1" i="0" u="none" strike="noStrike" dirty="0">
                          <a:solidFill>
                            <a:schemeClr val="bg1"/>
                          </a:solidFill>
                          <a:effectLst/>
                          <a:latin typeface="Arial" panose="020B0604020202020204" pitchFamily="34" charset="0"/>
                          <a:cs typeface="Arial" panose="020B0604020202020204" pitchFamily="34" charset="0"/>
                        </a:rPr>
                        <a:t>Solution</a:t>
                      </a:r>
                    </a:p>
                  </a:txBody>
                  <a:tcPr marL="9391" marR="9391" marT="9391" marB="0" anchor="ctr">
                    <a:lnL w="12700" cmpd="sng">
                      <a:solidFill>
                        <a:sysClr val="window" lastClr="FFFFFF"/>
                      </a:solidFill>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rgbClr val="387C2C"/>
                    </a:solidFill>
                  </a:tcPr>
                </a:tc>
                <a:extLst>
                  <a:ext uri="{0D108BD9-81ED-4DB2-BD59-A6C34878D82A}">
                    <a16:rowId xmlns:a16="http://schemas.microsoft.com/office/drawing/2014/main" val="10000"/>
                  </a:ext>
                </a:extLst>
              </a:tr>
              <a:tr h="744220">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1" i="0" u="none" strike="noStrike" dirty="0">
                          <a:solidFill>
                            <a:srgbClr val="000000"/>
                          </a:solidFill>
                          <a:effectLst/>
                          <a:latin typeface="Arial" panose="020B0604020202020204" pitchFamily="34" charset="0"/>
                          <a:cs typeface="Arial" panose="020B0604020202020204" pitchFamily="34" charset="0"/>
                        </a:rPr>
                        <a:t>Error Response</a:t>
                      </a:r>
                    </a:p>
                  </a:txBody>
                  <a:tcPr marL="9525" marR="9525" marT="9525" marB="0" anchor="ctr">
                    <a:lnL w="12700" cap="flat" cmpd="sng" algn="ctr">
                      <a:solidFill>
                        <a:sysClr val="windowText" lastClr="000000">
                          <a:lumMod val="50000"/>
                          <a:lumOff val="50000"/>
                        </a:sysClr>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e-leave error</a:t>
                      </a:r>
                    </a:p>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employee number error</a:t>
                      </a:r>
                    </a:p>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error in ECS system</a:t>
                      </a:r>
                      <a:endParaRPr lang="en-US"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21920" marR="12700" marT="127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0" i="0" u="none" strike="noStrike" kern="1200" dirty="0" smtClean="0">
                          <a:solidFill>
                            <a:schemeClr val="tx1"/>
                          </a:solidFill>
                          <a:effectLst/>
                          <a:latin typeface="Arial" panose="020B0604020202020204" pitchFamily="34" charset="0"/>
                          <a:ea typeface="+mn-ea"/>
                          <a:cs typeface="Arial" panose="020B0604020202020204" pitchFamily="34" charset="0"/>
                        </a:rPr>
                        <a:t>5.81%</a:t>
                      </a:r>
                      <a:endParaRPr lang="en-US" sz="13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0" marR="0" algn="ctr">
                        <a:spcBef>
                          <a:spcPts val="0"/>
                        </a:spcBef>
                        <a:spcAft>
                          <a:spcPts val="0"/>
                        </a:spcAft>
                      </a:pPr>
                      <a:r>
                        <a:rPr lang="en-US" sz="1300" b="1" dirty="0">
                          <a:solidFill>
                            <a:srgbClr val="404040"/>
                          </a:solidFill>
                          <a:effectLst/>
                          <a:latin typeface="Arial" panose="020B0604020202020204" pitchFamily="34" charset="0"/>
                          <a:ea typeface="Calibri" panose="020F0502020204030204" pitchFamily="34" charset="0"/>
                          <a:cs typeface="Arial" panose="020B0604020202020204" pitchFamily="34" charset="0"/>
                        </a:rPr>
                        <a:t>App Healing</a:t>
                      </a:r>
                      <a:endParaRPr lang="en-US" sz="1300" dirty="0">
                        <a:solidFill>
                          <a:srgbClr val="404040"/>
                        </a:solidFill>
                        <a:effectLst/>
                        <a:latin typeface="Arial" panose="020B060402020202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744220">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1" i="0" u="none" strike="noStrike" dirty="0">
                          <a:solidFill>
                            <a:srgbClr val="000000"/>
                          </a:solidFill>
                          <a:effectLst/>
                          <a:latin typeface="Arial" panose="020B0604020202020204" pitchFamily="34" charset="0"/>
                          <a:cs typeface="Arial" panose="020B0604020202020204" pitchFamily="34" charset="0"/>
                        </a:rPr>
                        <a:t>Password Reset</a:t>
                      </a:r>
                    </a:p>
                  </a:txBody>
                  <a:tcPr marL="9525" marR="9525" marT="9525" marB="0" anchor="ctr">
                    <a:lnL w="12700" cap="flat" cmpd="sng" algn="ctr">
                      <a:solidFill>
                        <a:sysClr val="windowText" lastClr="000000">
                          <a:lumMod val="50000"/>
                          <a:lumOff val="50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AP SRM password reset</a:t>
                      </a:r>
                    </a:p>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AP-ECP Password reset for JVANDYCK</a:t>
                      </a:r>
                      <a:endParaRPr lang="en-US"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21920" marR="12700" marT="127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0" i="0" u="none" strike="noStrike" kern="1200" dirty="0" smtClean="0">
                          <a:solidFill>
                            <a:schemeClr val="tx1"/>
                          </a:solidFill>
                          <a:effectLst/>
                          <a:latin typeface="Arial" panose="020B0604020202020204" pitchFamily="34" charset="0"/>
                          <a:ea typeface="+mn-ea"/>
                          <a:cs typeface="Arial" panose="020B0604020202020204" pitchFamily="34" charset="0"/>
                        </a:rPr>
                        <a:t>4.28%</a:t>
                      </a:r>
                      <a:endParaRPr lang="en-US" sz="13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0" marR="0" algn="ctr">
                        <a:spcBef>
                          <a:spcPts val="0"/>
                        </a:spcBef>
                        <a:spcAft>
                          <a:spcPts val="0"/>
                        </a:spcAft>
                      </a:pPr>
                      <a:r>
                        <a:rPr lang="en-US" sz="1300" b="1" dirty="0">
                          <a:solidFill>
                            <a:srgbClr val="404040"/>
                          </a:solidFill>
                          <a:effectLst/>
                          <a:latin typeface="Arial" panose="020B0604020202020204" pitchFamily="34" charset="0"/>
                          <a:ea typeface="Calibri" panose="020F0502020204030204" pitchFamily="34" charset="0"/>
                          <a:cs typeface="Arial" panose="020B0604020202020204" pitchFamily="34" charset="0"/>
                        </a:rPr>
                        <a:t>New</a:t>
                      </a:r>
                      <a:r>
                        <a:rPr lang="en-US" sz="1300" b="1" baseline="0" dirty="0">
                          <a:solidFill>
                            <a:srgbClr val="404040"/>
                          </a:solidFill>
                          <a:effectLst/>
                          <a:latin typeface="Arial" panose="020B0604020202020204" pitchFamily="34" charset="0"/>
                          <a:ea typeface="Calibri" panose="020F0502020204030204" pitchFamily="34" charset="0"/>
                          <a:cs typeface="Arial" panose="020B0604020202020204" pitchFamily="34" charset="0"/>
                        </a:rPr>
                        <a:t> Functionality</a:t>
                      </a:r>
                      <a:endParaRPr lang="en-US" sz="1300" dirty="0">
                        <a:solidFill>
                          <a:srgbClr val="404040"/>
                        </a:solidFill>
                        <a:effectLst/>
                        <a:latin typeface="Arial" panose="020B060402020202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10002"/>
                  </a:ext>
                </a:extLst>
              </a:tr>
              <a:tr h="726567">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1" i="0" u="none" strike="noStrike" dirty="0">
                          <a:solidFill>
                            <a:srgbClr val="000000"/>
                          </a:solidFill>
                          <a:effectLst/>
                          <a:latin typeface="Arial" panose="020B0604020202020204" pitchFamily="34" charset="0"/>
                          <a:cs typeface="Arial" panose="020B0604020202020204" pitchFamily="34" charset="0"/>
                        </a:rPr>
                        <a:t>Application issue</a:t>
                      </a:r>
                    </a:p>
                  </a:txBody>
                  <a:tcPr marL="9525" marR="9525" marT="9525" marB="0" anchor="ctr">
                    <a:lnL w="12700" cap="flat" cmpd="sng" algn="ctr">
                      <a:solidFill>
                        <a:sysClr val="windowText" lastClr="000000">
                          <a:lumMod val="50000"/>
                          <a:lumOff val="50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RM decimal issue - PO# 3301517167</a:t>
                      </a:r>
                    </a:p>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Issues with Kronos</a:t>
                      </a:r>
                      <a:endParaRPr lang="en-US"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21920" marR="12700" marT="127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0" i="0" u="none" strike="noStrike" kern="1200" dirty="0" smtClean="0">
                          <a:solidFill>
                            <a:schemeClr val="tx1"/>
                          </a:solidFill>
                          <a:effectLst/>
                          <a:latin typeface="Arial" panose="020B0604020202020204" pitchFamily="34" charset="0"/>
                          <a:ea typeface="+mn-ea"/>
                          <a:cs typeface="Arial" panose="020B0604020202020204" pitchFamily="34" charset="0"/>
                        </a:rPr>
                        <a:t>2.08%</a:t>
                      </a:r>
                      <a:endParaRPr lang="en-US" sz="13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0" marR="0" lvl="0" indent="0" algn="ctr" defTabSz="1213838" rtl="0" eaLnBrk="1" fontAlgn="auto" latinLnBrk="0" hangingPunct="1">
                        <a:lnSpc>
                          <a:spcPct val="100000"/>
                        </a:lnSpc>
                        <a:spcBef>
                          <a:spcPts val="0"/>
                        </a:spcBef>
                        <a:spcAft>
                          <a:spcPts val="0"/>
                        </a:spcAft>
                        <a:buClrTx/>
                        <a:buSzTx/>
                        <a:buFontTx/>
                        <a:buNone/>
                        <a:tabLst/>
                        <a:defRPr/>
                      </a:pPr>
                      <a:r>
                        <a:rPr lang="en-US" sz="1300" b="1" dirty="0">
                          <a:solidFill>
                            <a:srgbClr val="404040"/>
                          </a:solidFill>
                          <a:effectLst/>
                          <a:latin typeface="Arial" panose="020B0604020202020204" pitchFamily="34" charset="0"/>
                          <a:ea typeface="Calibri" panose="020F0502020204030204" pitchFamily="34" charset="0"/>
                          <a:cs typeface="Arial" panose="020B0604020202020204" pitchFamily="34" charset="0"/>
                        </a:rPr>
                        <a:t>App Healing</a:t>
                      </a:r>
                      <a:endParaRPr lang="en-US" sz="1300" dirty="0">
                        <a:solidFill>
                          <a:srgbClr val="404040"/>
                        </a:solidFill>
                        <a:effectLst/>
                        <a:latin typeface="Arial" panose="020B060402020202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726567">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1" i="0" u="none" strike="noStrike" dirty="0" smtClean="0">
                          <a:solidFill>
                            <a:srgbClr val="000000"/>
                          </a:solidFill>
                          <a:effectLst/>
                          <a:latin typeface="Arial" panose="020B0604020202020204" pitchFamily="34" charset="0"/>
                          <a:cs typeface="Arial" panose="020B0604020202020204" pitchFamily="34" charset="0"/>
                        </a:rPr>
                        <a:t>Missing Data</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ysClr val="windowText" lastClr="000000">
                          <a:lumMod val="50000"/>
                          <a:lumOff val="50000"/>
                        </a:sysClr>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171450" marR="0" lvl="0" indent="-171450" algn="l">
                        <a:spcBef>
                          <a:spcPts val="0"/>
                        </a:spcBef>
                        <a:spcAft>
                          <a:spcPts val="0"/>
                        </a:spcAft>
                        <a:buFont typeface="Arial"/>
                        <a:buChar char="•"/>
                      </a:pPr>
                      <a:r>
                        <a:rPr lang="it-IT" sz="1300" smtClean="0">
                          <a:solidFill>
                            <a:schemeClr val="tx1"/>
                          </a:solidFill>
                          <a:effectLst/>
                          <a:latin typeface="Arial" panose="020B0604020202020204" pitchFamily="34" charset="0"/>
                          <a:ea typeface="Calibri" panose="020F0502020204030204" pitchFamily="34" charset="0"/>
                          <a:cs typeface="Arial" panose="020B0604020202020204" pitchFamily="34" charset="0"/>
                        </a:rPr>
                        <a:t>Missing PO# 4501650014 in eDC </a:t>
                      </a:r>
                    </a:p>
                    <a:p>
                      <a:pPr marL="171450" marR="0" lvl="0" indent="-171450" algn="l">
                        <a:spcBef>
                          <a:spcPts val="0"/>
                        </a:spcBef>
                        <a:spcAft>
                          <a:spcPts val="0"/>
                        </a:spcAft>
                        <a:buFont typeface="Arial"/>
                        <a:buChar char="•"/>
                      </a:pPr>
                      <a:r>
                        <a:rPr lang="en-US" sz="130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OF DE Missing Parcel Tracking data</a:t>
                      </a:r>
                      <a:endParaRPr lang="en-US"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21920" marR="12700" marT="127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0" i="0" u="none" strike="noStrike" kern="1200" dirty="0" smtClean="0">
                          <a:solidFill>
                            <a:schemeClr val="tx1"/>
                          </a:solidFill>
                          <a:effectLst/>
                          <a:latin typeface="Arial" panose="020B0604020202020204" pitchFamily="34" charset="0"/>
                          <a:ea typeface="+mn-ea"/>
                          <a:cs typeface="Arial" panose="020B0604020202020204" pitchFamily="34" charset="0"/>
                        </a:rPr>
                        <a:t>1.71%</a:t>
                      </a:r>
                      <a:endParaRPr lang="en-US" sz="13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lvl1pPr marL="0" algn="l" defTabSz="1213838" rtl="0" eaLnBrk="1" latinLnBrk="0" hangingPunct="1">
                        <a:defRPr sz="2370" kern="1200">
                          <a:solidFill>
                            <a:schemeClr val="tx1"/>
                          </a:solidFill>
                          <a:latin typeface="Calibri" panose="020F0502020204030204"/>
                        </a:defRPr>
                      </a:lvl1pPr>
                      <a:lvl2pPr marL="606919" algn="l" defTabSz="1213838" rtl="0" eaLnBrk="1" latinLnBrk="0" hangingPunct="1">
                        <a:defRPr sz="2370" kern="1200">
                          <a:solidFill>
                            <a:schemeClr val="tx1"/>
                          </a:solidFill>
                          <a:latin typeface="Calibri" panose="020F0502020204030204"/>
                        </a:defRPr>
                      </a:lvl2pPr>
                      <a:lvl3pPr marL="1213838" algn="l" defTabSz="1213838" rtl="0" eaLnBrk="1" latinLnBrk="0" hangingPunct="1">
                        <a:defRPr sz="2370" kern="1200">
                          <a:solidFill>
                            <a:schemeClr val="tx1"/>
                          </a:solidFill>
                          <a:latin typeface="Calibri" panose="020F0502020204030204"/>
                        </a:defRPr>
                      </a:lvl3pPr>
                      <a:lvl4pPr marL="1820756" algn="l" defTabSz="1213838" rtl="0" eaLnBrk="1" latinLnBrk="0" hangingPunct="1">
                        <a:defRPr sz="2370" kern="1200">
                          <a:solidFill>
                            <a:schemeClr val="tx1"/>
                          </a:solidFill>
                          <a:latin typeface="Calibri" panose="020F0502020204030204"/>
                        </a:defRPr>
                      </a:lvl4pPr>
                      <a:lvl5pPr marL="2427675" algn="l" defTabSz="1213838" rtl="0" eaLnBrk="1" latinLnBrk="0" hangingPunct="1">
                        <a:defRPr sz="2370" kern="1200">
                          <a:solidFill>
                            <a:schemeClr val="tx1"/>
                          </a:solidFill>
                          <a:latin typeface="Calibri" panose="020F0502020204030204"/>
                        </a:defRPr>
                      </a:lvl5pPr>
                      <a:lvl6pPr marL="3034594" algn="l" defTabSz="1213838" rtl="0" eaLnBrk="1" latinLnBrk="0" hangingPunct="1">
                        <a:defRPr sz="2370" kern="1200">
                          <a:solidFill>
                            <a:schemeClr val="tx1"/>
                          </a:solidFill>
                          <a:latin typeface="Calibri" panose="020F0502020204030204"/>
                        </a:defRPr>
                      </a:lvl6pPr>
                      <a:lvl7pPr marL="3641513" algn="l" defTabSz="1213838" rtl="0" eaLnBrk="1" latinLnBrk="0" hangingPunct="1">
                        <a:defRPr sz="2370" kern="1200">
                          <a:solidFill>
                            <a:schemeClr val="tx1"/>
                          </a:solidFill>
                          <a:latin typeface="Calibri" panose="020F0502020204030204"/>
                        </a:defRPr>
                      </a:lvl7pPr>
                      <a:lvl8pPr marL="4248432" algn="l" defTabSz="1213838" rtl="0" eaLnBrk="1" latinLnBrk="0" hangingPunct="1">
                        <a:defRPr sz="2370" kern="1200">
                          <a:solidFill>
                            <a:schemeClr val="tx1"/>
                          </a:solidFill>
                          <a:latin typeface="Calibri" panose="020F0502020204030204"/>
                        </a:defRPr>
                      </a:lvl8pPr>
                      <a:lvl9pPr marL="4855349" algn="l" defTabSz="1213838" rtl="0" eaLnBrk="1" latinLnBrk="0" hangingPunct="1">
                        <a:defRPr sz="2370" kern="1200">
                          <a:solidFill>
                            <a:schemeClr val="tx1"/>
                          </a:solidFill>
                          <a:latin typeface="Calibri" panose="020F0502020204030204"/>
                        </a:defRPr>
                      </a:lvl9pPr>
                    </a:lstStyle>
                    <a:p>
                      <a:pPr marL="0" marR="0" lvl="0" indent="0" algn="ctr" defTabSz="1213838" rtl="0" eaLnBrk="1" fontAlgn="auto" latinLnBrk="0" hangingPunct="1">
                        <a:lnSpc>
                          <a:spcPct val="100000"/>
                        </a:lnSpc>
                        <a:spcBef>
                          <a:spcPts val="0"/>
                        </a:spcBef>
                        <a:spcAft>
                          <a:spcPts val="0"/>
                        </a:spcAft>
                        <a:buClrTx/>
                        <a:buSzTx/>
                        <a:buFontTx/>
                        <a:buNone/>
                        <a:tabLst/>
                        <a:defRPr/>
                      </a:pPr>
                      <a:r>
                        <a:rPr lang="en-US" sz="1300" b="1" dirty="0" smtClean="0">
                          <a:solidFill>
                            <a:srgbClr val="404040"/>
                          </a:solidFill>
                          <a:effectLst/>
                          <a:latin typeface="Arial" panose="020B0604020202020204" pitchFamily="34" charset="0"/>
                          <a:ea typeface="Calibri" panose="020F0502020204030204" pitchFamily="34" charset="0"/>
                          <a:cs typeface="Arial" panose="020B0604020202020204" pitchFamily="34" charset="0"/>
                        </a:rPr>
                        <a:t>App Healing</a:t>
                      </a:r>
                      <a:endParaRPr lang="en-US" sz="1300" dirty="0">
                        <a:solidFill>
                          <a:srgbClr val="404040"/>
                        </a:solidFill>
                        <a:effectLst/>
                        <a:latin typeface="Arial" panose="020B060402020202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10004"/>
                  </a:ext>
                </a:extLst>
              </a:tr>
              <a:tr h="726567">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1" i="0" u="none" strike="noStrike" dirty="0" smtClean="0">
                          <a:solidFill>
                            <a:srgbClr val="000000"/>
                          </a:solidFill>
                          <a:effectLst/>
                          <a:latin typeface="Arial" panose="020B0604020202020204" pitchFamily="34" charset="0"/>
                          <a:cs typeface="Arial" panose="020B0604020202020204" pitchFamily="34" charset="0"/>
                        </a:rPr>
                        <a:t>Account Unlock</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ccount locked in SAP HBP-BI-HANA</a:t>
                      </a:r>
                    </a:p>
                    <a:p>
                      <a:pPr marL="171450" marR="0" lvl="0" indent="-171450" algn="l">
                        <a:spcBef>
                          <a:spcPts val="0"/>
                        </a:spcBef>
                        <a:spcAft>
                          <a:spcPts val="0"/>
                        </a:spcAft>
                        <a:buFont typeface="Arial"/>
                        <a:buChar cha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D Account locked.</a:t>
                      </a:r>
                      <a:endParaRPr lang="en-US"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21920" marR="12700" marT="127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algn="ctr" fontAlgn="b"/>
                      <a:r>
                        <a:rPr lang="en-US" sz="1300" b="0" i="0" u="none" strike="noStrike" kern="1200" dirty="0" smtClean="0">
                          <a:solidFill>
                            <a:schemeClr val="tx1"/>
                          </a:solidFill>
                          <a:effectLst/>
                          <a:latin typeface="Arial" panose="020B0604020202020204" pitchFamily="34" charset="0"/>
                          <a:ea typeface="+mn-ea"/>
                          <a:cs typeface="Arial" panose="020B0604020202020204" pitchFamily="34" charset="0"/>
                        </a:rPr>
                        <a:t>1.26%</a:t>
                      </a:r>
                      <a:endParaRPr lang="en-US" sz="13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44245" rtl="0" eaLnBrk="1" latinLnBrk="0" hangingPunct="1">
                        <a:defRPr sz="2167" kern="1200">
                          <a:solidFill>
                            <a:schemeClr val="tx1"/>
                          </a:solidFill>
                          <a:latin typeface="Calibri" panose="020F0502020204030204"/>
                        </a:defRPr>
                      </a:lvl1pPr>
                      <a:lvl2pPr marL="544245" algn="l" defTabSz="544245" rtl="0" eaLnBrk="1" latinLnBrk="0" hangingPunct="1">
                        <a:defRPr sz="2167" kern="1200">
                          <a:solidFill>
                            <a:schemeClr val="tx1"/>
                          </a:solidFill>
                          <a:latin typeface="Calibri" panose="020F0502020204030204"/>
                        </a:defRPr>
                      </a:lvl2pPr>
                      <a:lvl3pPr marL="1088490" algn="l" defTabSz="544245" rtl="0" eaLnBrk="1" latinLnBrk="0" hangingPunct="1">
                        <a:defRPr sz="2167" kern="1200">
                          <a:solidFill>
                            <a:schemeClr val="tx1"/>
                          </a:solidFill>
                          <a:latin typeface="Calibri" panose="020F0502020204030204"/>
                        </a:defRPr>
                      </a:lvl3pPr>
                      <a:lvl4pPr marL="1632735" algn="l" defTabSz="544245" rtl="0" eaLnBrk="1" latinLnBrk="0" hangingPunct="1">
                        <a:defRPr sz="2167" kern="1200">
                          <a:solidFill>
                            <a:schemeClr val="tx1"/>
                          </a:solidFill>
                          <a:latin typeface="Calibri" panose="020F0502020204030204"/>
                        </a:defRPr>
                      </a:lvl4pPr>
                      <a:lvl5pPr marL="2176980" algn="l" defTabSz="544245" rtl="0" eaLnBrk="1" latinLnBrk="0" hangingPunct="1">
                        <a:defRPr sz="2167" kern="1200">
                          <a:solidFill>
                            <a:schemeClr val="tx1"/>
                          </a:solidFill>
                          <a:latin typeface="Calibri" panose="020F0502020204030204"/>
                        </a:defRPr>
                      </a:lvl5pPr>
                      <a:lvl6pPr marL="2721224" algn="l" defTabSz="544245" rtl="0" eaLnBrk="1" latinLnBrk="0" hangingPunct="1">
                        <a:defRPr sz="2167" kern="1200">
                          <a:solidFill>
                            <a:schemeClr val="tx1"/>
                          </a:solidFill>
                          <a:latin typeface="Calibri" panose="020F0502020204030204"/>
                        </a:defRPr>
                      </a:lvl6pPr>
                      <a:lvl7pPr marL="3265469" algn="l" defTabSz="544245" rtl="0" eaLnBrk="1" latinLnBrk="0" hangingPunct="1">
                        <a:defRPr sz="2167" kern="1200">
                          <a:solidFill>
                            <a:schemeClr val="tx1"/>
                          </a:solidFill>
                          <a:latin typeface="Calibri" panose="020F0502020204030204"/>
                        </a:defRPr>
                      </a:lvl7pPr>
                      <a:lvl8pPr marL="3809714" algn="l" defTabSz="544245" rtl="0" eaLnBrk="1" latinLnBrk="0" hangingPunct="1">
                        <a:defRPr sz="2167" kern="1200">
                          <a:solidFill>
                            <a:schemeClr val="tx1"/>
                          </a:solidFill>
                          <a:latin typeface="Calibri" panose="020F0502020204030204"/>
                        </a:defRPr>
                      </a:lvl8pPr>
                      <a:lvl9pPr marL="4353959" algn="l" defTabSz="544245" rtl="0" eaLnBrk="1" latinLnBrk="0" hangingPunct="1">
                        <a:defRPr sz="2167" kern="1200">
                          <a:solidFill>
                            <a:schemeClr val="tx1"/>
                          </a:solidFill>
                          <a:latin typeface="Calibri" panose="020F0502020204030204"/>
                        </a:defRPr>
                      </a:lvl9pPr>
                    </a:lstStyle>
                    <a:p>
                      <a:pPr marL="0" marR="0" lvl="0" indent="0" algn="ctr" defTabSz="1213838" rtl="0" eaLnBrk="1" fontAlgn="auto" latinLnBrk="0" hangingPunct="1">
                        <a:lnSpc>
                          <a:spcPct val="100000"/>
                        </a:lnSpc>
                        <a:spcBef>
                          <a:spcPts val="0"/>
                        </a:spcBef>
                        <a:spcAft>
                          <a:spcPts val="0"/>
                        </a:spcAft>
                        <a:buClrTx/>
                        <a:buSzTx/>
                        <a:buFontTx/>
                        <a:buNone/>
                        <a:tabLst/>
                        <a:defRPr/>
                      </a:pPr>
                      <a:r>
                        <a:rPr lang="en-US" sz="1300" b="1" dirty="0" smtClean="0">
                          <a:solidFill>
                            <a:srgbClr val="404040"/>
                          </a:solidFill>
                          <a:effectLst/>
                          <a:latin typeface="Arial" panose="020B0604020202020204" pitchFamily="34" charset="0"/>
                          <a:ea typeface="Calibri" panose="020F0502020204030204" pitchFamily="34" charset="0"/>
                          <a:cs typeface="Arial" panose="020B0604020202020204" pitchFamily="34" charset="0"/>
                        </a:rPr>
                        <a:t>New</a:t>
                      </a:r>
                      <a:r>
                        <a:rPr lang="en-US" sz="1300" b="1" baseline="0" dirty="0" smtClean="0">
                          <a:solidFill>
                            <a:srgbClr val="404040"/>
                          </a:solidFill>
                          <a:effectLst/>
                          <a:latin typeface="Arial" panose="020B0604020202020204" pitchFamily="34" charset="0"/>
                          <a:ea typeface="Calibri" panose="020F0502020204030204" pitchFamily="34" charset="0"/>
                          <a:cs typeface="Arial" panose="020B0604020202020204" pitchFamily="34" charset="0"/>
                        </a:rPr>
                        <a:t> Functionality</a:t>
                      </a:r>
                      <a:endParaRPr lang="en-US" sz="1300" dirty="0">
                        <a:solidFill>
                          <a:srgbClr val="404040"/>
                        </a:solidFill>
                        <a:effectLst/>
                        <a:latin typeface="Arial" panose="020B060402020202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mpd="sng">
                      <a:solidFill>
                        <a:sysClr val="window" lastClr="FFFFFF"/>
                      </a:solidFill>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91572688"/>
                  </a:ext>
                </a:extLst>
              </a:tr>
            </a:tbl>
          </a:graphicData>
        </a:graphic>
      </p:graphicFrame>
      <p:sp>
        <p:nvSpPr>
          <p:cNvPr id="77" name="TextBox 76"/>
          <p:cNvSpPr txBox="1"/>
          <p:nvPr/>
        </p:nvSpPr>
        <p:spPr>
          <a:xfrm>
            <a:off x="421535" y="1073028"/>
            <a:ext cx="11422008" cy="352097"/>
          </a:xfrm>
          <a:prstGeom prst="rect">
            <a:avLst/>
          </a:prstGeom>
          <a:gradFill flip="none" rotWithShape="1">
            <a:gsLst>
              <a:gs pos="0">
                <a:srgbClr val="3E97B5"/>
              </a:gs>
              <a:gs pos="100000">
                <a:srgbClr val="60A844"/>
              </a:gs>
            </a:gsLst>
            <a:lin ang="0" scaled="1"/>
            <a:tileRect/>
          </a:gradFill>
          <a:ln>
            <a:noFill/>
          </a:ln>
        </p:spPr>
        <p:txBody>
          <a:bodyPr wrap="square" lIns="121920" tIns="60960" rIns="121920" bIns="0" rtlCol="0" anchor="ctr" anchorCtr="0">
            <a:noAutofit/>
          </a:bodyPr>
          <a:lstStyle>
            <a:defPPr>
              <a:defRPr lang="en-US"/>
            </a:defPPr>
            <a:lvl1pPr algn="ctr">
              <a:lnSpc>
                <a:spcPct val="80000"/>
              </a:lnSpc>
              <a:defRPr sz="1200" b="1">
                <a:solidFill>
                  <a:schemeClr val="bg1"/>
                </a:solidFill>
                <a:latin typeface="Calibri (Headings)"/>
                <a:cs typeface="Calibri (Headings)"/>
              </a:defRPr>
            </a:lvl1pPr>
          </a:lstStyle>
          <a:p>
            <a:pPr marL="0" marR="0" lvl="0" indent="0" algn="ctr" defTabSz="1219140"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TOP 5 </a:t>
            </a: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TICKET ELIMINATION CATEGORIES</a:t>
            </a:r>
          </a:p>
        </p:txBody>
      </p:sp>
      <p:sp>
        <p:nvSpPr>
          <p:cNvPr id="78" name="TextBox 77"/>
          <p:cNvSpPr txBox="1"/>
          <p:nvPr/>
        </p:nvSpPr>
        <p:spPr>
          <a:xfrm>
            <a:off x="8675050" y="3038287"/>
            <a:ext cx="3138577" cy="1553227"/>
          </a:xfrm>
          <a:prstGeom prst="rect">
            <a:avLst/>
          </a:prstGeom>
          <a:solidFill>
            <a:sysClr val="window" lastClr="FFFFFF">
              <a:lumMod val="95000"/>
              <a:alpha val="75000"/>
            </a:sysClr>
          </a:solidFill>
          <a:ln w="12700" cap="flat" cmpd="sng" algn="ctr">
            <a:gradFill flip="none" rotWithShape="1">
              <a:gsLst>
                <a:gs pos="0">
                  <a:srgbClr val="60A844"/>
                </a:gs>
                <a:gs pos="100000">
                  <a:srgbClr val="51B3CF"/>
                </a:gs>
              </a:gsLst>
              <a:lin ang="13500000" scaled="1"/>
              <a:tileRect/>
            </a:gradFill>
            <a:prstDash val="solid"/>
          </a:ln>
          <a:effectLst/>
        </p:spPr>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smtClean="0">
                <a:ln>
                  <a:noFill/>
                </a:ln>
                <a:solidFill>
                  <a:prstClr val="black"/>
                </a:solidFill>
                <a:effectLst/>
                <a:uLnTx/>
                <a:uFillTx/>
                <a:latin typeface="Calibri" panose="020F0502020204030204" pitchFamily="34" charset="0"/>
                <a:ea typeface="+mn-ea"/>
                <a:cs typeface="Arial" panose="020B0604020202020204" pitchFamily="34" charset="0"/>
              </a:rPr>
              <a:t>20% </a:t>
            </a:r>
            <a:endParaRPr kumimoji="0" lang="en-US" sz="2133"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smtClean="0">
                <a:ln>
                  <a:noFill/>
                </a:ln>
                <a:solidFill>
                  <a:prstClr val="black"/>
                </a:solidFill>
                <a:effectLst/>
                <a:uLnTx/>
                <a:uFillTx/>
                <a:latin typeface="Calibri" panose="020F0502020204030204" pitchFamily="34" charset="0"/>
                <a:ea typeface="+mn-ea"/>
                <a:cs typeface="Arial" panose="020B0604020202020204" pitchFamily="34" charset="0"/>
              </a:rPr>
              <a:t>Ticket </a:t>
            </a:r>
            <a:r>
              <a:rPr kumimoji="0" lang="en-US" sz="2133"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Influx Reduction Potential</a:t>
            </a:r>
          </a:p>
        </p:txBody>
      </p:sp>
      <p:pic>
        <p:nvPicPr>
          <p:cNvPr id="79" name="Picture 78" descr="465510524-05.png"/>
          <p:cNvPicPr>
            <a:picLocks noChangeAspect="1"/>
          </p:cNvPicPr>
          <p:nvPr/>
        </p:nvPicPr>
        <p:blipFill>
          <a:blip r:embed="rId2" cstate="email">
            <a:duotone>
              <a:srgbClr val="4BACC6">
                <a:shade val="45000"/>
                <a:satMod val="135000"/>
              </a:srgbClr>
              <a:prstClr val="white"/>
            </a:duotone>
            <a:extLst>
              <a:ext uri="{28A0092B-C50C-407E-A947-70E740481C1C}">
                <a14:useLocalDpi xmlns:a14="http://schemas.microsoft.com/office/drawing/2010/main"/>
              </a:ext>
            </a:extLst>
          </a:blip>
          <a:stretch>
            <a:fillRect/>
          </a:stretch>
        </p:blipFill>
        <p:spPr>
          <a:xfrm>
            <a:off x="9883723" y="2261459"/>
            <a:ext cx="927388" cy="714544"/>
          </a:xfrm>
          <a:prstGeom prst="rect">
            <a:avLst/>
          </a:prstGeom>
          <a:noFill/>
          <a:ln>
            <a:noFill/>
          </a:ln>
        </p:spPr>
      </p:pic>
      <p:sp>
        <p:nvSpPr>
          <p:cNvPr id="80" name="Isosceles Triangle 79"/>
          <p:cNvSpPr/>
          <p:nvPr/>
        </p:nvSpPr>
        <p:spPr>
          <a:xfrm rot="16200000" flipV="1">
            <a:off x="7347669" y="3751130"/>
            <a:ext cx="1982333" cy="343081"/>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81" name="Down Arrow 80"/>
          <p:cNvSpPr/>
          <p:nvPr/>
        </p:nvSpPr>
        <p:spPr>
          <a:xfrm>
            <a:off x="10113793" y="4730861"/>
            <a:ext cx="177851" cy="396905"/>
          </a:xfrm>
          <a:prstGeom prst="downArrow">
            <a:avLst/>
          </a:prstGeom>
          <a:solidFill>
            <a:sysClr val="window" lastClr="FFFFFF">
              <a:lumMod val="50000"/>
            </a:sysClr>
          </a:solidFill>
          <a:ln w="1270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p:txBody>
      </p:sp>
      <p:sp>
        <p:nvSpPr>
          <p:cNvPr id="82" name="Rectangle 81"/>
          <p:cNvSpPr/>
          <p:nvPr/>
        </p:nvSpPr>
        <p:spPr>
          <a:xfrm>
            <a:off x="8675050" y="5249153"/>
            <a:ext cx="3138577" cy="520876"/>
          </a:xfrm>
          <a:prstGeom prst="rect">
            <a:avLst/>
          </a:prstGeom>
          <a:solidFill>
            <a:sysClr val="window" lastClr="FFFFFF">
              <a:lumMod val="95000"/>
              <a:alpha val="75000"/>
            </a:sysClr>
          </a:solidFill>
          <a:ln w="12700" cap="flat" cmpd="sng" algn="ctr">
            <a:gradFill flip="none" rotWithShape="1">
              <a:gsLst>
                <a:gs pos="0">
                  <a:srgbClr val="60A844"/>
                </a:gs>
                <a:gs pos="100000">
                  <a:srgbClr val="51B3CF"/>
                </a:gs>
              </a:gsLst>
              <a:lin ang="13500000" scaled="1"/>
              <a:tileRect/>
            </a:grad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667" b="1" i="0" u="none" strike="noStrike" kern="0" cap="none" spc="0" normalizeH="0" baseline="0" noProof="0" dirty="0" smtClean="0">
                <a:ln>
                  <a:noFill/>
                </a:ln>
                <a:solidFill>
                  <a:prstClr val="black"/>
                </a:solidFill>
                <a:effectLst/>
                <a:uLnTx/>
                <a:uFillTx/>
                <a:latin typeface="Calibri" panose="020F0502020204030204" pitchFamily="34" charset="0"/>
                <a:ea typeface="+mn-ea"/>
                <a:cs typeface="Arial" panose="020B0604020202020204" pitchFamily="34" charset="0"/>
              </a:rPr>
              <a:t>10-15% </a:t>
            </a:r>
            <a:r>
              <a:rPr kumimoji="0" lang="en-US" sz="2667"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roductivity</a:t>
            </a:r>
          </a:p>
        </p:txBody>
      </p:sp>
      <p:graphicFrame>
        <p:nvGraphicFramePr>
          <p:cNvPr id="10" name="Diagram 9"/>
          <p:cNvGraphicFramePr/>
          <p:nvPr>
            <p:extLst/>
          </p:nvPr>
        </p:nvGraphicFramePr>
        <p:xfrm>
          <a:off x="7040272" y="760077"/>
          <a:ext cx="5112370" cy="2090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ounded Rectangle 10"/>
          <p:cNvSpPr/>
          <p:nvPr/>
        </p:nvSpPr>
        <p:spPr>
          <a:xfrm>
            <a:off x="8072846" y="730319"/>
            <a:ext cx="4110218" cy="234694"/>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12" name="Group 11"/>
          <p:cNvGrpSpPr/>
          <p:nvPr/>
        </p:nvGrpSpPr>
        <p:grpSpPr>
          <a:xfrm>
            <a:off x="9449651" y="340788"/>
            <a:ext cx="2700482" cy="289121"/>
            <a:chOff x="8145350" y="215971"/>
            <a:chExt cx="2700482" cy="289121"/>
          </a:xfrm>
        </p:grpSpPr>
        <p:grpSp>
          <p:nvGrpSpPr>
            <p:cNvPr id="13" name="Group 12"/>
            <p:cNvGrpSpPr/>
            <p:nvPr/>
          </p:nvGrpSpPr>
          <p:grpSpPr>
            <a:xfrm>
              <a:off x="8335160" y="246313"/>
              <a:ext cx="2505542" cy="212634"/>
              <a:chOff x="299631" y="452732"/>
              <a:chExt cx="3147489" cy="320558"/>
            </a:xfrm>
          </p:grpSpPr>
          <p:grpSp>
            <p:nvGrpSpPr>
              <p:cNvPr id="16" name="Group 15"/>
              <p:cNvGrpSpPr/>
              <p:nvPr/>
            </p:nvGrpSpPr>
            <p:grpSpPr>
              <a:xfrm>
                <a:off x="299631" y="484807"/>
                <a:ext cx="270857" cy="281833"/>
                <a:chOff x="299631" y="484807"/>
                <a:chExt cx="270857" cy="281833"/>
              </a:xfrm>
            </p:grpSpPr>
            <p:sp>
              <p:nvSpPr>
                <p:cNvPr id="26" name="Oval 25"/>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27" name="Picture 26" descr="http://i1.cpcache.com/product_zoom/1264121174/skydiving_icon_business_cards.jpg?height=250&amp;width=250&amp;padToSquare=true"/>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17" name="TextBox 16"/>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18" name="Group 17"/>
              <p:cNvGrpSpPr/>
              <p:nvPr/>
            </p:nvGrpSpPr>
            <p:grpSpPr>
              <a:xfrm>
                <a:off x="1298515" y="490776"/>
                <a:ext cx="271717" cy="275864"/>
                <a:chOff x="5057725" y="5770940"/>
                <a:chExt cx="496562" cy="496562"/>
              </a:xfrm>
            </p:grpSpPr>
            <p:sp>
              <p:nvSpPr>
                <p:cNvPr id="24" name="Oval 23"/>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25" name="Picture 4" descr="http://sr.photos3.fotosearch.com/bthumb/CSP/CSP345/k3453379.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19" name="TextBox 18"/>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20" name="Group 19"/>
              <p:cNvGrpSpPr/>
              <p:nvPr/>
            </p:nvGrpSpPr>
            <p:grpSpPr>
              <a:xfrm>
                <a:off x="2310382" y="479627"/>
                <a:ext cx="304919" cy="293663"/>
                <a:chOff x="8469842" y="5748867"/>
                <a:chExt cx="496562" cy="496562"/>
              </a:xfrm>
            </p:grpSpPr>
            <p:sp>
              <p:nvSpPr>
                <p:cNvPr id="22" name="Oval 21"/>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23" name="Picture 2" descr="http://www.kewauneeprcommittee.com/High_hurdles.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21" name="TextBox 20"/>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14" name="Rounded Rectangle 13"/>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 name="Rounded Rectangle 14"/>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28" name="Oval 27">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2</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24961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utomate: Analysis </a:t>
            </a:r>
            <a:r>
              <a:rPr lang="en-US" dirty="0"/>
              <a:t>S</a:t>
            </a:r>
            <a:r>
              <a:rPr lang="en-US" dirty="0" smtClean="0"/>
              <a:t>ummary </a:t>
            </a:r>
            <a:r>
              <a:rPr lang="en-US" dirty="0"/>
              <a:t>- </a:t>
            </a:r>
            <a:r>
              <a:rPr lang="en-US" dirty="0" smtClean="0"/>
              <a:t>Sample</a:t>
            </a:r>
            <a:endParaRPr lang="en-US" dirty="0"/>
          </a:p>
        </p:txBody>
      </p:sp>
      <p:grpSp>
        <p:nvGrpSpPr>
          <p:cNvPr id="211" name="Group 210"/>
          <p:cNvGrpSpPr/>
          <p:nvPr/>
        </p:nvGrpSpPr>
        <p:grpSpPr>
          <a:xfrm>
            <a:off x="164437" y="991243"/>
            <a:ext cx="11879283" cy="5194125"/>
            <a:chOff x="123327" y="801243"/>
            <a:chExt cx="11534667" cy="5801847"/>
          </a:xfrm>
        </p:grpSpPr>
        <p:cxnSp>
          <p:nvCxnSpPr>
            <p:cNvPr id="212" name="Straight Connector 211"/>
            <p:cNvCxnSpPr/>
            <p:nvPr/>
          </p:nvCxnSpPr>
          <p:spPr>
            <a:xfrm flipH="1">
              <a:off x="5984230" y="801243"/>
              <a:ext cx="0" cy="5596277"/>
            </a:xfrm>
            <a:prstGeom prst="line">
              <a:avLst/>
            </a:prstGeom>
            <a:noFill/>
            <a:ln w="9525" cap="flat" cmpd="sng" algn="ctr">
              <a:solidFill>
                <a:sysClr val="window" lastClr="FFFFFF">
                  <a:lumMod val="85000"/>
                </a:sysClr>
              </a:solidFill>
              <a:prstDash val="solid"/>
            </a:ln>
            <a:effectLst/>
          </p:spPr>
        </p:cxnSp>
        <p:grpSp>
          <p:nvGrpSpPr>
            <p:cNvPr id="213" name="Group 212"/>
            <p:cNvGrpSpPr/>
            <p:nvPr/>
          </p:nvGrpSpPr>
          <p:grpSpPr>
            <a:xfrm>
              <a:off x="6323356" y="4507285"/>
              <a:ext cx="5334638" cy="1883203"/>
              <a:chOff x="6323356" y="4507285"/>
              <a:chExt cx="5334638" cy="1883203"/>
            </a:xfrm>
          </p:grpSpPr>
          <p:sp>
            <p:nvSpPr>
              <p:cNvPr id="309" name="Rectangle: Rounded Corners 105"/>
              <p:cNvSpPr/>
              <p:nvPr/>
            </p:nvSpPr>
            <p:spPr>
              <a:xfrm>
                <a:off x="6323356" y="4858668"/>
                <a:ext cx="5334638" cy="1531820"/>
              </a:xfrm>
              <a:prstGeom prst="roundRect">
                <a:avLst>
                  <a:gd name="adj" fmla="val 0"/>
                </a:avLst>
              </a:prstGeom>
              <a:solidFill>
                <a:srgbClr val="FBFBFB"/>
              </a:solidFill>
              <a:ln w="9525" cap="flat" cmpd="sng" algn="ctr">
                <a:solidFill>
                  <a:srgbClr val="BF8F00"/>
                </a:solidFill>
                <a:prstDash val="solid"/>
              </a:ln>
              <a:effectLst/>
            </p:spPr>
            <p:txBody>
              <a:bodyPr rtlCol="0" anchor="ctr"/>
              <a:lstStyle/>
              <a:p>
                <a:pPr marL="0" marR="0" lvl="0" indent="0" algn="ctr" defTabSz="1625479"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0" name="TextBox 309"/>
              <p:cNvSpPr txBox="1"/>
              <p:nvPr/>
            </p:nvSpPr>
            <p:spPr>
              <a:xfrm>
                <a:off x="6397410" y="4881012"/>
                <a:ext cx="2393830" cy="1445017"/>
              </a:xfrm>
              <a:prstGeom prst="rect">
                <a:avLst/>
              </a:prstGeom>
              <a:noFill/>
            </p:spPr>
            <p:txBody>
              <a:bodyPr wrap="square" rtlCol="0">
                <a:spAutoFit/>
              </a:bodyPr>
              <a:lstStyle/>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Job failures</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ccess Management</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ccount Management</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onitoring </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File Processing</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Login </a:t>
                </a:r>
                <a:r>
                  <a:rPr kumimoji="0" lang="en-US" sz="1333" b="0" i="0" u="none" strike="noStrike" kern="0" cap="none" spc="0" normalizeH="0" baseline="0" noProof="0" dirty="0" smtClean="0">
                    <a:ln>
                      <a:noFill/>
                    </a:ln>
                    <a:solidFill>
                      <a:prstClr val="black"/>
                    </a:solidFill>
                    <a:effectLst/>
                    <a:uLnTx/>
                    <a:uFillTx/>
                    <a:latin typeface="Calibri" panose="020F0502020204030204" pitchFamily="34" charset="0"/>
                    <a:ea typeface="+mn-ea"/>
                    <a:cs typeface="Arial" panose="020B0604020202020204" pitchFamily="34" charset="0"/>
                  </a:rPr>
                  <a:t>Issues</a:t>
                </a:r>
                <a:endPar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11" name="TextBox 310"/>
              <p:cNvSpPr txBox="1"/>
              <p:nvPr/>
            </p:nvSpPr>
            <p:spPr>
              <a:xfrm>
                <a:off x="9162450" y="4899006"/>
                <a:ext cx="2269214" cy="1220990"/>
              </a:xfrm>
              <a:prstGeom prst="rect">
                <a:avLst/>
              </a:prstGeom>
              <a:noFill/>
            </p:spPr>
            <p:txBody>
              <a:bodyPr wrap="square" rtlCol="0">
                <a:spAutoFit/>
              </a:bodyPr>
              <a:lstStyle/>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rchival Requests</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System Maintenance</a:t>
                </a: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Deletion of Error files in </a:t>
                </a:r>
                <a:r>
                  <a:rPr kumimoji="0" lang="en-US" sz="1333" b="0" i="0" u="none" strike="noStrike" kern="0" cap="none" spc="0" normalizeH="0" baseline="0" noProof="0" dirty="0" err="1">
                    <a:ln>
                      <a:noFill/>
                    </a:ln>
                    <a:solidFill>
                      <a:prstClr val="black"/>
                    </a:solidFill>
                    <a:effectLst/>
                    <a:uLnTx/>
                    <a:uFillTx/>
                    <a:latin typeface="Calibri" panose="020F0502020204030204" pitchFamily="34" charset="0"/>
                    <a:ea typeface="+mn-ea"/>
                    <a:cs typeface="Arial" panose="020B0604020202020204" pitchFamily="34" charset="0"/>
                  </a:rPr>
                  <a:t>XEnvironment</a:t>
                </a:r>
                <a:endPar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a:p>
                <a:pPr marL="304778" marR="0" lvl="1" indent="-304778" algn="l" defTabSz="1625479" rtl="0" eaLnBrk="1" fontAlgn="auto" latinLnBrk="0" hangingPunct="1">
                  <a:lnSpc>
                    <a:spcPct val="100000"/>
                  </a:lnSpc>
                  <a:spcBef>
                    <a:spcPts val="0"/>
                  </a:spcBef>
                  <a:spcAft>
                    <a:spcPts val="0"/>
                  </a:spcAft>
                  <a:buClrTx/>
                  <a:buSzTx/>
                  <a:buFont typeface="Arial" pitchFamily="34" charset="0"/>
                  <a:buChar char="•"/>
                  <a:tabLst/>
                  <a:defRPr/>
                </a:pPr>
                <a:r>
                  <a:rPr kumimoji="0" lang="en-US" sz="1333"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ealth Check</a:t>
                </a:r>
              </a:p>
            </p:txBody>
          </p:sp>
          <p:sp>
            <p:nvSpPr>
              <p:cNvPr id="312" name="Rectangle 311"/>
              <p:cNvSpPr/>
              <p:nvPr/>
            </p:nvSpPr>
            <p:spPr>
              <a:xfrm>
                <a:off x="6323356" y="4507285"/>
                <a:ext cx="5334637" cy="369137"/>
              </a:xfrm>
              <a:prstGeom prst="rect">
                <a:avLst/>
              </a:prstGeom>
              <a:solidFill>
                <a:srgbClr val="BF8F00"/>
              </a:solidFill>
              <a:ln>
                <a:solidFill>
                  <a:srgbClr val="BF8F00"/>
                </a:solidFill>
              </a:ln>
            </p:spPr>
            <p:txBody>
              <a:bodyPr wrap="square" lIns="162560" tIns="81280" rIns="162560" bIns="81280" rtlCol="0" anchor="ctr" anchorCtr="0">
                <a:noAutofit/>
              </a:bodyPr>
              <a:lstStyle/>
              <a:p>
                <a:pPr marL="0" marR="0" lvl="0" indent="0" algn="ctr" defTabSz="1625479" rtl="0" eaLnBrk="1" fontAlgn="auto" latinLnBrk="0" hangingPunct="1">
                  <a:lnSpc>
                    <a:spcPct val="8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Top Use cases </a:t>
                </a:r>
              </a:p>
            </p:txBody>
          </p:sp>
          <p:cxnSp>
            <p:nvCxnSpPr>
              <p:cNvPr id="313" name="Straight Connector 312"/>
              <p:cNvCxnSpPr/>
              <p:nvPr/>
            </p:nvCxnSpPr>
            <p:spPr>
              <a:xfrm>
                <a:off x="8963780" y="5111331"/>
                <a:ext cx="0" cy="992007"/>
              </a:xfrm>
              <a:prstGeom prst="line">
                <a:avLst/>
              </a:prstGeom>
              <a:noFill/>
              <a:ln w="6350" cap="flat" cmpd="sng" algn="ctr">
                <a:solidFill>
                  <a:sysClr val="window" lastClr="FFFFFF">
                    <a:lumMod val="65000"/>
                  </a:sysClr>
                </a:solidFill>
                <a:prstDash val="dash"/>
                <a:miter lim="800000"/>
              </a:ln>
              <a:effectLst/>
            </p:spPr>
          </p:cxnSp>
        </p:grpSp>
        <p:grpSp>
          <p:nvGrpSpPr>
            <p:cNvPr id="214" name="Group 213"/>
            <p:cNvGrpSpPr/>
            <p:nvPr/>
          </p:nvGrpSpPr>
          <p:grpSpPr>
            <a:xfrm>
              <a:off x="6322267" y="1556288"/>
              <a:ext cx="5328245" cy="1530246"/>
              <a:chOff x="6323356" y="1556288"/>
              <a:chExt cx="5328245" cy="1530246"/>
            </a:xfrm>
          </p:grpSpPr>
          <p:sp>
            <p:nvSpPr>
              <p:cNvPr id="303" name="Rectangle 302"/>
              <p:cNvSpPr/>
              <p:nvPr/>
            </p:nvSpPr>
            <p:spPr>
              <a:xfrm>
                <a:off x="6323356" y="1556288"/>
                <a:ext cx="2629101" cy="1530246"/>
              </a:xfrm>
              <a:prstGeom prst="rect">
                <a:avLst/>
              </a:prstGeom>
              <a:solidFill>
                <a:srgbClr val="666666"/>
              </a:solidFill>
              <a:ln w="9525" cap="flat" cmpd="sng" algn="ctr">
                <a:noFill/>
                <a:prstDash val="solid"/>
              </a:ln>
              <a:effectLst/>
            </p:spPr>
            <p:txBody>
              <a:bodyPr rtlCol="0" anchor="ctr"/>
              <a:lstStyle/>
              <a:p>
                <a:pPr marL="0" marR="0" lvl="0" indent="0" algn="ctr" defTabSz="914332" rtl="0" eaLnBrk="1" fontAlgn="auto" latinLnBrk="0" hangingPunct="1">
                  <a:lnSpc>
                    <a:spcPct val="90000"/>
                  </a:lnSpc>
                  <a:spcBef>
                    <a:spcPts val="0"/>
                  </a:spcBef>
                  <a:spcAft>
                    <a:spcPts val="0"/>
                  </a:spcAft>
                  <a:buClrTx/>
                  <a:buSzTx/>
                  <a:buFontTx/>
                  <a:buNone/>
                  <a:tabLst/>
                  <a:defRPr/>
                </a:pPr>
                <a:endPar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endParaRPr>
              </a:p>
            </p:txBody>
          </p:sp>
          <p:sp>
            <p:nvSpPr>
              <p:cNvPr id="304" name="Rectangle 303"/>
              <p:cNvSpPr/>
              <p:nvPr/>
            </p:nvSpPr>
            <p:spPr>
              <a:xfrm>
                <a:off x="6925418" y="1613031"/>
                <a:ext cx="1662654" cy="396725"/>
              </a:xfrm>
              <a:prstGeom prst="rect">
                <a:avLst/>
              </a:prstGeom>
            </p:spPr>
            <p:txBody>
              <a:bodyPr wrap="none">
                <a:spAutoFit/>
              </a:bodyPr>
              <a:lstStyle/>
              <a:p>
                <a:pPr marL="0" marR="0" lvl="0" indent="0" algn="ctr" defTabSz="811784" rtl="0" eaLnBrk="1" fontAlgn="auto" latinLnBrk="0" hangingPunct="1">
                  <a:lnSpc>
                    <a:spcPct val="120000"/>
                  </a:lnSpc>
                  <a:spcBef>
                    <a:spcPts val="0"/>
                  </a:spcBef>
                  <a:spcAft>
                    <a:spcPts val="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Calibri"/>
                    <a:ea typeface="+mn-ea"/>
                    <a:cs typeface="Helvetica" panose="020B0604020202020204" pitchFamily="34" charset="0"/>
                  </a:rPr>
                  <a:t>YoY automatable %</a:t>
                </a:r>
                <a:endParaRPr kumimoji="0" lang="en-IN" sz="1467" b="0" i="0" u="none" strike="noStrike" kern="0" cap="none" spc="0" normalizeH="0" baseline="0" noProof="0" dirty="0">
                  <a:ln>
                    <a:noFill/>
                  </a:ln>
                  <a:solidFill>
                    <a:prstClr val="white"/>
                  </a:solidFill>
                  <a:effectLst/>
                  <a:uLnTx/>
                  <a:uFillTx/>
                  <a:latin typeface="Calibri"/>
                  <a:ea typeface="+mn-ea"/>
                  <a:cs typeface="Helvetica" panose="020B0604020202020204" pitchFamily="34" charset="0"/>
                </a:endParaRPr>
              </a:p>
            </p:txBody>
          </p:sp>
          <p:sp>
            <p:nvSpPr>
              <p:cNvPr id="305" name="Rectangle 304"/>
              <p:cNvSpPr/>
              <p:nvPr/>
            </p:nvSpPr>
            <p:spPr>
              <a:xfrm>
                <a:off x="9067255" y="1563046"/>
                <a:ext cx="2584346" cy="1523486"/>
              </a:xfrm>
              <a:prstGeom prst="rect">
                <a:avLst/>
              </a:prstGeom>
              <a:solidFill>
                <a:srgbClr val="666666"/>
              </a:solidFill>
              <a:ln w="9525" cap="flat" cmpd="sng" algn="ctr">
                <a:noFill/>
                <a:prstDash val="solid"/>
              </a:ln>
              <a:effectLst/>
            </p:spPr>
            <p:txBody>
              <a:bodyPr rtlCol="0" anchor="ctr"/>
              <a:lstStyle/>
              <a:p>
                <a:pPr marL="0" marR="0" lvl="0" indent="0" algn="ctr" defTabSz="914332" rtl="0" eaLnBrk="1" fontAlgn="auto" latinLnBrk="0" hangingPunct="1">
                  <a:lnSpc>
                    <a:spcPct val="90000"/>
                  </a:lnSpc>
                  <a:spcBef>
                    <a:spcPts val="0"/>
                  </a:spcBef>
                  <a:spcAft>
                    <a:spcPts val="0"/>
                  </a:spcAft>
                  <a:buClrTx/>
                  <a:buSzTx/>
                  <a:buFontTx/>
                  <a:buNone/>
                  <a:tabLst/>
                  <a:defRPr/>
                </a:pPr>
                <a:endPar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endParaRPr>
              </a:p>
            </p:txBody>
          </p:sp>
          <p:sp>
            <p:nvSpPr>
              <p:cNvPr id="306" name="Rectangle 305"/>
              <p:cNvSpPr/>
              <p:nvPr/>
            </p:nvSpPr>
            <p:spPr>
              <a:xfrm>
                <a:off x="9360023" y="1636630"/>
                <a:ext cx="2279676" cy="347423"/>
              </a:xfrm>
              <a:prstGeom prst="rect">
                <a:avLst/>
              </a:prstGeom>
            </p:spPr>
            <p:txBody>
              <a:bodyPr wrap="square">
                <a:spAutoFit/>
              </a:bodyPr>
              <a:lstStyle/>
              <a:p>
                <a:pPr marL="0" marR="0" lvl="0" indent="0" algn="ctr" defTabSz="81178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Calibri"/>
                    <a:ea typeface="+mn-ea"/>
                    <a:cs typeface="Helvetica" panose="020B0604020202020204" pitchFamily="34" charset="0"/>
                  </a:rPr>
                  <a:t>YoY effort savings %</a:t>
                </a:r>
              </a:p>
            </p:txBody>
          </p:sp>
          <p:sp>
            <p:nvSpPr>
              <p:cNvPr id="307" name="TextBox 306"/>
              <p:cNvSpPr txBox="1"/>
              <p:nvPr/>
            </p:nvSpPr>
            <p:spPr>
              <a:xfrm>
                <a:off x="6935638" y="2000444"/>
                <a:ext cx="1971913" cy="84058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prstClr val="white"/>
                    </a:solidFill>
                    <a:effectLst/>
                    <a:uLnTx/>
                    <a:uFillTx/>
                    <a:latin typeface="Calibri"/>
                    <a:ea typeface="+mn-ea"/>
                    <a:cs typeface="+mn-cs"/>
                  </a:rPr>
                  <a:t>Y1 : 20%</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Calibri"/>
                    <a:ea typeface="+mn-ea"/>
                    <a:cs typeface="+mn-cs"/>
                  </a:rPr>
                  <a:t>Y2: 8</a:t>
                </a:r>
                <a:r>
                  <a:rPr kumimoji="0" lang="en-US" sz="1467" b="0" i="0" u="none" strike="noStrike" kern="0" cap="none" spc="0" normalizeH="0" baseline="0" noProof="0" dirty="0" smtClean="0">
                    <a:ln>
                      <a:noFill/>
                    </a:ln>
                    <a:solidFill>
                      <a:prstClr val="white"/>
                    </a:solidFill>
                    <a:effectLst/>
                    <a:uLnTx/>
                    <a:uFillTx/>
                    <a:latin typeface="Calibri"/>
                    <a:ea typeface="+mn-ea"/>
                    <a:cs typeface="+mn-cs"/>
                  </a:rPr>
                  <a:t>%</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Calibri"/>
                    <a:ea typeface="+mn-ea"/>
                    <a:cs typeface="+mn-cs"/>
                  </a:rPr>
                  <a:t>Y3-Y5</a:t>
                </a:r>
                <a:r>
                  <a:rPr kumimoji="0" lang="en-US" sz="1467" b="0" i="0" u="none" strike="noStrike" kern="0" cap="none" spc="0" normalizeH="0" baseline="0" noProof="0" dirty="0" smtClean="0">
                    <a:ln>
                      <a:noFill/>
                    </a:ln>
                    <a:solidFill>
                      <a:prstClr val="white"/>
                    </a:solidFill>
                    <a:effectLst/>
                    <a:uLnTx/>
                    <a:uFillTx/>
                    <a:latin typeface="Calibri"/>
                    <a:ea typeface="+mn-ea"/>
                    <a:cs typeface="+mn-cs"/>
                  </a:rPr>
                  <a:t>:+2%</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p:txBody>
          </p:sp>
          <p:sp>
            <p:nvSpPr>
              <p:cNvPr id="308" name="TextBox 307"/>
              <p:cNvSpPr txBox="1"/>
              <p:nvPr/>
            </p:nvSpPr>
            <p:spPr>
              <a:xfrm>
                <a:off x="9608106" y="2028908"/>
                <a:ext cx="1824647" cy="84058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Calibri"/>
                    <a:ea typeface="+mn-ea"/>
                    <a:cs typeface="+mn-cs"/>
                  </a:rPr>
                  <a:t>Y1: </a:t>
                </a:r>
                <a:r>
                  <a:rPr kumimoji="0" lang="en-US" sz="1467" b="0" i="0" u="none" strike="noStrike" kern="0" cap="none" spc="0" normalizeH="0" baseline="0" noProof="0" dirty="0" smtClean="0">
                    <a:ln>
                      <a:noFill/>
                    </a:ln>
                    <a:solidFill>
                      <a:prstClr val="white"/>
                    </a:solidFill>
                    <a:effectLst/>
                    <a:uLnTx/>
                    <a:uFillTx/>
                    <a:latin typeface="Calibri"/>
                    <a:ea typeface="+mn-ea"/>
                    <a:cs typeface="+mn-cs"/>
                  </a:rPr>
                  <a:t>&lt;10%</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Calibri"/>
                    <a:ea typeface="+mn-ea"/>
                    <a:cs typeface="+mn-cs"/>
                  </a:rPr>
                  <a:t>Y2: </a:t>
                </a:r>
                <a:r>
                  <a:rPr kumimoji="0" lang="en-US" sz="1467" b="0" i="0" u="none" strike="noStrike" kern="0" cap="none" spc="0" normalizeH="0" baseline="0" noProof="0" dirty="0" smtClean="0">
                    <a:ln>
                      <a:noFill/>
                    </a:ln>
                    <a:solidFill>
                      <a:prstClr val="white"/>
                    </a:solidFill>
                    <a:effectLst/>
                    <a:uLnTx/>
                    <a:uFillTx/>
                    <a:latin typeface="Calibri"/>
                    <a:ea typeface="+mn-ea"/>
                    <a:cs typeface="+mn-cs"/>
                  </a:rPr>
                  <a:t>&lt;7%</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Calibri"/>
                    <a:ea typeface="+mn-ea"/>
                    <a:cs typeface="+mn-cs"/>
                  </a:rPr>
                  <a:t>Y3: </a:t>
                </a:r>
                <a:r>
                  <a:rPr kumimoji="0" lang="en-US" sz="1467" b="0" i="0" u="none" strike="noStrike" kern="0" cap="none" spc="0" normalizeH="0" baseline="0" noProof="0" dirty="0" smtClean="0">
                    <a:ln>
                      <a:noFill/>
                    </a:ln>
                    <a:solidFill>
                      <a:prstClr val="white"/>
                    </a:solidFill>
                    <a:effectLst/>
                    <a:uLnTx/>
                    <a:uFillTx/>
                    <a:latin typeface="Calibri"/>
                    <a:ea typeface="+mn-ea"/>
                    <a:cs typeface="+mn-cs"/>
                  </a:rPr>
                  <a:t>&lt;1%</a:t>
                </a:r>
                <a:endParaRPr kumimoji="0" lang="en-US" sz="1467" b="0" i="0" u="none" strike="noStrike" kern="0" cap="none" spc="0" normalizeH="0" baseline="0" noProof="0" dirty="0">
                  <a:ln>
                    <a:noFill/>
                  </a:ln>
                  <a:solidFill>
                    <a:prstClr val="white"/>
                  </a:solidFill>
                  <a:effectLst/>
                  <a:uLnTx/>
                  <a:uFillTx/>
                  <a:latin typeface="Calibri"/>
                  <a:ea typeface="+mn-ea"/>
                  <a:cs typeface="+mn-cs"/>
                </a:endParaRPr>
              </a:p>
            </p:txBody>
          </p:sp>
        </p:grpSp>
        <p:grpSp>
          <p:nvGrpSpPr>
            <p:cNvPr id="215" name="Group 214"/>
            <p:cNvGrpSpPr/>
            <p:nvPr/>
          </p:nvGrpSpPr>
          <p:grpSpPr>
            <a:xfrm>
              <a:off x="6321179" y="817711"/>
              <a:ext cx="5331509" cy="642969"/>
              <a:chOff x="6323356" y="817711"/>
              <a:chExt cx="5331509" cy="642969"/>
            </a:xfrm>
          </p:grpSpPr>
          <p:sp>
            <p:nvSpPr>
              <p:cNvPr id="301" name="Rectangle 300"/>
              <p:cNvSpPr/>
              <p:nvPr/>
            </p:nvSpPr>
            <p:spPr>
              <a:xfrm>
                <a:off x="6323356" y="824470"/>
                <a:ext cx="2630190" cy="629451"/>
              </a:xfrm>
              <a:prstGeom prst="rect">
                <a:avLst/>
              </a:prstGeom>
              <a:solidFill>
                <a:srgbClr val="001343"/>
              </a:solidFill>
              <a:ln w="9525" cap="flat" cmpd="sng" algn="ctr">
                <a:noFill/>
                <a:prstDash val="solid"/>
              </a:ln>
              <a:effectLst/>
            </p:spPr>
            <p:txBody>
              <a:bodyPr rtlCol="0" anchor="ctr"/>
              <a:lstStyle/>
              <a:p>
                <a:pPr marL="0" marR="0" lvl="0" indent="0" algn="l" defTabSz="914332" rtl="0" eaLnBrk="1" fontAlgn="auto" latinLnBrk="0" hangingPunct="1">
                  <a:lnSpc>
                    <a:spcPct val="90000"/>
                  </a:lnSpc>
                  <a:spcBef>
                    <a:spcPts val="0"/>
                  </a:spcBef>
                  <a:spcAft>
                    <a:spcPts val="80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Calibri"/>
                    <a:ea typeface="+mn-ea"/>
                    <a:cs typeface="Calibri"/>
                  </a:rPr>
                  <a:t>No. of Incidents : </a:t>
                </a:r>
                <a:r>
                  <a:rPr kumimoji="0" lang="en-IN" sz="1400" b="1" i="0" u="none" strike="noStrike" kern="0" cap="none" spc="0" normalizeH="0" baseline="0" noProof="0" dirty="0" smtClean="0">
                    <a:ln>
                      <a:noFill/>
                    </a:ln>
                    <a:solidFill>
                      <a:prstClr val="white"/>
                    </a:solidFill>
                    <a:effectLst/>
                    <a:uLnTx/>
                    <a:uFillTx/>
                    <a:latin typeface="Calibri"/>
                    <a:ea typeface="+mn-ea"/>
                    <a:cs typeface="+mn-cs"/>
                  </a:rPr>
                  <a:t>25803</a:t>
                </a:r>
                <a:endParaRPr kumimoji="0" lang="en-IN" sz="1467" b="1" i="0" u="none" strike="noStrike" kern="0" cap="none" spc="0" normalizeH="0" baseline="0" noProof="0" dirty="0">
                  <a:ln>
                    <a:noFill/>
                  </a:ln>
                  <a:solidFill>
                    <a:prstClr val="white"/>
                  </a:solidFill>
                  <a:effectLst/>
                  <a:uLnTx/>
                  <a:uFillTx/>
                  <a:latin typeface="Calibri"/>
                  <a:ea typeface="+mn-ea"/>
                  <a:cs typeface="Calibri"/>
                </a:endParaRPr>
              </a:p>
              <a:p>
                <a:pPr marL="0" marR="0" lvl="0" indent="0" algn="l" defTabSz="914332" rtl="0" eaLnBrk="1" fontAlgn="auto" latinLnBrk="0" hangingPunct="1">
                  <a:lnSpc>
                    <a:spcPct val="90000"/>
                  </a:lnSpc>
                  <a:spcBef>
                    <a:spcPts val="0"/>
                  </a:spcBef>
                  <a:spcAft>
                    <a:spcPts val="80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Calibri"/>
                    <a:ea typeface="+mn-ea"/>
                    <a:cs typeface="Calibri"/>
                  </a:rPr>
                  <a:t>No. of Service Requests: </a:t>
                </a:r>
                <a:r>
                  <a:rPr kumimoji="0" lang="en-US" sz="1467" b="1" i="0" u="none" strike="noStrike" kern="0" cap="none" spc="0" normalizeH="0" baseline="0" noProof="0" dirty="0" smtClean="0">
                    <a:ln>
                      <a:noFill/>
                    </a:ln>
                    <a:solidFill>
                      <a:prstClr val="white"/>
                    </a:solidFill>
                    <a:effectLst/>
                    <a:uLnTx/>
                    <a:uFillTx/>
                    <a:latin typeface="Calibri"/>
                    <a:ea typeface="+mn-ea"/>
                    <a:cs typeface="Calibri"/>
                  </a:rPr>
                  <a:t>10080</a:t>
                </a:r>
                <a:endParaRPr kumimoji="0" lang="en-IN" sz="1467" b="1" i="0" u="none" strike="noStrike" kern="0" cap="none" spc="0" normalizeH="0" baseline="0" noProof="0" dirty="0">
                  <a:ln>
                    <a:noFill/>
                  </a:ln>
                  <a:solidFill>
                    <a:prstClr val="white"/>
                  </a:solidFill>
                  <a:effectLst/>
                  <a:uLnTx/>
                  <a:uFillTx/>
                  <a:latin typeface="Calibri"/>
                  <a:ea typeface="+mn-ea"/>
                  <a:cs typeface="Calibri"/>
                </a:endParaRPr>
              </a:p>
            </p:txBody>
          </p:sp>
          <p:sp>
            <p:nvSpPr>
              <p:cNvPr id="302" name="Rectangle 301"/>
              <p:cNvSpPr/>
              <p:nvPr/>
            </p:nvSpPr>
            <p:spPr>
              <a:xfrm>
                <a:off x="9068343" y="817711"/>
                <a:ext cx="2586522" cy="642969"/>
              </a:xfrm>
              <a:prstGeom prst="rect">
                <a:avLst/>
              </a:prstGeom>
              <a:solidFill>
                <a:srgbClr val="001343"/>
              </a:solidFill>
              <a:ln w="9525" cap="flat" cmpd="sng" algn="ctr">
                <a:noFill/>
                <a:prstDash val="solid"/>
              </a:ln>
              <a:effectLst/>
            </p:spPr>
            <p:txBody>
              <a:bodyPr rtlCol="0" anchor="ctr"/>
              <a:lstStyle/>
              <a:p>
                <a:pPr marL="0" marR="0" lvl="0" indent="0" algn="l" defTabSz="914332" rtl="0" eaLnBrk="1" fontAlgn="auto" latinLnBrk="0" hangingPunct="1">
                  <a:lnSpc>
                    <a:spcPct val="90000"/>
                  </a:lnSpc>
                  <a:spcBef>
                    <a:spcPts val="0"/>
                  </a:spcBef>
                  <a:spcAft>
                    <a:spcPts val="800"/>
                  </a:spcAft>
                  <a:buClrTx/>
                  <a:buSzTx/>
                  <a:buFontTx/>
                  <a:buNone/>
                  <a:tabLst/>
                  <a:defRPr/>
                </a:pPr>
                <a:r>
                  <a:rPr kumimoji="0" lang="en-IN" sz="1467" b="1" i="0" u="none" strike="noStrike" kern="0" cap="none" spc="0" normalizeH="0" baseline="0" noProof="0" dirty="0">
                    <a:ln>
                      <a:noFill/>
                    </a:ln>
                    <a:solidFill>
                      <a:srgbClr val="FFFFFF"/>
                    </a:solidFill>
                    <a:effectLst/>
                    <a:uLnTx/>
                    <a:uFillTx/>
                    <a:latin typeface="Calibri"/>
                    <a:ea typeface="+mn-ea"/>
                    <a:cs typeface="Calibri"/>
                  </a:rPr>
                  <a:t>Ticket duration: 6 Months</a:t>
                </a:r>
              </a:p>
              <a:p>
                <a:pPr marL="0" marR="0" lvl="0" indent="0" algn="l" defTabSz="914332" rtl="0" eaLnBrk="1" fontAlgn="auto" latinLnBrk="0" hangingPunct="1">
                  <a:lnSpc>
                    <a:spcPct val="90000"/>
                  </a:lnSpc>
                  <a:spcBef>
                    <a:spcPts val="0"/>
                  </a:spcBef>
                  <a:spcAft>
                    <a:spcPts val="800"/>
                  </a:spcAft>
                  <a:buClrTx/>
                  <a:buSzTx/>
                  <a:buFontTx/>
                  <a:buNone/>
                  <a:tabLst/>
                  <a:defRPr/>
                </a:pPr>
                <a:r>
                  <a:rPr kumimoji="0" lang="en-IN" sz="1467" b="1" i="0" u="none" strike="noStrike" kern="0" cap="none" spc="0" normalizeH="0" baseline="0" noProof="0" dirty="0">
                    <a:ln>
                      <a:noFill/>
                    </a:ln>
                    <a:solidFill>
                      <a:srgbClr val="FFFFFF"/>
                    </a:solidFill>
                    <a:effectLst/>
                    <a:uLnTx/>
                    <a:uFillTx/>
                    <a:latin typeface="Calibri"/>
                    <a:ea typeface="+mn-ea"/>
                    <a:cs typeface="Calibri"/>
                  </a:rPr>
                  <a:t>Time Range: Feb - Jul 2018</a:t>
                </a:r>
              </a:p>
            </p:txBody>
          </p:sp>
        </p:grpSp>
        <p:grpSp>
          <p:nvGrpSpPr>
            <p:cNvPr id="216" name="Group 215"/>
            <p:cNvGrpSpPr/>
            <p:nvPr/>
          </p:nvGrpSpPr>
          <p:grpSpPr>
            <a:xfrm>
              <a:off x="6323355" y="3188979"/>
              <a:ext cx="5328245" cy="1215940"/>
              <a:chOff x="6323355" y="3188979"/>
              <a:chExt cx="5328245" cy="1215940"/>
            </a:xfrm>
          </p:grpSpPr>
          <p:sp>
            <p:nvSpPr>
              <p:cNvPr id="296" name="Rectangle 295"/>
              <p:cNvSpPr/>
              <p:nvPr/>
            </p:nvSpPr>
            <p:spPr>
              <a:xfrm>
                <a:off x="6323355" y="3188979"/>
                <a:ext cx="5328245" cy="1215940"/>
              </a:xfrm>
              <a:prstGeom prst="rect">
                <a:avLst/>
              </a:prstGeom>
              <a:solidFill>
                <a:srgbClr val="008530"/>
              </a:solidFill>
              <a:ln w="9525" cap="flat" cmpd="sng" algn="ctr">
                <a:noFill/>
                <a:prstDash val="solid"/>
              </a:ln>
              <a:effectLst/>
            </p:spPr>
            <p:txBody>
              <a:bodyPr rtlCol="0" anchor="t"/>
              <a:lstStyle/>
              <a:p>
                <a:pPr marL="0" marR="0" lvl="0" indent="0" algn="ctr" defTabSz="914332" rtl="0" eaLnBrk="1" fontAlgn="auto" latinLnBrk="0" hangingPunct="1">
                  <a:lnSpc>
                    <a:spcPct val="9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rPr>
                  <a:t>Automation Enablers</a:t>
                </a:r>
              </a:p>
              <a:p>
                <a:pPr marL="0" marR="0" lvl="0" indent="0" algn="ctr" defTabSz="914332" rtl="0" eaLnBrk="1" fontAlgn="auto" latinLnBrk="0" hangingPunct="1">
                  <a:lnSpc>
                    <a:spcPct val="90000"/>
                  </a:lnSpc>
                  <a:spcBef>
                    <a:spcPts val="0"/>
                  </a:spcBef>
                  <a:spcAft>
                    <a:spcPts val="0"/>
                  </a:spcAft>
                  <a:buClrTx/>
                  <a:buSzTx/>
                  <a:buFontTx/>
                  <a:buNone/>
                  <a:tabLst/>
                  <a:defRPr/>
                </a:pPr>
                <a:endPar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endParaRPr>
              </a:p>
              <a:p>
                <a:pPr marL="0" marR="0" lvl="0" indent="0" algn="ctr" defTabSz="914332" rtl="0" eaLnBrk="1" fontAlgn="auto" latinLnBrk="0" hangingPunct="1">
                  <a:lnSpc>
                    <a:spcPct val="90000"/>
                  </a:lnSpc>
                  <a:spcBef>
                    <a:spcPts val="0"/>
                  </a:spcBef>
                  <a:spcAft>
                    <a:spcPts val="0"/>
                  </a:spcAft>
                  <a:buClrTx/>
                  <a:buSzTx/>
                  <a:buFontTx/>
                  <a:buNone/>
                  <a:tabLst/>
                  <a:defRPr/>
                </a:pPr>
                <a:endPar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endParaRPr>
              </a:p>
              <a:p>
                <a:pPr marL="0" marR="0" lvl="0" indent="0" algn="ctr" defTabSz="914332" rtl="0" eaLnBrk="1" fontAlgn="auto" latinLnBrk="0" hangingPunct="1">
                  <a:lnSpc>
                    <a:spcPct val="90000"/>
                  </a:lnSpc>
                  <a:spcBef>
                    <a:spcPts val="0"/>
                  </a:spcBef>
                  <a:spcAft>
                    <a:spcPts val="0"/>
                  </a:spcAft>
                  <a:buClrTx/>
                  <a:buSzTx/>
                  <a:buFontTx/>
                  <a:buNone/>
                  <a:tabLst/>
                  <a:defRPr/>
                </a:pPr>
                <a:endParaRPr kumimoji="0" lang="en-IN"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a:endParaRPr>
              </a:p>
            </p:txBody>
          </p:sp>
          <p:grpSp>
            <p:nvGrpSpPr>
              <p:cNvPr id="297" name="Group 14"/>
              <p:cNvGrpSpPr>
                <a:grpSpLocks noChangeAspect="1"/>
              </p:cNvGrpSpPr>
              <p:nvPr/>
            </p:nvGrpSpPr>
            <p:grpSpPr bwMode="auto">
              <a:xfrm>
                <a:off x="6591719" y="3433774"/>
                <a:ext cx="705986" cy="698577"/>
                <a:chOff x="-2411" y="885"/>
                <a:chExt cx="3621" cy="3583"/>
              </a:xfrm>
              <a:solidFill>
                <a:sysClr val="window" lastClr="FFFFFF"/>
              </a:solidFill>
            </p:grpSpPr>
            <p:sp>
              <p:nvSpPr>
                <p:cNvPr id="299" name="Freeform 15"/>
                <p:cNvSpPr>
                  <a:spLocks/>
                </p:cNvSpPr>
                <p:nvPr/>
              </p:nvSpPr>
              <p:spPr bwMode="auto">
                <a:xfrm>
                  <a:off x="-2411" y="885"/>
                  <a:ext cx="3621" cy="3578"/>
                </a:xfrm>
                <a:custGeom>
                  <a:avLst/>
                  <a:gdLst>
                    <a:gd name="T0" fmla="*/ 486 w 1530"/>
                    <a:gd name="T1" fmla="*/ 260 h 1512"/>
                    <a:gd name="T2" fmla="*/ 635 w 1530"/>
                    <a:gd name="T3" fmla="*/ 220 h 1512"/>
                    <a:gd name="T4" fmla="*/ 704 w 1530"/>
                    <a:gd name="T5" fmla="*/ 18 h 1512"/>
                    <a:gd name="T6" fmla="*/ 827 w 1530"/>
                    <a:gd name="T7" fmla="*/ 3 h 1512"/>
                    <a:gd name="T8" fmla="*/ 877 w 1530"/>
                    <a:gd name="T9" fmla="*/ 200 h 1512"/>
                    <a:gd name="T10" fmla="*/ 1020 w 1530"/>
                    <a:gd name="T11" fmla="*/ 266 h 1512"/>
                    <a:gd name="T12" fmla="*/ 1202 w 1530"/>
                    <a:gd name="T13" fmla="*/ 155 h 1512"/>
                    <a:gd name="T14" fmla="*/ 1299 w 1530"/>
                    <a:gd name="T15" fmla="*/ 218 h 1512"/>
                    <a:gd name="T16" fmla="*/ 1213 w 1530"/>
                    <a:gd name="T17" fmla="*/ 419 h 1512"/>
                    <a:gd name="T18" fmla="*/ 1305 w 1530"/>
                    <a:gd name="T19" fmla="*/ 562 h 1512"/>
                    <a:gd name="T20" fmla="*/ 1512 w 1530"/>
                    <a:gd name="T21" fmla="*/ 599 h 1512"/>
                    <a:gd name="T22" fmla="*/ 1512 w 1530"/>
                    <a:gd name="T23" fmla="*/ 717 h 1512"/>
                    <a:gd name="T24" fmla="*/ 1326 w 1530"/>
                    <a:gd name="T25" fmla="*/ 808 h 1512"/>
                    <a:gd name="T26" fmla="*/ 1310 w 1530"/>
                    <a:gd name="T27" fmla="*/ 959 h 1512"/>
                    <a:gd name="T28" fmla="*/ 1446 w 1530"/>
                    <a:gd name="T29" fmla="*/ 1119 h 1512"/>
                    <a:gd name="T30" fmla="*/ 1349 w 1530"/>
                    <a:gd name="T31" fmla="*/ 1197 h 1512"/>
                    <a:gd name="T32" fmla="*/ 1143 w 1530"/>
                    <a:gd name="T33" fmla="*/ 966 h 1512"/>
                    <a:gd name="T34" fmla="*/ 856 w 1530"/>
                    <a:gd name="T35" fmla="*/ 333 h 1512"/>
                    <a:gd name="T36" fmla="*/ 714 w 1530"/>
                    <a:gd name="T37" fmla="*/ 1186 h 1512"/>
                    <a:gd name="T38" fmla="*/ 899 w 1530"/>
                    <a:gd name="T39" fmla="*/ 1184 h 1512"/>
                    <a:gd name="T40" fmla="*/ 1075 w 1530"/>
                    <a:gd name="T41" fmla="*/ 1467 h 1512"/>
                    <a:gd name="T42" fmla="*/ 970 w 1530"/>
                    <a:gd name="T43" fmla="*/ 1508 h 1512"/>
                    <a:gd name="T44" fmla="*/ 852 w 1530"/>
                    <a:gd name="T45" fmla="*/ 1343 h 1512"/>
                    <a:gd name="T46" fmla="*/ 699 w 1530"/>
                    <a:gd name="T47" fmla="*/ 1328 h 1512"/>
                    <a:gd name="T48" fmla="*/ 562 w 1530"/>
                    <a:gd name="T49" fmla="*/ 1495 h 1512"/>
                    <a:gd name="T50" fmla="*/ 447 w 1530"/>
                    <a:gd name="T51" fmla="*/ 1468 h 1512"/>
                    <a:gd name="T52" fmla="*/ 462 w 1530"/>
                    <a:gd name="T53" fmla="*/ 1267 h 1512"/>
                    <a:gd name="T54" fmla="*/ 351 w 1530"/>
                    <a:gd name="T55" fmla="*/ 1152 h 1512"/>
                    <a:gd name="T56" fmla="*/ 148 w 1530"/>
                    <a:gd name="T57" fmla="*/ 1194 h 1512"/>
                    <a:gd name="T58" fmla="*/ 72 w 1530"/>
                    <a:gd name="T59" fmla="*/ 1102 h 1512"/>
                    <a:gd name="T60" fmla="*/ 215 w 1530"/>
                    <a:gd name="T61" fmla="*/ 953 h 1512"/>
                    <a:gd name="T62" fmla="*/ 201 w 1530"/>
                    <a:gd name="T63" fmla="*/ 799 h 1512"/>
                    <a:gd name="T64" fmla="*/ 13 w 1530"/>
                    <a:gd name="T65" fmla="*/ 695 h 1512"/>
                    <a:gd name="T66" fmla="*/ 19 w 1530"/>
                    <a:gd name="T67" fmla="*/ 579 h 1512"/>
                    <a:gd name="T68" fmla="*/ 222 w 1530"/>
                    <a:gd name="T69" fmla="*/ 557 h 1512"/>
                    <a:gd name="T70" fmla="*/ 313 w 1530"/>
                    <a:gd name="T71" fmla="*/ 430 h 1512"/>
                    <a:gd name="T72" fmla="*/ 236 w 1530"/>
                    <a:gd name="T73" fmla="*/ 231 h 1512"/>
                    <a:gd name="T74" fmla="*/ 331 w 1530"/>
                    <a:gd name="T75" fmla="*/ 131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0" h="1512">
                      <a:moveTo>
                        <a:pt x="331" y="131"/>
                      </a:moveTo>
                      <a:cubicBezTo>
                        <a:pt x="384" y="175"/>
                        <a:pt x="435" y="217"/>
                        <a:pt x="486" y="260"/>
                      </a:cubicBezTo>
                      <a:cubicBezTo>
                        <a:pt x="495" y="268"/>
                        <a:pt x="501" y="268"/>
                        <a:pt x="512" y="264"/>
                      </a:cubicBezTo>
                      <a:cubicBezTo>
                        <a:pt x="552" y="248"/>
                        <a:pt x="594" y="233"/>
                        <a:pt x="635" y="220"/>
                      </a:cubicBezTo>
                      <a:cubicBezTo>
                        <a:pt x="648" y="215"/>
                        <a:pt x="652" y="209"/>
                        <a:pt x="655" y="197"/>
                      </a:cubicBezTo>
                      <a:cubicBezTo>
                        <a:pt x="671" y="137"/>
                        <a:pt x="688" y="78"/>
                        <a:pt x="704" y="18"/>
                      </a:cubicBezTo>
                      <a:cubicBezTo>
                        <a:pt x="708" y="6"/>
                        <a:pt x="714" y="0"/>
                        <a:pt x="727" y="1"/>
                      </a:cubicBezTo>
                      <a:cubicBezTo>
                        <a:pt x="760" y="2"/>
                        <a:pt x="794" y="3"/>
                        <a:pt x="827" y="3"/>
                      </a:cubicBezTo>
                      <a:cubicBezTo>
                        <a:pt x="841" y="3"/>
                        <a:pt x="841" y="14"/>
                        <a:pt x="843" y="22"/>
                      </a:cubicBezTo>
                      <a:cubicBezTo>
                        <a:pt x="855" y="82"/>
                        <a:pt x="867" y="141"/>
                        <a:pt x="877" y="200"/>
                      </a:cubicBezTo>
                      <a:cubicBezTo>
                        <a:pt x="879" y="212"/>
                        <a:pt x="883" y="216"/>
                        <a:pt x="894" y="220"/>
                      </a:cubicBezTo>
                      <a:cubicBezTo>
                        <a:pt x="937" y="234"/>
                        <a:pt x="978" y="250"/>
                        <a:pt x="1020" y="266"/>
                      </a:cubicBezTo>
                      <a:cubicBezTo>
                        <a:pt x="1030" y="271"/>
                        <a:pt x="1036" y="270"/>
                        <a:pt x="1046" y="263"/>
                      </a:cubicBezTo>
                      <a:cubicBezTo>
                        <a:pt x="1097" y="226"/>
                        <a:pt x="1150" y="191"/>
                        <a:pt x="1202" y="155"/>
                      </a:cubicBezTo>
                      <a:cubicBezTo>
                        <a:pt x="1211" y="148"/>
                        <a:pt x="1219" y="149"/>
                        <a:pt x="1228" y="157"/>
                      </a:cubicBezTo>
                      <a:cubicBezTo>
                        <a:pt x="1251" y="177"/>
                        <a:pt x="1275" y="198"/>
                        <a:pt x="1299" y="218"/>
                      </a:cubicBezTo>
                      <a:cubicBezTo>
                        <a:pt x="1309" y="226"/>
                        <a:pt x="1311" y="234"/>
                        <a:pt x="1305" y="246"/>
                      </a:cubicBezTo>
                      <a:cubicBezTo>
                        <a:pt x="1273" y="304"/>
                        <a:pt x="1243" y="363"/>
                        <a:pt x="1213" y="419"/>
                      </a:cubicBezTo>
                      <a:cubicBezTo>
                        <a:pt x="1236" y="463"/>
                        <a:pt x="1260" y="508"/>
                        <a:pt x="1286" y="553"/>
                      </a:cubicBezTo>
                      <a:cubicBezTo>
                        <a:pt x="1289" y="558"/>
                        <a:pt x="1298" y="561"/>
                        <a:pt x="1305" y="562"/>
                      </a:cubicBezTo>
                      <a:cubicBezTo>
                        <a:pt x="1367" y="568"/>
                        <a:pt x="1430" y="574"/>
                        <a:pt x="1492" y="579"/>
                      </a:cubicBezTo>
                      <a:cubicBezTo>
                        <a:pt x="1504" y="581"/>
                        <a:pt x="1511" y="586"/>
                        <a:pt x="1512" y="599"/>
                      </a:cubicBezTo>
                      <a:cubicBezTo>
                        <a:pt x="1517" y="630"/>
                        <a:pt x="1522" y="661"/>
                        <a:pt x="1527" y="691"/>
                      </a:cubicBezTo>
                      <a:cubicBezTo>
                        <a:pt x="1530" y="705"/>
                        <a:pt x="1524" y="712"/>
                        <a:pt x="1512" y="717"/>
                      </a:cubicBezTo>
                      <a:cubicBezTo>
                        <a:pt x="1458" y="738"/>
                        <a:pt x="1404" y="760"/>
                        <a:pt x="1350" y="779"/>
                      </a:cubicBezTo>
                      <a:cubicBezTo>
                        <a:pt x="1334" y="785"/>
                        <a:pt x="1328" y="790"/>
                        <a:pt x="1326" y="808"/>
                      </a:cubicBezTo>
                      <a:cubicBezTo>
                        <a:pt x="1320" y="850"/>
                        <a:pt x="1312" y="892"/>
                        <a:pt x="1302" y="934"/>
                      </a:cubicBezTo>
                      <a:cubicBezTo>
                        <a:pt x="1300" y="945"/>
                        <a:pt x="1302" y="951"/>
                        <a:pt x="1310" y="959"/>
                      </a:cubicBezTo>
                      <a:cubicBezTo>
                        <a:pt x="1355" y="1002"/>
                        <a:pt x="1398" y="1047"/>
                        <a:pt x="1443" y="1091"/>
                      </a:cubicBezTo>
                      <a:cubicBezTo>
                        <a:pt x="1452" y="1100"/>
                        <a:pt x="1453" y="1109"/>
                        <a:pt x="1446" y="1119"/>
                      </a:cubicBezTo>
                      <a:cubicBezTo>
                        <a:pt x="1431" y="1144"/>
                        <a:pt x="1418" y="1169"/>
                        <a:pt x="1403" y="1194"/>
                      </a:cubicBezTo>
                      <a:cubicBezTo>
                        <a:pt x="1388" y="1217"/>
                        <a:pt x="1368" y="1218"/>
                        <a:pt x="1349" y="1197"/>
                      </a:cubicBezTo>
                      <a:cubicBezTo>
                        <a:pt x="1298" y="1140"/>
                        <a:pt x="1248" y="1083"/>
                        <a:pt x="1197" y="1026"/>
                      </a:cubicBezTo>
                      <a:cubicBezTo>
                        <a:pt x="1179" y="1007"/>
                        <a:pt x="1162" y="987"/>
                        <a:pt x="1143" y="966"/>
                      </a:cubicBezTo>
                      <a:cubicBezTo>
                        <a:pt x="1169" y="920"/>
                        <a:pt x="1184" y="871"/>
                        <a:pt x="1193" y="819"/>
                      </a:cubicBezTo>
                      <a:cubicBezTo>
                        <a:pt x="1229" y="599"/>
                        <a:pt x="1075" y="376"/>
                        <a:pt x="856" y="333"/>
                      </a:cubicBezTo>
                      <a:cubicBezTo>
                        <a:pt x="638" y="289"/>
                        <a:pt x="423" y="410"/>
                        <a:pt x="355" y="615"/>
                      </a:cubicBezTo>
                      <a:cubicBezTo>
                        <a:pt x="267" y="880"/>
                        <a:pt x="437" y="1151"/>
                        <a:pt x="714" y="1186"/>
                      </a:cubicBezTo>
                      <a:cubicBezTo>
                        <a:pt x="767" y="1193"/>
                        <a:pt x="821" y="1190"/>
                        <a:pt x="873" y="1175"/>
                      </a:cubicBezTo>
                      <a:cubicBezTo>
                        <a:pt x="885" y="1171"/>
                        <a:pt x="892" y="1174"/>
                        <a:pt x="899" y="1184"/>
                      </a:cubicBezTo>
                      <a:cubicBezTo>
                        <a:pt x="955" y="1261"/>
                        <a:pt x="1012" y="1338"/>
                        <a:pt x="1066" y="1416"/>
                      </a:cubicBezTo>
                      <a:cubicBezTo>
                        <a:pt x="1075" y="1429"/>
                        <a:pt x="1073" y="1450"/>
                        <a:pt x="1075" y="1467"/>
                      </a:cubicBezTo>
                      <a:cubicBezTo>
                        <a:pt x="1075" y="1469"/>
                        <a:pt x="1070" y="1473"/>
                        <a:pt x="1066" y="1474"/>
                      </a:cubicBezTo>
                      <a:cubicBezTo>
                        <a:pt x="1034" y="1485"/>
                        <a:pt x="1002" y="1496"/>
                        <a:pt x="970" y="1508"/>
                      </a:cubicBezTo>
                      <a:cubicBezTo>
                        <a:pt x="959" y="1512"/>
                        <a:pt x="952" y="1508"/>
                        <a:pt x="946" y="1498"/>
                      </a:cubicBezTo>
                      <a:cubicBezTo>
                        <a:pt x="915" y="1446"/>
                        <a:pt x="882" y="1395"/>
                        <a:pt x="852" y="1343"/>
                      </a:cubicBezTo>
                      <a:cubicBezTo>
                        <a:pt x="845" y="1330"/>
                        <a:pt x="838" y="1328"/>
                        <a:pt x="824" y="1328"/>
                      </a:cubicBezTo>
                      <a:cubicBezTo>
                        <a:pt x="782" y="1329"/>
                        <a:pt x="740" y="1329"/>
                        <a:pt x="699" y="1328"/>
                      </a:cubicBezTo>
                      <a:cubicBezTo>
                        <a:pt x="684" y="1327"/>
                        <a:pt x="677" y="1331"/>
                        <a:pt x="669" y="1343"/>
                      </a:cubicBezTo>
                      <a:cubicBezTo>
                        <a:pt x="634" y="1394"/>
                        <a:pt x="597" y="1444"/>
                        <a:pt x="562" y="1495"/>
                      </a:cubicBezTo>
                      <a:cubicBezTo>
                        <a:pt x="555" y="1504"/>
                        <a:pt x="548" y="1507"/>
                        <a:pt x="537" y="1502"/>
                      </a:cubicBezTo>
                      <a:cubicBezTo>
                        <a:pt x="507" y="1490"/>
                        <a:pt x="477" y="1479"/>
                        <a:pt x="447" y="1468"/>
                      </a:cubicBezTo>
                      <a:cubicBezTo>
                        <a:pt x="437" y="1464"/>
                        <a:pt x="433" y="1458"/>
                        <a:pt x="434" y="1447"/>
                      </a:cubicBezTo>
                      <a:cubicBezTo>
                        <a:pt x="443" y="1387"/>
                        <a:pt x="451" y="1327"/>
                        <a:pt x="462" y="1267"/>
                      </a:cubicBezTo>
                      <a:cubicBezTo>
                        <a:pt x="464" y="1253"/>
                        <a:pt x="462" y="1246"/>
                        <a:pt x="450" y="1236"/>
                      </a:cubicBezTo>
                      <a:cubicBezTo>
                        <a:pt x="416" y="1210"/>
                        <a:pt x="383" y="1181"/>
                        <a:pt x="351" y="1152"/>
                      </a:cubicBezTo>
                      <a:cubicBezTo>
                        <a:pt x="342" y="1145"/>
                        <a:pt x="336" y="1143"/>
                        <a:pt x="325" y="1146"/>
                      </a:cubicBezTo>
                      <a:cubicBezTo>
                        <a:pt x="266" y="1163"/>
                        <a:pt x="207" y="1178"/>
                        <a:pt x="148" y="1194"/>
                      </a:cubicBezTo>
                      <a:cubicBezTo>
                        <a:pt x="134" y="1198"/>
                        <a:pt x="123" y="1195"/>
                        <a:pt x="116" y="1180"/>
                      </a:cubicBezTo>
                      <a:cubicBezTo>
                        <a:pt x="102" y="1154"/>
                        <a:pt x="87" y="1128"/>
                        <a:pt x="72" y="1102"/>
                      </a:cubicBezTo>
                      <a:cubicBezTo>
                        <a:pt x="65" y="1091"/>
                        <a:pt x="67" y="1083"/>
                        <a:pt x="76" y="1074"/>
                      </a:cubicBezTo>
                      <a:cubicBezTo>
                        <a:pt x="123" y="1034"/>
                        <a:pt x="168" y="993"/>
                        <a:pt x="215" y="953"/>
                      </a:cubicBezTo>
                      <a:cubicBezTo>
                        <a:pt x="223" y="947"/>
                        <a:pt x="226" y="942"/>
                        <a:pt x="224" y="931"/>
                      </a:cubicBezTo>
                      <a:cubicBezTo>
                        <a:pt x="215" y="887"/>
                        <a:pt x="207" y="843"/>
                        <a:pt x="201" y="799"/>
                      </a:cubicBezTo>
                      <a:cubicBezTo>
                        <a:pt x="199" y="786"/>
                        <a:pt x="194" y="781"/>
                        <a:pt x="182" y="775"/>
                      </a:cubicBezTo>
                      <a:cubicBezTo>
                        <a:pt x="126" y="749"/>
                        <a:pt x="69" y="722"/>
                        <a:pt x="13" y="695"/>
                      </a:cubicBezTo>
                      <a:cubicBezTo>
                        <a:pt x="3" y="690"/>
                        <a:pt x="0" y="685"/>
                        <a:pt x="2" y="673"/>
                      </a:cubicBezTo>
                      <a:cubicBezTo>
                        <a:pt x="9" y="642"/>
                        <a:pt x="14" y="610"/>
                        <a:pt x="19" y="579"/>
                      </a:cubicBezTo>
                      <a:cubicBezTo>
                        <a:pt x="21" y="566"/>
                        <a:pt x="28" y="561"/>
                        <a:pt x="41" y="561"/>
                      </a:cubicBezTo>
                      <a:cubicBezTo>
                        <a:pt x="101" y="559"/>
                        <a:pt x="162" y="558"/>
                        <a:pt x="222" y="557"/>
                      </a:cubicBezTo>
                      <a:cubicBezTo>
                        <a:pt x="235" y="557"/>
                        <a:pt x="241" y="555"/>
                        <a:pt x="247" y="544"/>
                      </a:cubicBezTo>
                      <a:cubicBezTo>
                        <a:pt x="267" y="505"/>
                        <a:pt x="289" y="467"/>
                        <a:pt x="313" y="430"/>
                      </a:cubicBezTo>
                      <a:cubicBezTo>
                        <a:pt x="320" y="418"/>
                        <a:pt x="319" y="411"/>
                        <a:pt x="314" y="400"/>
                      </a:cubicBezTo>
                      <a:cubicBezTo>
                        <a:pt x="287" y="344"/>
                        <a:pt x="262" y="287"/>
                        <a:pt x="236" y="231"/>
                      </a:cubicBezTo>
                      <a:cubicBezTo>
                        <a:pt x="231" y="220"/>
                        <a:pt x="233" y="212"/>
                        <a:pt x="243" y="204"/>
                      </a:cubicBezTo>
                      <a:cubicBezTo>
                        <a:pt x="271" y="181"/>
                        <a:pt x="299" y="158"/>
                        <a:pt x="331"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300" name="Freeform 16"/>
                <p:cNvSpPr>
                  <a:spLocks noEditPoints="1"/>
                </p:cNvSpPr>
                <p:nvPr/>
              </p:nvSpPr>
              <p:spPr bwMode="auto">
                <a:xfrm>
                  <a:off x="-1145" y="2156"/>
                  <a:ext cx="2040" cy="2312"/>
                </a:xfrm>
                <a:custGeom>
                  <a:avLst/>
                  <a:gdLst>
                    <a:gd name="T0" fmla="*/ 442 w 862"/>
                    <a:gd name="T1" fmla="*/ 340 h 977"/>
                    <a:gd name="T2" fmla="*/ 517 w 862"/>
                    <a:gd name="T3" fmla="*/ 425 h 977"/>
                    <a:gd name="T4" fmla="*/ 829 w 862"/>
                    <a:gd name="T5" fmla="*/ 775 h 977"/>
                    <a:gd name="T6" fmla="*/ 861 w 862"/>
                    <a:gd name="T7" fmla="*/ 846 h 977"/>
                    <a:gd name="T8" fmla="*/ 841 w 862"/>
                    <a:gd name="T9" fmla="*/ 890 h 977"/>
                    <a:gd name="T10" fmla="*/ 760 w 862"/>
                    <a:gd name="T11" fmla="*/ 955 h 977"/>
                    <a:gd name="T12" fmla="*/ 683 w 862"/>
                    <a:gd name="T13" fmla="*/ 960 h 977"/>
                    <a:gd name="T14" fmla="*/ 648 w 862"/>
                    <a:gd name="T15" fmla="*/ 925 h 977"/>
                    <a:gd name="T16" fmla="*/ 312 w 862"/>
                    <a:gd name="T17" fmla="*/ 465 h 977"/>
                    <a:gd name="T18" fmla="*/ 302 w 862"/>
                    <a:gd name="T19" fmla="*/ 452 h 977"/>
                    <a:gd name="T20" fmla="*/ 277 w 862"/>
                    <a:gd name="T21" fmla="*/ 472 h 977"/>
                    <a:gd name="T22" fmla="*/ 145 w 862"/>
                    <a:gd name="T23" fmla="*/ 453 h 977"/>
                    <a:gd name="T24" fmla="*/ 27 w 862"/>
                    <a:gd name="T25" fmla="*/ 277 h 977"/>
                    <a:gd name="T26" fmla="*/ 52 w 862"/>
                    <a:gd name="T27" fmla="*/ 154 h 977"/>
                    <a:gd name="T28" fmla="*/ 95 w 862"/>
                    <a:gd name="T29" fmla="*/ 209 h 977"/>
                    <a:gd name="T30" fmla="*/ 184 w 862"/>
                    <a:gd name="T31" fmla="*/ 324 h 977"/>
                    <a:gd name="T32" fmla="*/ 260 w 862"/>
                    <a:gd name="T33" fmla="*/ 332 h 977"/>
                    <a:gd name="T34" fmla="*/ 336 w 862"/>
                    <a:gd name="T35" fmla="*/ 270 h 977"/>
                    <a:gd name="T36" fmla="*/ 343 w 862"/>
                    <a:gd name="T37" fmla="*/ 201 h 977"/>
                    <a:gd name="T38" fmla="*/ 204 w 862"/>
                    <a:gd name="T39" fmla="*/ 33 h 977"/>
                    <a:gd name="T40" fmla="*/ 326 w 862"/>
                    <a:gd name="T41" fmla="*/ 34 h 977"/>
                    <a:gd name="T42" fmla="*/ 474 w 862"/>
                    <a:gd name="T43" fmla="*/ 186 h 977"/>
                    <a:gd name="T44" fmla="*/ 464 w 862"/>
                    <a:gd name="T45" fmla="*/ 321 h 977"/>
                    <a:gd name="T46" fmla="*/ 442 w 862"/>
                    <a:gd name="T47" fmla="*/ 340 h 977"/>
                    <a:gd name="T48" fmla="*/ 654 w 862"/>
                    <a:gd name="T49" fmla="*/ 819 h 977"/>
                    <a:gd name="T50" fmla="*/ 713 w 862"/>
                    <a:gd name="T51" fmla="*/ 882 h 977"/>
                    <a:gd name="T52" fmla="*/ 776 w 862"/>
                    <a:gd name="T53" fmla="*/ 823 h 977"/>
                    <a:gd name="T54" fmla="*/ 717 w 862"/>
                    <a:gd name="T55" fmla="*/ 760 h 977"/>
                    <a:gd name="T56" fmla="*/ 654 w 862"/>
                    <a:gd name="T57" fmla="*/ 819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2" h="977">
                      <a:moveTo>
                        <a:pt x="442" y="340"/>
                      </a:moveTo>
                      <a:cubicBezTo>
                        <a:pt x="467" y="369"/>
                        <a:pt x="492" y="397"/>
                        <a:pt x="517" y="425"/>
                      </a:cubicBezTo>
                      <a:cubicBezTo>
                        <a:pt x="621" y="542"/>
                        <a:pt x="725" y="659"/>
                        <a:pt x="829" y="775"/>
                      </a:cubicBezTo>
                      <a:cubicBezTo>
                        <a:pt x="848" y="796"/>
                        <a:pt x="861" y="818"/>
                        <a:pt x="861" y="846"/>
                      </a:cubicBezTo>
                      <a:cubicBezTo>
                        <a:pt x="862" y="864"/>
                        <a:pt x="855" y="879"/>
                        <a:pt x="841" y="890"/>
                      </a:cubicBezTo>
                      <a:cubicBezTo>
                        <a:pt x="814" y="912"/>
                        <a:pt x="787" y="934"/>
                        <a:pt x="760" y="955"/>
                      </a:cubicBezTo>
                      <a:cubicBezTo>
                        <a:pt x="736" y="975"/>
                        <a:pt x="709" y="977"/>
                        <a:pt x="683" y="960"/>
                      </a:cubicBezTo>
                      <a:cubicBezTo>
                        <a:pt x="670" y="950"/>
                        <a:pt x="657" y="938"/>
                        <a:pt x="648" y="925"/>
                      </a:cubicBezTo>
                      <a:cubicBezTo>
                        <a:pt x="535" y="772"/>
                        <a:pt x="424" y="619"/>
                        <a:pt x="312" y="465"/>
                      </a:cubicBezTo>
                      <a:cubicBezTo>
                        <a:pt x="310" y="461"/>
                        <a:pt x="307" y="458"/>
                        <a:pt x="302" y="452"/>
                      </a:cubicBezTo>
                      <a:cubicBezTo>
                        <a:pt x="294" y="459"/>
                        <a:pt x="285" y="466"/>
                        <a:pt x="277" y="472"/>
                      </a:cubicBezTo>
                      <a:cubicBezTo>
                        <a:pt x="235" y="505"/>
                        <a:pt x="176" y="497"/>
                        <a:pt x="145" y="453"/>
                      </a:cubicBezTo>
                      <a:cubicBezTo>
                        <a:pt x="105" y="395"/>
                        <a:pt x="66" y="336"/>
                        <a:pt x="27" y="277"/>
                      </a:cubicBezTo>
                      <a:cubicBezTo>
                        <a:pt x="0" y="235"/>
                        <a:pt x="10" y="185"/>
                        <a:pt x="52" y="154"/>
                      </a:cubicBezTo>
                      <a:cubicBezTo>
                        <a:pt x="66" y="172"/>
                        <a:pt x="80" y="191"/>
                        <a:pt x="95" y="209"/>
                      </a:cubicBezTo>
                      <a:cubicBezTo>
                        <a:pt x="125" y="247"/>
                        <a:pt x="154" y="286"/>
                        <a:pt x="184" y="324"/>
                      </a:cubicBezTo>
                      <a:cubicBezTo>
                        <a:pt x="207" y="353"/>
                        <a:pt x="231" y="355"/>
                        <a:pt x="260" y="332"/>
                      </a:cubicBezTo>
                      <a:cubicBezTo>
                        <a:pt x="285" y="311"/>
                        <a:pt x="310" y="291"/>
                        <a:pt x="336" y="270"/>
                      </a:cubicBezTo>
                      <a:cubicBezTo>
                        <a:pt x="361" y="249"/>
                        <a:pt x="364" y="226"/>
                        <a:pt x="343" y="201"/>
                      </a:cubicBezTo>
                      <a:cubicBezTo>
                        <a:pt x="297" y="145"/>
                        <a:pt x="250" y="89"/>
                        <a:pt x="204" y="33"/>
                      </a:cubicBezTo>
                      <a:cubicBezTo>
                        <a:pt x="234" y="0"/>
                        <a:pt x="291" y="0"/>
                        <a:pt x="326" y="34"/>
                      </a:cubicBezTo>
                      <a:cubicBezTo>
                        <a:pt x="376" y="84"/>
                        <a:pt x="426" y="135"/>
                        <a:pt x="474" y="186"/>
                      </a:cubicBezTo>
                      <a:cubicBezTo>
                        <a:pt x="513" y="226"/>
                        <a:pt x="508" y="285"/>
                        <a:pt x="464" y="321"/>
                      </a:cubicBezTo>
                      <a:cubicBezTo>
                        <a:pt x="457" y="327"/>
                        <a:pt x="450" y="333"/>
                        <a:pt x="442" y="340"/>
                      </a:cubicBezTo>
                      <a:close/>
                      <a:moveTo>
                        <a:pt x="654" y="819"/>
                      </a:moveTo>
                      <a:cubicBezTo>
                        <a:pt x="653" y="853"/>
                        <a:pt x="680" y="881"/>
                        <a:pt x="713" y="882"/>
                      </a:cubicBezTo>
                      <a:cubicBezTo>
                        <a:pt x="746" y="883"/>
                        <a:pt x="774" y="857"/>
                        <a:pt x="776" y="823"/>
                      </a:cubicBezTo>
                      <a:cubicBezTo>
                        <a:pt x="777" y="790"/>
                        <a:pt x="750" y="761"/>
                        <a:pt x="717" y="760"/>
                      </a:cubicBezTo>
                      <a:cubicBezTo>
                        <a:pt x="683" y="759"/>
                        <a:pt x="655" y="785"/>
                        <a:pt x="654" y="8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grpSp>
          <p:sp>
            <p:nvSpPr>
              <p:cNvPr id="298" name="TextBox 297"/>
              <p:cNvSpPr txBox="1"/>
              <p:nvPr/>
            </p:nvSpPr>
            <p:spPr>
              <a:xfrm>
                <a:off x="7535552" y="3480953"/>
                <a:ext cx="3317557" cy="907601"/>
              </a:xfrm>
              <a:prstGeom prst="rect">
                <a:avLst/>
              </a:prstGeom>
              <a:noFill/>
            </p:spPr>
            <p:txBody>
              <a:bodyPr wrap="square" rtlCol="0">
                <a:spAutoFit/>
              </a:bodyPr>
              <a:lstStyle/>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HiveCenter™ I &amp; O Enterprise</a:t>
                </a: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prstClr val="white"/>
                    </a:solidFill>
                    <a:effectLst/>
                    <a:uLnTx/>
                    <a:uFillTx/>
                    <a:latin typeface="Calibri"/>
                    <a:ea typeface="+mn-ea"/>
                    <a:cs typeface="+mn-cs"/>
                  </a:rPr>
                  <a:t>UiPath</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prstClr val="white"/>
                    </a:solidFill>
                    <a:effectLst/>
                    <a:uLnTx/>
                    <a:uFillTx/>
                    <a:latin typeface="Calibri"/>
                    <a:ea typeface="+mn-ea"/>
                    <a:cs typeface="+mn-cs"/>
                  </a:rPr>
                  <a:t>ASKiva</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grpSp>
        <p:grpSp>
          <p:nvGrpSpPr>
            <p:cNvPr id="217" name="Group 216"/>
            <p:cNvGrpSpPr/>
            <p:nvPr/>
          </p:nvGrpSpPr>
          <p:grpSpPr>
            <a:xfrm>
              <a:off x="6483622" y="1668464"/>
              <a:ext cx="285652" cy="231690"/>
              <a:chOff x="831311" y="3822525"/>
              <a:chExt cx="371200" cy="331185"/>
            </a:xfrm>
            <a:solidFill>
              <a:sysClr val="window" lastClr="FFFFFF"/>
            </a:solidFill>
          </p:grpSpPr>
          <p:grpSp>
            <p:nvGrpSpPr>
              <p:cNvPr id="286" name="Group 285"/>
              <p:cNvGrpSpPr/>
              <p:nvPr/>
            </p:nvGrpSpPr>
            <p:grpSpPr>
              <a:xfrm flipH="1">
                <a:off x="831311" y="3982895"/>
                <a:ext cx="371200" cy="170815"/>
                <a:chOff x="11031207" y="1060206"/>
                <a:chExt cx="360706" cy="165986"/>
              </a:xfrm>
              <a:grpFill/>
            </p:grpSpPr>
            <p:sp>
              <p:nvSpPr>
                <p:cNvPr id="290" name="Freeform 57"/>
                <p:cNvSpPr>
                  <a:spLocks/>
                </p:cNvSpPr>
                <p:nvPr/>
              </p:nvSpPr>
              <p:spPr bwMode="auto">
                <a:xfrm>
                  <a:off x="11031207" y="1078292"/>
                  <a:ext cx="293095" cy="147900"/>
                </a:xfrm>
                <a:custGeom>
                  <a:avLst/>
                  <a:gdLst>
                    <a:gd name="T0" fmla="*/ 0 w 731"/>
                    <a:gd name="T1" fmla="*/ 41 h 369"/>
                    <a:gd name="T2" fmla="*/ 67 w 731"/>
                    <a:gd name="T3" fmla="*/ 27 h 369"/>
                    <a:gd name="T4" fmla="*/ 197 w 731"/>
                    <a:gd name="T5" fmla="*/ 148 h 369"/>
                    <a:gd name="T6" fmla="*/ 203 w 731"/>
                    <a:gd name="T7" fmla="*/ 160 h 369"/>
                    <a:gd name="T8" fmla="*/ 294 w 731"/>
                    <a:gd name="T9" fmla="*/ 235 h 369"/>
                    <a:gd name="T10" fmla="*/ 532 w 731"/>
                    <a:gd name="T11" fmla="*/ 229 h 369"/>
                    <a:gd name="T12" fmla="*/ 537 w 731"/>
                    <a:gd name="T13" fmla="*/ 221 h 369"/>
                    <a:gd name="T14" fmla="*/ 477 w 731"/>
                    <a:gd name="T15" fmla="*/ 209 h 369"/>
                    <a:gd name="T16" fmla="*/ 319 w 731"/>
                    <a:gd name="T17" fmla="*/ 206 h 369"/>
                    <a:gd name="T18" fmla="*/ 255 w 731"/>
                    <a:gd name="T19" fmla="*/ 187 h 369"/>
                    <a:gd name="T20" fmla="*/ 255 w 731"/>
                    <a:gd name="T21" fmla="*/ 88 h 369"/>
                    <a:gd name="T22" fmla="*/ 309 w 731"/>
                    <a:gd name="T23" fmla="*/ 70 h 369"/>
                    <a:gd name="T24" fmla="*/ 460 w 731"/>
                    <a:gd name="T25" fmla="*/ 68 h 369"/>
                    <a:gd name="T26" fmla="*/ 487 w 731"/>
                    <a:gd name="T27" fmla="*/ 59 h 369"/>
                    <a:gd name="T28" fmla="*/ 717 w 731"/>
                    <a:gd name="T29" fmla="*/ 38 h 369"/>
                    <a:gd name="T30" fmla="*/ 730 w 731"/>
                    <a:gd name="T31" fmla="*/ 55 h 369"/>
                    <a:gd name="T32" fmla="*/ 731 w 731"/>
                    <a:gd name="T33" fmla="*/ 256 h 369"/>
                    <a:gd name="T34" fmla="*/ 726 w 731"/>
                    <a:gd name="T35" fmla="*/ 259 h 369"/>
                    <a:gd name="T36" fmla="*/ 540 w 731"/>
                    <a:gd name="T37" fmla="*/ 313 h 369"/>
                    <a:gd name="T38" fmla="*/ 198 w 731"/>
                    <a:gd name="T39" fmla="*/ 308 h 369"/>
                    <a:gd name="T40" fmla="*/ 130 w 731"/>
                    <a:gd name="T41" fmla="*/ 254 h 369"/>
                    <a:gd name="T42" fmla="*/ 48 w 731"/>
                    <a:gd name="T43" fmla="*/ 153 h 369"/>
                    <a:gd name="T44" fmla="*/ 0 w 731"/>
                    <a:gd name="T45" fmla="*/ 65 h 369"/>
                    <a:gd name="T46" fmla="*/ 0 w 731"/>
                    <a:gd name="T47" fmla="*/ 4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1" h="369">
                      <a:moveTo>
                        <a:pt x="0" y="41"/>
                      </a:moveTo>
                      <a:cubicBezTo>
                        <a:pt x="20" y="8"/>
                        <a:pt x="37" y="2"/>
                        <a:pt x="67" y="27"/>
                      </a:cubicBezTo>
                      <a:cubicBezTo>
                        <a:pt x="112" y="65"/>
                        <a:pt x="154" y="107"/>
                        <a:pt x="197" y="148"/>
                      </a:cubicBezTo>
                      <a:cubicBezTo>
                        <a:pt x="200" y="151"/>
                        <a:pt x="201" y="156"/>
                        <a:pt x="203" y="160"/>
                      </a:cubicBezTo>
                      <a:cubicBezTo>
                        <a:pt x="217" y="206"/>
                        <a:pt x="250" y="233"/>
                        <a:pt x="294" y="235"/>
                      </a:cubicBezTo>
                      <a:cubicBezTo>
                        <a:pt x="373" y="239"/>
                        <a:pt x="453" y="243"/>
                        <a:pt x="532" y="229"/>
                      </a:cubicBezTo>
                      <a:cubicBezTo>
                        <a:pt x="533" y="229"/>
                        <a:pt x="535" y="227"/>
                        <a:pt x="537" y="221"/>
                      </a:cubicBezTo>
                      <a:cubicBezTo>
                        <a:pt x="517" y="217"/>
                        <a:pt x="497" y="209"/>
                        <a:pt x="477" y="209"/>
                      </a:cubicBezTo>
                      <a:cubicBezTo>
                        <a:pt x="424" y="206"/>
                        <a:pt x="371" y="209"/>
                        <a:pt x="319" y="206"/>
                      </a:cubicBezTo>
                      <a:cubicBezTo>
                        <a:pt x="297" y="205"/>
                        <a:pt x="273" y="199"/>
                        <a:pt x="255" y="187"/>
                      </a:cubicBezTo>
                      <a:cubicBezTo>
                        <a:pt x="216" y="163"/>
                        <a:pt x="217" y="113"/>
                        <a:pt x="255" y="88"/>
                      </a:cubicBezTo>
                      <a:cubicBezTo>
                        <a:pt x="270" y="77"/>
                        <a:pt x="290" y="71"/>
                        <a:pt x="309" y="70"/>
                      </a:cubicBezTo>
                      <a:cubicBezTo>
                        <a:pt x="359" y="67"/>
                        <a:pt x="410" y="69"/>
                        <a:pt x="460" y="68"/>
                      </a:cubicBezTo>
                      <a:cubicBezTo>
                        <a:pt x="469" y="68"/>
                        <a:pt x="480" y="64"/>
                        <a:pt x="487" y="59"/>
                      </a:cubicBezTo>
                      <a:cubicBezTo>
                        <a:pt x="549" y="9"/>
                        <a:pt x="648" y="0"/>
                        <a:pt x="717" y="38"/>
                      </a:cubicBezTo>
                      <a:cubicBezTo>
                        <a:pt x="723" y="42"/>
                        <a:pt x="730" y="49"/>
                        <a:pt x="730" y="55"/>
                      </a:cubicBezTo>
                      <a:cubicBezTo>
                        <a:pt x="731" y="123"/>
                        <a:pt x="731" y="190"/>
                        <a:pt x="731" y="256"/>
                      </a:cubicBezTo>
                      <a:cubicBezTo>
                        <a:pt x="728" y="258"/>
                        <a:pt x="727" y="259"/>
                        <a:pt x="726" y="259"/>
                      </a:cubicBezTo>
                      <a:cubicBezTo>
                        <a:pt x="658" y="256"/>
                        <a:pt x="599" y="284"/>
                        <a:pt x="540" y="313"/>
                      </a:cubicBezTo>
                      <a:cubicBezTo>
                        <a:pt x="425" y="369"/>
                        <a:pt x="311" y="349"/>
                        <a:pt x="198" y="308"/>
                      </a:cubicBezTo>
                      <a:cubicBezTo>
                        <a:pt x="169" y="298"/>
                        <a:pt x="149" y="277"/>
                        <a:pt x="130" y="254"/>
                      </a:cubicBezTo>
                      <a:cubicBezTo>
                        <a:pt x="102" y="221"/>
                        <a:pt x="73" y="189"/>
                        <a:pt x="48" y="153"/>
                      </a:cubicBezTo>
                      <a:cubicBezTo>
                        <a:pt x="29" y="126"/>
                        <a:pt x="16" y="94"/>
                        <a:pt x="0" y="65"/>
                      </a:cubicBezTo>
                      <a:cubicBezTo>
                        <a:pt x="0" y="57"/>
                        <a:pt x="0" y="49"/>
                        <a:pt x="0" y="4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91" name="Freeform 58"/>
                <p:cNvSpPr>
                  <a:spLocks/>
                </p:cNvSpPr>
                <p:nvPr/>
              </p:nvSpPr>
              <p:spPr bwMode="auto">
                <a:xfrm>
                  <a:off x="11336303" y="1071869"/>
                  <a:ext cx="55610" cy="135053"/>
                </a:xfrm>
                <a:custGeom>
                  <a:avLst/>
                  <a:gdLst>
                    <a:gd name="T0" fmla="*/ 139 w 139"/>
                    <a:gd name="T1" fmla="*/ 321 h 337"/>
                    <a:gd name="T2" fmla="*/ 101 w 139"/>
                    <a:gd name="T3" fmla="*/ 335 h 337"/>
                    <a:gd name="T4" fmla="*/ 31 w 139"/>
                    <a:gd name="T5" fmla="*/ 336 h 337"/>
                    <a:gd name="T6" fmla="*/ 0 w 139"/>
                    <a:gd name="T7" fmla="*/ 305 h 337"/>
                    <a:gd name="T8" fmla="*/ 0 w 139"/>
                    <a:gd name="T9" fmla="*/ 32 h 337"/>
                    <a:gd name="T10" fmla="*/ 30 w 139"/>
                    <a:gd name="T11" fmla="*/ 0 h 337"/>
                    <a:gd name="T12" fmla="*/ 106 w 139"/>
                    <a:gd name="T13" fmla="*/ 0 h 337"/>
                    <a:gd name="T14" fmla="*/ 139 w 139"/>
                    <a:gd name="T15" fmla="*/ 17 h 337"/>
                    <a:gd name="T16" fmla="*/ 139 w 139"/>
                    <a:gd name="T17" fmla="*/ 32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337">
                      <a:moveTo>
                        <a:pt x="139" y="321"/>
                      </a:moveTo>
                      <a:cubicBezTo>
                        <a:pt x="127" y="326"/>
                        <a:pt x="114" y="334"/>
                        <a:pt x="101" y="335"/>
                      </a:cubicBezTo>
                      <a:cubicBezTo>
                        <a:pt x="78" y="337"/>
                        <a:pt x="55" y="336"/>
                        <a:pt x="31" y="336"/>
                      </a:cubicBezTo>
                      <a:cubicBezTo>
                        <a:pt x="8" y="335"/>
                        <a:pt x="0" y="327"/>
                        <a:pt x="0" y="305"/>
                      </a:cubicBezTo>
                      <a:cubicBezTo>
                        <a:pt x="0" y="214"/>
                        <a:pt x="0" y="123"/>
                        <a:pt x="0" y="32"/>
                      </a:cubicBezTo>
                      <a:cubicBezTo>
                        <a:pt x="0" y="7"/>
                        <a:pt x="7" y="1"/>
                        <a:pt x="30" y="0"/>
                      </a:cubicBezTo>
                      <a:cubicBezTo>
                        <a:pt x="56" y="0"/>
                        <a:pt x="81" y="1"/>
                        <a:pt x="106" y="0"/>
                      </a:cubicBezTo>
                      <a:cubicBezTo>
                        <a:pt x="121" y="0"/>
                        <a:pt x="132" y="4"/>
                        <a:pt x="139" y="17"/>
                      </a:cubicBezTo>
                      <a:cubicBezTo>
                        <a:pt x="139" y="118"/>
                        <a:pt x="139" y="219"/>
                        <a:pt x="139"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92" name="Freeform 60"/>
                <p:cNvSpPr>
                  <a:spLocks/>
                </p:cNvSpPr>
                <p:nvPr/>
              </p:nvSpPr>
              <p:spPr bwMode="auto">
                <a:xfrm>
                  <a:off x="11060956" y="1069841"/>
                  <a:ext cx="55779" cy="52568"/>
                </a:xfrm>
                <a:custGeom>
                  <a:avLst/>
                  <a:gdLst>
                    <a:gd name="T0" fmla="*/ 139 w 139"/>
                    <a:gd name="T1" fmla="*/ 111 h 131"/>
                    <a:gd name="T2" fmla="*/ 129 w 139"/>
                    <a:gd name="T3" fmla="*/ 131 h 131"/>
                    <a:gd name="T4" fmla="*/ 0 w 139"/>
                    <a:gd name="T5" fmla="*/ 11 h 131"/>
                    <a:gd name="T6" fmla="*/ 30 w 139"/>
                    <a:gd name="T7" fmla="*/ 9 h 131"/>
                    <a:gd name="T8" fmla="*/ 69 w 139"/>
                    <a:gd name="T9" fmla="*/ 35 h 131"/>
                    <a:gd name="T10" fmla="*/ 139 w 139"/>
                    <a:gd name="T11" fmla="*/ 111 h 131"/>
                  </a:gdLst>
                  <a:ahLst/>
                  <a:cxnLst>
                    <a:cxn ang="0">
                      <a:pos x="T0" y="T1"/>
                    </a:cxn>
                    <a:cxn ang="0">
                      <a:pos x="T2" y="T3"/>
                    </a:cxn>
                    <a:cxn ang="0">
                      <a:pos x="T4" y="T5"/>
                    </a:cxn>
                    <a:cxn ang="0">
                      <a:pos x="T6" y="T7"/>
                    </a:cxn>
                    <a:cxn ang="0">
                      <a:pos x="T8" y="T9"/>
                    </a:cxn>
                    <a:cxn ang="0">
                      <a:pos x="T10" y="T11"/>
                    </a:cxn>
                  </a:cxnLst>
                  <a:rect l="0" t="0" r="r" b="b"/>
                  <a:pathLst>
                    <a:path w="139" h="131">
                      <a:moveTo>
                        <a:pt x="139" y="111"/>
                      </a:moveTo>
                      <a:cubicBezTo>
                        <a:pt x="137" y="115"/>
                        <a:pt x="133" y="123"/>
                        <a:pt x="129" y="131"/>
                      </a:cubicBezTo>
                      <a:cubicBezTo>
                        <a:pt x="86" y="91"/>
                        <a:pt x="43" y="52"/>
                        <a:pt x="0" y="11"/>
                      </a:cubicBezTo>
                      <a:cubicBezTo>
                        <a:pt x="7" y="0"/>
                        <a:pt x="20" y="4"/>
                        <a:pt x="30" y="9"/>
                      </a:cubicBezTo>
                      <a:cubicBezTo>
                        <a:pt x="44" y="16"/>
                        <a:pt x="58" y="24"/>
                        <a:pt x="69" y="35"/>
                      </a:cubicBezTo>
                      <a:cubicBezTo>
                        <a:pt x="93" y="58"/>
                        <a:pt x="114" y="84"/>
                        <a:pt x="139" y="11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93" name="Freeform 61"/>
                <p:cNvSpPr>
                  <a:spLocks/>
                </p:cNvSpPr>
                <p:nvPr/>
              </p:nvSpPr>
              <p:spPr bwMode="auto">
                <a:xfrm>
                  <a:off x="11079718" y="1060206"/>
                  <a:ext cx="56117" cy="42933"/>
                </a:xfrm>
                <a:custGeom>
                  <a:avLst/>
                  <a:gdLst>
                    <a:gd name="T0" fmla="*/ 140 w 140"/>
                    <a:gd name="T1" fmla="*/ 93 h 107"/>
                    <a:gd name="T2" fmla="*/ 118 w 140"/>
                    <a:gd name="T3" fmla="*/ 107 h 107"/>
                    <a:gd name="T4" fmla="*/ 0 w 140"/>
                    <a:gd name="T5" fmla="*/ 0 h 107"/>
                    <a:gd name="T6" fmla="*/ 37 w 140"/>
                    <a:gd name="T7" fmla="*/ 8 h 107"/>
                    <a:gd name="T8" fmla="*/ 140 w 140"/>
                    <a:gd name="T9" fmla="*/ 93 h 107"/>
                  </a:gdLst>
                  <a:ahLst/>
                  <a:cxnLst>
                    <a:cxn ang="0">
                      <a:pos x="T0" y="T1"/>
                    </a:cxn>
                    <a:cxn ang="0">
                      <a:pos x="T2" y="T3"/>
                    </a:cxn>
                    <a:cxn ang="0">
                      <a:pos x="T4" y="T5"/>
                    </a:cxn>
                    <a:cxn ang="0">
                      <a:pos x="T6" y="T7"/>
                    </a:cxn>
                    <a:cxn ang="0">
                      <a:pos x="T8" y="T9"/>
                    </a:cxn>
                  </a:cxnLst>
                  <a:rect l="0" t="0" r="r" b="b"/>
                  <a:pathLst>
                    <a:path w="140" h="107">
                      <a:moveTo>
                        <a:pt x="140" y="93"/>
                      </a:moveTo>
                      <a:cubicBezTo>
                        <a:pt x="129" y="100"/>
                        <a:pt x="124" y="104"/>
                        <a:pt x="118" y="107"/>
                      </a:cubicBezTo>
                      <a:cubicBezTo>
                        <a:pt x="80" y="72"/>
                        <a:pt x="42" y="38"/>
                        <a:pt x="0" y="0"/>
                      </a:cubicBezTo>
                      <a:cubicBezTo>
                        <a:pt x="15" y="3"/>
                        <a:pt x="29" y="2"/>
                        <a:pt x="37" y="8"/>
                      </a:cubicBezTo>
                      <a:cubicBezTo>
                        <a:pt x="72" y="35"/>
                        <a:pt x="104" y="64"/>
                        <a:pt x="140" y="93"/>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94" name="Freeform 63"/>
                <p:cNvSpPr>
                  <a:spLocks/>
                </p:cNvSpPr>
                <p:nvPr/>
              </p:nvSpPr>
              <p:spPr bwMode="auto">
                <a:xfrm>
                  <a:off x="11080901" y="1078292"/>
                  <a:ext cx="243400" cy="147900"/>
                </a:xfrm>
                <a:custGeom>
                  <a:avLst/>
                  <a:gdLst>
                    <a:gd name="T0" fmla="*/ 606 w 607"/>
                    <a:gd name="T1" fmla="*/ 55 h 369"/>
                    <a:gd name="T2" fmla="*/ 593 w 607"/>
                    <a:gd name="T3" fmla="*/ 38 h 369"/>
                    <a:gd name="T4" fmla="*/ 363 w 607"/>
                    <a:gd name="T5" fmla="*/ 59 h 369"/>
                    <a:gd name="T6" fmla="*/ 336 w 607"/>
                    <a:gd name="T7" fmla="*/ 68 h 369"/>
                    <a:gd name="T8" fmla="*/ 214 w 607"/>
                    <a:gd name="T9" fmla="*/ 69 h 369"/>
                    <a:gd name="T10" fmla="*/ 152 w 607"/>
                    <a:gd name="T11" fmla="*/ 143 h 369"/>
                    <a:gd name="T12" fmla="*/ 117 w 607"/>
                    <a:gd name="T13" fmla="*/ 176 h 369"/>
                    <a:gd name="T14" fmla="*/ 131 w 607"/>
                    <a:gd name="T15" fmla="*/ 187 h 369"/>
                    <a:gd name="T16" fmla="*/ 195 w 607"/>
                    <a:gd name="T17" fmla="*/ 206 h 369"/>
                    <a:gd name="T18" fmla="*/ 353 w 607"/>
                    <a:gd name="T19" fmla="*/ 209 h 369"/>
                    <a:gd name="T20" fmla="*/ 413 w 607"/>
                    <a:gd name="T21" fmla="*/ 221 h 369"/>
                    <a:gd name="T22" fmla="*/ 408 w 607"/>
                    <a:gd name="T23" fmla="*/ 229 h 369"/>
                    <a:gd name="T24" fmla="*/ 170 w 607"/>
                    <a:gd name="T25" fmla="*/ 235 h 369"/>
                    <a:gd name="T26" fmla="*/ 94 w 607"/>
                    <a:gd name="T27" fmla="*/ 193 h 369"/>
                    <a:gd name="T28" fmla="*/ 0 w 607"/>
                    <a:gd name="T29" fmla="*/ 248 h 369"/>
                    <a:gd name="T30" fmla="*/ 6 w 607"/>
                    <a:gd name="T31" fmla="*/ 254 h 369"/>
                    <a:gd name="T32" fmla="*/ 74 w 607"/>
                    <a:gd name="T33" fmla="*/ 308 h 369"/>
                    <a:gd name="T34" fmla="*/ 416 w 607"/>
                    <a:gd name="T35" fmla="*/ 313 h 369"/>
                    <a:gd name="T36" fmla="*/ 602 w 607"/>
                    <a:gd name="T37" fmla="*/ 259 h 369"/>
                    <a:gd name="T38" fmla="*/ 607 w 607"/>
                    <a:gd name="T39" fmla="*/ 256 h 369"/>
                    <a:gd name="T40" fmla="*/ 606 w 607"/>
                    <a:gd name="T41" fmla="*/ 5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7" h="369">
                      <a:moveTo>
                        <a:pt x="606" y="55"/>
                      </a:moveTo>
                      <a:cubicBezTo>
                        <a:pt x="606" y="49"/>
                        <a:pt x="599" y="42"/>
                        <a:pt x="593" y="38"/>
                      </a:cubicBezTo>
                      <a:cubicBezTo>
                        <a:pt x="524" y="0"/>
                        <a:pt x="425" y="9"/>
                        <a:pt x="363" y="59"/>
                      </a:cubicBezTo>
                      <a:cubicBezTo>
                        <a:pt x="356" y="64"/>
                        <a:pt x="345" y="68"/>
                        <a:pt x="336" y="68"/>
                      </a:cubicBezTo>
                      <a:cubicBezTo>
                        <a:pt x="296" y="69"/>
                        <a:pt x="255" y="68"/>
                        <a:pt x="214" y="69"/>
                      </a:cubicBezTo>
                      <a:cubicBezTo>
                        <a:pt x="196" y="95"/>
                        <a:pt x="175" y="121"/>
                        <a:pt x="152" y="143"/>
                      </a:cubicBezTo>
                      <a:cubicBezTo>
                        <a:pt x="141" y="155"/>
                        <a:pt x="129" y="165"/>
                        <a:pt x="117" y="176"/>
                      </a:cubicBezTo>
                      <a:cubicBezTo>
                        <a:pt x="121" y="180"/>
                        <a:pt x="126" y="184"/>
                        <a:pt x="131" y="187"/>
                      </a:cubicBezTo>
                      <a:cubicBezTo>
                        <a:pt x="149" y="199"/>
                        <a:pt x="173" y="205"/>
                        <a:pt x="195" y="206"/>
                      </a:cubicBezTo>
                      <a:cubicBezTo>
                        <a:pt x="247" y="209"/>
                        <a:pt x="300" y="206"/>
                        <a:pt x="353" y="209"/>
                      </a:cubicBezTo>
                      <a:cubicBezTo>
                        <a:pt x="373" y="209"/>
                        <a:pt x="393" y="217"/>
                        <a:pt x="413" y="221"/>
                      </a:cubicBezTo>
                      <a:cubicBezTo>
                        <a:pt x="411" y="227"/>
                        <a:pt x="409" y="229"/>
                        <a:pt x="408" y="229"/>
                      </a:cubicBezTo>
                      <a:cubicBezTo>
                        <a:pt x="329" y="243"/>
                        <a:pt x="249" y="239"/>
                        <a:pt x="170" y="235"/>
                      </a:cubicBezTo>
                      <a:cubicBezTo>
                        <a:pt x="138" y="233"/>
                        <a:pt x="112" y="219"/>
                        <a:pt x="94" y="193"/>
                      </a:cubicBezTo>
                      <a:cubicBezTo>
                        <a:pt x="65" y="215"/>
                        <a:pt x="33" y="233"/>
                        <a:pt x="0" y="248"/>
                      </a:cubicBezTo>
                      <a:cubicBezTo>
                        <a:pt x="2" y="250"/>
                        <a:pt x="4" y="252"/>
                        <a:pt x="6" y="254"/>
                      </a:cubicBezTo>
                      <a:cubicBezTo>
                        <a:pt x="25" y="277"/>
                        <a:pt x="45" y="298"/>
                        <a:pt x="74" y="308"/>
                      </a:cubicBezTo>
                      <a:cubicBezTo>
                        <a:pt x="187" y="349"/>
                        <a:pt x="301" y="369"/>
                        <a:pt x="416" y="313"/>
                      </a:cubicBezTo>
                      <a:cubicBezTo>
                        <a:pt x="475" y="284"/>
                        <a:pt x="534" y="256"/>
                        <a:pt x="602" y="259"/>
                      </a:cubicBezTo>
                      <a:cubicBezTo>
                        <a:pt x="603" y="259"/>
                        <a:pt x="604" y="258"/>
                        <a:pt x="607" y="256"/>
                      </a:cubicBezTo>
                      <a:cubicBezTo>
                        <a:pt x="607" y="190"/>
                        <a:pt x="607" y="123"/>
                        <a:pt x="606" y="55"/>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95" name="Freeform 64"/>
                <p:cNvSpPr>
                  <a:spLocks/>
                </p:cNvSpPr>
                <p:nvPr/>
              </p:nvSpPr>
              <p:spPr bwMode="auto">
                <a:xfrm>
                  <a:off x="11336303" y="1071869"/>
                  <a:ext cx="55610" cy="135053"/>
                </a:xfrm>
                <a:custGeom>
                  <a:avLst/>
                  <a:gdLst>
                    <a:gd name="T0" fmla="*/ 139 w 139"/>
                    <a:gd name="T1" fmla="*/ 321 h 337"/>
                    <a:gd name="T2" fmla="*/ 101 w 139"/>
                    <a:gd name="T3" fmla="*/ 335 h 337"/>
                    <a:gd name="T4" fmla="*/ 31 w 139"/>
                    <a:gd name="T5" fmla="*/ 336 h 337"/>
                    <a:gd name="T6" fmla="*/ 0 w 139"/>
                    <a:gd name="T7" fmla="*/ 305 h 337"/>
                    <a:gd name="T8" fmla="*/ 0 w 139"/>
                    <a:gd name="T9" fmla="*/ 32 h 337"/>
                    <a:gd name="T10" fmla="*/ 30 w 139"/>
                    <a:gd name="T11" fmla="*/ 0 h 337"/>
                    <a:gd name="T12" fmla="*/ 106 w 139"/>
                    <a:gd name="T13" fmla="*/ 0 h 337"/>
                    <a:gd name="T14" fmla="*/ 139 w 139"/>
                    <a:gd name="T15" fmla="*/ 17 h 337"/>
                    <a:gd name="T16" fmla="*/ 139 w 139"/>
                    <a:gd name="T17" fmla="*/ 32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337">
                      <a:moveTo>
                        <a:pt x="139" y="321"/>
                      </a:moveTo>
                      <a:cubicBezTo>
                        <a:pt x="127" y="326"/>
                        <a:pt x="114" y="334"/>
                        <a:pt x="101" y="335"/>
                      </a:cubicBezTo>
                      <a:cubicBezTo>
                        <a:pt x="78" y="337"/>
                        <a:pt x="55" y="336"/>
                        <a:pt x="31" y="336"/>
                      </a:cubicBezTo>
                      <a:cubicBezTo>
                        <a:pt x="8" y="335"/>
                        <a:pt x="0" y="327"/>
                        <a:pt x="0" y="305"/>
                      </a:cubicBezTo>
                      <a:cubicBezTo>
                        <a:pt x="0" y="214"/>
                        <a:pt x="0" y="123"/>
                        <a:pt x="0" y="32"/>
                      </a:cubicBezTo>
                      <a:cubicBezTo>
                        <a:pt x="0" y="7"/>
                        <a:pt x="7" y="1"/>
                        <a:pt x="30" y="0"/>
                      </a:cubicBezTo>
                      <a:cubicBezTo>
                        <a:pt x="56" y="0"/>
                        <a:pt x="81" y="1"/>
                        <a:pt x="106" y="0"/>
                      </a:cubicBezTo>
                      <a:cubicBezTo>
                        <a:pt x="121" y="0"/>
                        <a:pt x="132" y="4"/>
                        <a:pt x="139" y="17"/>
                      </a:cubicBezTo>
                      <a:cubicBezTo>
                        <a:pt x="139" y="118"/>
                        <a:pt x="139" y="219"/>
                        <a:pt x="139" y="32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grpSp>
          <p:grpSp>
            <p:nvGrpSpPr>
              <p:cNvPr id="287" name="Group 4"/>
              <p:cNvGrpSpPr>
                <a:grpSpLocks noChangeAspect="1"/>
              </p:cNvGrpSpPr>
              <p:nvPr/>
            </p:nvGrpSpPr>
            <p:grpSpPr bwMode="auto">
              <a:xfrm flipH="1">
                <a:off x="923925" y="3822525"/>
                <a:ext cx="177927" cy="182880"/>
                <a:chOff x="3355" y="1671"/>
                <a:chExt cx="970" cy="997"/>
              </a:xfrm>
              <a:grpFill/>
            </p:grpSpPr>
            <p:sp>
              <p:nvSpPr>
                <p:cNvPr id="288" name="Freeform 5"/>
                <p:cNvSpPr>
                  <a:spLocks noEditPoints="1"/>
                </p:cNvSpPr>
                <p:nvPr/>
              </p:nvSpPr>
              <p:spPr bwMode="auto">
                <a:xfrm>
                  <a:off x="3355" y="1919"/>
                  <a:ext cx="732" cy="749"/>
                </a:xfrm>
                <a:custGeom>
                  <a:avLst/>
                  <a:gdLst>
                    <a:gd name="T0" fmla="*/ 61 w 308"/>
                    <a:gd name="T1" fmla="*/ 277 h 315"/>
                    <a:gd name="T2" fmla="*/ 32 w 308"/>
                    <a:gd name="T3" fmla="*/ 245 h 315"/>
                    <a:gd name="T4" fmla="*/ 45 w 308"/>
                    <a:gd name="T5" fmla="*/ 191 h 315"/>
                    <a:gd name="T6" fmla="*/ 0 w 308"/>
                    <a:gd name="T7" fmla="*/ 157 h 315"/>
                    <a:gd name="T8" fmla="*/ 5 w 308"/>
                    <a:gd name="T9" fmla="*/ 115 h 315"/>
                    <a:gd name="T10" fmla="*/ 56 w 308"/>
                    <a:gd name="T11" fmla="*/ 91 h 315"/>
                    <a:gd name="T12" fmla="*/ 54 w 308"/>
                    <a:gd name="T13" fmla="*/ 35 h 315"/>
                    <a:gd name="T14" fmla="*/ 90 w 308"/>
                    <a:gd name="T15" fmla="*/ 12 h 315"/>
                    <a:gd name="T16" fmla="*/ 140 w 308"/>
                    <a:gd name="T17" fmla="*/ 37 h 315"/>
                    <a:gd name="T18" fmla="*/ 183 w 308"/>
                    <a:gd name="T19" fmla="*/ 0 h 315"/>
                    <a:gd name="T20" fmla="*/ 225 w 308"/>
                    <a:gd name="T21" fmla="*/ 15 h 315"/>
                    <a:gd name="T22" fmla="*/ 236 w 308"/>
                    <a:gd name="T23" fmla="*/ 70 h 315"/>
                    <a:gd name="T24" fmla="*/ 290 w 308"/>
                    <a:gd name="T25" fmla="*/ 81 h 315"/>
                    <a:gd name="T26" fmla="*/ 298 w 308"/>
                    <a:gd name="T27" fmla="*/ 100 h 315"/>
                    <a:gd name="T28" fmla="*/ 285 w 308"/>
                    <a:gd name="T29" fmla="*/ 135 h 315"/>
                    <a:gd name="T30" fmla="*/ 272 w 308"/>
                    <a:gd name="T31" fmla="*/ 155 h 315"/>
                    <a:gd name="T32" fmla="*/ 272 w 308"/>
                    <a:gd name="T33" fmla="*/ 159 h 315"/>
                    <a:gd name="T34" fmla="*/ 296 w 308"/>
                    <a:gd name="T35" fmla="*/ 215 h 315"/>
                    <a:gd name="T36" fmla="*/ 274 w 308"/>
                    <a:gd name="T37" fmla="*/ 250 h 315"/>
                    <a:gd name="T38" fmla="*/ 270 w 308"/>
                    <a:gd name="T39" fmla="*/ 251 h 315"/>
                    <a:gd name="T40" fmla="*/ 202 w 308"/>
                    <a:gd name="T41" fmla="*/ 262 h 315"/>
                    <a:gd name="T42" fmla="*/ 193 w 308"/>
                    <a:gd name="T43" fmla="*/ 291 h 315"/>
                    <a:gd name="T44" fmla="*/ 175 w 308"/>
                    <a:gd name="T45" fmla="*/ 305 h 315"/>
                    <a:gd name="T46" fmla="*/ 147 w 308"/>
                    <a:gd name="T47" fmla="*/ 296 h 315"/>
                    <a:gd name="T48" fmla="*/ 115 w 308"/>
                    <a:gd name="T49" fmla="*/ 263 h 315"/>
                    <a:gd name="T50" fmla="*/ 69 w 308"/>
                    <a:gd name="T51" fmla="*/ 271 h 315"/>
                    <a:gd name="T52" fmla="*/ 61 w 308"/>
                    <a:gd name="T53" fmla="*/ 277 h 315"/>
                    <a:gd name="T54" fmla="*/ 155 w 308"/>
                    <a:gd name="T55" fmla="*/ 194 h 315"/>
                    <a:gd name="T56" fmla="*/ 196 w 308"/>
                    <a:gd name="T57" fmla="*/ 150 h 315"/>
                    <a:gd name="T58" fmla="*/ 153 w 308"/>
                    <a:gd name="T59" fmla="*/ 109 h 315"/>
                    <a:gd name="T60" fmla="*/ 112 w 308"/>
                    <a:gd name="T61" fmla="*/ 151 h 315"/>
                    <a:gd name="T62" fmla="*/ 155 w 308"/>
                    <a:gd name="T63" fmla="*/ 19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15">
                      <a:moveTo>
                        <a:pt x="61" y="277"/>
                      </a:moveTo>
                      <a:cubicBezTo>
                        <a:pt x="52" y="266"/>
                        <a:pt x="42" y="256"/>
                        <a:pt x="32" y="245"/>
                      </a:cubicBezTo>
                      <a:cubicBezTo>
                        <a:pt x="44" y="229"/>
                        <a:pt x="53" y="216"/>
                        <a:pt x="45" y="191"/>
                      </a:cubicBezTo>
                      <a:cubicBezTo>
                        <a:pt x="36" y="166"/>
                        <a:pt x="20" y="163"/>
                        <a:pt x="0" y="157"/>
                      </a:cubicBezTo>
                      <a:cubicBezTo>
                        <a:pt x="2" y="143"/>
                        <a:pt x="3" y="130"/>
                        <a:pt x="5" y="115"/>
                      </a:cubicBezTo>
                      <a:cubicBezTo>
                        <a:pt x="24" y="113"/>
                        <a:pt x="42" y="114"/>
                        <a:pt x="56" y="91"/>
                      </a:cubicBezTo>
                      <a:cubicBezTo>
                        <a:pt x="69" y="69"/>
                        <a:pt x="65" y="54"/>
                        <a:pt x="54" y="35"/>
                      </a:cubicBezTo>
                      <a:cubicBezTo>
                        <a:pt x="67" y="27"/>
                        <a:pt x="78" y="20"/>
                        <a:pt x="90" y="12"/>
                      </a:cubicBezTo>
                      <a:cubicBezTo>
                        <a:pt x="105" y="24"/>
                        <a:pt x="113" y="43"/>
                        <a:pt x="140" y="37"/>
                      </a:cubicBezTo>
                      <a:cubicBezTo>
                        <a:pt x="164" y="32"/>
                        <a:pt x="177" y="24"/>
                        <a:pt x="183" y="0"/>
                      </a:cubicBezTo>
                      <a:cubicBezTo>
                        <a:pt x="198" y="6"/>
                        <a:pt x="211" y="10"/>
                        <a:pt x="225" y="15"/>
                      </a:cubicBezTo>
                      <a:cubicBezTo>
                        <a:pt x="221" y="35"/>
                        <a:pt x="217" y="52"/>
                        <a:pt x="236" y="70"/>
                      </a:cubicBezTo>
                      <a:cubicBezTo>
                        <a:pt x="255" y="88"/>
                        <a:pt x="270" y="87"/>
                        <a:pt x="290" y="81"/>
                      </a:cubicBezTo>
                      <a:cubicBezTo>
                        <a:pt x="293" y="88"/>
                        <a:pt x="295" y="94"/>
                        <a:pt x="298" y="100"/>
                      </a:cubicBezTo>
                      <a:cubicBezTo>
                        <a:pt x="308" y="117"/>
                        <a:pt x="304" y="127"/>
                        <a:pt x="285" y="135"/>
                      </a:cubicBezTo>
                      <a:cubicBezTo>
                        <a:pt x="279" y="137"/>
                        <a:pt x="276" y="148"/>
                        <a:pt x="272" y="155"/>
                      </a:cubicBezTo>
                      <a:cubicBezTo>
                        <a:pt x="272" y="156"/>
                        <a:pt x="272" y="158"/>
                        <a:pt x="272" y="159"/>
                      </a:cubicBezTo>
                      <a:cubicBezTo>
                        <a:pt x="263" y="184"/>
                        <a:pt x="271" y="203"/>
                        <a:pt x="296" y="215"/>
                      </a:cubicBezTo>
                      <a:cubicBezTo>
                        <a:pt x="288" y="228"/>
                        <a:pt x="281" y="240"/>
                        <a:pt x="274" y="250"/>
                      </a:cubicBezTo>
                      <a:cubicBezTo>
                        <a:pt x="271" y="251"/>
                        <a:pt x="271" y="251"/>
                        <a:pt x="270" y="251"/>
                      </a:cubicBezTo>
                      <a:cubicBezTo>
                        <a:pt x="244" y="230"/>
                        <a:pt x="222" y="246"/>
                        <a:pt x="202" y="262"/>
                      </a:cubicBezTo>
                      <a:cubicBezTo>
                        <a:pt x="196" y="268"/>
                        <a:pt x="194" y="281"/>
                        <a:pt x="193" y="291"/>
                      </a:cubicBezTo>
                      <a:cubicBezTo>
                        <a:pt x="193" y="305"/>
                        <a:pt x="184" y="306"/>
                        <a:pt x="175" y="305"/>
                      </a:cubicBezTo>
                      <a:cubicBezTo>
                        <a:pt x="165" y="304"/>
                        <a:pt x="150" y="315"/>
                        <a:pt x="147" y="296"/>
                      </a:cubicBezTo>
                      <a:cubicBezTo>
                        <a:pt x="145" y="275"/>
                        <a:pt x="131" y="271"/>
                        <a:pt x="115" y="263"/>
                      </a:cubicBezTo>
                      <a:cubicBezTo>
                        <a:pt x="95" y="254"/>
                        <a:pt x="82" y="259"/>
                        <a:pt x="69" y="271"/>
                      </a:cubicBezTo>
                      <a:cubicBezTo>
                        <a:pt x="67" y="273"/>
                        <a:pt x="64" y="274"/>
                        <a:pt x="61" y="277"/>
                      </a:cubicBezTo>
                      <a:close/>
                      <a:moveTo>
                        <a:pt x="155" y="194"/>
                      </a:moveTo>
                      <a:cubicBezTo>
                        <a:pt x="179" y="193"/>
                        <a:pt x="197" y="174"/>
                        <a:pt x="196" y="150"/>
                      </a:cubicBezTo>
                      <a:cubicBezTo>
                        <a:pt x="195" y="127"/>
                        <a:pt x="177" y="109"/>
                        <a:pt x="153" y="109"/>
                      </a:cubicBezTo>
                      <a:cubicBezTo>
                        <a:pt x="130" y="109"/>
                        <a:pt x="112" y="128"/>
                        <a:pt x="112" y="151"/>
                      </a:cubicBezTo>
                      <a:cubicBezTo>
                        <a:pt x="112" y="175"/>
                        <a:pt x="131" y="194"/>
                        <a:pt x="155"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9" name="Freeform 6"/>
                <p:cNvSpPr>
                  <a:spLocks noEditPoints="1"/>
                </p:cNvSpPr>
                <p:nvPr/>
              </p:nvSpPr>
              <p:spPr bwMode="auto">
                <a:xfrm>
                  <a:off x="3885" y="1671"/>
                  <a:ext cx="440" cy="443"/>
                </a:xfrm>
                <a:custGeom>
                  <a:avLst/>
                  <a:gdLst>
                    <a:gd name="T0" fmla="*/ 117 w 185"/>
                    <a:gd name="T1" fmla="*/ 186 h 186"/>
                    <a:gd name="T2" fmla="*/ 37 w 185"/>
                    <a:gd name="T3" fmla="*/ 173 h 186"/>
                    <a:gd name="T4" fmla="*/ 14 w 185"/>
                    <a:gd name="T5" fmla="*/ 147 h 186"/>
                    <a:gd name="T6" fmla="*/ 0 w 185"/>
                    <a:gd name="T7" fmla="*/ 67 h 186"/>
                    <a:gd name="T8" fmla="*/ 15 w 185"/>
                    <a:gd name="T9" fmla="*/ 36 h 186"/>
                    <a:gd name="T10" fmla="*/ 60 w 185"/>
                    <a:gd name="T11" fmla="*/ 36 h 186"/>
                    <a:gd name="T12" fmla="*/ 86 w 185"/>
                    <a:gd name="T13" fmla="*/ 0 h 186"/>
                    <a:gd name="T14" fmla="*/ 121 w 185"/>
                    <a:gd name="T15" fmla="*/ 5 h 186"/>
                    <a:gd name="T16" fmla="*/ 179 w 185"/>
                    <a:gd name="T17" fmla="*/ 64 h 186"/>
                    <a:gd name="T18" fmla="*/ 185 w 185"/>
                    <a:gd name="T19" fmla="*/ 95 h 186"/>
                    <a:gd name="T20" fmla="*/ 148 w 185"/>
                    <a:gd name="T21" fmla="*/ 170 h 186"/>
                    <a:gd name="T22" fmla="*/ 117 w 185"/>
                    <a:gd name="T23" fmla="*/ 186 h 186"/>
                    <a:gd name="T24" fmla="*/ 120 w 185"/>
                    <a:gd name="T25" fmla="*/ 95 h 186"/>
                    <a:gd name="T26" fmla="*/ 91 w 185"/>
                    <a:gd name="T27" fmla="*/ 65 h 186"/>
                    <a:gd name="T28" fmla="*/ 61 w 185"/>
                    <a:gd name="T29" fmla="*/ 95 h 186"/>
                    <a:gd name="T30" fmla="*/ 90 w 185"/>
                    <a:gd name="T31" fmla="*/ 125 h 186"/>
                    <a:gd name="T32" fmla="*/ 120 w 185"/>
                    <a:gd name="T33" fmla="*/ 9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5" h="186">
                      <a:moveTo>
                        <a:pt x="117" y="186"/>
                      </a:moveTo>
                      <a:cubicBezTo>
                        <a:pt x="93" y="155"/>
                        <a:pt x="67" y="151"/>
                        <a:pt x="37" y="173"/>
                      </a:cubicBezTo>
                      <a:cubicBezTo>
                        <a:pt x="30" y="165"/>
                        <a:pt x="22" y="156"/>
                        <a:pt x="14" y="147"/>
                      </a:cubicBezTo>
                      <a:cubicBezTo>
                        <a:pt x="32" y="115"/>
                        <a:pt x="29" y="94"/>
                        <a:pt x="0" y="67"/>
                      </a:cubicBezTo>
                      <a:cubicBezTo>
                        <a:pt x="5" y="57"/>
                        <a:pt x="10" y="47"/>
                        <a:pt x="15" y="36"/>
                      </a:cubicBezTo>
                      <a:cubicBezTo>
                        <a:pt x="31" y="42"/>
                        <a:pt x="44" y="46"/>
                        <a:pt x="60" y="36"/>
                      </a:cubicBezTo>
                      <a:cubicBezTo>
                        <a:pt x="75" y="27"/>
                        <a:pt x="84" y="19"/>
                        <a:pt x="86" y="0"/>
                      </a:cubicBezTo>
                      <a:cubicBezTo>
                        <a:pt x="99" y="2"/>
                        <a:pt x="110" y="4"/>
                        <a:pt x="121" y="5"/>
                      </a:cubicBezTo>
                      <a:cubicBezTo>
                        <a:pt x="123" y="43"/>
                        <a:pt x="140" y="60"/>
                        <a:pt x="179" y="64"/>
                      </a:cubicBezTo>
                      <a:cubicBezTo>
                        <a:pt x="181" y="74"/>
                        <a:pt x="183" y="85"/>
                        <a:pt x="185" y="95"/>
                      </a:cubicBezTo>
                      <a:cubicBezTo>
                        <a:pt x="147" y="115"/>
                        <a:pt x="138" y="134"/>
                        <a:pt x="148" y="170"/>
                      </a:cubicBezTo>
                      <a:cubicBezTo>
                        <a:pt x="138" y="175"/>
                        <a:pt x="127" y="181"/>
                        <a:pt x="117" y="186"/>
                      </a:cubicBezTo>
                      <a:close/>
                      <a:moveTo>
                        <a:pt x="120" y="95"/>
                      </a:moveTo>
                      <a:cubicBezTo>
                        <a:pt x="121" y="80"/>
                        <a:pt x="107" y="66"/>
                        <a:pt x="91" y="65"/>
                      </a:cubicBezTo>
                      <a:cubicBezTo>
                        <a:pt x="74" y="65"/>
                        <a:pt x="61" y="78"/>
                        <a:pt x="61" y="95"/>
                      </a:cubicBezTo>
                      <a:cubicBezTo>
                        <a:pt x="61" y="111"/>
                        <a:pt x="75" y="125"/>
                        <a:pt x="90" y="125"/>
                      </a:cubicBezTo>
                      <a:cubicBezTo>
                        <a:pt x="105" y="125"/>
                        <a:pt x="120" y="110"/>
                        <a:pt x="12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grpSp>
        </p:grpSp>
        <p:grpSp>
          <p:nvGrpSpPr>
            <p:cNvPr id="218" name="Group 217"/>
            <p:cNvGrpSpPr>
              <a:grpSpLocks noChangeAspect="1"/>
            </p:cNvGrpSpPr>
            <p:nvPr/>
          </p:nvGrpSpPr>
          <p:grpSpPr bwMode="auto">
            <a:xfrm>
              <a:off x="9177939" y="1658688"/>
              <a:ext cx="283464" cy="299988"/>
              <a:chOff x="1859" y="1082"/>
              <a:chExt cx="1990" cy="2106"/>
            </a:xfrm>
            <a:solidFill>
              <a:sysClr val="window" lastClr="FFFFFF"/>
            </a:solidFill>
          </p:grpSpPr>
          <p:sp>
            <p:nvSpPr>
              <p:cNvPr id="277" name="Freeform 276"/>
              <p:cNvSpPr>
                <a:spLocks/>
              </p:cNvSpPr>
              <p:nvPr/>
            </p:nvSpPr>
            <p:spPr bwMode="auto">
              <a:xfrm>
                <a:off x="2269" y="2277"/>
                <a:ext cx="1210" cy="833"/>
              </a:xfrm>
              <a:custGeom>
                <a:avLst/>
                <a:gdLst>
                  <a:gd name="T0" fmla="*/ 276 w 510"/>
                  <a:gd name="T1" fmla="*/ 135 h 351"/>
                  <a:gd name="T2" fmla="*/ 328 w 510"/>
                  <a:gd name="T3" fmla="*/ 135 h 351"/>
                  <a:gd name="T4" fmla="*/ 335 w 510"/>
                  <a:gd name="T5" fmla="*/ 190 h 351"/>
                  <a:gd name="T6" fmla="*/ 343 w 510"/>
                  <a:gd name="T7" fmla="*/ 203 h 351"/>
                  <a:gd name="T8" fmla="*/ 353 w 510"/>
                  <a:gd name="T9" fmla="*/ 191 h 351"/>
                  <a:gd name="T10" fmla="*/ 407 w 510"/>
                  <a:gd name="T11" fmla="*/ 17 h 351"/>
                  <a:gd name="T12" fmla="*/ 409 w 510"/>
                  <a:gd name="T13" fmla="*/ 11 h 351"/>
                  <a:gd name="T14" fmla="*/ 497 w 510"/>
                  <a:gd name="T15" fmla="*/ 27 h 351"/>
                  <a:gd name="T16" fmla="*/ 510 w 510"/>
                  <a:gd name="T17" fmla="*/ 44 h 351"/>
                  <a:gd name="T18" fmla="*/ 496 w 510"/>
                  <a:gd name="T19" fmla="*/ 56 h 351"/>
                  <a:gd name="T20" fmla="*/ 425 w 510"/>
                  <a:gd name="T21" fmla="*/ 185 h 351"/>
                  <a:gd name="T22" fmla="*/ 454 w 510"/>
                  <a:gd name="T23" fmla="*/ 238 h 351"/>
                  <a:gd name="T24" fmla="*/ 403 w 510"/>
                  <a:gd name="T25" fmla="*/ 245 h 351"/>
                  <a:gd name="T26" fmla="*/ 430 w 510"/>
                  <a:gd name="T27" fmla="*/ 334 h 351"/>
                  <a:gd name="T28" fmla="*/ 0 w 510"/>
                  <a:gd name="T29" fmla="*/ 297 h 351"/>
                  <a:gd name="T30" fmla="*/ 12 w 510"/>
                  <a:gd name="T31" fmla="*/ 190 h 351"/>
                  <a:gd name="T32" fmla="*/ 26 w 510"/>
                  <a:gd name="T33" fmla="*/ 79 h 351"/>
                  <a:gd name="T34" fmla="*/ 36 w 510"/>
                  <a:gd name="T35" fmla="*/ 57 h 351"/>
                  <a:gd name="T36" fmla="*/ 177 w 510"/>
                  <a:gd name="T37" fmla="*/ 7 h 351"/>
                  <a:gd name="T38" fmla="*/ 199 w 510"/>
                  <a:gd name="T39" fmla="*/ 23 h 351"/>
                  <a:gd name="T40" fmla="*/ 249 w 510"/>
                  <a:gd name="T41" fmla="*/ 188 h 351"/>
                  <a:gd name="T42" fmla="*/ 261 w 510"/>
                  <a:gd name="T43" fmla="*/ 203 h 351"/>
                  <a:gd name="T44" fmla="*/ 269 w 510"/>
                  <a:gd name="T45" fmla="*/ 186 h 351"/>
                  <a:gd name="T46" fmla="*/ 276 w 510"/>
                  <a:gd name="T47" fmla="*/ 135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0" h="351">
                    <a:moveTo>
                      <a:pt x="276" y="135"/>
                    </a:moveTo>
                    <a:cubicBezTo>
                      <a:pt x="294" y="135"/>
                      <a:pt x="310" y="135"/>
                      <a:pt x="328" y="135"/>
                    </a:cubicBezTo>
                    <a:cubicBezTo>
                      <a:pt x="330" y="153"/>
                      <a:pt x="332" y="172"/>
                      <a:pt x="335" y="190"/>
                    </a:cubicBezTo>
                    <a:cubicBezTo>
                      <a:pt x="336" y="195"/>
                      <a:pt x="340" y="199"/>
                      <a:pt x="343" y="203"/>
                    </a:cubicBezTo>
                    <a:cubicBezTo>
                      <a:pt x="346" y="199"/>
                      <a:pt x="352" y="196"/>
                      <a:pt x="353" y="191"/>
                    </a:cubicBezTo>
                    <a:cubicBezTo>
                      <a:pt x="371" y="133"/>
                      <a:pt x="389" y="75"/>
                      <a:pt x="407" y="17"/>
                    </a:cubicBezTo>
                    <a:cubicBezTo>
                      <a:pt x="407" y="15"/>
                      <a:pt x="408" y="12"/>
                      <a:pt x="409" y="11"/>
                    </a:cubicBezTo>
                    <a:cubicBezTo>
                      <a:pt x="442" y="0"/>
                      <a:pt x="470" y="14"/>
                      <a:pt x="497" y="27"/>
                    </a:cubicBezTo>
                    <a:cubicBezTo>
                      <a:pt x="503" y="29"/>
                      <a:pt x="509" y="37"/>
                      <a:pt x="510" y="44"/>
                    </a:cubicBezTo>
                    <a:cubicBezTo>
                      <a:pt x="510" y="47"/>
                      <a:pt x="502" y="54"/>
                      <a:pt x="496" y="56"/>
                    </a:cubicBezTo>
                    <a:cubicBezTo>
                      <a:pt x="438" y="76"/>
                      <a:pt x="408" y="128"/>
                      <a:pt x="425" y="185"/>
                    </a:cubicBezTo>
                    <a:cubicBezTo>
                      <a:pt x="431" y="203"/>
                      <a:pt x="444" y="220"/>
                      <a:pt x="454" y="238"/>
                    </a:cubicBezTo>
                    <a:cubicBezTo>
                      <a:pt x="440" y="240"/>
                      <a:pt x="424" y="242"/>
                      <a:pt x="403" y="245"/>
                    </a:cubicBezTo>
                    <a:cubicBezTo>
                      <a:pt x="412" y="275"/>
                      <a:pt x="420" y="303"/>
                      <a:pt x="430" y="334"/>
                    </a:cubicBezTo>
                    <a:cubicBezTo>
                      <a:pt x="286" y="351"/>
                      <a:pt x="143" y="340"/>
                      <a:pt x="0" y="297"/>
                    </a:cubicBezTo>
                    <a:cubicBezTo>
                      <a:pt x="4" y="261"/>
                      <a:pt x="8" y="226"/>
                      <a:pt x="12" y="190"/>
                    </a:cubicBezTo>
                    <a:cubicBezTo>
                      <a:pt x="17" y="153"/>
                      <a:pt x="21" y="116"/>
                      <a:pt x="26" y="79"/>
                    </a:cubicBezTo>
                    <a:cubicBezTo>
                      <a:pt x="27" y="71"/>
                      <a:pt x="30" y="60"/>
                      <a:pt x="36" y="57"/>
                    </a:cubicBezTo>
                    <a:cubicBezTo>
                      <a:pt x="80" y="34"/>
                      <a:pt x="125" y="10"/>
                      <a:pt x="177" y="7"/>
                    </a:cubicBezTo>
                    <a:cubicBezTo>
                      <a:pt x="190" y="6"/>
                      <a:pt x="196" y="11"/>
                      <a:pt x="199" y="23"/>
                    </a:cubicBezTo>
                    <a:cubicBezTo>
                      <a:pt x="215" y="78"/>
                      <a:pt x="232" y="133"/>
                      <a:pt x="249" y="188"/>
                    </a:cubicBezTo>
                    <a:cubicBezTo>
                      <a:pt x="251" y="193"/>
                      <a:pt x="257" y="198"/>
                      <a:pt x="261" y="203"/>
                    </a:cubicBezTo>
                    <a:cubicBezTo>
                      <a:pt x="264" y="197"/>
                      <a:pt x="268" y="192"/>
                      <a:pt x="269" y="186"/>
                    </a:cubicBezTo>
                    <a:cubicBezTo>
                      <a:pt x="272" y="169"/>
                      <a:pt x="274" y="153"/>
                      <a:pt x="276"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78" name="Freeform 277"/>
              <p:cNvSpPr>
                <a:spLocks/>
              </p:cNvSpPr>
              <p:nvPr/>
            </p:nvSpPr>
            <p:spPr bwMode="auto">
              <a:xfrm>
                <a:off x="2620" y="1243"/>
                <a:ext cx="743" cy="1006"/>
              </a:xfrm>
              <a:custGeom>
                <a:avLst/>
                <a:gdLst>
                  <a:gd name="T0" fmla="*/ 301 w 313"/>
                  <a:gd name="T1" fmla="*/ 165 h 424"/>
                  <a:gd name="T2" fmla="*/ 306 w 313"/>
                  <a:gd name="T3" fmla="*/ 194 h 424"/>
                  <a:gd name="T4" fmla="*/ 299 w 313"/>
                  <a:gd name="T5" fmla="*/ 285 h 424"/>
                  <a:gd name="T6" fmla="*/ 282 w 313"/>
                  <a:gd name="T7" fmla="*/ 331 h 424"/>
                  <a:gd name="T8" fmla="*/ 154 w 313"/>
                  <a:gd name="T9" fmla="*/ 423 h 424"/>
                  <a:gd name="T10" fmla="*/ 26 w 313"/>
                  <a:gd name="T11" fmla="*/ 331 h 424"/>
                  <a:gd name="T12" fmla="*/ 1 w 313"/>
                  <a:gd name="T13" fmla="*/ 248 h 424"/>
                  <a:gd name="T14" fmla="*/ 12 w 313"/>
                  <a:gd name="T15" fmla="*/ 112 h 424"/>
                  <a:gd name="T16" fmla="*/ 166 w 313"/>
                  <a:gd name="T17" fmla="*/ 6 h 424"/>
                  <a:gd name="T18" fmla="*/ 301 w 313"/>
                  <a:gd name="T19" fmla="*/ 133 h 424"/>
                  <a:gd name="T20" fmla="*/ 303 w 313"/>
                  <a:gd name="T21" fmla="*/ 165 h 424"/>
                  <a:gd name="T22" fmla="*/ 301 w 313"/>
                  <a:gd name="T23" fmla="*/ 16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424">
                    <a:moveTo>
                      <a:pt x="301" y="165"/>
                    </a:moveTo>
                    <a:cubicBezTo>
                      <a:pt x="302" y="175"/>
                      <a:pt x="304" y="185"/>
                      <a:pt x="306" y="194"/>
                    </a:cubicBezTo>
                    <a:cubicBezTo>
                      <a:pt x="313" y="225"/>
                      <a:pt x="309" y="255"/>
                      <a:pt x="299" y="285"/>
                    </a:cubicBezTo>
                    <a:cubicBezTo>
                      <a:pt x="293" y="300"/>
                      <a:pt x="287" y="315"/>
                      <a:pt x="282" y="331"/>
                    </a:cubicBezTo>
                    <a:cubicBezTo>
                      <a:pt x="263" y="389"/>
                      <a:pt x="215" y="424"/>
                      <a:pt x="154" y="423"/>
                    </a:cubicBezTo>
                    <a:cubicBezTo>
                      <a:pt x="92" y="423"/>
                      <a:pt x="45" y="389"/>
                      <a:pt x="26" y="331"/>
                    </a:cubicBezTo>
                    <a:cubicBezTo>
                      <a:pt x="17" y="304"/>
                      <a:pt x="2" y="276"/>
                      <a:pt x="1" y="248"/>
                    </a:cubicBezTo>
                    <a:cubicBezTo>
                      <a:pt x="0" y="203"/>
                      <a:pt x="3" y="156"/>
                      <a:pt x="12" y="112"/>
                    </a:cubicBezTo>
                    <a:cubicBezTo>
                      <a:pt x="28" y="42"/>
                      <a:pt x="93" y="0"/>
                      <a:pt x="166" y="6"/>
                    </a:cubicBezTo>
                    <a:cubicBezTo>
                      <a:pt x="237" y="11"/>
                      <a:pt x="292" y="62"/>
                      <a:pt x="301" y="133"/>
                    </a:cubicBezTo>
                    <a:cubicBezTo>
                      <a:pt x="302" y="144"/>
                      <a:pt x="302" y="154"/>
                      <a:pt x="303" y="165"/>
                    </a:cubicBezTo>
                    <a:cubicBezTo>
                      <a:pt x="302" y="165"/>
                      <a:pt x="301" y="165"/>
                      <a:pt x="30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79" name="Freeform 278"/>
              <p:cNvSpPr>
                <a:spLocks noEditPoints="1"/>
              </p:cNvSpPr>
              <p:nvPr/>
            </p:nvSpPr>
            <p:spPr bwMode="auto">
              <a:xfrm>
                <a:off x="3313" y="2422"/>
                <a:ext cx="536" cy="766"/>
              </a:xfrm>
              <a:custGeom>
                <a:avLst/>
                <a:gdLst>
                  <a:gd name="T0" fmla="*/ 101 w 226"/>
                  <a:gd name="T1" fmla="*/ 0 h 323"/>
                  <a:gd name="T2" fmla="*/ 122 w 226"/>
                  <a:gd name="T3" fmla="*/ 0 h 323"/>
                  <a:gd name="T4" fmla="*/ 120 w 226"/>
                  <a:gd name="T5" fmla="*/ 5 h 323"/>
                  <a:gd name="T6" fmla="*/ 148 w 226"/>
                  <a:gd name="T7" fmla="*/ 19 h 323"/>
                  <a:gd name="T8" fmla="*/ 216 w 226"/>
                  <a:gd name="T9" fmla="*/ 82 h 323"/>
                  <a:gd name="T10" fmla="*/ 152 w 226"/>
                  <a:gd name="T11" fmla="*/ 92 h 323"/>
                  <a:gd name="T12" fmla="*/ 132 w 226"/>
                  <a:gd name="T13" fmla="*/ 68 h 323"/>
                  <a:gd name="T14" fmla="*/ 127 w 226"/>
                  <a:gd name="T15" fmla="*/ 69 h 323"/>
                  <a:gd name="T16" fmla="*/ 127 w 226"/>
                  <a:gd name="T17" fmla="*/ 111 h 323"/>
                  <a:gd name="T18" fmla="*/ 138 w 226"/>
                  <a:gd name="T19" fmla="*/ 120 h 323"/>
                  <a:gd name="T20" fmla="*/ 170 w 226"/>
                  <a:gd name="T21" fmla="*/ 131 h 323"/>
                  <a:gd name="T22" fmla="*/ 224 w 226"/>
                  <a:gd name="T23" fmla="*/ 208 h 323"/>
                  <a:gd name="T24" fmla="*/ 160 w 226"/>
                  <a:gd name="T25" fmla="*/ 284 h 323"/>
                  <a:gd name="T26" fmla="*/ 128 w 226"/>
                  <a:gd name="T27" fmla="*/ 291 h 323"/>
                  <a:gd name="T28" fmla="*/ 125 w 226"/>
                  <a:gd name="T29" fmla="*/ 323 h 323"/>
                  <a:gd name="T30" fmla="*/ 101 w 226"/>
                  <a:gd name="T31" fmla="*/ 323 h 323"/>
                  <a:gd name="T32" fmla="*/ 99 w 226"/>
                  <a:gd name="T33" fmla="*/ 290 h 323"/>
                  <a:gd name="T34" fmla="*/ 0 w 226"/>
                  <a:gd name="T35" fmla="*/ 209 h 323"/>
                  <a:gd name="T36" fmla="*/ 68 w 226"/>
                  <a:gd name="T37" fmla="*/ 200 h 323"/>
                  <a:gd name="T38" fmla="*/ 93 w 226"/>
                  <a:gd name="T39" fmla="*/ 239 h 323"/>
                  <a:gd name="T40" fmla="*/ 99 w 226"/>
                  <a:gd name="T41" fmla="*/ 236 h 323"/>
                  <a:gd name="T42" fmla="*/ 99 w 226"/>
                  <a:gd name="T43" fmla="*/ 177 h 323"/>
                  <a:gd name="T44" fmla="*/ 64 w 226"/>
                  <a:gd name="T45" fmla="*/ 166 h 323"/>
                  <a:gd name="T46" fmla="*/ 10 w 226"/>
                  <a:gd name="T47" fmla="*/ 89 h 323"/>
                  <a:gd name="T48" fmla="*/ 76 w 226"/>
                  <a:gd name="T49" fmla="*/ 20 h 323"/>
                  <a:gd name="T50" fmla="*/ 101 w 226"/>
                  <a:gd name="T51" fmla="*/ 0 h 323"/>
                  <a:gd name="T52" fmla="*/ 128 w 226"/>
                  <a:gd name="T53" fmla="*/ 241 h 323"/>
                  <a:gd name="T54" fmla="*/ 155 w 226"/>
                  <a:gd name="T55" fmla="*/ 213 h 323"/>
                  <a:gd name="T56" fmla="*/ 128 w 226"/>
                  <a:gd name="T57" fmla="*/ 187 h 323"/>
                  <a:gd name="T58" fmla="*/ 128 w 226"/>
                  <a:gd name="T59" fmla="*/ 241 h 323"/>
                  <a:gd name="T60" fmla="*/ 99 w 226"/>
                  <a:gd name="T61" fmla="*/ 67 h 323"/>
                  <a:gd name="T62" fmla="*/ 92 w 226"/>
                  <a:gd name="T63" fmla="*/ 64 h 323"/>
                  <a:gd name="T64" fmla="*/ 81 w 226"/>
                  <a:gd name="T65" fmla="*/ 89 h 323"/>
                  <a:gd name="T66" fmla="*/ 95 w 226"/>
                  <a:gd name="T67" fmla="*/ 109 h 323"/>
                  <a:gd name="T68" fmla="*/ 99 w 226"/>
                  <a:gd name="T69" fmla="*/ 106 h 323"/>
                  <a:gd name="T70" fmla="*/ 99 w 226"/>
                  <a:gd name="T71" fmla="*/ 6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323">
                    <a:moveTo>
                      <a:pt x="101" y="0"/>
                    </a:moveTo>
                    <a:cubicBezTo>
                      <a:pt x="109" y="0"/>
                      <a:pt x="115" y="0"/>
                      <a:pt x="122" y="0"/>
                    </a:cubicBezTo>
                    <a:cubicBezTo>
                      <a:pt x="121" y="2"/>
                      <a:pt x="121" y="3"/>
                      <a:pt x="120" y="5"/>
                    </a:cubicBezTo>
                    <a:cubicBezTo>
                      <a:pt x="129" y="10"/>
                      <a:pt x="138" y="17"/>
                      <a:pt x="148" y="19"/>
                    </a:cubicBezTo>
                    <a:cubicBezTo>
                      <a:pt x="182" y="27"/>
                      <a:pt x="206" y="44"/>
                      <a:pt x="216" y="82"/>
                    </a:cubicBezTo>
                    <a:cubicBezTo>
                      <a:pt x="194" y="85"/>
                      <a:pt x="173" y="89"/>
                      <a:pt x="152" y="92"/>
                    </a:cubicBezTo>
                    <a:cubicBezTo>
                      <a:pt x="145" y="84"/>
                      <a:pt x="138" y="76"/>
                      <a:pt x="132" y="68"/>
                    </a:cubicBezTo>
                    <a:cubicBezTo>
                      <a:pt x="130" y="68"/>
                      <a:pt x="128" y="68"/>
                      <a:pt x="127" y="69"/>
                    </a:cubicBezTo>
                    <a:cubicBezTo>
                      <a:pt x="127" y="83"/>
                      <a:pt x="126" y="97"/>
                      <a:pt x="127" y="111"/>
                    </a:cubicBezTo>
                    <a:cubicBezTo>
                      <a:pt x="127" y="114"/>
                      <a:pt x="134" y="118"/>
                      <a:pt x="138" y="120"/>
                    </a:cubicBezTo>
                    <a:cubicBezTo>
                      <a:pt x="148" y="124"/>
                      <a:pt x="159" y="127"/>
                      <a:pt x="170" y="131"/>
                    </a:cubicBezTo>
                    <a:cubicBezTo>
                      <a:pt x="208" y="147"/>
                      <a:pt x="226" y="173"/>
                      <a:pt x="224" y="208"/>
                    </a:cubicBezTo>
                    <a:cubicBezTo>
                      <a:pt x="222" y="243"/>
                      <a:pt x="196" y="274"/>
                      <a:pt x="160" y="284"/>
                    </a:cubicBezTo>
                    <a:cubicBezTo>
                      <a:pt x="150" y="287"/>
                      <a:pt x="140" y="288"/>
                      <a:pt x="128" y="291"/>
                    </a:cubicBezTo>
                    <a:cubicBezTo>
                      <a:pt x="127" y="301"/>
                      <a:pt x="126" y="311"/>
                      <a:pt x="125" y="323"/>
                    </a:cubicBezTo>
                    <a:cubicBezTo>
                      <a:pt x="117" y="323"/>
                      <a:pt x="110" y="323"/>
                      <a:pt x="101" y="323"/>
                    </a:cubicBezTo>
                    <a:cubicBezTo>
                      <a:pt x="100" y="313"/>
                      <a:pt x="100" y="303"/>
                      <a:pt x="99" y="290"/>
                    </a:cubicBezTo>
                    <a:cubicBezTo>
                      <a:pt x="49" y="285"/>
                      <a:pt x="10" y="266"/>
                      <a:pt x="0" y="209"/>
                    </a:cubicBezTo>
                    <a:cubicBezTo>
                      <a:pt x="24" y="206"/>
                      <a:pt x="47" y="203"/>
                      <a:pt x="68" y="200"/>
                    </a:cubicBezTo>
                    <a:cubicBezTo>
                      <a:pt x="77" y="214"/>
                      <a:pt x="85" y="227"/>
                      <a:pt x="93" y="239"/>
                    </a:cubicBezTo>
                    <a:cubicBezTo>
                      <a:pt x="95" y="238"/>
                      <a:pt x="97" y="237"/>
                      <a:pt x="99" y="236"/>
                    </a:cubicBezTo>
                    <a:cubicBezTo>
                      <a:pt x="99" y="217"/>
                      <a:pt x="99" y="197"/>
                      <a:pt x="99" y="177"/>
                    </a:cubicBezTo>
                    <a:cubicBezTo>
                      <a:pt x="87" y="173"/>
                      <a:pt x="76" y="170"/>
                      <a:pt x="64" y="166"/>
                    </a:cubicBezTo>
                    <a:cubicBezTo>
                      <a:pt x="26" y="152"/>
                      <a:pt x="7" y="126"/>
                      <a:pt x="10" y="89"/>
                    </a:cubicBezTo>
                    <a:cubicBezTo>
                      <a:pt x="13" y="53"/>
                      <a:pt x="37" y="27"/>
                      <a:pt x="76" y="20"/>
                    </a:cubicBezTo>
                    <a:cubicBezTo>
                      <a:pt x="88" y="17"/>
                      <a:pt x="103" y="20"/>
                      <a:pt x="101" y="0"/>
                    </a:cubicBezTo>
                    <a:close/>
                    <a:moveTo>
                      <a:pt x="128" y="241"/>
                    </a:moveTo>
                    <a:cubicBezTo>
                      <a:pt x="144" y="237"/>
                      <a:pt x="155" y="229"/>
                      <a:pt x="155" y="213"/>
                    </a:cubicBezTo>
                    <a:cubicBezTo>
                      <a:pt x="155" y="197"/>
                      <a:pt x="144" y="189"/>
                      <a:pt x="128" y="187"/>
                    </a:cubicBezTo>
                    <a:cubicBezTo>
                      <a:pt x="128" y="205"/>
                      <a:pt x="128" y="222"/>
                      <a:pt x="128" y="241"/>
                    </a:cubicBezTo>
                    <a:close/>
                    <a:moveTo>
                      <a:pt x="99" y="67"/>
                    </a:moveTo>
                    <a:cubicBezTo>
                      <a:pt x="97" y="66"/>
                      <a:pt x="94" y="65"/>
                      <a:pt x="92" y="64"/>
                    </a:cubicBezTo>
                    <a:cubicBezTo>
                      <a:pt x="88" y="72"/>
                      <a:pt x="81" y="81"/>
                      <a:pt x="81" y="89"/>
                    </a:cubicBezTo>
                    <a:cubicBezTo>
                      <a:pt x="81" y="96"/>
                      <a:pt x="90" y="103"/>
                      <a:pt x="95" y="109"/>
                    </a:cubicBezTo>
                    <a:cubicBezTo>
                      <a:pt x="96" y="108"/>
                      <a:pt x="98" y="107"/>
                      <a:pt x="99" y="106"/>
                    </a:cubicBezTo>
                    <a:cubicBezTo>
                      <a:pt x="99" y="93"/>
                      <a:pt x="99" y="80"/>
                      <a:pt x="9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0" name="Freeform 279"/>
              <p:cNvSpPr>
                <a:spLocks/>
              </p:cNvSpPr>
              <p:nvPr/>
            </p:nvSpPr>
            <p:spPr bwMode="auto">
              <a:xfrm>
                <a:off x="1859" y="1082"/>
                <a:ext cx="908" cy="1179"/>
              </a:xfrm>
              <a:custGeom>
                <a:avLst/>
                <a:gdLst>
                  <a:gd name="T0" fmla="*/ 383 w 383"/>
                  <a:gd name="T1" fmla="*/ 65 h 497"/>
                  <a:gd name="T2" fmla="*/ 356 w 383"/>
                  <a:gd name="T3" fmla="*/ 84 h 497"/>
                  <a:gd name="T4" fmla="*/ 110 w 383"/>
                  <a:gd name="T5" fmla="*/ 116 h 497"/>
                  <a:gd name="T6" fmla="*/ 86 w 383"/>
                  <a:gd name="T7" fmla="*/ 342 h 497"/>
                  <a:gd name="T8" fmla="*/ 321 w 383"/>
                  <a:gd name="T9" fmla="*/ 424 h 497"/>
                  <a:gd name="T10" fmla="*/ 336 w 383"/>
                  <a:gd name="T11" fmla="*/ 451 h 497"/>
                  <a:gd name="T12" fmla="*/ 73 w 383"/>
                  <a:gd name="T13" fmla="*/ 383 h 497"/>
                  <a:gd name="T14" fmla="*/ 100 w 383"/>
                  <a:gd name="T15" fmla="*/ 77 h 497"/>
                  <a:gd name="T16" fmla="*/ 383 w 383"/>
                  <a:gd name="T17" fmla="*/ 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497">
                    <a:moveTo>
                      <a:pt x="383" y="65"/>
                    </a:moveTo>
                    <a:cubicBezTo>
                      <a:pt x="373" y="71"/>
                      <a:pt x="364" y="78"/>
                      <a:pt x="356" y="84"/>
                    </a:cubicBezTo>
                    <a:cubicBezTo>
                      <a:pt x="251" y="24"/>
                      <a:pt x="158" y="64"/>
                      <a:pt x="110" y="116"/>
                    </a:cubicBezTo>
                    <a:cubicBezTo>
                      <a:pt x="54" y="177"/>
                      <a:pt x="44" y="270"/>
                      <a:pt x="86" y="342"/>
                    </a:cubicBezTo>
                    <a:cubicBezTo>
                      <a:pt x="133" y="421"/>
                      <a:pt x="215" y="450"/>
                      <a:pt x="321" y="424"/>
                    </a:cubicBezTo>
                    <a:cubicBezTo>
                      <a:pt x="326" y="432"/>
                      <a:pt x="331" y="441"/>
                      <a:pt x="336" y="451"/>
                    </a:cubicBezTo>
                    <a:cubicBezTo>
                      <a:pt x="265" y="497"/>
                      <a:pt x="136" y="463"/>
                      <a:pt x="73" y="383"/>
                    </a:cubicBezTo>
                    <a:cubicBezTo>
                      <a:pt x="0" y="290"/>
                      <a:pt x="12" y="157"/>
                      <a:pt x="100" y="77"/>
                    </a:cubicBezTo>
                    <a:cubicBezTo>
                      <a:pt x="179" y="6"/>
                      <a:pt x="313" y="0"/>
                      <a:pt x="38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1" name="Freeform 280"/>
              <p:cNvSpPr>
                <a:spLocks/>
              </p:cNvSpPr>
              <p:nvPr/>
            </p:nvSpPr>
            <p:spPr bwMode="auto">
              <a:xfrm>
                <a:off x="2839" y="2306"/>
                <a:ext cx="289" cy="209"/>
              </a:xfrm>
              <a:custGeom>
                <a:avLst/>
                <a:gdLst>
                  <a:gd name="T0" fmla="*/ 122 w 122"/>
                  <a:gd name="T1" fmla="*/ 61 h 88"/>
                  <a:gd name="T2" fmla="*/ 101 w 122"/>
                  <a:gd name="T3" fmla="*/ 75 h 88"/>
                  <a:gd name="T4" fmla="*/ 0 w 122"/>
                  <a:gd name="T5" fmla="*/ 60 h 88"/>
                  <a:gd name="T6" fmla="*/ 61 w 122"/>
                  <a:gd name="T7" fmla="*/ 0 h 88"/>
                  <a:gd name="T8" fmla="*/ 122 w 122"/>
                  <a:gd name="T9" fmla="*/ 61 h 88"/>
                </a:gdLst>
                <a:ahLst/>
                <a:cxnLst>
                  <a:cxn ang="0">
                    <a:pos x="T0" y="T1"/>
                  </a:cxn>
                  <a:cxn ang="0">
                    <a:pos x="T2" y="T3"/>
                  </a:cxn>
                  <a:cxn ang="0">
                    <a:pos x="T4" y="T5"/>
                  </a:cxn>
                  <a:cxn ang="0">
                    <a:pos x="T6" y="T7"/>
                  </a:cxn>
                  <a:cxn ang="0">
                    <a:pos x="T8" y="T9"/>
                  </a:cxn>
                </a:cxnLst>
                <a:rect l="0" t="0" r="r" b="b"/>
                <a:pathLst>
                  <a:path w="122" h="88">
                    <a:moveTo>
                      <a:pt x="122" y="61"/>
                    </a:moveTo>
                    <a:cubicBezTo>
                      <a:pt x="116" y="66"/>
                      <a:pt x="107" y="76"/>
                      <a:pt x="101" y="75"/>
                    </a:cubicBezTo>
                    <a:cubicBezTo>
                      <a:pt x="69" y="64"/>
                      <a:pt x="31" y="88"/>
                      <a:pt x="0" y="60"/>
                    </a:cubicBezTo>
                    <a:cubicBezTo>
                      <a:pt x="22" y="39"/>
                      <a:pt x="42" y="19"/>
                      <a:pt x="61" y="0"/>
                    </a:cubicBezTo>
                    <a:cubicBezTo>
                      <a:pt x="80" y="20"/>
                      <a:pt x="101" y="40"/>
                      <a:pt x="122"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2" name="Freeform 281"/>
              <p:cNvSpPr>
                <a:spLocks/>
              </p:cNvSpPr>
              <p:nvPr/>
            </p:nvSpPr>
            <p:spPr bwMode="auto">
              <a:xfrm>
                <a:off x="2376" y="1367"/>
                <a:ext cx="121" cy="208"/>
              </a:xfrm>
              <a:custGeom>
                <a:avLst/>
                <a:gdLst>
                  <a:gd name="T0" fmla="*/ 44 w 51"/>
                  <a:gd name="T1" fmla="*/ 0 h 88"/>
                  <a:gd name="T2" fmla="*/ 51 w 51"/>
                  <a:gd name="T3" fmla="*/ 84 h 88"/>
                  <a:gd name="T4" fmla="*/ 8 w 51"/>
                  <a:gd name="T5" fmla="*/ 88 h 88"/>
                  <a:gd name="T6" fmla="*/ 0 w 51"/>
                  <a:gd name="T7" fmla="*/ 6 h 88"/>
                  <a:gd name="T8" fmla="*/ 44 w 51"/>
                  <a:gd name="T9" fmla="*/ 0 h 88"/>
                </a:gdLst>
                <a:ahLst/>
                <a:cxnLst>
                  <a:cxn ang="0">
                    <a:pos x="T0" y="T1"/>
                  </a:cxn>
                  <a:cxn ang="0">
                    <a:pos x="T2" y="T3"/>
                  </a:cxn>
                  <a:cxn ang="0">
                    <a:pos x="T4" y="T5"/>
                  </a:cxn>
                  <a:cxn ang="0">
                    <a:pos x="T6" y="T7"/>
                  </a:cxn>
                  <a:cxn ang="0">
                    <a:pos x="T8" y="T9"/>
                  </a:cxn>
                </a:cxnLst>
                <a:rect l="0" t="0" r="r" b="b"/>
                <a:pathLst>
                  <a:path w="51" h="88">
                    <a:moveTo>
                      <a:pt x="44" y="0"/>
                    </a:moveTo>
                    <a:cubicBezTo>
                      <a:pt x="46" y="30"/>
                      <a:pt x="49" y="57"/>
                      <a:pt x="51" y="84"/>
                    </a:cubicBezTo>
                    <a:cubicBezTo>
                      <a:pt x="37" y="86"/>
                      <a:pt x="23" y="87"/>
                      <a:pt x="8" y="88"/>
                    </a:cubicBezTo>
                    <a:cubicBezTo>
                      <a:pt x="5" y="62"/>
                      <a:pt x="3" y="35"/>
                      <a:pt x="0" y="6"/>
                    </a:cubicBezTo>
                    <a:cubicBezTo>
                      <a:pt x="14" y="4"/>
                      <a:pt x="28" y="2"/>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3" name="Freeform 282"/>
              <p:cNvSpPr>
                <a:spLocks/>
              </p:cNvSpPr>
              <p:nvPr/>
            </p:nvSpPr>
            <p:spPr bwMode="auto">
              <a:xfrm>
                <a:off x="2149" y="1713"/>
                <a:ext cx="256" cy="254"/>
              </a:xfrm>
              <a:custGeom>
                <a:avLst/>
                <a:gdLst>
                  <a:gd name="T0" fmla="*/ 108 w 108"/>
                  <a:gd name="T1" fmla="*/ 14 h 107"/>
                  <a:gd name="T2" fmla="*/ 14 w 108"/>
                  <a:gd name="T3" fmla="*/ 107 h 107"/>
                  <a:gd name="T4" fmla="*/ 0 w 108"/>
                  <a:gd name="T5" fmla="*/ 93 h 107"/>
                  <a:gd name="T6" fmla="*/ 93 w 108"/>
                  <a:gd name="T7" fmla="*/ 0 h 107"/>
                  <a:gd name="T8" fmla="*/ 108 w 108"/>
                  <a:gd name="T9" fmla="*/ 14 h 107"/>
                </a:gdLst>
                <a:ahLst/>
                <a:cxnLst>
                  <a:cxn ang="0">
                    <a:pos x="T0" y="T1"/>
                  </a:cxn>
                  <a:cxn ang="0">
                    <a:pos x="T2" y="T3"/>
                  </a:cxn>
                  <a:cxn ang="0">
                    <a:pos x="T4" y="T5"/>
                  </a:cxn>
                  <a:cxn ang="0">
                    <a:pos x="T6" y="T7"/>
                  </a:cxn>
                  <a:cxn ang="0">
                    <a:pos x="T8" y="T9"/>
                  </a:cxn>
                </a:cxnLst>
                <a:rect l="0" t="0" r="r" b="b"/>
                <a:pathLst>
                  <a:path w="108" h="107">
                    <a:moveTo>
                      <a:pt x="108" y="14"/>
                    </a:moveTo>
                    <a:cubicBezTo>
                      <a:pt x="76" y="46"/>
                      <a:pt x="46" y="76"/>
                      <a:pt x="14" y="107"/>
                    </a:cubicBezTo>
                    <a:cubicBezTo>
                      <a:pt x="10" y="103"/>
                      <a:pt x="5" y="97"/>
                      <a:pt x="0" y="93"/>
                    </a:cubicBezTo>
                    <a:cubicBezTo>
                      <a:pt x="32" y="61"/>
                      <a:pt x="62" y="31"/>
                      <a:pt x="93" y="0"/>
                    </a:cubicBezTo>
                    <a:cubicBezTo>
                      <a:pt x="97" y="4"/>
                      <a:pt x="103" y="10"/>
                      <a:pt x="10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4" name="Freeform 283"/>
              <p:cNvSpPr>
                <a:spLocks/>
              </p:cNvSpPr>
              <p:nvPr/>
            </p:nvSpPr>
            <p:spPr bwMode="auto">
              <a:xfrm>
                <a:off x="2400" y="1609"/>
                <a:ext cx="114" cy="109"/>
              </a:xfrm>
              <a:custGeom>
                <a:avLst/>
                <a:gdLst>
                  <a:gd name="T0" fmla="*/ 48 w 48"/>
                  <a:gd name="T1" fmla="*/ 27 h 46"/>
                  <a:gd name="T2" fmla="*/ 23 w 48"/>
                  <a:gd name="T3" fmla="*/ 44 h 46"/>
                  <a:gd name="T4" fmla="*/ 1 w 48"/>
                  <a:gd name="T5" fmla="*/ 24 h 46"/>
                  <a:gd name="T6" fmla="*/ 23 w 48"/>
                  <a:gd name="T7" fmla="*/ 2 h 46"/>
                  <a:gd name="T8" fmla="*/ 48 w 48"/>
                  <a:gd name="T9" fmla="*/ 18 h 46"/>
                  <a:gd name="T10" fmla="*/ 48 w 48"/>
                  <a:gd name="T11" fmla="*/ 27 h 46"/>
                </a:gdLst>
                <a:ahLst/>
                <a:cxnLst>
                  <a:cxn ang="0">
                    <a:pos x="T0" y="T1"/>
                  </a:cxn>
                  <a:cxn ang="0">
                    <a:pos x="T2" y="T3"/>
                  </a:cxn>
                  <a:cxn ang="0">
                    <a:pos x="T4" y="T5"/>
                  </a:cxn>
                  <a:cxn ang="0">
                    <a:pos x="T6" y="T7"/>
                  </a:cxn>
                  <a:cxn ang="0">
                    <a:pos x="T8" y="T9"/>
                  </a:cxn>
                  <a:cxn ang="0">
                    <a:pos x="T10" y="T11"/>
                  </a:cxn>
                </a:cxnLst>
                <a:rect l="0" t="0" r="r" b="b"/>
                <a:pathLst>
                  <a:path w="48" h="46">
                    <a:moveTo>
                      <a:pt x="48" y="27"/>
                    </a:moveTo>
                    <a:cubicBezTo>
                      <a:pt x="40" y="33"/>
                      <a:pt x="32" y="42"/>
                      <a:pt x="23" y="44"/>
                    </a:cubicBezTo>
                    <a:cubicBezTo>
                      <a:pt x="11" y="46"/>
                      <a:pt x="2" y="37"/>
                      <a:pt x="1" y="24"/>
                    </a:cubicBezTo>
                    <a:cubicBezTo>
                      <a:pt x="0" y="10"/>
                      <a:pt x="9" y="0"/>
                      <a:pt x="23" y="2"/>
                    </a:cubicBezTo>
                    <a:cubicBezTo>
                      <a:pt x="32" y="3"/>
                      <a:pt x="39" y="12"/>
                      <a:pt x="48" y="18"/>
                    </a:cubicBezTo>
                    <a:cubicBezTo>
                      <a:pt x="48" y="21"/>
                      <a:pt x="48" y="24"/>
                      <a:pt x="4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sp>
            <p:nvSpPr>
              <p:cNvPr id="285" name="Freeform 284"/>
              <p:cNvSpPr>
                <a:spLocks/>
              </p:cNvSpPr>
              <p:nvPr/>
            </p:nvSpPr>
            <p:spPr bwMode="auto">
              <a:xfrm>
                <a:off x="2898" y="2512"/>
                <a:ext cx="173" cy="48"/>
              </a:xfrm>
              <a:custGeom>
                <a:avLst/>
                <a:gdLst>
                  <a:gd name="T0" fmla="*/ 37 w 73"/>
                  <a:gd name="T1" fmla="*/ 1 h 20"/>
                  <a:gd name="T2" fmla="*/ 63 w 73"/>
                  <a:gd name="T3" fmla="*/ 2 h 20"/>
                  <a:gd name="T4" fmla="*/ 73 w 73"/>
                  <a:gd name="T5" fmla="*/ 11 h 20"/>
                  <a:gd name="T6" fmla="*/ 64 w 73"/>
                  <a:gd name="T7" fmla="*/ 19 h 20"/>
                  <a:gd name="T8" fmla="*/ 10 w 73"/>
                  <a:gd name="T9" fmla="*/ 19 h 20"/>
                  <a:gd name="T10" fmla="*/ 0 w 73"/>
                  <a:gd name="T11" fmla="*/ 10 h 20"/>
                  <a:gd name="T12" fmla="*/ 12 w 73"/>
                  <a:gd name="T13" fmla="*/ 2 h 20"/>
                  <a:gd name="T14" fmla="*/ 37 w 73"/>
                  <a:gd name="T15" fmla="*/ 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0">
                    <a:moveTo>
                      <a:pt x="37" y="1"/>
                    </a:moveTo>
                    <a:cubicBezTo>
                      <a:pt x="46" y="1"/>
                      <a:pt x="55" y="0"/>
                      <a:pt x="63" y="2"/>
                    </a:cubicBezTo>
                    <a:cubicBezTo>
                      <a:pt x="67" y="2"/>
                      <a:pt x="70" y="8"/>
                      <a:pt x="73" y="11"/>
                    </a:cubicBezTo>
                    <a:cubicBezTo>
                      <a:pt x="70" y="14"/>
                      <a:pt x="67" y="19"/>
                      <a:pt x="64" y="19"/>
                    </a:cubicBezTo>
                    <a:cubicBezTo>
                      <a:pt x="46" y="20"/>
                      <a:pt x="28" y="20"/>
                      <a:pt x="10" y="19"/>
                    </a:cubicBezTo>
                    <a:cubicBezTo>
                      <a:pt x="7" y="19"/>
                      <a:pt x="4" y="13"/>
                      <a:pt x="0" y="10"/>
                    </a:cubicBezTo>
                    <a:cubicBezTo>
                      <a:pt x="4" y="7"/>
                      <a:pt x="8" y="2"/>
                      <a:pt x="12" y="2"/>
                    </a:cubicBezTo>
                    <a:cubicBezTo>
                      <a:pt x="20" y="0"/>
                      <a:pt x="29" y="1"/>
                      <a:pt x="3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marL="0" marR="0" lvl="0" indent="0" algn="l" defTabSz="1219139" rtl="0" eaLnBrk="1" fontAlgn="auto" latinLnBrk="0" hangingPunct="1">
                  <a:lnSpc>
                    <a:spcPct val="100000"/>
                  </a:lnSpc>
                  <a:spcBef>
                    <a:spcPts val="0"/>
                  </a:spcBef>
                  <a:spcAft>
                    <a:spcPts val="0"/>
                  </a:spcAft>
                  <a:buClrTx/>
                  <a:buSzTx/>
                  <a:buFontTx/>
                  <a:buNone/>
                  <a:tabLst/>
                  <a:defRPr/>
                </a:pPr>
                <a:endParaRPr kumimoji="0" lang="en-IN" sz="2133" b="0" i="0" u="none" strike="noStrike" kern="0" cap="none" spc="0" normalizeH="0" baseline="0" noProof="0">
                  <a:ln>
                    <a:noFill/>
                  </a:ln>
                  <a:solidFill>
                    <a:srgbClr val="50B3CF"/>
                  </a:solidFill>
                  <a:effectLst/>
                  <a:uLnTx/>
                  <a:uFillTx/>
                  <a:latin typeface="Calibri" panose="020F0502020204030204" pitchFamily="34" charset="0"/>
                  <a:ea typeface="+mn-ea"/>
                  <a:cs typeface="+mn-cs"/>
                </a:endParaRPr>
              </a:p>
            </p:txBody>
          </p:sp>
        </p:grpSp>
        <p:grpSp>
          <p:nvGrpSpPr>
            <p:cNvPr id="219" name="Group 218"/>
            <p:cNvGrpSpPr/>
            <p:nvPr/>
          </p:nvGrpSpPr>
          <p:grpSpPr>
            <a:xfrm>
              <a:off x="296529" y="1059570"/>
              <a:ext cx="5301737" cy="4624177"/>
              <a:chOff x="265667" y="888736"/>
              <a:chExt cx="5301737" cy="4624177"/>
            </a:xfrm>
          </p:grpSpPr>
          <p:grpSp>
            <p:nvGrpSpPr>
              <p:cNvPr id="221" name="Group 220"/>
              <p:cNvGrpSpPr/>
              <p:nvPr/>
            </p:nvGrpSpPr>
            <p:grpSpPr>
              <a:xfrm>
                <a:off x="1792091" y="888736"/>
                <a:ext cx="3709425" cy="4174905"/>
                <a:chOff x="1792091" y="967747"/>
                <a:chExt cx="3709425" cy="4742389"/>
              </a:xfrm>
            </p:grpSpPr>
            <p:grpSp>
              <p:nvGrpSpPr>
                <p:cNvPr id="271" name="Group 270"/>
                <p:cNvGrpSpPr/>
                <p:nvPr/>
              </p:nvGrpSpPr>
              <p:grpSpPr>
                <a:xfrm>
                  <a:off x="1822920" y="967747"/>
                  <a:ext cx="3678596" cy="4742389"/>
                  <a:chOff x="1834848" y="838575"/>
                  <a:chExt cx="3678596" cy="4742389"/>
                </a:xfrm>
              </p:grpSpPr>
              <p:sp>
                <p:nvSpPr>
                  <p:cNvPr id="273" name="Rectangle 272"/>
                  <p:cNvSpPr/>
                  <p:nvPr/>
                </p:nvSpPr>
                <p:spPr>
                  <a:xfrm flipH="1">
                    <a:off x="4233284" y="838575"/>
                    <a:ext cx="1280160" cy="4742389"/>
                  </a:xfrm>
                  <a:prstGeom prst="rect">
                    <a:avLst/>
                  </a:prstGeom>
                  <a:gradFill flip="none" rotWithShape="1">
                    <a:gsLst>
                      <a:gs pos="0">
                        <a:srgbClr val="EDF9FC"/>
                      </a:gs>
                      <a:gs pos="100000">
                        <a:sysClr val="window" lastClr="FFFFFF"/>
                      </a:gs>
                    </a:gsLst>
                    <a:lin ang="10800000" scaled="0"/>
                    <a:tileRect/>
                  </a:gradFill>
                  <a:ln w="63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4546A"/>
                      </a:solidFill>
                      <a:effectLst/>
                      <a:uLnTx/>
                      <a:uFillTx/>
                      <a:latin typeface="Calibri" panose="020F0502020204030204" pitchFamily="34" charset="0"/>
                      <a:ea typeface="+mn-ea"/>
                      <a:cs typeface="+mn-cs"/>
                    </a:endParaRPr>
                  </a:p>
                </p:txBody>
              </p:sp>
              <p:grpSp>
                <p:nvGrpSpPr>
                  <p:cNvPr id="274" name="Group 273"/>
                  <p:cNvGrpSpPr/>
                  <p:nvPr/>
                </p:nvGrpSpPr>
                <p:grpSpPr>
                  <a:xfrm>
                    <a:off x="1834848" y="838576"/>
                    <a:ext cx="2405091" cy="4742388"/>
                    <a:chOff x="1859900" y="713316"/>
                    <a:chExt cx="2405091" cy="4742388"/>
                  </a:xfrm>
                </p:grpSpPr>
                <p:sp>
                  <p:nvSpPr>
                    <p:cNvPr id="275" name="Trapezoid 274"/>
                    <p:cNvSpPr/>
                    <p:nvPr/>
                  </p:nvSpPr>
                  <p:spPr>
                    <a:xfrm rot="16200000">
                      <a:off x="691252" y="1881964"/>
                      <a:ext cx="4742388" cy="2405091"/>
                    </a:xfrm>
                    <a:prstGeom prst="trapezoid">
                      <a:avLst>
                        <a:gd name="adj" fmla="val 121956"/>
                      </a:avLst>
                    </a:prstGeom>
                    <a:gradFill flip="none" rotWithShape="1">
                      <a:gsLst>
                        <a:gs pos="100000">
                          <a:srgbClr val="EDF9FC"/>
                        </a:gs>
                        <a:gs pos="0">
                          <a:srgbClr val="BAE9F4"/>
                        </a:gs>
                      </a:gsLst>
                      <a:lin ang="5400000" scaled="1"/>
                      <a:tileRect/>
                    </a:gradFill>
                    <a:ln w="63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276" name="Moon 275"/>
                    <p:cNvSpPr/>
                    <p:nvPr/>
                  </p:nvSpPr>
                  <p:spPr>
                    <a:xfrm>
                      <a:off x="2348236" y="2161742"/>
                      <a:ext cx="655148" cy="1857820"/>
                    </a:xfrm>
                    <a:prstGeom prst="moon">
                      <a:avLst>
                        <a:gd name="adj" fmla="val 36886"/>
                      </a:avLst>
                    </a:prstGeom>
                    <a:solidFill>
                      <a:srgbClr val="D8F2F9"/>
                    </a:solidFill>
                    <a:ln w="63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4546A"/>
                        </a:solidFill>
                        <a:effectLst/>
                        <a:uLnTx/>
                        <a:uFillTx/>
                        <a:latin typeface="Calibri" panose="020F0502020204030204" pitchFamily="34" charset="0"/>
                        <a:ea typeface="+mn-ea"/>
                        <a:cs typeface="+mn-cs"/>
                      </a:endParaRPr>
                    </a:p>
                  </p:txBody>
                </p:sp>
              </p:grpSp>
            </p:grpSp>
            <p:sp>
              <p:nvSpPr>
                <p:cNvPr id="272" name="Freeform 271"/>
                <p:cNvSpPr/>
                <p:nvPr/>
              </p:nvSpPr>
              <p:spPr>
                <a:xfrm>
                  <a:off x="1792091" y="2581097"/>
                  <a:ext cx="751772" cy="1384949"/>
                </a:xfrm>
                <a:custGeom>
                  <a:avLst/>
                  <a:gdLst>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00700 w 751772"/>
                    <a:gd name="connsiteY31" fmla="*/ 1014517 h 1384949"/>
                    <a:gd name="connsiteX32" fmla="*/ 594026 w 751772"/>
                    <a:gd name="connsiteY32" fmla="*/ 1061238 h 1384949"/>
                    <a:gd name="connsiteX33" fmla="*/ 584014 w 751772"/>
                    <a:gd name="connsiteY33" fmla="*/ 1107959 h 1384949"/>
                    <a:gd name="connsiteX34" fmla="*/ 577340 w 751772"/>
                    <a:gd name="connsiteY34" fmla="*/ 1154680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00700 w 751772"/>
                    <a:gd name="connsiteY31" fmla="*/ 1014517 h 1384949"/>
                    <a:gd name="connsiteX32" fmla="*/ 594026 w 751772"/>
                    <a:gd name="connsiteY32" fmla="*/ 1061238 h 1384949"/>
                    <a:gd name="connsiteX33" fmla="*/ 584014 w 751772"/>
                    <a:gd name="connsiteY33" fmla="*/ 1107959 h 1384949"/>
                    <a:gd name="connsiteX34" fmla="*/ 594027 w 751772"/>
                    <a:gd name="connsiteY34" fmla="*/ 1164691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00700 w 751772"/>
                    <a:gd name="connsiteY31" fmla="*/ 1014517 h 1384949"/>
                    <a:gd name="connsiteX32" fmla="*/ 594026 w 751772"/>
                    <a:gd name="connsiteY32" fmla="*/ 1061238 h 1384949"/>
                    <a:gd name="connsiteX33" fmla="*/ 610712 w 751772"/>
                    <a:gd name="connsiteY33" fmla="*/ 1107959 h 1384949"/>
                    <a:gd name="connsiteX34" fmla="*/ 594027 w 751772"/>
                    <a:gd name="connsiteY34" fmla="*/ 1164691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00700 w 751772"/>
                    <a:gd name="connsiteY31" fmla="*/ 1014517 h 1384949"/>
                    <a:gd name="connsiteX32" fmla="*/ 610712 w 751772"/>
                    <a:gd name="connsiteY32" fmla="*/ 1061238 h 1384949"/>
                    <a:gd name="connsiteX33" fmla="*/ 610712 w 751772"/>
                    <a:gd name="connsiteY33" fmla="*/ 1107959 h 1384949"/>
                    <a:gd name="connsiteX34" fmla="*/ 594027 w 751772"/>
                    <a:gd name="connsiteY34" fmla="*/ 1164691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00700 w 751772"/>
                    <a:gd name="connsiteY31" fmla="*/ 1014517 h 1384949"/>
                    <a:gd name="connsiteX32" fmla="*/ 610712 w 751772"/>
                    <a:gd name="connsiteY32" fmla="*/ 1061238 h 1384949"/>
                    <a:gd name="connsiteX33" fmla="*/ 610712 w 751772"/>
                    <a:gd name="connsiteY33" fmla="*/ 1107959 h 1384949"/>
                    <a:gd name="connsiteX34" fmla="*/ 597364 w 751772"/>
                    <a:gd name="connsiteY34" fmla="*/ 1178040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10712 w 751772"/>
                    <a:gd name="connsiteY31" fmla="*/ 1014517 h 1384949"/>
                    <a:gd name="connsiteX32" fmla="*/ 610712 w 751772"/>
                    <a:gd name="connsiteY32" fmla="*/ 1061238 h 1384949"/>
                    <a:gd name="connsiteX33" fmla="*/ 610712 w 751772"/>
                    <a:gd name="connsiteY33" fmla="*/ 1107959 h 1384949"/>
                    <a:gd name="connsiteX34" fmla="*/ 597364 w 751772"/>
                    <a:gd name="connsiteY34" fmla="*/ 1178040 h 1384949"/>
                    <a:gd name="connsiteX35" fmla="*/ 580677 w 751772"/>
                    <a:gd name="connsiteY35" fmla="*/ 1288169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 name="connsiteX0" fmla="*/ 747538 w 751772"/>
                    <a:gd name="connsiteY0" fmla="*/ 0 h 1384949"/>
                    <a:gd name="connsiteX1" fmla="*/ 747538 w 751772"/>
                    <a:gd name="connsiteY1" fmla="*/ 0 h 1384949"/>
                    <a:gd name="connsiteX2" fmla="*/ 747538 w 751772"/>
                    <a:gd name="connsiteY2" fmla="*/ 113466 h 1384949"/>
                    <a:gd name="connsiteX3" fmla="*/ 744201 w 751772"/>
                    <a:gd name="connsiteY3" fmla="*/ 123477 h 1384949"/>
                    <a:gd name="connsiteX4" fmla="*/ 737527 w 751772"/>
                    <a:gd name="connsiteY4" fmla="*/ 146838 h 1384949"/>
                    <a:gd name="connsiteX5" fmla="*/ 730852 w 751772"/>
                    <a:gd name="connsiteY5" fmla="*/ 160187 h 1384949"/>
                    <a:gd name="connsiteX6" fmla="*/ 720840 w 751772"/>
                    <a:gd name="connsiteY6" fmla="*/ 230268 h 1384949"/>
                    <a:gd name="connsiteX7" fmla="*/ 717503 w 751772"/>
                    <a:gd name="connsiteY7" fmla="*/ 256966 h 1384949"/>
                    <a:gd name="connsiteX8" fmla="*/ 710829 w 751772"/>
                    <a:gd name="connsiteY8" fmla="*/ 300350 h 1384949"/>
                    <a:gd name="connsiteX9" fmla="*/ 707491 w 751772"/>
                    <a:gd name="connsiteY9" fmla="*/ 317036 h 1384949"/>
                    <a:gd name="connsiteX10" fmla="*/ 704154 w 751772"/>
                    <a:gd name="connsiteY10" fmla="*/ 343734 h 1384949"/>
                    <a:gd name="connsiteX11" fmla="*/ 700817 w 751772"/>
                    <a:gd name="connsiteY11" fmla="*/ 373769 h 1384949"/>
                    <a:gd name="connsiteX12" fmla="*/ 697480 w 751772"/>
                    <a:gd name="connsiteY12" fmla="*/ 387118 h 1384949"/>
                    <a:gd name="connsiteX13" fmla="*/ 694143 w 751772"/>
                    <a:gd name="connsiteY13" fmla="*/ 433839 h 1384949"/>
                    <a:gd name="connsiteX14" fmla="*/ 687468 w 751772"/>
                    <a:gd name="connsiteY14" fmla="*/ 480560 h 1384949"/>
                    <a:gd name="connsiteX15" fmla="*/ 680794 w 751772"/>
                    <a:gd name="connsiteY15" fmla="*/ 547305 h 1384949"/>
                    <a:gd name="connsiteX16" fmla="*/ 677456 w 751772"/>
                    <a:gd name="connsiteY16" fmla="*/ 597363 h 1384949"/>
                    <a:gd name="connsiteX17" fmla="*/ 674119 w 751772"/>
                    <a:gd name="connsiteY17" fmla="*/ 610712 h 1384949"/>
                    <a:gd name="connsiteX18" fmla="*/ 670782 w 751772"/>
                    <a:gd name="connsiteY18" fmla="*/ 627398 h 1384949"/>
                    <a:gd name="connsiteX19" fmla="*/ 667445 w 751772"/>
                    <a:gd name="connsiteY19" fmla="*/ 650759 h 1384949"/>
                    <a:gd name="connsiteX20" fmla="*/ 660770 w 751772"/>
                    <a:gd name="connsiteY20" fmla="*/ 670782 h 1384949"/>
                    <a:gd name="connsiteX21" fmla="*/ 657433 w 751772"/>
                    <a:gd name="connsiteY21" fmla="*/ 710829 h 1384949"/>
                    <a:gd name="connsiteX22" fmla="*/ 654096 w 751772"/>
                    <a:gd name="connsiteY22" fmla="*/ 720841 h 1384949"/>
                    <a:gd name="connsiteX23" fmla="*/ 650759 w 751772"/>
                    <a:gd name="connsiteY23" fmla="*/ 744201 h 1384949"/>
                    <a:gd name="connsiteX24" fmla="*/ 644084 w 751772"/>
                    <a:gd name="connsiteY24" fmla="*/ 774236 h 1384949"/>
                    <a:gd name="connsiteX25" fmla="*/ 640747 w 751772"/>
                    <a:gd name="connsiteY25" fmla="*/ 804271 h 1384949"/>
                    <a:gd name="connsiteX26" fmla="*/ 627398 w 751772"/>
                    <a:gd name="connsiteY26" fmla="*/ 887702 h 1384949"/>
                    <a:gd name="connsiteX27" fmla="*/ 624061 w 751772"/>
                    <a:gd name="connsiteY27" fmla="*/ 907725 h 1384949"/>
                    <a:gd name="connsiteX28" fmla="*/ 617386 w 751772"/>
                    <a:gd name="connsiteY28" fmla="*/ 944435 h 1384949"/>
                    <a:gd name="connsiteX29" fmla="*/ 614049 w 751772"/>
                    <a:gd name="connsiteY29" fmla="*/ 967795 h 1384949"/>
                    <a:gd name="connsiteX30" fmla="*/ 607375 w 751772"/>
                    <a:gd name="connsiteY30" fmla="*/ 991156 h 1384949"/>
                    <a:gd name="connsiteX31" fmla="*/ 610712 w 751772"/>
                    <a:gd name="connsiteY31" fmla="*/ 1014517 h 1384949"/>
                    <a:gd name="connsiteX32" fmla="*/ 610712 w 751772"/>
                    <a:gd name="connsiteY32" fmla="*/ 1061238 h 1384949"/>
                    <a:gd name="connsiteX33" fmla="*/ 610712 w 751772"/>
                    <a:gd name="connsiteY33" fmla="*/ 1107959 h 1384949"/>
                    <a:gd name="connsiteX34" fmla="*/ 597364 w 751772"/>
                    <a:gd name="connsiteY34" fmla="*/ 1178040 h 1384949"/>
                    <a:gd name="connsiteX35" fmla="*/ 590689 w 751772"/>
                    <a:gd name="connsiteY35" fmla="*/ 1274820 h 1384949"/>
                    <a:gd name="connsiteX36" fmla="*/ 584014 w 751772"/>
                    <a:gd name="connsiteY36" fmla="*/ 1308193 h 1384949"/>
                    <a:gd name="connsiteX37" fmla="*/ 580677 w 751772"/>
                    <a:gd name="connsiteY37" fmla="*/ 1361588 h 1384949"/>
                    <a:gd name="connsiteX38" fmla="*/ 577340 w 751772"/>
                    <a:gd name="connsiteY38" fmla="*/ 1371600 h 1384949"/>
                    <a:gd name="connsiteX39" fmla="*/ 574002 w 751772"/>
                    <a:gd name="connsiteY39" fmla="*/ 1384949 h 1384949"/>
                    <a:gd name="connsiteX40" fmla="*/ 563991 w 751772"/>
                    <a:gd name="connsiteY40" fmla="*/ 1381612 h 1384949"/>
                    <a:gd name="connsiteX41" fmla="*/ 540630 w 751772"/>
                    <a:gd name="connsiteY41" fmla="*/ 1351577 h 1384949"/>
                    <a:gd name="connsiteX42" fmla="*/ 527281 w 751772"/>
                    <a:gd name="connsiteY42" fmla="*/ 1338228 h 1384949"/>
                    <a:gd name="connsiteX43" fmla="*/ 500583 w 751772"/>
                    <a:gd name="connsiteY43" fmla="*/ 1311530 h 1384949"/>
                    <a:gd name="connsiteX44" fmla="*/ 487235 w 751772"/>
                    <a:gd name="connsiteY44" fmla="*/ 1298181 h 1384949"/>
                    <a:gd name="connsiteX45" fmla="*/ 467211 w 751772"/>
                    <a:gd name="connsiteY45" fmla="*/ 1271483 h 1384949"/>
                    <a:gd name="connsiteX46" fmla="*/ 443851 w 751772"/>
                    <a:gd name="connsiteY46" fmla="*/ 1248122 h 1384949"/>
                    <a:gd name="connsiteX47" fmla="*/ 423827 w 751772"/>
                    <a:gd name="connsiteY47" fmla="*/ 1228099 h 1384949"/>
                    <a:gd name="connsiteX48" fmla="*/ 400467 w 751772"/>
                    <a:gd name="connsiteY48" fmla="*/ 1201401 h 1384949"/>
                    <a:gd name="connsiteX49" fmla="*/ 387118 w 751772"/>
                    <a:gd name="connsiteY49" fmla="*/ 1191390 h 1384949"/>
                    <a:gd name="connsiteX50" fmla="*/ 367094 w 751772"/>
                    <a:gd name="connsiteY50" fmla="*/ 1174704 h 1384949"/>
                    <a:gd name="connsiteX51" fmla="*/ 347071 w 751772"/>
                    <a:gd name="connsiteY51" fmla="*/ 1161355 h 1384949"/>
                    <a:gd name="connsiteX52" fmla="*/ 340397 w 751772"/>
                    <a:gd name="connsiteY52" fmla="*/ 1154680 h 1384949"/>
                    <a:gd name="connsiteX53" fmla="*/ 330385 w 751772"/>
                    <a:gd name="connsiteY53" fmla="*/ 1151343 h 1384949"/>
                    <a:gd name="connsiteX54" fmla="*/ 310362 w 751772"/>
                    <a:gd name="connsiteY54" fmla="*/ 1134657 h 1384949"/>
                    <a:gd name="connsiteX55" fmla="*/ 293675 w 751772"/>
                    <a:gd name="connsiteY55" fmla="*/ 1117971 h 1384949"/>
                    <a:gd name="connsiteX56" fmla="*/ 283664 w 751772"/>
                    <a:gd name="connsiteY56" fmla="*/ 1111296 h 1384949"/>
                    <a:gd name="connsiteX57" fmla="*/ 270315 w 751772"/>
                    <a:gd name="connsiteY57" fmla="*/ 1097947 h 1384949"/>
                    <a:gd name="connsiteX58" fmla="*/ 250291 w 751772"/>
                    <a:gd name="connsiteY58" fmla="*/ 1077924 h 1384949"/>
                    <a:gd name="connsiteX59" fmla="*/ 243617 w 751772"/>
                    <a:gd name="connsiteY59" fmla="*/ 1071249 h 1384949"/>
                    <a:gd name="connsiteX60" fmla="*/ 226931 w 751772"/>
                    <a:gd name="connsiteY60" fmla="*/ 1054563 h 1384949"/>
                    <a:gd name="connsiteX61" fmla="*/ 216919 w 751772"/>
                    <a:gd name="connsiteY61" fmla="*/ 1041214 h 1384949"/>
                    <a:gd name="connsiteX62" fmla="*/ 193559 w 751772"/>
                    <a:gd name="connsiteY62" fmla="*/ 1014517 h 1384949"/>
                    <a:gd name="connsiteX63" fmla="*/ 166861 w 751772"/>
                    <a:gd name="connsiteY63" fmla="*/ 974470 h 1384949"/>
                    <a:gd name="connsiteX64" fmla="*/ 143500 w 751772"/>
                    <a:gd name="connsiteY64" fmla="*/ 947772 h 1384949"/>
                    <a:gd name="connsiteX65" fmla="*/ 123477 w 751772"/>
                    <a:gd name="connsiteY65" fmla="*/ 914400 h 1384949"/>
                    <a:gd name="connsiteX66" fmla="*/ 113465 w 751772"/>
                    <a:gd name="connsiteY66" fmla="*/ 901051 h 1384949"/>
                    <a:gd name="connsiteX67" fmla="*/ 93442 w 751772"/>
                    <a:gd name="connsiteY67" fmla="*/ 877690 h 1384949"/>
                    <a:gd name="connsiteX68" fmla="*/ 83430 w 751772"/>
                    <a:gd name="connsiteY68" fmla="*/ 861004 h 1384949"/>
                    <a:gd name="connsiteX69" fmla="*/ 56732 w 751772"/>
                    <a:gd name="connsiteY69" fmla="*/ 824295 h 1384949"/>
                    <a:gd name="connsiteX70" fmla="*/ 50058 w 751772"/>
                    <a:gd name="connsiteY70" fmla="*/ 810946 h 1384949"/>
                    <a:gd name="connsiteX71" fmla="*/ 36709 w 751772"/>
                    <a:gd name="connsiteY71" fmla="*/ 790922 h 1384949"/>
                    <a:gd name="connsiteX72" fmla="*/ 26697 w 751772"/>
                    <a:gd name="connsiteY72" fmla="*/ 774236 h 1384949"/>
                    <a:gd name="connsiteX73" fmla="*/ 20023 w 751772"/>
                    <a:gd name="connsiteY73" fmla="*/ 754213 h 1384949"/>
                    <a:gd name="connsiteX74" fmla="*/ 6674 w 751772"/>
                    <a:gd name="connsiteY74" fmla="*/ 737527 h 1384949"/>
                    <a:gd name="connsiteX75" fmla="*/ 0 w 751772"/>
                    <a:gd name="connsiteY75" fmla="*/ 714166 h 1384949"/>
                    <a:gd name="connsiteX76" fmla="*/ 6674 w 751772"/>
                    <a:gd name="connsiteY76" fmla="*/ 660771 h 1384949"/>
                    <a:gd name="connsiteX77" fmla="*/ 13348 w 751772"/>
                    <a:gd name="connsiteY77" fmla="*/ 650759 h 1384949"/>
                    <a:gd name="connsiteX78" fmla="*/ 23360 w 751772"/>
                    <a:gd name="connsiteY78" fmla="*/ 640747 h 1384949"/>
                    <a:gd name="connsiteX79" fmla="*/ 26697 w 751772"/>
                    <a:gd name="connsiteY79" fmla="*/ 630736 h 1384949"/>
                    <a:gd name="connsiteX80" fmla="*/ 43383 w 751772"/>
                    <a:gd name="connsiteY80" fmla="*/ 614049 h 1384949"/>
                    <a:gd name="connsiteX81" fmla="*/ 56732 w 751772"/>
                    <a:gd name="connsiteY81" fmla="*/ 594026 h 1384949"/>
                    <a:gd name="connsiteX82" fmla="*/ 63407 w 751772"/>
                    <a:gd name="connsiteY82" fmla="*/ 580677 h 1384949"/>
                    <a:gd name="connsiteX83" fmla="*/ 76756 w 751772"/>
                    <a:gd name="connsiteY83" fmla="*/ 570666 h 1384949"/>
                    <a:gd name="connsiteX84" fmla="*/ 86767 w 751772"/>
                    <a:gd name="connsiteY84" fmla="*/ 557317 h 1384949"/>
                    <a:gd name="connsiteX85" fmla="*/ 96779 w 751772"/>
                    <a:gd name="connsiteY85" fmla="*/ 550642 h 1384949"/>
                    <a:gd name="connsiteX86" fmla="*/ 123477 w 751772"/>
                    <a:gd name="connsiteY86" fmla="*/ 523944 h 1384949"/>
                    <a:gd name="connsiteX87" fmla="*/ 133489 w 751772"/>
                    <a:gd name="connsiteY87" fmla="*/ 513933 h 1384949"/>
                    <a:gd name="connsiteX88" fmla="*/ 143500 w 751772"/>
                    <a:gd name="connsiteY88" fmla="*/ 510595 h 1384949"/>
                    <a:gd name="connsiteX89" fmla="*/ 156849 w 751772"/>
                    <a:gd name="connsiteY89" fmla="*/ 497247 h 1384949"/>
                    <a:gd name="connsiteX90" fmla="*/ 166861 w 751772"/>
                    <a:gd name="connsiteY90" fmla="*/ 490572 h 1384949"/>
                    <a:gd name="connsiteX91" fmla="*/ 196896 w 751772"/>
                    <a:gd name="connsiteY91" fmla="*/ 467212 h 1384949"/>
                    <a:gd name="connsiteX92" fmla="*/ 196896 w 751772"/>
                    <a:gd name="connsiteY92" fmla="*/ 467212 h 1384949"/>
                    <a:gd name="connsiteX93" fmla="*/ 220256 w 751772"/>
                    <a:gd name="connsiteY93" fmla="*/ 447188 h 1384949"/>
                    <a:gd name="connsiteX94" fmla="*/ 233605 w 751772"/>
                    <a:gd name="connsiteY94" fmla="*/ 440514 h 1384949"/>
                    <a:gd name="connsiteX95" fmla="*/ 250291 w 751772"/>
                    <a:gd name="connsiteY95" fmla="*/ 427165 h 1384949"/>
                    <a:gd name="connsiteX96" fmla="*/ 263640 w 751772"/>
                    <a:gd name="connsiteY96" fmla="*/ 420490 h 1384949"/>
                    <a:gd name="connsiteX97" fmla="*/ 270315 w 751772"/>
                    <a:gd name="connsiteY97" fmla="*/ 413816 h 1384949"/>
                    <a:gd name="connsiteX98" fmla="*/ 290338 w 751772"/>
                    <a:gd name="connsiteY98" fmla="*/ 403804 h 1384949"/>
                    <a:gd name="connsiteX99" fmla="*/ 337059 w 751772"/>
                    <a:gd name="connsiteY99" fmla="*/ 373769 h 1384949"/>
                    <a:gd name="connsiteX100" fmla="*/ 363757 w 751772"/>
                    <a:gd name="connsiteY100" fmla="*/ 353746 h 1384949"/>
                    <a:gd name="connsiteX101" fmla="*/ 377106 w 751772"/>
                    <a:gd name="connsiteY101" fmla="*/ 347071 h 1384949"/>
                    <a:gd name="connsiteX102" fmla="*/ 387118 w 751772"/>
                    <a:gd name="connsiteY102" fmla="*/ 337060 h 1384949"/>
                    <a:gd name="connsiteX103" fmla="*/ 403804 w 751772"/>
                    <a:gd name="connsiteY103" fmla="*/ 327048 h 1384949"/>
                    <a:gd name="connsiteX104" fmla="*/ 430502 w 751772"/>
                    <a:gd name="connsiteY104" fmla="*/ 307025 h 1384949"/>
                    <a:gd name="connsiteX105" fmla="*/ 440513 w 751772"/>
                    <a:gd name="connsiteY105" fmla="*/ 300350 h 1384949"/>
                    <a:gd name="connsiteX106" fmla="*/ 463874 w 751772"/>
                    <a:gd name="connsiteY106" fmla="*/ 276990 h 1384949"/>
                    <a:gd name="connsiteX107" fmla="*/ 470548 w 751772"/>
                    <a:gd name="connsiteY107" fmla="*/ 270315 h 1384949"/>
                    <a:gd name="connsiteX108" fmla="*/ 490572 w 751772"/>
                    <a:gd name="connsiteY108" fmla="*/ 253629 h 1384949"/>
                    <a:gd name="connsiteX109" fmla="*/ 503921 w 751772"/>
                    <a:gd name="connsiteY109" fmla="*/ 240280 h 1384949"/>
                    <a:gd name="connsiteX110" fmla="*/ 513932 w 751772"/>
                    <a:gd name="connsiteY110" fmla="*/ 233606 h 1384949"/>
                    <a:gd name="connsiteX111" fmla="*/ 533956 w 751772"/>
                    <a:gd name="connsiteY111" fmla="*/ 210245 h 1384949"/>
                    <a:gd name="connsiteX112" fmla="*/ 550642 w 751772"/>
                    <a:gd name="connsiteY112" fmla="*/ 196896 h 1384949"/>
                    <a:gd name="connsiteX113" fmla="*/ 560654 w 751772"/>
                    <a:gd name="connsiteY113" fmla="*/ 183547 h 1384949"/>
                    <a:gd name="connsiteX114" fmla="*/ 580677 w 751772"/>
                    <a:gd name="connsiteY114" fmla="*/ 170198 h 1384949"/>
                    <a:gd name="connsiteX115" fmla="*/ 607375 w 751772"/>
                    <a:gd name="connsiteY115" fmla="*/ 143501 h 1384949"/>
                    <a:gd name="connsiteX116" fmla="*/ 617386 w 751772"/>
                    <a:gd name="connsiteY116" fmla="*/ 133489 h 1384949"/>
                    <a:gd name="connsiteX117" fmla="*/ 637410 w 751772"/>
                    <a:gd name="connsiteY117" fmla="*/ 120140 h 1384949"/>
                    <a:gd name="connsiteX118" fmla="*/ 644084 w 751772"/>
                    <a:gd name="connsiteY118" fmla="*/ 110128 h 1384949"/>
                    <a:gd name="connsiteX119" fmla="*/ 664108 w 751772"/>
                    <a:gd name="connsiteY119" fmla="*/ 93442 h 1384949"/>
                    <a:gd name="connsiteX120" fmla="*/ 670782 w 751772"/>
                    <a:gd name="connsiteY120" fmla="*/ 83431 h 1384949"/>
                    <a:gd name="connsiteX121" fmla="*/ 684131 w 751772"/>
                    <a:gd name="connsiteY121" fmla="*/ 70082 h 1384949"/>
                    <a:gd name="connsiteX122" fmla="*/ 710829 w 751772"/>
                    <a:gd name="connsiteY122" fmla="*/ 43384 h 1384949"/>
                    <a:gd name="connsiteX123" fmla="*/ 730852 w 751772"/>
                    <a:gd name="connsiteY123" fmla="*/ 23360 h 1384949"/>
                    <a:gd name="connsiteX124" fmla="*/ 737527 w 751772"/>
                    <a:gd name="connsiteY124" fmla="*/ 16686 h 1384949"/>
                    <a:gd name="connsiteX125" fmla="*/ 747538 w 751772"/>
                    <a:gd name="connsiteY125" fmla="*/ 0 h 1384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751772" h="1384949">
                      <a:moveTo>
                        <a:pt x="747538" y="0"/>
                      </a:moveTo>
                      <a:lnTo>
                        <a:pt x="747538" y="0"/>
                      </a:lnTo>
                      <a:cubicBezTo>
                        <a:pt x="753301" y="51871"/>
                        <a:pt x="753066" y="36068"/>
                        <a:pt x="747538" y="113466"/>
                      </a:cubicBezTo>
                      <a:cubicBezTo>
                        <a:pt x="747287" y="116975"/>
                        <a:pt x="745167" y="120095"/>
                        <a:pt x="744201" y="123477"/>
                      </a:cubicBezTo>
                      <a:cubicBezTo>
                        <a:pt x="741783" y="131941"/>
                        <a:pt x="740955" y="138839"/>
                        <a:pt x="737527" y="146838"/>
                      </a:cubicBezTo>
                      <a:cubicBezTo>
                        <a:pt x="735567" y="151411"/>
                        <a:pt x="733077" y="155737"/>
                        <a:pt x="730852" y="160187"/>
                      </a:cubicBezTo>
                      <a:cubicBezTo>
                        <a:pt x="723998" y="194460"/>
                        <a:pt x="728218" y="171250"/>
                        <a:pt x="720840" y="230268"/>
                      </a:cubicBezTo>
                      <a:cubicBezTo>
                        <a:pt x="719728" y="239167"/>
                        <a:pt x="719262" y="248172"/>
                        <a:pt x="717503" y="256966"/>
                      </a:cubicBezTo>
                      <a:cubicBezTo>
                        <a:pt x="709849" y="295241"/>
                        <a:pt x="718915" y="247794"/>
                        <a:pt x="710829" y="300350"/>
                      </a:cubicBezTo>
                      <a:cubicBezTo>
                        <a:pt x="709966" y="305956"/>
                        <a:pt x="708354" y="311430"/>
                        <a:pt x="707491" y="317036"/>
                      </a:cubicBezTo>
                      <a:cubicBezTo>
                        <a:pt x="706127" y="325900"/>
                        <a:pt x="705202" y="334827"/>
                        <a:pt x="704154" y="343734"/>
                      </a:cubicBezTo>
                      <a:cubicBezTo>
                        <a:pt x="702977" y="353738"/>
                        <a:pt x="702349" y="363813"/>
                        <a:pt x="700817" y="373769"/>
                      </a:cubicBezTo>
                      <a:cubicBezTo>
                        <a:pt x="700120" y="378302"/>
                        <a:pt x="698592" y="382668"/>
                        <a:pt x="697480" y="387118"/>
                      </a:cubicBezTo>
                      <a:cubicBezTo>
                        <a:pt x="696368" y="402692"/>
                        <a:pt x="695806" y="418315"/>
                        <a:pt x="694143" y="433839"/>
                      </a:cubicBezTo>
                      <a:cubicBezTo>
                        <a:pt x="692467" y="449481"/>
                        <a:pt x="688674" y="464875"/>
                        <a:pt x="687468" y="480560"/>
                      </a:cubicBezTo>
                      <a:cubicBezTo>
                        <a:pt x="683528" y="531787"/>
                        <a:pt x="686182" y="509586"/>
                        <a:pt x="680794" y="547305"/>
                      </a:cubicBezTo>
                      <a:cubicBezTo>
                        <a:pt x="679681" y="563991"/>
                        <a:pt x="679207" y="580732"/>
                        <a:pt x="677456" y="597363"/>
                      </a:cubicBezTo>
                      <a:cubicBezTo>
                        <a:pt x="676976" y="601924"/>
                        <a:pt x="675114" y="606235"/>
                        <a:pt x="674119" y="610712"/>
                      </a:cubicBezTo>
                      <a:cubicBezTo>
                        <a:pt x="672889" y="616249"/>
                        <a:pt x="671714" y="621803"/>
                        <a:pt x="670782" y="627398"/>
                      </a:cubicBezTo>
                      <a:cubicBezTo>
                        <a:pt x="669489" y="635157"/>
                        <a:pt x="669214" y="643094"/>
                        <a:pt x="667445" y="650759"/>
                      </a:cubicBezTo>
                      <a:cubicBezTo>
                        <a:pt x="665863" y="657614"/>
                        <a:pt x="660770" y="670782"/>
                        <a:pt x="660770" y="670782"/>
                      </a:cubicBezTo>
                      <a:cubicBezTo>
                        <a:pt x="659658" y="684131"/>
                        <a:pt x="659203" y="697551"/>
                        <a:pt x="657433" y="710829"/>
                      </a:cubicBezTo>
                      <a:cubicBezTo>
                        <a:pt x="656968" y="714316"/>
                        <a:pt x="654786" y="717391"/>
                        <a:pt x="654096" y="720841"/>
                      </a:cubicBezTo>
                      <a:cubicBezTo>
                        <a:pt x="652553" y="728554"/>
                        <a:pt x="652209" y="736470"/>
                        <a:pt x="650759" y="744201"/>
                      </a:cubicBezTo>
                      <a:cubicBezTo>
                        <a:pt x="648869" y="754281"/>
                        <a:pt x="646309" y="764224"/>
                        <a:pt x="644084" y="774236"/>
                      </a:cubicBezTo>
                      <a:cubicBezTo>
                        <a:pt x="642972" y="784248"/>
                        <a:pt x="641996" y="794276"/>
                        <a:pt x="640747" y="804271"/>
                      </a:cubicBezTo>
                      <a:cubicBezTo>
                        <a:pt x="637254" y="832219"/>
                        <a:pt x="632027" y="859928"/>
                        <a:pt x="627398" y="887702"/>
                      </a:cubicBezTo>
                      <a:cubicBezTo>
                        <a:pt x="626286" y="894376"/>
                        <a:pt x="624900" y="901011"/>
                        <a:pt x="624061" y="907725"/>
                      </a:cubicBezTo>
                      <a:cubicBezTo>
                        <a:pt x="620288" y="937914"/>
                        <a:pt x="623561" y="925915"/>
                        <a:pt x="617386" y="944435"/>
                      </a:cubicBezTo>
                      <a:cubicBezTo>
                        <a:pt x="616274" y="952222"/>
                        <a:pt x="615456" y="960056"/>
                        <a:pt x="614049" y="967795"/>
                      </a:cubicBezTo>
                      <a:cubicBezTo>
                        <a:pt x="611442" y="982133"/>
                        <a:pt x="607931" y="983369"/>
                        <a:pt x="607375" y="991156"/>
                      </a:cubicBezTo>
                      <a:cubicBezTo>
                        <a:pt x="606819" y="998943"/>
                        <a:pt x="618713" y="990512"/>
                        <a:pt x="610712" y="1014517"/>
                      </a:cubicBezTo>
                      <a:cubicBezTo>
                        <a:pt x="608487" y="1030091"/>
                        <a:pt x="610712" y="1045664"/>
                        <a:pt x="610712" y="1061238"/>
                      </a:cubicBezTo>
                      <a:cubicBezTo>
                        <a:pt x="610712" y="1076812"/>
                        <a:pt x="612937" y="1088492"/>
                        <a:pt x="610712" y="1107959"/>
                      </a:cubicBezTo>
                      <a:cubicBezTo>
                        <a:pt x="608487" y="1127426"/>
                        <a:pt x="600701" y="1150230"/>
                        <a:pt x="597364" y="1178040"/>
                      </a:cubicBezTo>
                      <a:cubicBezTo>
                        <a:pt x="594027" y="1205850"/>
                        <a:pt x="592914" y="1253128"/>
                        <a:pt x="590689" y="1274820"/>
                      </a:cubicBezTo>
                      <a:cubicBezTo>
                        <a:pt x="588464" y="1296512"/>
                        <a:pt x="585683" y="1293732"/>
                        <a:pt x="584014" y="1308193"/>
                      </a:cubicBezTo>
                      <a:cubicBezTo>
                        <a:pt x="582345" y="1322654"/>
                        <a:pt x="582544" y="1343853"/>
                        <a:pt x="580677" y="1361588"/>
                      </a:cubicBezTo>
                      <a:cubicBezTo>
                        <a:pt x="580309" y="1365086"/>
                        <a:pt x="578306" y="1368218"/>
                        <a:pt x="577340" y="1371600"/>
                      </a:cubicBezTo>
                      <a:cubicBezTo>
                        <a:pt x="576080" y="1376010"/>
                        <a:pt x="575115" y="1380499"/>
                        <a:pt x="574002" y="1384949"/>
                      </a:cubicBezTo>
                      <a:cubicBezTo>
                        <a:pt x="570665" y="1383837"/>
                        <a:pt x="566853" y="1383657"/>
                        <a:pt x="563991" y="1381612"/>
                      </a:cubicBezTo>
                      <a:cubicBezTo>
                        <a:pt x="546454" y="1369086"/>
                        <a:pt x="553468" y="1368083"/>
                        <a:pt x="540630" y="1351577"/>
                      </a:cubicBezTo>
                      <a:cubicBezTo>
                        <a:pt x="536767" y="1346610"/>
                        <a:pt x="531731" y="1342678"/>
                        <a:pt x="527281" y="1338228"/>
                      </a:cubicBezTo>
                      <a:lnTo>
                        <a:pt x="500583" y="1311530"/>
                      </a:lnTo>
                      <a:cubicBezTo>
                        <a:pt x="496133" y="1307080"/>
                        <a:pt x="491011" y="1303215"/>
                        <a:pt x="487235" y="1298181"/>
                      </a:cubicBezTo>
                      <a:cubicBezTo>
                        <a:pt x="480560" y="1289282"/>
                        <a:pt x="475077" y="1279349"/>
                        <a:pt x="467211" y="1271483"/>
                      </a:cubicBezTo>
                      <a:cubicBezTo>
                        <a:pt x="459424" y="1263696"/>
                        <a:pt x="450459" y="1256931"/>
                        <a:pt x="443851" y="1248122"/>
                      </a:cubicBezTo>
                      <a:cubicBezTo>
                        <a:pt x="431432" y="1231565"/>
                        <a:pt x="438467" y="1237859"/>
                        <a:pt x="423827" y="1228099"/>
                      </a:cubicBezTo>
                      <a:cubicBezTo>
                        <a:pt x="414206" y="1215270"/>
                        <a:pt x="413036" y="1212398"/>
                        <a:pt x="400467" y="1201401"/>
                      </a:cubicBezTo>
                      <a:cubicBezTo>
                        <a:pt x="396281" y="1197739"/>
                        <a:pt x="391391" y="1194951"/>
                        <a:pt x="387118" y="1191390"/>
                      </a:cubicBezTo>
                      <a:cubicBezTo>
                        <a:pt x="366609" y="1174300"/>
                        <a:pt x="400461" y="1198061"/>
                        <a:pt x="367094" y="1174704"/>
                      </a:cubicBezTo>
                      <a:cubicBezTo>
                        <a:pt x="360522" y="1170104"/>
                        <a:pt x="352743" y="1167028"/>
                        <a:pt x="347071" y="1161355"/>
                      </a:cubicBezTo>
                      <a:cubicBezTo>
                        <a:pt x="344846" y="1159130"/>
                        <a:pt x="343095" y="1156299"/>
                        <a:pt x="340397" y="1154680"/>
                      </a:cubicBezTo>
                      <a:cubicBezTo>
                        <a:pt x="337381" y="1152870"/>
                        <a:pt x="333722" y="1152455"/>
                        <a:pt x="330385" y="1151343"/>
                      </a:cubicBezTo>
                      <a:cubicBezTo>
                        <a:pt x="308562" y="1129520"/>
                        <a:pt x="346051" y="1166379"/>
                        <a:pt x="310362" y="1134657"/>
                      </a:cubicBezTo>
                      <a:cubicBezTo>
                        <a:pt x="304483" y="1129431"/>
                        <a:pt x="300220" y="1122335"/>
                        <a:pt x="293675" y="1117971"/>
                      </a:cubicBezTo>
                      <a:cubicBezTo>
                        <a:pt x="290338" y="1115746"/>
                        <a:pt x="286709" y="1113906"/>
                        <a:pt x="283664" y="1111296"/>
                      </a:cubicBezTo>
                      <a:cubicBezTo>
                        <a:pt x="278886" y="1107201"/>
                        <a:pt x="274765" y="1102397"/>
                        <a:pt x="270315" y="1097947"/>
                      </a:cubicBezTo>
                      <a:lnTo>
                        <a:pt x="250291" y="1077924"/>
                      </a:lnTo>
                      <a:lnTo>
                        <a:pt x="243617" y="1071249"/>
                      </a:lnTo>
                      <a:cubicBezTo>
                        <a:pt x="238055" y="1065687"/>
                        <a:pt x="231651" y="1060856"/>
                        <a:pt x="226931" y="1054563"/>
                      </a:cubicBezTo>
                      <a:cubicBezTo>
                        <a:pt x="223594" y="1050113"/>
                        <a:pt x="220539" y="1045437"/>
                        <a:pt x="216919" y="1041214"/>
                      </a:cubicBezTo>
                      <a:cubicBezTo>
                        <a:pt x="199039" y="1020354"/>
                        <a:pt x="214131" y="1043661"/>
                        <a:pt x="193559" y="1014517"/>
                      </a:cubicBezTo>
                      <a:cubicBezTo>
                        <a:pt x="184307" y="1001410"/>
                        <a:pt x="178205" y="985814"/>
                        <a:pt x="166861" y="974470"/>
                      </a:cubicBezTo>
                      <a:cubicBezTo>
                        <a:pt x="157212" y="964821"/>
                        <a:pt x="151648" y="959994"/>
                        <a:pt x="143500" y="947772"/>
                      </a:cubicBezTo>
                      <a:cubicBezTo>
                        <a:pt x="136304" y="936978"/>
                        <a:pt x="131261" y="924778"/>
                        <a:pt x="123477" y="914400"/>
                      </a:cubicBezTo>
                      <a:cubicBezTo>
                        <a:pt x="120140" y="909950"/>
                        <a:pt x="116987" y="905356"/>
                        <a:pt x="113465" y="901051"/>
                      </a:cubicBezTo>
                      <a:cubicBezTo>
                        <a:pt x="106971" y="893113"/>
                        <a:pt x="99596" y="885895"/>
                        <a:pt x="93442" y="877690"/>
                      </a:cubicBezTo>
                      <a:cubicBezTo>
                        <a:pt x="89550" y="872501"/>
                        <a:pt x="87105" y="866349"/>
                        <a:pt x="83430" y="861004"/>
                      </a:cubicBezTo>
                      <a:cubicBezTo>
                        <a:pt x="74858" y="848536"/>
                        <a:pt x="63498" y="837828"/>
                        <a:pt x="56732" y="824295"/>
                      </a:cubicBezTo>
                      <a:cubicBezTo>
                        <a:pt x="54507" y="819845"/>
                        <a:pt x="52617" y="815212"/>
                        <a:pt x="50058" y="810946"/>
                      </a:cubicBezTo>
                      <a:cubicBezTo>
                        <a:pt x="45931" y="804067"/>
                        <a:pt x="39246" y="798532"/>
                        <a:pt x="36709" y="790922"/>
                      </a:cubicBezTo>
                      <a:cubicBezTo>
                        <a:pt x="32377" y="777926"/>
                        <a:pt x="35859" y="783398"/>
                        <a:pt x="26697" y="774236"/>
                      </a:cubicBezTo>
                      <a:cubicBezTo>
                        <a:pt x="24472" y="767562"/>
                        <a:pt x="24998" y="759187"/>
                        <a:pt x="20023" y="754213"/>
                      </a:cubicBezTo>
                      <a:cubicBezTo>
                        <a:pt x="13813" y="748004"/>
                        <a:pt x="10885" y="745949"/>
                        <a:pt x="6674" y="737527"/>
                      </a:cubicBezTo>
                      <a:cubicBezTo>
                        <a:pt x="4280" y="732739"/>
                        <a:pt x="1069" y="718443"/>
                        <a:pt x="0" y="714166"/>
                      </a:cubicBezTo>
                      <a:cubicBezTo>
                        <a:pt x="637" y="705883"/>
                        <a:pt x="-529" y="675178"/>
                        <a:pt x="6674" y="660771"/>
                      </a:cubicBezTo>
                      <a:cubicBezTo>
                        <a:pt x="8468" y="657184"/>
                        <a:pt x="10780" y="653840"/>
                        <a:pt x="13348" y="650759"/>
                      </a:cubicBezTo>
                      <a:cubicBezTo>
                        <a:pt x="16369" y="647133"/>
                        <a:pt x="20023" y="644084"/>
                        <a:pt x="23360" y="640747"/>
                      </a:cubicBezTo>
                      <a:cubicBezTo>
                        <a:pt x="24472" y="637410"/>
                        <a:pt x="24587" y="633550"/>
                        <a:pt x="26697" y="630736"/>
                      </a:cubicBezTo>
                      <a:cubicBezTo>
                        <a:pt x="31417" y="624443"/>
                        <a:pt x="43383" y="614049"/>
                        <a:pt x="43383" y="614049"/>
                      </a:cubicBezTo>
                      <a:cubicBezTo>
                        <a:pt x="50544" y="592573"/>
                        <a:pt x="41108" y="615900"/>
                        <a:pt x="56732" y="594026"/>
                      </a:cubicBezTo>
                      <a:cubicBezTo>
                        <a:pt x="59624" y="589978"/>
                        <a:pt x="60169" y="584454"/>
                        <a:pt x="63407" y="580677"/>
                      </a:cubicBezTo>
                      <a:cubicBezTo>
                        <a:pt x="67027" y="576454"/>
                        <a:pt x="72823" y="574599"/>
                        <a:pt x="76756" y="570666"/>
                      </a:cubicBezTo>
                      <a:cubicBezTo>
                        <a:pt x="80689" y="566733"/>
                        <a:pt x="82834" y="561250"/>
                        <a:pt x="86767" y="557317"/>
                      </a:cubicBezTo>
                      <a:cubicBezTo>
                        <a:pt x="89603" y="554481"/>
                        <a:pt x="93811" y="553340"/>
                        <a:pt x="96779" y="550642"/>
                      </a:cubicBezTo>
                      <a:cubicBezTo>
                        <a:pt x="106092" y="542176"/>
                        <a:pt x="114578" y="532843"/>
                        <a:pt x="123477" y="523944"/>
                      </a:cubicBezTo>
                      <a:cubicBezTo>
                        <a:pt x="126814" y="520607"/>
                        <a:pt x="129012" y="515426"/>
                        <a:pt x="133489" y="513933"/>
                      </a:cubicBezTo>
                      <a:lnTo>
                        <a:pt x="143500" y="510595"/>
                      </a:lnTo>
                      <a:cubicBezTo>
                        <a:pt x="147950" y="506146"/>
                        <a:pt x="152071" y="501342"/>
                        <a:pt x="156849" y="497247"/>
                      </a:cubicBezTo>
                      <a:cubicBezTo>
                        <a:pt x="159894" y="494637"/>
                        <a:pt x="163652" y="492979"/>
                        <a:pt x="166861" y="490572"/>
                      </a:cubicBezTo>
                      <a:cubicBezTo>
                        <a:pt x="177008" y="482962"/>
                        <a:pt x="186884" y="474999"/>
                        <a:pt x="196896" y="467212"/>
                      </a:cubicBezTo>
                      <a:lnTo>
                        <a:pt x="196896" y="467212"/>
                      </a:lnTo>
                      <a:cubicBezTo>
                        <a:pt x="205225" y="458882"/>
                        <a:pt x="208768" y="454847"/>
                        <a:pt x="220256" y="447188"/>
                      </a:cubicBezTo>
                      <a:cubicBezTo>
                        <a:pt x="224395" y="444429"/>
                        <a:pt x="229155" y="442739"/>
                        <a:pt x="233605" y="440514"/>
                      </a:cubicBezTo>
                      <a:cubicBezTo>
                        <a:pt x="240914" y="433205"/>
                        <a:pt x="240468" y="432778"/>
                        <a:pt x="250291" y="427165"/>
                      </a:cubicBezTo>
                      <a:cubicBezTo>
                        <a:pt x="254610" y="424697"/>
                        <a:pt x="259501" y="423250"/>
                        <a:pt x="263640" y="420490"/>
                      </a:cubicBezTo>
                      <a:cubicBezTo>
                        <a:pt x="266258" y="418745"/>
                        <a:pt x="267647" y="415484"/>
                        <a:pt x="270315" y="413816"/>
                      </a:cubicBezTo>
                      <a:cubicBezTo>
                        <a:pt x="276643" y="409861"/>
                        <a:pt x="283859" y="407506"/>
                        <a:pt x="290338" y="403804"/>
                      </a:cubicBezTo>
                      <a:cubicBezTo>
                        <a:pt x="298743" y="399001"/>
                        <a:pt x="327486" y="380607"/>
                        <a:pt x="337059" y="373769"/>
                      </a:cubicBezTo>
                      <a:cubicBezTo>
                        <a:pt x="346111" y="367303"/>
                        <a:pt x="353807" y="358721"/>
                        <a:pt x="363757" y="353746"/>
                      </a:cubicBezTo>
                      <a:cubicBezTo>
                        <a:pt x="368207" y="351521"/>
                        <a:pt x="373058" y="349963"/>
                        <a:pt x="377106" y="347071"/>
                      </a:cubicBezTo>
                      <a:cubicBezTo>
                        <a:pt x="380946" y="344328"/>
                        <a:pt x="383342" y="339892"/>
                        <a:pt x="387118" y="337060"/>
                      </a:cubicBezTo>
                      <a:cubicBezTo>
                        <a:pt x="392307" y="333168"/>
                        <a:pt x="398304" y="330486"/>
                        <a:pt x="403804" y="327048"/>
                      </a:cubicBezTo>
                      <a:cubicBezTo>
                        <a:pt x="418898" y="317614"/>
                        <a:pt x="412184" y="320764"/>
                        <a:pt x="430502" y="307025"/>
                      </a:cubicBezTo>
                      <a:cubicBezTo>
                        <a:pt x="433711" y="304618"/>
                        <a:pt x="437532" y="303033"/>
                        <a:pt x="440513" y="300350"/>
                      </a:cubicBezTo>
                      <a:cubicBezTo>
                        <a:pt x="448698" y="292983"/>
                        <a:pt x="456087" y="284777"/>
                        <a:pt x="463874" y="276990"/>
                      </a:cubicBezTo>
                      <a:cubicBezTo>
                        <a:pt x="466099" y="274765"/>
                        <a:pt x="468131" y="272329"/>
                        <a:pt x="470548" y="270315"/>
                      </a:cubicBezTo>
                      <a:cubicBezTo>
                        <a:pt x="477223" y="264753"/>
                        <a:pt x="484114" y="259441"/>
                        <a:pt x="490572" y="253629"/>
                      </a:cubicBezTo>
                      <a:cubicBezTo>
                        <a:pt x="495249" y="249419"/>
                        <a:pt x="499143" y="244375"/>
                        <a:pt x="503921" y="240280"/>
                      </a:cubicBezTo>
                      <a:cubicBezTo>
                        <a:pt x="506966" y="237670"/>
                        <a:pt x="511096" y="236442"/>
                        <a:pt x="513932" y="233606"/>
                      </a:cubicBezTo>
                      <a:cubicBezTo>
                        <a:pt x="536028" y="211510"/>
                        <a:pt x="512160" y="228409"/>
                        <a:pt x="533956" y="210245"/>
                      </a:cubicBezTo>
                      <a:cubicBezTo>
                        <a:pt x="545715" y="200446"/>
                        <a:pt x="541814" y="207489"/>
                        <a:pt x="550642" y="196896"/>
                      </a:cubicBezTo>
                      <a:cubicBezTo>
                        <a:pt x="554203" y="192623"/>
                        <a:pt x="556497" y="187242"/>
                        <a:pt x="560654" y="183547"/>
                      </a:cubicBezTo>
                      <a:cubicBezTo>
                        <a:pt x="566649" y="178218"/>
                        <a:pt x="575005" y="175870"/>
                        <a:pt x="580677" y="170198"/>
                      </a:cubicBezTo>
                      <a:lnTo>
                        <a:pt x="607375" y="143501"/>
                      </a:lnTo>
                      <a:cubicBezTo>
                        <a:pt x="610712" y="140164"/>
                        <a:pt x="613459" y="136107"/>
                        <a:pt x="617386" y="133489"/>
                      </a:cubicBezTo>
                      <a:lnTo>
                        <a:pt x="637410" y="120140"/>
                      </a:lnTo>
                      <a:cubicBezTo>
                        <a:pt x="639635" y="116803"/>
                        <a:pt x="641516" y="113209"/>
                        <a:pt x="644084" y="110128"/>
                      </a:cubicBezTo>
                      <a:cubicBezTo>
                        <a:pt x="652112" y="100495"/>
                        <a:pt x="654266" y="100003"/>
                        <a:pt x="664108" y="93442"/>
                      </a:cubicBezTo>
                      <a:cubicBezTo>
                        <a:pt x="666333" y="90105"/>
                        <a:pt x="668172" y="86476"/>
                        <a:pt x="670782" y="83431"/>
                      </a:cubicBezTo>
                      <a:cubicBezTo>
                        <a:pt x="674877" y="78653"/>
                        <a:pt x="679681" y="74532"/>
                        <a:pt x="684131" y="70082"/>
                      </a:cubicBezTo>
                      <a:lnTo>
                        <a:pt x="710829" y="43384"/>
                      </a:lnTo>
                      <a:lnTo>
                        <a:pt x="730852" y="23360"/>
                      </a:lnTo>
                      <a:cubicBezTo>
                        <a:pt x="733077" y="21135"/>
                        <a:pt x="734713" y="18093"/>
                        <a:pt x="737527" y="16686"/>
                      </a:cubicBezTo>
                      <a:lnTo>
                        <a:pt x="747538" y="0"/>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222" name="Rounded Rectangle 221"/>
              <p:cNvSpPr/>
              <p:nvPr/>
            </p:nvSpPr>
            <p:spPr>
              <a:xfrm>
                <a:off x="3541206" y="2524562"/>
                <a:ext cx="2026198" cy="675839"/>
              </a:xfrm>
              <a:prstGeom prst="roundRect">
                <a:avLst>
                  <a:gd name="adj" fmla="val 50000"/>
                </a:avLst>
              </a:prstGeom>
              <a:solidFill>
                <a:srgbClr val="BF8F00"/>
              </a:solidFill>
              <a:ln w="12700" cap="flat" cmpd="sng" algn="ctr">
                <a:noFill/>
                <a:prstDash val="dash"/>
                <a:miter lim="800000"/>
              </a:ln>
              <a:effectLst/>
            </p:spPr>
            <p:txBody>
              <a:bodyPr rIns="609600"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30 </a:t>
                </a:r>
                <a:r>
                  <a:rPr kumimoji="0" lang="en-US" sz="1333"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 Automatable Percentage</a:t>
                </a:r>
              </a:p>
            </p:txBody>
          </p:sp>
          <p:sp>
            <p:nvSpPr>
              <p:cNvPr id="223" name="Oval 222"/>
              <p:cNvSpPr/>
              <p:nvPr/>
            </p:nvSpPr>
            <p:spPr>
              <a:xfrm>
                <a:off x="4940792" y="2625862"/>
                <a:ext cx="443578" cy="443578"/>
              </a:xfrm>
              <a:prstGeom prst="ellipse">
                <a:avLst/>
              </a:prstGeom>
              <a:solidFill>
                <a:srgbClr val="FFFFFF"/>
              </a:solidFill>
              <a:ln w="12700" cap="flat" cmpd="sng" algn="ctr">
                <a:solidFill>
                  <a:sysClr val="window" lastClr="FFFFFF"/>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224" name="Rounded Rectangle 223"/>
              <p:cNvSpPr/>
              <p:nvPr/>
            </p:nvSpPr>
            <p:spPr>
              <a:xfrm>
                <a:off x="3541205" y="1484441"/>
                <a:ext cx="2026198" cy="675839"/>
              </a:xfrm>
              <a:prstGeom prst="roundRect">
                <a:avLst>
                  <a:gd name="adj" fmla="val 50000"/>
                </a:avLst>
              </a:prstGeom>
              <a:solidFill>
                <a:srgbClr val="001343"/>
              </a:solidFill>
              <a:ln w="12700" cap="flat" cmpd="sng" algn="ctr">
                <a:noFill/>
                <a:prstDash val="dash"/>
                <a:miter lim="800000"/>
              </a:ln>
              <a:effectLst/>
            </p:spPr>
            <p:txBody>
              <a:bodyPr rIns="609600"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55</a:t>
                </a:r>
                <a:endParaRPr kumimoji="0" lang="en-US" sz="1333"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Automatable Workflow</a:t>
                </a:r>
              </a:p>
            </p:txBody>
          </p:sp>
          <p:grpSp>
            <p:nvGrpSpPr>
              <p:cNvPr id="225" name="Group 224"/>
              <p:cNvGrpSpPr/>
              <p:nvPr/>
            </p:nvGrpSpPr>
            <p:grpSpPr>
              <a:xfrm>
                <a:off x="4923354" y="2722136"/>
                <a:ext cx="341626" cy="329288"/>
                <a:chOff x="5337175" y="4984750"/>
                <a:chExt cx="849313" cy="746125"/>
              </a:xfrm>
              <a:solidFill>
                <a:sysClr val="windowText" lastClr="000000">
                  <a:lumMod val="50000"/>
                  <a:lumOff val="50000"/>
                </a:sysClr>
              </a:solidFill>
            </p:grpSpPr>
            <p:sp>
              <p:nvSpPr>
                <p:cNvPr id="267" name="Freeform 27"/>
                <p:cNvSpPr>
                  <a:spLocks/>
                </p:cNvSpPr>
                <p:nvPr/>
              </p:nvSpPr>
              <p:spPr bwMode="auto">
                <a:xfrm>
                  <a:off x="5337175" y="4984750"/>
                  <a:ext cx="849313" cy="746125"/>
                </a:xfrm>
                <a:custGeom>
                  <a:avLst/>
                  <a:gdLst>
                    <a:gd name="T0" fmla="*/ 212 w 1240"/>
                    <a:gd name="T1" fmla="*/ 561 h 1091"/>
                    <a:gd name="T2" fmla="*/ 195 w 1240"/>
                    <a:gd name="T3" fmla="*/ 578 h 1091"/>
                    <a:gd name="T4" fmla="*/ 58 w 1240"/>
                    <a:gd name="T5" fmla="*/ 715 h 1091"/>
                    <a:gd name="T6" fmla="*/ 13 w 1240"/>
                    <a:gd name="T7" fmla="*/ 721 h 1091"/>
                    <a:gd name="T8" fmla="*/ 19 w 1240"/>
                    <a:gd name="T9" fmla="*/ 676 h 1091"/>
                    <a:gd name="T10" fmla="*/ 210 w 1240"/>
                    <a:gd name="T11" fmla="*/ 485 h 1091"/>
                    <a:gd name="T12" fmla="*/ 263 w 1240"/>
                    <a:gd name="T13" fmla="*/ 485 h 1091"/>
                    <a:gd name="T14" fmla="*/ 454 w 1240"/>
                    <a:gd name="T15" fmla="*/ 676 h 1091"/>
                    <a:gd name="T16" fmla="*/ 460 w 1240"/>
                    <a:gd name="T17" fmla="*/ 719 h 1091"/>
                    <a:gd name="T18" fmla="*/ 415 w 1240"/>
                    <a:gd name="T19" fmla="*/ 714 h 1091"/>
                    <a:gd name="T20" fmla="*/ 287 w 1240"/>
                    <a:gd name="T21" fmla="*/ 587 h 1091"/>
                    <a:gd name="T22" fmla="*/ 269 w 1240"/>
                    <a:gd name="T23" fmla="*/ 575 h 1091"/>
                    <a:gd name="T24" fmla="*/ 288 w 1240"/>
                    <a:gd name="T25" fmla="*/ 647 h 1091"/>
                    <a:gd name="T26" fmla="*/ 746 w 1240"/>
                    <a:gd name="T27" fmla="*/ 950 h 1091"/>
                    <a:gd name="T28" fmla="*/ 1155 w 1240"/>
                    <a:gd name="T29" fmla="*/ 574 h 1091"/>
                    <a:gd name="T30" fmla="*/ 784 w 1240"/>
                    <a:gd name="T31" fmla="*/ 61 h 1091"/>
                    <a:gd name="T32" fmla="*/ 718 w 1240"/>
                    <a:gd name="T33" fmla="*/ 55 h 1091"/>
                    <a:gd name="T34" fmla="*/ 685 w 1240"/>
                    <a:gd name="T35" fmla="*/ 26 h 1091"/>
                    <a:gd name="T36" fmla="*/ 721 w 1240"/>
                    <a:gd name="T37" fmla="*/ 0 h 1091"/>
                    <a:gd name="T38" fmla="*/ 1211 w 1240"/>
                    <a:gd name="T39" fmla="*/ 439 h 1091"/>
                    <a:gd name="T40" fmla="*/ 897 w 1240"/>
                    <a:gd name="T41" fmla="*/ 971 h 1091"/>
                    <a:gd name="T42" fmla="*/ 214 w 1240"/>
                    <a:gd name="T43" fmla="*/ 574 h 1091"/>
                    <a:gd name="T44" fmla="*/ 212 w 1240"/>
                    <a:gd name="T45" fmla="*/ 561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0" h="1091">
                      <a:moveTo>
                        <a:pt x="212" y="561"/>
                      </a:moveTo>
                      <a:cubicBezTo>
                        <a:pt x="205" y="568"/>
                        <a:pt x="200" y="573"/>
                        <a:pt x="195" y="578"/>
                      </a:cubicBezTo>
                      <a:cubicBezTo>
                        <a:pt x="149" y="623"/>
                        <a:pt x="103" y="669"/>
                        <a:pt x="58" y="715"/>
                      </a:cubicBezTo>
                      <a:cubicBezTo>
                        <a:pt x="41" y="731"/>
                        <a:pt x="26" y="733"/>
                        <a:pt x="13" y="721"/>
                      </a:cubicBezTo>
                      <a:cubicBezTo>
                        <a:pt x="0" y="709"/>
                        <a:pt x="3" y="692"/>
                        <a:pt x="19" y="676"/>
                      </a:cubicBezTo>
                      <a:cubicBezTo>
                        <a:pt x="83" y="612"/>
                        <a:pt x="147" y="548"/>
                        <a:pt x="210" y="485"/>
                      </a:cubicBezTo>
                      <a:cubicBezTo>
                        <a:pt x="230" y="465"/>
                        <a:pt x="243" y="465"/>
                        <a:pt x="263" y="485"/>
                      </a:cubicBezTo>
                      <a:cubicBezTo>
                        <a:pt x="327" y="548"/>
                        <a:pt x="390" y="612"/>
                        <a:pt x="454" y="676"/>
                      </a:cubicBezTo>
                      <a:cubicBezTo>
                        <a:pt x="469" y="691"/>
                        <a:pt x="471" y="708"/>
                        <a:pt x="460" y="719"/>
                      </a:cubicBezTo>
                      <a:cubicBezTo>
                        <a:pt x="447" y="732"/>
                        <a:pt x="431" y="730"/>
                        <a:pt x="415" y="714"/>
                      </a:cubicBezTo>
                      <a:cubicBezTo>
                        <a:pt x="372" y="672"/>
                        <a:pt x="330" y="629"/>
                        <a:pt x="287" y="587"/>
                      </a:cubicBezTo>
                      <a:cubicBezTo>
                        <a:pt x="283" y="582"/>
                        <a:pt x="278" y="578"/>
                        <a:pt x="269" y="575"/>
                      </a:cubicBezTo>
                      <a:cubicBezTo>
                        <a:pt x="275" y="599"/>
                        <a:pt x="280" y="623"/>
                        <a:pt x="288" y="647"/>
                      </a:cubicBezTo>
                      <a:cubicBezTo>
                        <a:pt x="352" y="840"/>
                        <a:pt x="545" y="968"/>
                        <a:pt x="746" y="950"/>
                      </a:cubicBezTo>
                      <a:cubicBezTo>
                        <a:pt x="955" y="932"/>
                        <a:pt x="1123" y="777"/>
                        <a:pt x="1155" y="574"/>
                      </a:cubicBezTo>
                      <a:cubicBezTo>
                        <a:pt x="1193" y="328"/>
                        <a:pt x="1029" y="100"/>
                        <a:pt x="784" y="61"/>
                      </a:cubicBezTo>
                      <a:cubicBezTo>
                        <a:pt x="763" y="57"/>
                        <a:pt x="740" y="57"/>
                        <a:pt x="718" y="55"/>
                      </a:cubicBezTo>
                      <a:cubicBezTo>
                        <a:pt x="696" y="54"/>
                        <a:pt x="685" y="44"/>
                        <a:pt x="685" y="26"/>
                      </a:cubicBezTo>
                      <a:cubicBezTo>
                        <a:pt x="686" y="9"/>
                        <a:pt x="699" y="0"/>
                        <a:pt x="721" y="0"/>
                      </a:cubicBezTo>
                      <a:cubicBezTo>
                        <a:pt x="969" y="3"/>
                        <a:pt x="1179" y="191"/>
                        <a:pt x="1211" y="439"/>
                      </a:cubicBezTo>
                      <a:cubicBezTo>
                        <a:pt x="1240" y="668"/>
                        <a:pt x="1111" y="887"/>
                        <a:pt x="897" y="971"/>
                      </a:cubicBezTo>
                      <a:cubicBezTo>
                        <a:pt x="594" y="1091"/>
                        <a:pt x="266" y="900"/>
                        <a:pt x="214" y="574"/>
                      </a:cubicBezTo>
                      <a:cubicBezTo>
                        <a:pt x="214" y="571"/>
                        <a:pt x="213" y="568"/>
                        <a:pt x="21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8" name="Freeform 28"/>
                <p:cNvSpPr>
                  <a:spLocks/>
                </p:cNvSpPr>
                <p:nvPr/>
              </p:nvSpPr>
              <p:spPr bwMode="auto">
                <a:xfrm>
                  <a:off x="5740400" y="5180013"/>
                  <a:ext cx="265113" cy="261938"/>
                </a:xfrm>
                <a:custGeom>
                  <a:avLst/>
                  <a:gdLst>
                    <a:gd name="T0" fmla="*/ 349 w 388"/>
                    <a:gd name="T1" fmla="*/ 0 h 383"/>
                    <a:gd name="T2" fmla="*/ 380 w 388"/>
                    <a:gd name="T3" fmla="*/ 38 h 383"/>
                    <a:gd name="T4" fmla="*/ 366 w 388"/>
                    <a:gd name="T5" fmla="*/ 55 h 383"/>
                    <a:gd name="T6" fmla="*/ 51 w 388"/>
                    <a:gd name="T7" fmla="*/ 371 h 383"/>
                    <a:gd name="T8" fmla="*/ 39 w 388"/>
                    <a:gd name="T9" fmla="*/ 381 h 383"/>
                    <a:gd name="T10" fmla="*/ 7 w 388"/>
                    <a:gd name="T11" fmla="*/ 377 h 383"/>
                    <a:gd name="T12" fmla="*/ 1 w 388"/>
                    <a:gd name="T13" fmla="*/ 345 h 383"/>
                    <a:gd name="T14" fmla="*/ 15 w 388"/>
                    <a:gd name="T15" fmla="*/ 329 h 383"/>
                    <a:gd name="T16" fmla="*/ 326 w 388"/>
                    <a:gd name="T17" fmla="*/ 18 h 383"/>
                    <a:gd name="T18" fmla="*/ 349 w 388"/>
                    <a:gd name="T1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8" h="383">
                      <a:moveTo>
                        <a:pt x="349" y="0"/>
                      </a:moveTo>
                      <a:cubicBezTo>
                        <a:pt x="376" y="1"/>
                        <a:pt x="388" y="20"/>
                        <a:pt x="380" y="38"/>
                      </a:cubicBezTo>
                      <a:cubicBezTo>
                        <a:pt x="377" y="45"/>
                        <a:pt x="371" y="50"/>
                        <a:pt x="366" y="55"/>
                      </a:cubicBezTo>
                      <a:cubicBezTo>
                        <a:pt x="261" y="161"/>
                        <a:pt x="156" y="266"/>
                        <a:pt x="51" y="371"/>
                      </a:cubicBezTo>
                      <a:cubicBezTo>
                        <a:pt x="47" y="375"/>
                        <a:pt x="43" y="381"/>
                        <a:pt x="39" y="381"/>
                      </a:cubicBezTo>
                      <a:cubicBezTo>
                        <a:pt x="28" y="381"/>
                        <a:pt x="13" y="383"/>
                        <a:pt x="7" y="377"/>
                      </a:cubicBezTo>
                      <a:cubicBezTo>
                        <a:pt x="0" y="371"/>
                        <a:pt x="0" y="356"/>
                        <a:pt x="1" y="345"/>
                      </a:cubicBezTo>
                      <a:cubicBezTo>
                        <a:pt x="1" y="340"/>
                        <a:pt x="9" y="334"/>
                        <a:pt x="15" y="329"/>
                      </a:cubicBezTo>
                      <a:cubicBezTo>
                        <a:pt x="118" y="225"/>
                        <a:pt x="222" y="121"/>
                        <a:pt x="326" y="18"/>
                      </a:cubicBezTo>
                      <a:cubicBezTo>
                        <a:pt x="334" y="10"/>
                        <a:pt x="344" y="4"/>
                        <a:pt x="3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9" name="Freeform 29"/>
                <p:cNvSpPr>
                  <a:spLocks noEditPoints="1"/>
                </p:cNvSpPr>
                <p:nvPr/>
              </p:nvSpPr>
              <p:spPr bwMode="auto">
                <a:xfrm>
                  <a:off x="5721350" y="5195888"/>
                  <a:ext cx="111125" cy="111125"/>
                </a:xfrm>
                <a:custGeom>
                  <a:avLst/>
                  <a:gdLst>
                    <a:gd name="T0" fmla="*/ 162 w 162"/>
                    <a:gd name="T1" fmla="*/ 81 h 163"/>
                    <a:gd name="T2" fmla="*/ 81 w 162"/>
                    <a:gd name="T3" fmla="*/ 163 h 163"/>
                    <a:gd name="T4" fmla="*/ 0 w 162"/>
                    <a:gd name="T5" fmla="*/ 83 h 163"/>
                    <a:gd name="T6" fmla="*/ 80 w 162"/>
                    <a:gd name="T7" fmla="*/ 1 h 163"/>
                    <a:gd name="T8" fmla="*/ 162 w 162"/>
                    <a:gd name="T9" fmla="*/ 81 h 163"/>
                    <a:gd name="T10" fmla="*/ 81 w 162"/>
                    <a:gd name="T11" fmla="*/ 108 h 163"/>
                    <a:gd name="T12" fmla="*/ 107 w 162"/>
                    <a:gd name="T13" fmla="*/ 81 h 163"/>
                    <a:gd name="T14" fmla="*/ 81 w 162"/>
                    <a:gd name="T15" fmla="*/ 56 h 163"/>
                    <a:gd name="T16" fmla="*/ 55 w 162"/>
                    <a:gd name="T17" fmla="*/ 80 h 163"/>
                    <a:gd name="T18" fmla="*/ 81 w 162"/>
                    <a:gd name="T19" fmla="*/ 10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63">
                      <a:moveTo>
                        <a:pt x="162" y="81"/>
                      </a:moveTo>
                      <a:cubicBezTo>
                        <a:pt x="162" y="127"/>
                        <a:pt x="126" y="163"/>
                        <a:pt x="81" y="163"/>
                      </a:cubicBezTo>
                      <a:cubicBezTo>
                        <a:pt x="37" y="163"/>
                        <a:pt x="1" y="127"/>
                        <a:pt x="0" y="83"/>
                      </a:cubicBezTo>
                      <a:cubicBezTo>
                        <a:pt x="0" y="38"/>
                        <a:pt x="35" y="2"/>
                        <a:pt x="80" y="1"/>
                      </a:cubicBezTo>
                      <a:cubicBezTo>
                        <a:pt x="125" y="0"/>
                        <a:pt x="161" y="36"/>
                        <a:pt x="162" y="81"/>
                      </a:cubicBezTo>
                      <a:close/>
                      <a:moveTo>
                        <a:pt x="81" y="108"/>
                      </a:moveTo>
                      <a:cubicBezTo>
                        <a:pt x="95" y="108"/>
                        <a:pt x="107" y="96"/>
                        <a:pt x="107" y="81"/>
                      </a:cubicBezTo>
                      <a:cubicBezTo>
                        <a:pt x="106" y="65"/>
                        <a:pt x="97" y="56"/>
                        <a:pt x="81" y="56"/>
                      </a:cubicBezTo>
                      <a:cubicBezTo>
                        <a:pt x="66" y="56"/>
                        <a:pt x="57" y="65"/>
                        <a:pt x="55" y="80"/>
                      </a:cubicBezTo>
                      <a:cubicBezTo>
                        <a:pt x="54" y="95"/>
                        <a:pt x="66" y="107"/>
                        <a:pt x="81"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0" name="Freeform 30"/>
                <p:cNvSpPr>
                  <a:spLocks noEditPoints="1"/>
                </p:cNvSpPr>
                <p:nvPr/>
              </p:nvSpPr>
              <p:spPr bwMode="auto">
                <a:xfrm>
                  <a:off x="5875338" y="5349875"/>
                  <a:ext cx="111125" cy="109538"/>
                </a:xfrm>
                <a:custGeom>
                  <a:avLst/>
                  <a:gdLst>
                    <a:gd name="T0" fmla="*/ 162 w 162"/>
                    <a:gd name="T1" fmla="*/ 81 h 162"/>
                    <a:gd name="T2" fmla="*/ 80 w 162"/>
                    <a:gd name="T3" fmla="*/ 162 h 162"/>
                    <a:gd name="T4" fmla="*/ 0 w 162"/>
                    <a:gd name="T5" fmla="*/ 79 h 162"/>
                    <a:gd name="T6" fmla="*/ 81 w 162"/>
                    <a:gd name="T7" fmla="*/ 0 h 162"/>
                    <a:gd name="T8" fmla="*/ 162 w 162"/>
                    <a:gd name="T9" fmla="*/ 81 h 162"/>
                    <a:gd name="T10" fmla="*/ 107 w 162"/>
                    <a:gd name="T11" fmla="*/ 83 h 162"/>
                    <a:gd name="T12" fmla="*/ 80 w 162"/>
                    <a:gd name="T13" fmla="*/ 54 h 162"/>
                    <a:gd name="T14" fmla="*/ 55 w 162"/>
                    <a:gd name="T15" fmla="*/ 80 h 162"/>
                    <a:gd name="T16" fmla="*/ 82 w 162"/>
                    <a:gd name="T17" fmla="*/ 106 h 162"/>
                    <a:gd name="T18" fmla="*/ 107 w 162"/>
                    <a:gd name="T19" fmla="*/ 8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62">
                      <a:moveTo>
                        <a:pt x="162" y="81"/>
                      </a:moveTo>
                      <a:cubicBezTo>
                        <a:pt x="161" y="126"/>
                        <a:pt x="125" y="162"/>
                        <a:pt x="80" y="162"/>
                      </a:cubicBezTo>
                      <a:cubicBezTo>
                        <a:pt x="35" y="161"/>
                        <a:pt x="0" y="125"/>
                        <a:pt x="0" y="79"/>
                      </a:cubicBezTo>
                      <a:cubicBezTo>
                        <a:pt x="1" y="35"/>
                        <a:pt x="36" y="0"/>
                        <a:pt x="81" y="0"/>
                      </a:cubicBezTo>
                      <a:cubicBezTo>
                        <a:pt x="126" y="0"/>
                        <a:pt x="162" y="36"/>
                        <a:pt x="162" y="81"/>
                      </a:cubicBezTo>
                      <a:close/>
                      <a:moveTo>
                        <a:pt x="107" y="83"/>
                      </a:moveTo>
                      <a:cubicBezTo>
                        <a:pt x="107" y="66"/>
                        <a:pt x="94" y="53"/>
                        <a:pt x="80" y="54"/>
                      </a:cubicBezTo>
                      <a:cubicBezTo>
                        <a:pt x="65" y="56"/>
                        <a:pt x="56" y="65"/>
                        <a:pt x="55" y="80"/>
                      </a:cubicBezTo>
                      <a:cubicBezTo>
                        <a:pt x="54" y="95"/>
                        <a:pt x="67" y="107"/>
                        <a:pt x="82" y="106"/>
                      </a:cubicBezTo>
                      <a:cubicBezTo>
                        <a:pt x="97" y="105"/>
                        <a:pt x="105" y="96"/>
                        <a:pt x="107"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226" name="Group 225"/>
              <p:cNvGrpSpPr/>
              <p:nvPr/>
            </p:nvGrpSpPr>
            <p:grpSpPr>
              <a:xfrm>
                <a:off x="578947" y="1146670"/>
                <a:ext cx="2501153" cy="2889915"/>
                <a:chOff x="4188189" y="1909394"/>
                <a:chExt cx="2122065" cy="3282734"/>
              </a:xfrm>
              <a:effectLst/>
            </p:grpSpPr>
            <p:sp>
              <p:nvSpPr>
                <p:cNvPr id="253" name="Oval 252"/>
                <p:cNvSpPr/>
                <p:nvPr/>
              </p:nvSpPr>
              <p:spPr>
                <a:xfrm rot="5400000">
                  <a:off x="5213924" y="3164135"/>
                  <a:ext cx="79246" cy="1103739"/>
                </a:xfrm>
                <a:prstGeom prst="ellipse">
                  <a:avLst/>
                </a:prstGeom>
                <a:solidFill>
                  <a:srgbClr val="C4E9DB"/>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4" name="Oval 253"/>
                <p:cNvSpPr/>
                <p:nvPr/>
              </p:nvSpPr>
              <p:spPr>
                <a:xfrm rot="5400000">
                  <a:off x="5221407" y="4769609"/>
                  <a:ext cx="64806" cy="780231"/>
                </a:xfrm>
                <a:prstGeom prst="ellipse">
                  <a:avLst/>
                </a:prstGeom>
                <a:solidFill>
                  <a:srgbClr val="C4E9DB"/>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5" name="Oval 254"/>
                <p:cNvSpPr/>
                <p:nvPr/>
              </p:nvSpPr>
              <p:spPr>
                <a:xfrm rot="5400000">
                  <a:off x="5293631" y="4219080"/>
                  <a:ext cx="307679" cy="279708"/>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56" name="Group 255"/>
                <p:cNvGrpSpPr/>
                <p:nvPr/>
              </p:nvGrpSpPr>
              <p:grpSpPr>
                <a:xfrm rot="5400000">
                  <a:off x="3648698" y="2504445"/>
                  <a:ext cx="3201048" cy="2122065"/>
                  <a:chOff x="2087880" y="1158240"/>
                  <a:chExt cx="2846793" cy="1713278"/>
                </a:xfrm>
              </p:grpSpPr>
              <p:sp>
                <p:nvSpPr>
                  <p:cNvPr id="265" name="Freeform 264"/>
                  <p:cNvSpPr/>
                  <p:nvPr/>
                </p:nvSpPr>
                <p:spPr>
                  <a:xfrm>
                    <a:off x="2087880" y="1158240"/>
                    <a:ext cx="2846793" cy="548640"/>
                  </a:xfrm>
                  <a:custGeom>
                    <a:avLst/>
                    <a:gdLst>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39252 w 3169920"/>
                      <a:gd name="connsiteY1" fmla="*/ 363855 h 548640"/>
                      <a:gd name="connsiteX2" fmla="*/ 3169920 w 3169920"/>
                      <a:gd name="connsiteY2" fmla="*/ 548640 h 548640"/>
                      <a:gd name="connsiteX0" fmla="*/ 0 w 3169920"/>
                      <a:gd name="connsiteY0" fmla="*/ 0 h 548640"/>
                      <a:gd name="connsiteX1" fmla="*/ 1639252 w 3169920"/>
                      <a:gd name="connsiteY1" fmla="*/ 363855 h 548640"/>
                      <a:gd name="connsiteX2" fmla="*/ 3169920 w 3169920"/>
                      <a:gd name="connsiteY2" fmla="*/ 548640 h 548640"/>
                      <a:gd name="connsiteX0" fmla="*/ 0 w 3169920"/>
                      <a:gd name="connsiteY0" fmla="*/ 0 h 548640"/>
                      <a:gd name="connsiteX1" fmla="*/ 1644015 w 3169920"/>
                      <a:gd name="connsiteY1" fmla="*/ 392430 h 548640"/>
                      <a:gd name="connsiteX2" fmla="*/ 3169920 w 3169920"/>
                      <a:gd name="connsiteY2" fmla="*/ 548640 h 548640"/>
                      <a:gd name="connsiteX0" fmla="*/ 0 w 3169920"/>
                      <a:gd name="connsiteY0" fmla="*/ 0 h 548640"/>
                      <a:gd name="connsiteX1" fmla="*/ 1644015 w 3169920"/>
                      <a:gd name="connsiteY1" fmla="*/ 392430 h 548640"/>
                      <a:gd name="connsiteX2" fmla="*/ 3169920 w 3169920"/>
                      <a:gd name="connsiteY2" fmla="*/ 548640 h 548640"/>
                      <a:gd name="connsiteX0" fmla="*/ 0 w 3169920"/>
                      <a:gd name="connsiteY0" fmla="*/ 0 h 548640"/>
                      <a:gd name="connsiteX1" fmla="*/ 3169920 w 3169920"/>
                      <a:gd name="connsiteY1" fmla="*/ 548640 h 548640"/>
                      <a:gd name="connsiteX0" fmla="*/ 0 w 3169920"/>
                      <a:gd name="connsiteY0" fmla="*/ 0 h 548640"/>
                      <a:gd name="connsiteX1" fmla="*/ 3169920 w 3169920"/>
                      <a:gd name="connsiteY1" fmla="*/ 548640 h 548640"/>
                      <a:gd name="connsiteX0" fmla="*/ 0 w 3169920"/>
                      <a:gd name="connsiteY0" fmla="*/ 0 h 548640"/>
                      <a:gd name="connsiteX1" fmla="*/ 3169920 w 3169920"/>
                      <a:gd name="connsiteY1" fmla="*/ 548640 h 548640"/>
                    </a:gdLst>
                    <a:ahLst/>
                    <a:cxnLst>
                      <a:cxn ang="0">
                        <a:pos x="connsiteX0" y="connsiteY0"/>
                      </a:cxn>
                      <a:cxn ang="0">
                        <a:pos x="connsiteX1" y="connsiteY1"/>
                      </a:cxn>
                    </a:cxnLst>
                    <a:rect l="l" t="t" r="r" b="b"/>
                    <a:pathLst>
                      <a:path w="3169920" h="548640">
                        <a:moveTo>
                          <a:pt x="0" y="0"/>
                        </a:moveTo>
                        <a:cubicBezTo>
                          <a:pt x="337503" y="392430"/>
                          <a:pt x="2008505" y="422910"/>
                          <a:pt x="3169920" y="548640"/>
                        </a:cubicBezTo>
                      </a:path>
                    </a:pathLst>
                  </a:custGeom>
                  <a:noFill/>
                  <a:ln w="9525" cap="flat" cmpd="sng" algn="ctr">
                    <a:solidFill>
                      <a:srgbClr val="48BB8E"/>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endParaRPr>
                  </a:p>
                </p:txBody>
              </p:sp>
              <p:sp>
                <p:nvSpPr>
                  <p:cNvPr id="266" name="Freeform 265"/>
                  <p:cNvSpPr/>
                  <p:nvPr/>
                </p:nvSpPr>
                <p:spPr>
                  <a:xfrm flipV="1">
                    <a:off x="2087880" y="2322878"/>
                    <a:ext cx="2846793" cy="548640"/>
                  </a:xfrm>
                  <a:custGeom>
                    <a:avLst/>
                    <a:gdLst>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53540 w 3169920"/>
                      <a:gd name="connsiteY1" fmla="*/ 449580 h 548640"/>
                      <a:gd name="connsiteX2" fmla="*/ 3169920 w 3169920"/>
                      <a:gd name="connsiteY2" fmla="*/ 548640 h 548640"/>
                      <a:gd name="connsiteX0" fmla="*/ 0 w 3169920"/>
                      <a:gd name="connsiteY0" fmla="*/ 0 h 548640"/>
                      <a:gd name="connsiteX1" fmla="*/ 1639252 w 3169920"/>
                      <a:gd name="connsiteY1" fmla="*/ 363855 h 548640"/>
                      <a:gd name="connsiteX2" fmla="*/ 3169920 w 3169920"/>
                      <a:gd name="connsiteY2" fmla="*/ 548640 h 548640"/>
                      <a:gd name="connsiteX0" fmla="*/ 0 w 3169920"/>
                      <a:gd name="connsiteY0" fmla="*/ 0 h 548640"/>
                      <a:gd name="connsiteX1" fmla="*/ 1639252 w 3169920"/>
                      <a:gd name="connsiteY1" fmla="*/ 363855 h 548640"/>
                      <a:gd name="connsiteX2" fmla="*/ 3169920 w 3169920"/>
                      <a:gd name="connsiteY2" fmla="*/ 548640 h 548640"/>
                      <a:gd name="connsiteX0" fmla="*/ 0 w 3169920"/>
                      <a:gd name="connsiteY0" fmla="*/ 0 h 548640"/>
                      <a:gd name="connsiteX1" fmla="*/ 1644015 w 3169920"/>
                      <a:gd name="connsiteY1" fmla="*/ 392430 h 548640"/>
                      <a:gd name="connsiteX2" fmla="*/ 3169920 w 3169920"/>
                      <a:gd name="connsiteY2" fmla="*/ 548640 h 548640"/>
                      <a:gd name="connsiteX0" fmla="*/ 0 w 3169920"/>
                      <a:gd name="connsiteY0" fmla="*/ 0 h 548640"/>
                      <a:gd name="connsiteX1" fmla="*/ 1644015 w 3169920"/>
                      <a:gd name="connsiteY1" fmla="*/ 392430 h 548640"/>
                      <a:gd name="connsiteX2" fmla="*/ 3169920 w 3169920"/>
                      <a:gd name="connsiteY2" fmla="*/ 548640 h 548640"/>
                      <a:gd name="connsiteX0" fmla="*/ 0 w 3169920"/>
                      <a:gd name="connsiteY0" fmla="*/ 0 h 548640"/>
                      <a:gd name="connsiteX1" fmla="*/ 3169920 w 3169920"/>
                      <a:gd name="connsiteY1" fmla="*/ 548640 h 548640"/>
                      <a:gd name="connsiteX0" fmla="*/ 0 w 3169920"/>
                      <a:gd name="connsiteY0" fmla="*/ 0 h 548640"/>
                      <a:gd name="connsiteX1" fmla="*/ 3169920 w 3169920"/>
                      <a:gd name="connsiteY1" fmla="*/ 548640 h 548640"/>
                      <a:gd name="connsiteX0" fmla="*/ 0 w 3169920"/>
                      <a:gd name="connsiteY0" fmla="*/ 0 h 548640"/>
                      <a:gd name="connsiteX1" fmla="*/ 3169920 w 3169920"/>
                      <a:gd name="connsiteY1" fmla="*/ 548640 h 548640"/>
                    </a:gdLst>
                    <a:ahLst/>
                    <a:cxnLst>
                      <a:cxn ang="0">
                        <a:pos x="connsiteX0" y="connsiteY0"/>
                      </a:cxn>
                      <a:cxn ang="0">
                        <a:pos x="connsiteX1" y="connsiteY1"/>
                      </a:cxn>
                    </a:cxnLst>
                    <a:rect l="l" t="t" r="r" b="b"/>
                    <a:pathLst>
                      <a:path w="3169920" h="548640">
                        <a:moveTo>
                          <a:pt x="0" y="0"/>
                        </a:moveTo>
                        <a:cubicBezTo>
                          <a:pt x="337503" y="392430"/>
                          <a:pt x="2008505" y="422910"/>
                          <a:pt x="3169920" y="548640"/>
                        </a:cubicBezTo>
                      </a:path>
                    </a:pathLst>
                  </a:custGeom>
                  <a:noFill/>
                  <a:ln w="9525" cap="flat" cmpd="sng" algn="ctr">
                    <a:solidFill>
                      <a:srgbClr val="48BB8E"/>
                    </a:solidFill>
                    <a:prstDash val="solid"/>
                  </a:ln>
                  <a:effectLst>
                    <a:outerShdw blurRad="40000" dist="23000" dir="5400000" rotWithShape="0">
                      <a:srgbClr val="000000">
                        <a:alpha val="35000"/>
                      </a:srgb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endParaRPr>
                  </a:p>
                </p:txBody>
              </p:sp>
            </p:grpSp>
            <p:sp>
              <p:nvSpPr>
                <p:cNvPr id="257" name="Oval 256"/>
                <p:cNvSpPr/>
                <p:nvPr/>
              </p:nvSpPr>
              <p:spPr>
                <a:xfrm rot="5400000">
                  <a:off x="5176048" y="926013"/>
                  <a:ext cx="132896" cy="2099658"/>
                </a:xfrm>
                <a:prstGeom prst="ellipse">
                  <a:avLst/>
                </a:prstGeom>
                <a:solidFill>
                  <a:srgbClr val="C4E9DB"/>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8" name="Oval 257"/>
                <p:cNvSpPr/>
                <p:nvPr/>
              </p:nvSpPr>
              <p:spPr>
                <a:xfrm rot="5400000">
                  <a:off x="4911968" y="3937778"/>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9" name="Oval 258"/>
                <p:cNvSpPr/>
                <p:nvPr/>
              </p:nvSpPr>
              <p:spPr>
                <a:xfrm rot="5400000">
                  <a:off x="5043256" y="4703967"/>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60" name="Oval 259"/>
                <p:cNvSpPr/>
                <p:nvPr/>
              </p:nvSpPr>
              <p:spPr>
                <a:xfrm rot="5400000">
                  <a:off x="5382221" y="2701650"/>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61" name="Oval 260"/>
                <p:cNvSpPr/>
                <p:nvPr/>
              </p:nvSpPr>
              <p:spPr>
                <a:xfrm rot="5400000">
                  <a:off x="4926561" y="2320394"/>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62" name="Oval 261"/>
                <p:cNvSpPr/>
                <p:nvPr/>
              </p:nvSpPr>
              <p:spPr>
                <a:xfrm rot="5400000">
                  <a:off x="5187273" y="3290002"/>
                  <a:ext cx="279708" cy="256823"/>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63" name="Oval 262"/>
                <p:cNvSpPr/>
                <p:nvPr/>
              </p:nvSpPr>
              <p:spPr>
                <a:xfrm rot="5400000">
                  <a:off x="4826698" y="2908269"/>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64" name="Oval 263"/>
                <p:cNvSpPr/>
                <p:nvPr/>
              </p:nvSpPr>
              <p:spPr>
                <a:xfrm rot="5400000">
                  <a:off x="5446430" y="2197034"/>
                  <a:ext cx="279708" cy="254280"/>
                </a:xfrm>
                <a:prstGeom prst="ellipse">
                  <a:avLst/>
                </a:prstGeom>
                <a:solidFill>
                  <a:sysClr val="window" lastClr="FFFFFF"/>
                </a:solidFill>
                <a:ln w="38100" cap="flat" cmpd="sng" algn="ctr">
                  <a:solidFill>
                    <a:srgbClr val="48BB8E"/>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227" name="TextBox 226"/>
              <p:cNvSpPr txBox="1"/>
              <p:nvPr/>
            </p:nvSpPr>
            <p:spPr>
              <a:xfrm>
                <a:off x="265667" y="966292"/>
                <a:ext cx="3200400" cy="285863"/>
              </a:xfrm>
              <a:prstGeom prst="rect">
                <a:avLst/>
              </a:prstGeom>
              <a:noFill/>
              <a:ln>
                <a:noFill/>
              </a:ln>
            </p:spPr>
            <p:txBody>
              <a:bodyPr wrap="square" lIns="121920" tIns="60960" rIns="121920" bIns="60960" rtlCol="0" anchor="b" anchorCtr="0">
                <a:noAutofit/>
              </a:bodyPr>
              <a:lstStyle>
                <a:defPPr>
                  <a:defRPr lang="en-US"/>
                </a:defPPr>
                <a:lvl1pPr algn="ctr">
                  <a:defRPr sz="1400">
                    <a:solidFill>
                      <a:schemeClr val="bg1"/>
                    </a:solidFill>
                    <a:latin typeface="Calibri (Headings)"/>
                    <a:cs typeface="Calibri (Headings)"/>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467"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mn-ea"/>
                  </a:rPr>
                  <a:t>Total Tickets: 35883</a:t>
                </a:r>
              </a:p>
            </p:txBody>
          </p:sp>
          <p:grpSp>
            <p:nvGrpSpPr>
              <p:cNvPr id="228" name="Group 227"/>
              <p:cNvGrpSpPr/>
              <p:nvPr/>
            </p:nvGrpSpPr>
            <p:grpSpPr>
              <a:xfrm>
                <a:off x="1380765" y="4415968"/>
                <a:ext cx="910650" cy="697553"/>
                <a:chOff x="1758662" y="5086328"/>
                <a:chExt cx="1248941" cy="938592"/>
              </a:xfrm>
            </p:grpSpPr>
            <p:sp>
              <p:nvSpPr>
                <p:cNvPr id="247" name="Rounded Rectangle 246"/>
                <p:cNvSpPr/>
                <p:nvPr/>
              </p:nvSpPr>
              <p:spPr>
                <a:xfrm>
                  <a:off x="1770293" y="5086328"/>
                  <a:ext cx="1224200" cy="901272"/>
                </a:xfrm>
                <a:prstGeom prst="roundRect">
                  <a:avLst>
                    <a:gd name="adj" fmla="val 4838"/>
                  </a:avLst>
                </a:prstGeom>
                <a:solidFill>
                  <a:sysClr val="window" lastClr="FFFFFF"/>
                </a:solidFill>
                <a:ln w="12700" cap="flat" cmpd="sng" algn="ctr">
                  <a:solidFill>
                    <a:srgbClr val="6FAD45"/>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248" name="Oval 247"/>
                <p:cNvSpPr/>
                <p:nvPr/>
              </p:nvSpPr>
              <p:spPr>
                <a:xfrm rot="5400000">
                  <a:off x="2495884" y="5228361"/>
                  <a:ext cx="217085" cy="217085"/>
                </a:xfrm>
                <a:prstGeom prst="ellipse">
                  <a:avLst/>
                </a:prstGeom>
                <a:solidFill>
                  <a:sysClr val="window" lastClr="FFFFFF"/>
                </a:solidFill>
                <a:ln w="38100" cap="flat" cmpd="sng" algn="ctr">
                  <a:solidFill>
                    <a:srgbClr val="92C66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49" name="Oval 248"/>
                <p:cNvSpPr/>
                <p:nvPr/>
              </p:nvSpPr>
              <p:spPr>
                <a:xfrm rot="5400000">
                  <a:off x="1967750" y="5209300"/>
                  <a:ext cx="231654" cy="231654"/>
                </a:xfrm>
                <a:prstGeom prst="ellipse">
                  <a:avLst/>
                </a:prstGeom>
                <a:solidFill>
                  <a:sysClr val="window" lastClr="FFFFFF"/>
                </a:solidFill>
                <a:ln w="38100" cap="flat" cmpd="sng" algn="ctr">
                  <a:solidFill>
                    <a:srgbClr val="92C66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0" name="Oval 249"/>
                <p:cNvSpPr/>
                <p:nvPr/>
              </p:nvSpPr>
              <p:spPr>
                <a:xfrm rot="5400000">
                  <a:off x="2583965" y="5641313"/>
                  <a:ext cx="228377" cy="228377"/>
                </a:xfrm>
                <a:prstGeom prst="ellipse">
                  <a:avLst/>
                </a:prstGeom>
                <a:solidFill>
                  <a:sysClr val="window" lastClr="FFFFFF"/>
                </a:solidFill>
                <a:ln w="38100" cap="flat" cmpd="sng" algn="ctr">
                  <a:solidFill>
                    <a:srgbClr val="92C66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1" name="Oval 250"/>
                <p:cNvSpPr/>
                <p:nvPr/>
              </p:nvSpPr>
              <p:spPr>
                <a:xfrm rot="5400000">
                  <a:off x="2111504" y="5582314"/>
                  <a:ext cx="240836" cy="240836"/>
                </a:xfrm>
                <a:prstGeom prst="ellipse">
                  <a:avLst/>
                </a:prstGeom>
                <a:solidFill>
                  <a:sysClr val="window" lastClr="FFFFFF"/>
                </a:solidFill>
                <a:ln w="38100" cap="flat" cmpd="sng" algn="ctr">
                  <a:solidFill>
                    <a:srgbClr val="92C66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2" name="Flowchart: Terminator 251"/>
                <p:cNvSpPr/>
                <p:nvPr/>
              </p:nvSpPr>
              <p:spPr>
                <a:xfrm>
                  <a:off x="1758662" y="5972127"/>
                  <a:ext cx="1248941" cy="52793"/>
                </a:xfrm>
                <a:prstGeom prst="flowChartTerminator">
                  <a:avLst/>
                </a:prstGeom>
                <a:solidFill>
                  <a:srgbClr val="6FAD45"/>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229" name="TextBox 228"/>
              <p:cNvSpPr txBox="1"/>
              <p:nvPr/>
            </p:nvSpPr>
            <p:spPr>
              <a:xfrm>
                <a:off x="417427" y="5174359"/>
                <a:ext cx="2859173" cy="338554"/>
              </a:xfrm>
              <a:prstGeom prst="rect">
                <a:avLst/>
              </a:prstGeom>
              <a:noFill/>
              <a:ln>
                <a:noFill/>
              </a:ln>
            </p:spPr>
            <p:txBody>
              <a:bodyPr wrap="square" lIns="121920" tIns="60960" rIns="121920" bIns="60960" rtlCol="0" anchor="b"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chemeClr val="accent1">
                        <a:lumMod val="50000"/>
                      </a:schemeClr>
                    </a:solidFill>
                    <a:effectLst/>
                    <a:uLnTx/>
                    <a:uFillTx/>
                    <a:latin typeface="Calibri" panose="020F0502020204030204" pitchFamily="34" charset="0"/>
                    <a:cs typeface="Calibri (Headings)"/>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IN" sz="1467" b="1" i="0" u="none" strike="noStrike" kern="0" cap="none" spc="0" normalizeH="0" baseline="0" noProof="0" dirty="0">
                    <a:ln>
                      <a:noFill/>
                    </a:ln>
                    <a:solidFill>
                      <a:srgbClr val="07A14D"/>
                    </a:solidFill>
                    <a:effectLst/>
                    <a:uLnTx/>
                    <a:uFillTx/>
                    <a:latin typeface="Calibri" panose="020F0502020204030204" pitchFamily="34" charset="0"/>
                    <a:ea typeface="+mn-ea"/>
                  </a:rPr>
                  <a:t>Automatable Tickets: </a:t>
                </a:r>
                <a:r>
                  <a:rPr kumimoji="0" lang="en-IN" sz="1467" b="1" i="0" u="none" strike="noStrike" kern="0" cap="none" spc="0" normalizeH="0" baseline="0" noProof="0" dirty="0" smtClean="0">
                    <a:ln>
                      <a:noFill/>
                    </a:ln>
                    <a:solidFill>
                      <a:srgbClr val="07A14D"/>
                    </a:solidFill>
                    <a:effectLst/>
                    <a:uLnTx/>
                    <a:uFillTx/>
                    <a:latin typeface="Calibri" panose="020F0502020204030204" pitchFamily="34" charset="0"/>
                    <a:ea typeface="+mn-ea"/>
                  </a:rPr>
                  <a:t>6280</a:t>
                </a:r>
                <a:endParaRPr kumimoji="0" lang="en-IN" sz="1467" b="1" i="0" u="none" strike="noStrike" kern="0" cap="none" spc="0" normalizeH="0" baseline="0" noProof="0" dirty="0">
                  <a:ln>
                    <a:noFill/>
                  </a:ln>
                  <a:solidFill>
                    <a:srgbClr val="07A14D"/>
                  </a:solidFill>
                  <a:effectLst/>
                  <a:uLnTx/>
                  <a:uFillTx/>
                  <a:latin typeface="Calibri" panose="020F0502020204030204" pitchFamily="34" charset="0"/>
                  <a:ea typeface="+mn-ea"/>
                </a:endParaRPr>
              </a:p>
            </p:txBody>
          </p:sp>
          <p:cxnSp>
            <p:nvCxnSpPr>
              <p:cNvPr id="230" name="Straight Connector 229"/>
              <p:cNvCxnSpPr/>
              <p:nvPr/>
            </p:nvCxnSpPr>
            <p:spPr>
              <a:xfrm>
                <a:off x="2509164" y="2849259"/>
                <a:ext cx="1032041" cy="8853"/>
              </a:xfrm>
              <a:prstGeom prst="line">
                <a:avLst/>
              </a:prstGeom>
              <a:noFill/>
              <a:ln w="6350" cap="flat" cmpd="sng" algn="ctr">
                <a:solidFill>
                  <a:sysClr val="window" lastClr="FFFFFF">
                    <a:lumMod val="75000"/>
                  </a:sysClr>
                </a:solidFill>
                <a:prstDash val="dash"/>
                <a:miter lim="800000"/>
              </a:ln>
              <a:effectLst/>
            </p:spPr>
          </p:cxnSp>
          <p:sp>
            <p:nvSpPr>
              <p:cNvPr id="231" name="Oval 230"/>
              <p:cNvSpPr/>
              <p:nvPr/>
            </p:nvSpPr>
            <p:spPr>
              <a:xfrm>
                <a:off x="4940792" y="1602644"/>
                <a:ext cx="443578" cy="443578"/>
              </a:xfrm>
              <a:prstGeom prst="ellipse">
                <a:avLst/>
              </a:prstGeom>
              <a:solidFill>
                <a:srgbClr val="FFFFFF"/>
              </a:solidFill>
              <a:ln w="12700" cap="flat" cmpd="sng" algn="ctr">
                <a:solidFill>
                  <a:sysClr val="window" lastClr="FFFFFF"/>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nvGrpSpPr>
              <p:cNvPr id="232" name="Group 231"/>
              <p:cNvGrpSpPr/>
              <p:nvPr/>
            </p:nvGrpSpPr>
            <p:grpSpPr>
              <a:xfrm rot="20195465">
                <a:off x="4944140" y="1703311"/>
                <a:ext cx="357475" cy="252461"/>
                <a:chOff x="2001118" y="5037361"/>
                <a:chExt cx="1052919" cy="673104"/>
              </a:xfrm>
              <a:solidFill>
                <a:sysClr val="windowText" lastClr="000000">
                  <a:lumMod val="50000"/>
                  <a:lumOff val="50000"/>
                </a:sysClr>
              </a:solidFill>
            </p:grpSpPr>
            <p:sp>
              <p:nvSpPr>
                <p:cNvPr id="244" name="Freeform 9"/>
                <p:cNvSpPr>
                  <a:spLocks noEditPoints="1"/>
                </p:cNvSpPr>
                <p:nvPr/>
              </p:nvSpPr>
              <p:spPr bwMode="auto">
                <a:xfrm>
                  <a:off x="2695866" y="5124012"/>
                  <a:ext cx="358171" cy="355546"/>
                </a:xfrm>
                <a:custGeom>
                  <a:avLst/>
                  <a:gdLst>
                    <a:gd name="T0" fmla="*/ 436 w 607"/>
                    <a:gd name="T1" fmla="*/ 495 h 606"/>
                    <a:gd name="T2" fmla="*/ 450 w 607"/>
                    <a:gd name="T3" fmla="*/ 538 h 606"/>
                    <a:gd name="T4" fmla="*/ 429 w 607"/>
                    <a:gd name="T5" fmla="*/ 579 h 606"/>
                    <a:gd name="T6" fmla="*/ 358 w 607"/>
                    <a:gd name="T7" fmla="*/ 600 h 606"/>
                    <a:gd name="T8" fmla="*/ 320 w 607"/>
                    <a:gd name="T9" fmla="*/ 582 h 606"/>
                    <a:gd name="T10" fmla="*/ 315 w 607"/>
                    <a:gd name="T11" fmla="*/ 563 h 606"/>
                    <a:gd name="T12" fmla="*/ 279 w 607"/>
                    <a:gd name="T13" fmla="*/ 533 h 606"/>
                    <a:gd name="T14" fmla="*/ 254 w 607"/>
                    <a:gd name="T15" fmla="*/ 547 h 606"/>
                    <a:gd name="T16" fmla="*/ 172 w 607"/>
                    <a:gd name="T17" fmla="*/ 572 h 606"/>
                    <a:gd name="T18" fmla="*/ 131 w 607"/>
                    <a:gd name="T19" fmla="*/ 551 h 606"/>
                    <a:gd name="T20" fmla="*/ 119 w 607"/>
                    <a:gd name="T21" fmla="*/ 512 h 606"/>
                    <a:gd name="T22" fmla="*/ 129 w 607"/>
                    <a:gd name="T23" fmla="*/ 493 h 606"/>
                    <a:gd name="T24" fmla="*/ 125 w 607"/>
                    <a:gd name="T25" fmla="*/ 448 h 606"/>
                    <a:gd name="T26" fmla="*/ 95 w 607"/>
                    <a:gd name="T27" fmla="*/ 440 h 606"/>
                    <a:gd name="T28" fmla="*/ 20 w 607"/>
                    <a:gd name="T29" fmla="*/ 402 h 606"/>
                    <a:gd name="T30" fmla="*/ 6 w 607"/>
                    <a:gd name="T31" fmla="*/ 357 h 606"/>
                    <a:gd name="T32" fmla="*/ 24 w 607"/>
                    <a:gd name="T33" fmla="*/ 320 h 606"/>
                    <a:gd name="T34" fmla="*/ 41 w 607"/>
                    <a:gd name="T35" fmla="*/ 315 h 606"/>
                    <a:gd name="T36" fmla="*/ 75 w 607"/>
                    <a:gd name="T37" fmla="*/ 268 h 606"/>
                    <a:gd name="T38" fmla="*/ 66 w 607"/>
                    <a:gd name="T39" fmla="*/ 256 h 606"/>
                    <a:gd name="T40" fmla="*/ 31 w 607"/>
                    <a:gd name="T41" fmla="*/ 238 h 606"/>
                    <a:gd name="T42" fmla="*/ 20 w 607"/>
                    <a:gd name="T43" fmla="*/ 200 h 606"/>
                    <a:gd name="T44" fmla="*/ 56 w 607"/>
                    <a:gd name="T45" fmla="*/ 129 h 606"/>
                    <a:gd name="T46" fmla="*/ 96 w 607"/>
                    <a:gd name="T47" fmla="*/ 117 h 606"/>
                    <a:gd name="T48" fmla="*/ 115 w 607"/>
                    <a:gd name="T49" fmla="*/ 128 h 606"/>
                    <a:gd name="T50" fmla="*/ 159 w 607"/>
                    <a:gd name="T51" fmla="*/ 123 h 606"/>
                    <a:gd name="T52" fmla="*/ 167 w 607"/>
                    <a:gd name="T53" fmla="*/ 95 h 606"/>
                    <a:gd name="T54" fmla="*/ 207 w 607"/>
                    <a:gd name="T55" fmla="*/ 19 h 606"/>
                    <a:gd name="T56" fmla="*/ 249 w 607"/>
                    <a:gd name="T57" fmla="*/ 6 h 606"/>
                    <a:gd name="T58" fmla="*/ 288 w 607"/>
                    <a:gd name="T59" fmla="*/ 25 h 606"/>
                    <a:gd name="T60" fmla="*/ 293 w 607"/>
                    <a:gd name="T61" fmla="*/ 43 h 606"/>
                    <a:gd name="T62" fmla="*/ 330 w 607"/>
                    <a:gd name="T63" fmla="*/ 73 h 606"/>
                    <a:gd name="T64" fmla="*/ 354 w 607"/>
                    <a:gd name="T65" fmla="*/ 60 h 606"/>
                    <a:gd name="T66" fmla="*/ 437 w 607"/>
                    <a:gd name="T67" fmla="*/ 34 h 606"/>
                    <a:gd name="T68" fmla="*/ 475 w 607"/>
                    <a:gd name="T69" fmla="*/ 53 h 606"/>
                    <a:gd name="T70" fmla="*/ 488 w 607"/>
                    <a:gd name="T71" fmla="*/ 96 h 606"/>
                    <a:gd name="T72" fmla="*/ 481 w 607"/>
                    <a:gd name="T73" fmla="*/ 111 h 606"/>
                    <a:gd name="T74" fmla="*/ 491 w 607"/>
                    <a:gd name="T75" fmla="*/ 165 h 606"/>
                    <a:gd name="T76" fmla="*/ 504 w 607"/>
                    <a:gd name="T77" fmla="*/ 168 h 606"/>
                    <a:gd name="T78" fmla="*/ 541 w 607"/>
                    <a:gd name="T79" fmla="*/ 157 h 606"/>
                    <a:gd name="T80" fmla="*/ 579 w 607"/>
                    <a:gd name="T81" fmla="*/ 176 h 606"/>
                    <a:gd name="T82" fmla="*/ 603 w 607"/>
                    <a:gd name="T83" fmla="*/ 252 h 606"/>
                    <a:gd name="T84" fmla="*/ 587 w 607"/>
                    <a:gd name="T85" fmla="*/ 285 h 606"/>
                    <a:gd name="T86" fmla="*/ 566 w 607"/>
                    <a:gd name="T87" fmla="*/ 291 h 606"/>
                    <a:gd name="T88" fmla="*/ 534 w 607"/>
                    <a:gd name="T89" fmla="*/ 329 h 606"/>
                    <a:gd name="T90" fmla="*/ 547 w 607"/>
                    <a:gd name="T91" fmla="*/ 353 h 606"/>
                    <a:gd name="T92" fmla="*/ 574 w 607"/>
                    <a:gd name="T93" fmla="*/ 435 h 606"/>
                    <a:gd name="T94" fmla="*/ 555 w 607"/>
                    <a:gd name="T95" fmla="*/ 472 h 606"/>
                    <a:gd name="T96" fmla="*/ 508 w 607"/>
                    <a:gd name="T97" fmla="*/ 486 h 606"/>
                    <a:gd name="T98" fmla="*/ 505 w 607"/>
                    <a:gd name="T99" fmla="*/ 484 h 606"/>
                    <a:gd name="T100" fmla="*/ 436 w 607"/>
                    <a:gd name="T101" fmla="*/ 495 h 606"/>
                    <a:gd name="T102" fmla="*/ 304 w 607"/>
                    <a:gd name="T103" fmla="*/ 194 h 606"/>
                    <a:gd name="T104" fmla="*/ 196 w 607"/>
                    <a:gd name="T105" fmla="*/ 304 h 606"/>
                    <a:gd name="T106" fmla="*/ 304 w 607"/>
                    <a:gd name="T107" fmla="*/ 412 h 606"/>
                    <a:gd name="T108" fmla="*/ 413 w 607"/>
                    <a:gd name="T109" fmla="*/ 302 h 606"/>
                    <a:gd name="T110" fmla="*/ 304 w 607"/>
                    <a:gd name="T111" fmla="*/ 194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7" h="606">
                      <a:moveTo>
                        <a:pt x="436" y="495"/>
                      </a:moveTo>
                      <a:cubicBezTo>
                        <a:pt x="441" y="509"/>
                        <a:pt x="446" y="524"/>
                        <a:pt x="450" y="538"/>
                      </a:cubicBezTo>
                      <a:cubicBezTo>
                        <a:pt x="456" y="559"/>
                        <a:pt x="450" y="572"/>
                        <a:pt x="429" y="579"/>
                      </a:cubicBezTo>
                      <a:cubicBezTo>
                        <a:pt x="406" y="586"/>
                        <a:pt x="382" y="593"/>
                        <a:pt x="358" y="600"/>
                      </a:cubicBezTo>
                      <a:cubicBezTo>
                        <a:pt x="340" y="606"/>
                        <a:pt x="327" y="599"/>
                        <a:pt x="320" y="582"/>
                      </a:cubicBezTo>
                      <a:cubicBezTo>
                        <a:pt x="318" y="576"/>
                        <a:pt x="316" y="569"/>
                        <a:pt x="315" y="563"/>
                      </a:cubicBezTo>
                      <a:cubicBezTo>
                        <a:pt x="312" y="542"/>
                        <a:pt x="302" y="533"/>
                        <a:pt x="279" y="533"/>
                      </a:cubicBezTo>
                      <a:cubicBezTo>
                        <a:pt x="266" y="533"/>
                        <a:pt x="260" y="535"/>
                        <a:pt x="254" y="547"/>
                      </a:cubicBezTo>
                      <a:cubicBezTo>
                        <a:pt x="227" y="601"/>
                        <a:pt x="226" y="601"/>
                        <a:pt x="172" y="572"/>
                      </a:cubicBezTo>
                      <a:cubicBezTo>
                        <a:pt x="158" y="565"/>
                        <a:pt x="144" y="559"/>
                        <a:pt x="131" y="551"/>
                      </a:cubicBezTo>
                      <a:cubicBezTo>
                        <a:pt x="115" y="542"/>
                        <a:pt x="111" y="529"/>
                        <a:pt x="119" y="512"/>
                      </a:cubicBezTo>
                      <a:cubicBezTo>
                        <a:pt x="122" y="505"/>
                        <a:pt x="124" y="498"/>
                        <a:pt x="129" y="493"/>
                      </a:cubicBezTo>
                      <a:cubicBezTo>
                        <a:pt x="141" y="476"/>
                        <a:pt x="140" y="464"/>
                        <a:pt x="125" y="448"/>
                      </a:cubicBezTo>
                      <a:cubicBezTo>
                        <a:pt x="115" y="438"/>
                        <a:pt x="108" y="436"/>
                        <a:pt x="95" y="440"/>
                      </a:cubicBezTo>
                      <a:cubicBezTo>
                        <a:pt x="39" y="458"/>
                        <a:pt x="38" y="458"/>
                        <a:pt x="20" y="402"/>
                      </a:cubicBezTo>
                      <a:cubicBezTo>
                        <a:pt x="16" y="387"/>
                        <a:pt x="11" y="372"/>
                        <a:pt x="6" y="357"/>
                      </a:cubicBezTo>
                      <a:cubicBezTo>
                        <a:pt x="0" y="338"/>
                        <a:pt x="8" y="327"/>
                        <a:pt x="24" y="320"/>
                      </a:cubicBezTo>
                      <a:cubicBezTo>
                        <a:pt x="30" y="317"/>
                        <a:pt x="36" y="316"/>
                        <a:pt x="41" y="315"/>
                      </a:cubicBezTo>
                      <a:cubicBezTo>
                        <a:pt x="72" y="305"/>
                        <a:pt x="77" y="299"/>
                        <a:pt x="75" y="268"/>
                      </a:cubicBezTo>
                      <a:cubicBezTo>
                        <a:pt x="74" y="264"/>
                        <a:pt x="70" y="259"/>
                        <a:pt x="66" y="256"/>
                      </a:cubicBezTo>
                      <a:cubicBezTo>
                        <a:pt x="55" y="250"/>
                        <a:pt x="43" y="244"/>
                        <a:pt x="31" y="238"/>
                      </a:cubicBezTo>
                      <a:cubicBezTo>
                        <a:pt x="16" y="229"/>
                        <a:pt x="12" y="216"/>
                        <a:pt x="20" y="200"/>
                      </a:cubicBezTo>
                      <a:cubicBezTo>
                        <a:pt x="31" y="176"/>
                        <a:pt x="43" y="153"/>
                        <a:pt x="56" y="129"/>
                      </a:cubicBezTo>
                      <a:cubicBezTo>
                        <a:pt x="65" y="113"/>
                        <a:pt x="79" y="110"/>
                        <a:pt x="96" y="117"/>
                      </a:cubicBezTo>
                      <a:cubicBezTo>
                        <a:pt x="102" y="120"/>
                        <a:pt x="109" y="123"/>
                        <a:pt x="115" y="128"/>
                      </a:cubicBezTo>
                      <a:cubicBezTo>
                        <a:pt x="131" y="140"/>
                        <a:pt x="144" y="138"/>
                        <a:pt x="159" y="123"/>
                      </a:cubicBezTo>
                      <a:cubicBezTo>
                        <a:pt x="168" y="114"/>
                        <a:pt x="172" y="108"/>
                        <a:pt x="167" y="95"/>
                      </a:cubicBezTo>
                      <a:cubicBezTo>
                        <a:pt x="149" y="37"/>
                        <a:pt x="149" y="37"/>
                        <a:pt x="207" y="19"/>
                      </a:cubicBezTo>
                      <a:cubicBezTo>
                        <a:pt x="221" y="14"/>
                        <a:pt x="235" y="10"/>
                        <a:pt x="249" y="6"/>
                      </a:cubicBezTo>
                      <a:cubicBezTo>
                        <a:pt x="269" y="0"/>
                        <a:pt x="280" y="6"/>
                        <a:pt x="288" y="25"/>
                      </a:cubicBezTo>
                      <a:cubicBezTo>
                        <a:pt x="290" y="31"/>
                        <a:pt x="292" y="37"/>
                        <a:pt x="293" y="43"/>
                      </a:cubicBezTo>
                      <a:cubicBezTo>
                        <a:pt x="296" y="64"/>
                        <a:pt x="307" y="73"/>
                        <a:pt x="330" y="73"/>
                      </a:cubicBezTo>
                      <a:cubicBezTo>
                        <a:pt x="343" y="73"/>
                        <a:pt x="348" y="71"/>
                        <a:pt x="354" y="60"/>
                      </a:cubicBezTo>
                      <a:cubicBezTo>
                        <a:pt x="383" y="5"/>
                        <a:pt x="383" y="5"/>
                        <a:pt x="437" y="34"/>
                      </a:cubicBezTo>
                      <a:cubicBezTo>
                        <a:pt x="450" y="41"/>
                        <a:pt x="462" y="47"/>
                        <a:pt x="475" y="53"/>
                      </a:cubicBezTo>
                      <a:cubicBezTo>
                        <a:pt x="494" y="64"/>
                        <a:pt x="498" y="77"/>
                        <a:pt x="488" y="96"/>
                      </a:cubicBezTo>
                      <a:cubicBezTo>
                        <a:pt x="486" y="101"/>
                        <a:pt x="483" y="106"/>
                        <a:pt x="481" y="111"/>
                      </a:cubicBezTo>
                      <a:cubicBezTo>
                        <a:pt x="466" y="141"/>
                        <a:pt x="466" y="143"/>
                        <a:pt x="491" y="165"/>
                      </a:cubicBezTo>
                      <a:cubicBezTo>
                        <a:pt x="494" y="168"/>
                        <a:pt x="500" y="169"/>
                        <a:pt x="504" y="168"/>
                      </a:cubicBezTo>
                      <a:cubicBezTo>
                        <a:pt x="517" y="165"/>
                        <a:pt x="529" y="160"/>
                        <a:pt x="541" y="157"/>
                      </a:cubicBezTo>
                      <a:cubicBezTo>
                        <a:pt x="560" y="152"/>
                        <a:pt x="572" y="157"/>
                        <a:pt x="579" y="176"/>
                      </a:cubicBezTo>
                      <a:cubicBezTo>
                        <a:pt x="587" y="201"/>
                        <a:pt x="595" y="227"/>
                        <a:pt x="603" y="252"/>
                      </a:cubicBezTo>
                      <a:cubicBezTo>
                        <a:pt x="607" y="267"/>
                        <a:pt x="601" y="278"/>
                        <a:pt x="587" y="285"/>
                      </a:cubicBezTo>
                      <a:cubicBezTo>
                        <a:pt x="580" y="288"/>
                        <a:pt x="573" y="290"/>
                        <a:pt x="566" y="291"/>
                      </a:cubicBezTo>
                      <a:cubicBezTo>
                        <a:pt x="545" y="295"/>
                        <a:pt x="533" y="304"/>
                        <a:pt x="534" y="329"/>
                      </a:cubicBezTo>
                      <a:cubicBezTo>
                        <a:pt x="534" y="342"/>
                        <a:pt x="537" y="348"/>
                        <a:pt x="547" y="353"/>
                      </a:cubicBezTo>
                      <a:cubicBezTo>
                        <a:pt x="602" y="381"/>
                        <a:pt x="602" y="382"/>
                        <a:pt x="574" y="435"/>
                      </a:cubicBezTo>
                      <a:cubicBezTo>
                        <a:pt x="568" y="447"/>
                        <a:pt x="561" y="460"/>
                        <a:pt x="555" y="472"/>
                      </a:cubicBezTo>
                      <a:cubicBezTo>
                        <a:pt x="543" y="493"/>
                        <a:pt x="531" y="497"/>
                        <a:pt x="508" y="486"/>
                      </a:cubicBezTo>
                      <a:cubicBezTo>
                        <a:pt x="507" y="486"/>
                        <a:pt x="506" y="485"/>
                        <a:pt x="505" y="484"/>
                      </a:cubicBezTo>
                      <a:cubicBezTo>
                        <a:pt x="468" y="466"/>
                        <a:pt x="468" y="466"/>
                        <a:pt x="436" y="495"/>
                      </a:cubicBezTo>
                      <a:close/>
                      <a:moveTo>
                        <a:pt x="304" y="194"/>
                      </a:moveTo>
                      <a:cubicBezTo>
                        <a:pt x="243" y="195"/>
                        <a:pt x="195" y="243"/>
                        <a:pt x="196" y="304"/>
                      </a:cubicBezTo>
                      <a:cubicBezTo>
                        <a:pt x="196" y="363"/>
                        <a:pt x="244" y="412"/>
                        <a:pt x="304" y="412"/>
                      </a:cubicBezTo>
                      <a:cubicBezTo>
                        <a:pt x="364" y="412"/>
                        <a:pt x="413" y="363"/>
                        <a:pt x="413" y="302"/>
                      </a:cubicBezTo>
                      <a:cubicBezTo>
                        <a:pt x="412" y="243"/>
                        <a:pt x="364" y="194"/>
                        <a:pt x="304"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5" name="Freeform 10"/>
                <p:cNvSpPr>
                  <a:spLocks noEditPoints="1"/>
                </p:cNvSpPr>
                <p:nvPr/>
              </p:nvSpPr>
              <p:spPr bwMode="auto">
                <a:xfrm>
                  <a:off x="2001118" y="5037361"/>
                  <a:ext cx="674685" cy="673104"/>
                </a:xfrm>
                <a:custGeom>
                  <a:avLst/>
                  <a:gdLst>
                    <a:gd name="T0" fmla="*/ 165 w 948"/>
                    <a:gd name="T1" fmla="*/ 229 h 947"/>
                    <a:gd name="T2" fmla="*/ 223 w 948"/>
                    <a:gd name="T3" fmla="*/ 148 h 947"/>
                    <a:gd name="T4" fmla="*/ 230 w 948"/>
                    <a:gd name="T5" fmla="*/ 61 h 947"/>
                    <a:gd name="T6" fmla="*/ 410 w 948"/>
                    <a:gd name="T7" fmla="*/ 35 h 947"/>
                    <a:gd name="T8" fmla="*/ 453 w 948"/>
                    <a:gd name="T9" fmla="*/ 106 h 947"/>
                    <a:gd name="T10" fmla="*/ 543 w 948"/>
                    <a:gd name="T11" fmla="*/ 29 h 947"/>
                    <a:gd name="T12" fmla="*/ 716 w 948"/>
                    <a:gd name="T13" fmla="*/ 59 h 947"/>
                    <a:gd name="T14" fmla="*/ 717 w 948"/>
                    <a:gd name="T15" fmla="*/ 170 h 947"/>
                    <a:gd name="T16" fmla="*/ 752 w 948"/>
                    <a:gd name="T17" fmla="*/ 232 h 947"/>
                    <a:gd name="T18" fmla="*/ 823 w 948"/>
                    <a:gd name="T19" fmla="*/ 212 h 947"/>
                    <a:gd name="T20" fmla="*/ 938 w 948"/>
                    <a:gd name="T21" fmla="*/ 350 h 947"/>
                    <a:gd name="T22" fmla="*/ 856 w 948"/>
                    <a:gd name="T23" fmla="*/ 433 h 947"/>
                    <a:gd name="T24" fmla="*/ 845 w 948"/>
                    <a:gd name="T25" fmla="*/ 507 h 947"/>
                    <a:gd name="T26" fmla="*/ 916 w 948"/>
                    <a:gd name="T27" fmla="*/ 540 h 947"/>
                    <a:gd name="T28" fmla="*/ 890 w 948"/>
                    <a:gd name="T29" fmla="*/ 713 h 947"/>
                    <a:gd name="T30" fmla="*/ 778 w 948"/>
                    <a:gd name="T31" fmla="*/ 716 h 947"/>
                    <a:gd name="T32" fmla="*/ 717 w 948"/>
                    <a:gd name="T33" fmla="*/ 750 h 947"/>
                    <a:gd name="T34" fmla="*/ 738 w 948"/>
                    <a:gd name="T35" fmla="*/ 826 h 947"/>
                    <a:gd name="T36" fmla="*/ 598 w 948"/>
                    <a:gd name="T37" fmla="*/ 937 h 947"/>
                    <a:gd name="T38" fmla="*/ 516 w 948"/>
                    <a:gd name="T39" fmla="*/ 857 h 947"/>
                    <a:gd name="T40" fmla="*/ 441 w 948"/>
                    <a:gd name="T41" fmla="*/ 844 h 947"/>
                    <a:gd name="T42" fmla="*/ 406 w 948"/>
                    <a:gd name="T43" fmla="*/ 919 h 947"/>
                    <a:gd name="T44" fmla="*/ 235 w 948"/>
                    <a:gd name="T45" fmla="*/ 889 h 947"/>
                    <a:gd name="T46" fmla="*/ 233 w 948"/>
                    <a:gd name="T47" fmla="*/ 775 h 947"/>
                    <a:gd name="T48" fmla="*/ 220 w 948"/>
                    <a:gd name="T49" fmla="*/ 739 h 947"/>
                    <a:gd name="T50" fmla="*/ 136 w 948"/>
                    <a:gd name="T51" fmla="*/ 730 h 947"/>
                    <a:gd name="T52" fmla="*/ 12 w 948"/>
                    <a:gd name="T53" fmla="*/ 601 h 947"/>
                    <a:gd name="T54" fmla="*/ 90 w 948"/>
                    <a:gd name="T55" fmla="*/ 516 h 947"/>
                    <a:gd name="T56" fmla="*/ 91 w 948"/>
                    <a:gd name="T57" fmla="*/ 432 h 947"/>
                    <a:gd name="T58" fmla="*/ 12 w 948"/>
                    <a:gd name="T59" fmla="*/ 348 h 947"/>
                    <a:gd name="T60" fmla="*/ 106 w 948"/>
                    <a:gd name="T61" fmla="*/ 205 h 947"/>
                    <a:gd name="T62" fmla="*/ 354 w 948"/>
                    <a:gd name="T63" fmla="*/ 881 h 947"/>
                    <a:gd name="T64" fmla="*/ 399 w 948"/>
                    <a:gd name="T65" fmla="*/ 799 h 947"/>
                    <a:gd name="T66" fmla="*/ 526 w 948"/>
                    <a:gd name="T67" fmla="*/ 784 h 947"/>
                    <a:gd name="T68" fmla="*/ 579 w 948"/>
                    <a:gd name="T69" fmla="*/ 869 h 947"/>
                    <a:gd name="T70" fmla="*/ 672 w 948"/>
                    <a:gd name="T71" fmla="*/ 849 h 947"/>
                    <a:gd name="T72" fmla="*/ 651 w 948"/>
                    <a:gd name="T73" fmla="*/ 756 h 947"/>
                    <a:gd name="T74" fmla="*/ 730 w 948"/>
                    <a:gd name="T75" fmla="*/ 657 h 947"/>
                    <a:gd name="T76" fmla="*/ 829 w 948"/>
                    <a:gd name="T77" fmla="*/ 680 h 947"/>
                    <a:gd name="T78" fmla="*/ 880 w 948"/>
                    <a:gd name="T79" fmla="*/ 600 h 947"/>
                    <a:gd name="T80" fmla="*/ 802 w 948"/>
                    <a:gd name="T81" fmla="*/ 550 h 947"/>
                    <a:gd name="T82" fmla="*/ 785 w 948"/>
                    <a:gd name="T83" fmla="*/ 423 h 947"/>
                    <a:gd name="T84" fmla="*/ 871 w 948"/>
                    <a:gd name="T85" fmla="*/ 369 h 947"/>
                    <a:gd name="T86" fmla="*/ 850 w 948"/>
                    <a:gd name="T87" fmla="*/ 275 h 947"/>
                    <a:gd name="T88" fmla="*/ 757 w 948"/>
                    <a:gd name="T89" fmla="*/ 297 h 947"/>
                    <a:gd name="T90" fmla="*/ 658 w 948"/>
                    <a:gd name="T91" fmla="*/ 218 h 947"/>
                    <a:gd name="T92" fmla="*/ 681 w 948"/>
                    <a:gd name="T93" fmla="*/ 119 h 947"/>
                    <a:gd name="T94" fmla="*/ 599 w 948"/>
                    <a:gd name="T95" fmla="*/ 67 h 947"/>
                    <a:gd name="T96" fmla="*/ 550 w 948"/>
                    <a:gd name="T97" fmla="*/ 148 h 947"/>
                    <a:gd name="T98" fmla="*/ 420 w 948"/>
                    <a:gd name="T99" fmla="*/ 163 h 947"/>
                    <a:gd name="T100" fmla="*/ 377 w 948"/>
                    <a:gd name="T101" fmla="*/ 94 h 947"/>
                    <a:gd name="T102" fmla="*/ 262 w 948"/>
                    <a:gd name="T103" fmla="*/ 105 h 947"/>
                    <a:gd name="T104" fmla="*/ 291 w 948"/>
                    <a:gd name="T105" fmla="*/ 218 h 947"/>
                    <a:gd name="T106" fmla="*/ 190 w 948"/>
                    <a:gd name="T107" fmla="*/ 297 h 947"/>
                    <a:gd name="T108" fmla="*/ 63 w 948"/>
                    <a:gd name="T109" fmla="*/ 363 h 947"/>
                    <a:gd name="T110" fmla="*/ 164 w 948"/>
                    <a:gd name="T111" fmla="*/ 423 h 947"/>
                    <a:gd name="T112" fmla="*/ 148 w 948"/>
                    <a:gd name="T113" fmla="*/ 550 h 947"/>
                    <a:gd name="T114" fmla="*/ 69 w 948"/>
                    <a:gd name="T115" fmla="*/ 599 h 947"/>
                    <a:gd name="T116" fmla="*/ 121 w 948"/>
                    <a:gd name="T117" fmla="*/ 680 h 947"/>
                    <a:gd name="T118" fmla="*/ 217 w 948"/>
                    <a:gd name="T119" fmla="*/ 655 h 947"/>
                    <a:gd name="T120" fmla="*/ 298 w 948"/>
                    <a:gd name="T121" fmla="*/ 757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8" h="947">
                      <a:moveTo>
                        <a:pt x="106" y="205"/>
                      </a:moveTo>
                      <a:cubicBezTo>
                        <a:pt x="122" y="211"/>
                        <a:pt x="144" y="218"/>
                        <a:pt x="165" y="229"/>
                      </a:cubicBezTo>
                      <a:cubicBezTo>
                        <a:pt x="184" y="239"/>
                        <a:pt x="194" y="234"/>
                        <a:pt x="211" y="220"/>
                      </a:cubicBezTo>
                      <a:cubicBezTo>
                        <a:pt x="238" y="197"/>
                        <a:pt x="240" y="176"/>
                        <a:pt x="223" y="148"/>
                      </a:cubicBezTo>
                      <a:cubicBezTo>
                        <a:pt x="216" y="137"/>
                        <a:pt x="212" y="125"/>
                        <a:pt x="209" y="113"/>
                      </a:cubicBezTo>
                      <a:cubicBezTo>
                        <a:pt x="202" y="90"/>
                        <a:pt x="209" y="70"/>
                        <a:pt x="230" y="61"/>
                      </a:cubicBezTo>
                      <a:cubicBezTo>
                        <a:pt x="272" y="42"/>
                        <a:pt x="314" y="25"/>
                        <a:pt x="356" y="9"/>
                      </a:cubicBezTo>
                      <a:cubicBezTo>
                        <a:pt x="377" y="0"/>
                        <a:pt x="399" y="11"/>
                        <a:pt x="410" y="35"/>
                      </a:cubicBezTo>
                      <a:cubicBezTo>
                        <a:pt x="418" y="54"/>
                        <a:pt x="425" y="74"/>
                        <a:pt x="435" y="93"/>
                      </a:cubicBezTo>
                      <a:cubicBezTo>
                        <a:pt x="438" y="99"/>
                        <a:pt x="446" y="106"/>
                        <a:pt x="453" y="106"/>
                      </a:cubicBezTo>
                      <a:cubicBezTo>
                        <a:pt x="510" y="108"/>
                        <a:pt x="510" y="108"/>
                        <a:pt x="531" y="54"/>
                      </a:cubicBezTo>
                      <a:cubicBezTo>
                        <a:pt x="535" y="46"/>
                        <a:pt x="538" y="37"/>
                        <a:pt x="543" y="29"/>
                      </a:cubicBezTo>
                      <a:cubicBezTo>
                        <a:pt x="554" y="9"/>
                        <a:pt x="574" y="1"/>
                        <a:pt x="596" y="9"/>
                      </a:cubicBezTo>
                      <a:cubicBezTo>
                        <a:pt x="636" y="25"/>
                        <a:pt x="676" y="42"/>
                        <a:pt x="716" y="59"/>
                      </a:cubicBezTo>
                      <a:cubicBezTo>
                        <a:pt x="741" y="70"/>
                        <a:pt x="749" y="91"/>
                        <a:pt x="739" y="117"/>
                      </a:cubicBezTo>
                      <a:cubicBezTo>
                        <a:pt x="732" y="135"/>
                        <a:pt x="724" y="153"/>
                        <a:pt x="717" y="170"/>
                      </a:cubicBezTo>
                      <a:cubicBezTo>
                        <a:pt x="715" y="175"/>
                        <a:pt x="711" y="181"/>
                        <a:pt x="712" y="183"/>
                      </a:cubicBezTo>
                      <a:cubicBezTo>
                        <a:pt x="725" y="200"/>
                        <a:pt x="738" y="217"/>
                        <a:pt x="752" y="232"/>
                      </a:cubicBezTo>
                      <a:cubicBezTo>
                        <a:pt x="755" y="236"/>
                        <a:pt x="766" y="235"/>
                        <a:pt x="772" y="233"/>
                      </a:cubicBezTo>
                      <a:cubicBezTo>
                        <a:pt x="789" y="227"/>
                        <a:pt x="806" y="219"/>
                        <a:pt x="823" y="212"/>
                      </a:cubicBezTo>
                      <a:cubicBezTo>
                        <a:pt x="857" y="198"/>
                        <a:pt x="878" y="206"/>
                        <a:pt x="892" y="240"/>
                      </a:cubicBezTo>
                      <a:cubicBezTo>
                        <a:pt x="908" y="276"/>
                        <a:pt x="923" y="313"/>
                        <a:pt x="938" y="350"/>
                      </a:cubicBezTo>
                      <a:cubicBezTo>
                        <a:pt x="948" y="375"/>
                        <a:pt x="938" y="399"/>
                        <a:pt x="913" y="409"/>
                      </a:cubicBezTo>
                      <a:cubicBezTo>
                        <a:pt x="894" y="417"/>
                        <a:pt x="875" y="425"/>
                        <a:pt x="856" y="433"/>
                      </a:cubicBezTo>
                      <a:cubicBezTo>
                        <a:pt x="845" y="436"/>
                        <a:pt x="841" y="441"/>
                        <a:pt x="842" y="453"/>
                      </a:cubicBezTo>
                      <a:cubicBezTo>
                        <a:pt x="843" y="471"/>
                        <a:pt x="836" y="494"/>
                        <a:pt x="845" y="507"/>
                      </a:cubicBezTo>
                      <a:cubicBezTo>
                        <a:pt x="854" y="520"/>
                        <a:pt x="877" y="523"/>
                        <a:pt x="894" y="530"/>
                      </a:cubicBezTo>
                      <a:cubicBezTo>
                        <a:pt x="901" y="534"/>
                        <a:pt x="909" y="536"/>
                        <a:pt x="916" y="540"/>
                      </a:cubicBezTo>
                      <a:cubicBezTo>
                        <a:pt x="938" y="550"/>
                        <a:pt x="947" y="573"/>
                        <a:pt x="939" y="595"/>
                      </a:cubicBezTo>
                      <a:cubicBezTo>
                        <a:pt x="923" y="634"/>
                        <a:pt x="907" y="674"/>
                        <a:pt x="890" y="713"/>
                      </a:cubicBezTo>
                      <a:cubicBezTo>
                        <a:pt x="877" y="741"/>
                        <a:pt x="856" y="748"/>
                        <a:pt x="827" y="737"/>
                      </a:cubicBezTo>
                      <a:cubicBezTo>
                        <a:pt x="811" y="730"/>
                        <a:pt x="794" y="723"/>
                        <a:pt x="778" y="716"/>
                      </a:cubicBezTo>
                      <a:cubicBezTo>
                        <a:pt x="773" y="714"/>
                        <a:pt x="767" y="710"/>
                        <a:pt x="765" y="711"/>
                      </a:cubicBezTo>
                      <a:cubicBezTo>
                        <a:pt x="748" y="723"/>
                        <a:pt x="732" y="736"/>
                        <a:pt x="717" y="750"/>
                      </a:cubicBezTo>
                      <a:cubicBezTo>
                        <a:pt x="714" y="753"/>
                        <a:pt x="712" y="763"/>
                        <a:pt x="714" y="769"/>
                      </a:cubicBezTo>
                      <a:cubicBezTo>
                        <a:pt x="721" y="788"/>
                        <a:pt x="730" y="807"/>
                        <a:pt x="738" y="826"/>
                      </a:cubicBezTo>
                      <a:cubicBezTo>
                        <a:pt x="750" y="856"/>
                        <a:pt x="742" y="877"/>
                        <a:pt x="712" y="889"/>
                      </a:cubicBezTo>
                      <a:cubicBezTo>
                        <a:pt x="675" y="906"/>
                        <a:pt x="637" y="922"/>
                        <a:pt x="598" y="937"/>
                      </a:cubicBezTo>
                      <a:cubicBezTo>
                        <a:pt x="574" y="947"/>
                        <a:pt x="551" y="938"/>
                        <a:pt x="540" y="914"/>
                      </a:cubicBezTo>
                      <a:cubicBezTo>
                        <a:pt x="531" y="895"/>
                        <a:pt x="523" y="876"/>
                        <a:pt x="516" y="857"/>
                      </a:cubicBezTo>
                      <a:cubicBezTo>
                        <a:pt x="512" y="845"/>
                        <a:pt x="507" y="839"/>
                        <a:pt x="494" y="841"/>
                      </a:cubicBezTo>
                      <a:cubicBezTo>
                        <a:pt x="476" y="843"/>
                        <a:pt x="453" y="835"/>
                        <a:pt x="441" y="844"/>
                      </a:cubicBezTo>
                      <a:cubicBezTo>
                        <a:pt x="428" y="853"/>
                        <a:pt x="425" y="876"/>
                        <a:pt x="418" y="893"/>
                      </a:cubicBezTo>
                      <a:cubicBezTo>
                        <a:pt x="414" y="902"/>
                        <a:pt x="411" y="911"/>
                        <a:pt x="406" y="919"/>
                      </a:cubicBezTo>
                      <a:cubicBezTo>
                        <a:pt x="395" y="938"/>
                        <a:pt x="374" y="946"/>
                        <a:pt x="353" y="938"/>
                      </a:cubicBezTo>
                      <a:cubicBezTo>
                        <a:pt x="314" y="922"/>
                        <a:pt x="274" y="906"/>
                        <a:pt x="235" y="889"/>
                      </a:cubicBezTo>
                      <a:cubicBezTo>
                        <a:pt x="208" y="877"/>
                        <a:pt x="200" y="856"/>
                        <a:pt x="211" y="828"/>
                      </a:cubicBezTo>
                      <a:cubicBezTo>
                        <a:pt x="218" y="810"/>
                        <a:pt x="225" y="792"/>
                        <a:pt x="233" y="775"/>
                      </a:cubicBezTo>
                      <a:cubicBezTo>
                        <a:pt x="239" y="762"/>
                        <a:pt x="239" y="752"/>
                        <a:pt x="226" y="744"/>
                      </a:cubicBezTo>
                      <a:cubicBezTo>
                        <a:pt x="224" y="743"/>
                        <a:pt x="222" y="741"/>
                        <a:pt x="220" y="739"/>
                      </a:cubicBezTo>
                      <a:cubicBezTo>
                        <a:pt x="201" y="706"/>
                        <a:pt x="176" y="708"/>
                        <a:pt x="147" y="726"/>
                      </a:cubicBezTo>
                      <a:cubicBezTo>
                        <a:pt x="144" y="728"/>
                        <a:pt x="140" y="729"/>
                        <a:pt x="136" y="730"/>
                      </a:cubicBezTo>
                      <a:cubicBezTo>
                        <a:pt x="86" y="751"/>
                        <a:pt x="72" y="745"/>
                        <a:pt x="51" y="695"/>
                      </a:cubicBezTo>
                      <a:cubicBezTo>
                        <a:pt x="38" y="663"/>
                        <a:pt x="25" y="632"/>
                        <a:pt x="12" y="601"/>
                      </a:cubicBezTo>
                      <a:cubicBezTo>
                        <a:pt x="0" y="572"/>
                        <a:pt x="9" y="550"/>
                        <a:pt x="38" y="537"/>
                      </a:cubicBezTo>
                      <a:cubicBezTo>
                        <a:pt x="55" y="530"/>
                        <a:pt x="72" y="522"/>
                        <a:pt x="90" y="516"/>
                      </a:cubicBezTo>
                      <a:cubicBezTo>
                        <a:pt x="102" y="512"/>
                        <a:pt x="112" y="506"/>
                        <a:pt x="107" y="492"/>
                      </a:cubicBezTo>
                      <a:cubicBezTo>
                        <a:pt x="100" y="472"/>
                        <a:pt x="124" y="445"/>
                        <a:pt x="91" y="432"/>
                      </a:cubicBezTo>
                      <a:cubicBezTo>
                        <a:pt x="73" y="425"/>
                        <a:pt x="55" y="417"/>
                        <a:pt x="37" y="410"/>
                      </a:cubicBezTo>
                      <a:cubicBezTo>
                        <a:pt x="10" y="398"/>
                        <a:pt x="0" y="375"/>
                        <a:pt x="12" y="348"/>
                      </a:cubicBezTo>
                      <a:cubicBezTo>
                        <a:pt x="27" y="310"/>
                        <a:pt x="43" y="273"/>
                        <a:pt x="59" y="235"/>
                      </a:cubicBezTo>
                      <a:cubicBezTo>
                        <a:pt x="66" y="217"/>
                        <a:pt x="79" y="206"/>
                        <a:pt x="106" y="205"/>
                      </a:cubicBezTo>
                      <a:close/>
                      <a:moveTo>
                        <a:pt x="262" y="843"/>
                      </a:moveTo>
                      <a:cubicBezTo>
                        <a:pt x="294" y="856"/>
                        <a:pt x="324" y="869"/>
                        <a:pt x="354" y="881"/>
                      </a:cubicBezTo>
                      <a:cubicBezTo>
                        <a:pt x="358" y="882"/>
                        <a:pt x="367" y="875"/>
                        <a:pt x="369" y="870"/>
                      </a:cubicBezTo>
                      <a:cubicBezTo>
                        <a:pt x="380" y="847"/>
                        <a:pt x="390" y="823"/>
                        <a:pt x="399" y="799"/>
                      </a:cubicBezTo>
                      <a:cubicBezTo>
                        <a:pt x="404" y="787"/>
                        <a:pt x="409" y="783"/>
                        <a:pt x="423" y="784"/>
                      </a:cubicBezTo>
                      <a:cubicBezTo>
                        <a:pt x="457" y="785"/>
                        <a:pt x="492" y="785"/>
                        <a:pt x="526" y="784"/>
                      </a:cubicBezTo>
                      <a:cubicBezTo>
                        <a:pt x="539" y="783"/>
                        <a:pt x="545" y="786"/>
                        <a:pt x="549" y="797"/>
                      </a:cubicBezTo>
                      <a:cubicBezTo>
                        <a:pt x="559" y="821"/>
                        <a:pt x="569" y="845"/>
                        <a:pt x="579" y="869"/>
                      </a:cubicBezTo>
                      <a:cubicBezTo>
                        <a:pt x="583" y="881"/>
                        <a:pt x="588" y="885"/>
                        <a:pt x="600" y="879"/>
                      </a:cubicBezTo>
                      <a:cubicBezTo>
                        <a:pt x="624" y="868"/>
                        <a:pt x="648" y="858"/>
                        <a:pt x="672" y="849"/>
                      </a:cubicBezTo>
                      <a:cubicBezTo>
                        <a:pt x="684" y="845"/>
                        <a:pt x="686" y="839"/>
                        <a:pt x="681" y="828"/>
                      </a:cubicBezTo>
                      <a:cubicBezTo>
                        <a:pt x="670" y="804"/>
                        <a:pt x="661" y="780"/>
                        <a:pt x="651" y="756"/>
                      </a:cubicBezTo>
                      <a:cubicBezTo>
                        <a:pt x="646" y="746"/>
                        <a:pt x="647" y="739"/>
                        <a:pt x="656" y="730"/>
                      </a:cubicBezTo>
                      <a:cubicBezTo>
                        <a:pt x="682" y="707"/>
                        <a:pt x="706" y="683"/>
                        <a:pt x="730" y="657"/>
                      </a:cubicBezTo>
                      <a:cubicBezTo>
                        <a:pt x="739" y="647"/>
                        <a:pt x="746" y="645"/>
                        <a:pt x="759" y="651"/>
                      </a:cubicBezTo>
                      <a:cubicBezTo>
                        <a:pt x="782" y="661"/>
                        <a:pt x="806" y="669"/>
                        <a:pt x="829" y="680"/>
                      </a:cubicBezTo>
                      <a:cubicBezTo>
                        <a:pt x="841" y="686"/>
                        <a:pt x="846" y="682"/>
                        <a:pt x="851" y="670"/>
                      </a:cubicBezTo>
                      <a:cubicBezTo>
                        <a:pt x="860" y="647"/>
                        <a:pt x="869" y="623"/>
                        <a:pt x="880" y="600"/>
                      </a:cubicBezTo>
                      <a:cubicBezTo>
                        <a:pt x="885" y="588"/>
                        <a:pt x="883" y="582"/>
                        <a:pt x="871" y="578"/>
                      </a:cubicBezTo>
                      <a:cubicBezTo>
                        <a:pt x="848" y="569"/>
                        <a:pt x="825" y="559"/>
                        <a:pt x="802" y="550"/>
                      </a:cubicBezTo>
                      <a:cubicBezTo>
                        <a:pt x="788" y="545"/>
                        <a:pt x="784" y="538"/>
                        <a:pt x="785" y="522"/>
                      </a:cubicBezTo>
                      <a:cubicBezTo>
                        <a:pt x="787" y="489"/>
                        <a:pt x="786" y="456"/>
                        <a:pt x="785" y="423"/>
                      </a:cubicBezTo>
                      <a:cubicBezTo>
                        <a:pt x="784" y="410"/>
                        <a:pt x="787" y="403"/>
                        <a:pt x="799" y="399"/>
                      </a:cubicBezTo>
                      <a:cubicBezTo>
                        <a:pt x="823" y="389"/>
                        <a:pt x="847" y="379"/>
                        <a:pt x="871" y="369"/>
                      </a:cubicBezTo>
                      <a:cubicBezTo>
                        <a:pt x="881" y="365"/>
                        <a:pt x="886" y="360"/>
                        <a:pt x="880" y="348"/>
                      </a:cubicBezTo>
                      <a:cubicBezTo>
                        <a:pt x="869" y="324"/>
                        <a:pt x="859" y="299"/>
                        <a:pt x="850" y="275"/>
                      </a:cubicBezTo>
                      <a:cubicBezTo>
                        <a:pt x="846" y="264"/>
                        <a:pt x="841" y="262"/>
                        <a:pt x="830" y="267"/>
                      </a:cubicBezTo>
                      <a:cubicBezTo>
                        <a:pt x="806" y="277"/>
                        <a:pt x="781" y="287"/>
                        <a:pt x="757" y="297"/>
                      </a:cubicBezTo>
                      <a:cubicBezTo>
                        <a:pt x="746" y="302"/>
                        <a:pt x="739" y="300"/>
                        <a:pt x="731" y="291"/>
                      </a:cubicBezTo>
                      <a:cubicBezTo>
                        <a:pt x="707" y="266"/>
                        <a:pt x="683" y="241"/>
                        <a:pt x="658" y="218"/>
                      </a:cubicBezTo>
                      <a:cubicBezTo>
                        <a:pt x="648" y="209"/>
                        <a:pt x="646" y="202"/>
                        <a:pt x="651" y="191"/>
                      </a:cubicBezTo>
                      <a:cubicBezTo>
                        <a:pt x="662" y="167"/>
                        <a:pt x="670" y="142"/>
                        <a:pt x="681" y="119"/>
                      </a:cubicBezTo>
                      <a:cubicBezTo>
                        <a:pt x="686" y="107"/>
                        <a:pt x="684" y="102"/>
                        <a:pt x="672" y="98"/>
                      </a:cubicBezTo>
                      <a:cubicBezTo>
                        <a:pt x="648" y="88"/>
                        <a:pt x="623" y="78"/>
                        <a:pt x="599" y="67"/>
                      </a:cubicBezTo>
                      <a:cubicBezTo>
                        <a:pt x="588" y="63"/>
                        <a:pt x="583" y="66"/>
                        <a:pt x="579" y="76"/>
                      </a:cubicBezTo>
                      <a:cubicBezTo>
                        <a:pt x="570" y="100"/>
                        <a:pt x="559" y="124"/>
                        <a:pt x="550" y="148"/>
                      </a:cubicBezTo>
                      <a:cubicBezTo>
                        <a:pt x="546" y="159"/>
                        <a:pt x="540" y="164"/>
                        <a:pt x="528" y="163"/>
                      </a:cubicBezTo>
                      <a:cubicBezTo>
                        <a:pt x="492" y="162"/>
                        <a:pt x="456" y="162"/>
                        <a:pt x="420" y="163"/>
                      </a:cubicBezTo>
                      <a:cubicBezTo>
                        <a:pt x="409" y="164"/>
                        <a:pt x="403" y="160"/>
                        <a:pt x="400" y="150"/>
                      </a:cubicBezTo>
                      <a:cubicBezTo>
                        <a:pt x="393" y="131"/>
                        <a:pt x="385" y="112"/>
                        <a:pt x="377" y="94"/>
                      </a:cubicBezTo>
                      <a:cubicBezTo>
                        <a:pt x="361" y="58"/>
                        <a:pt x="371" y="60"/>
                        <a:pt x="331" y="75"/>
                      </a:cubicBezTo>
                      <a:cubicBezTo>
                        <a:pt x="308" y="85"/>
                        <a:pt x="286" y="95"/>
                        <a:pt x="262" y="105"/>
                      </a:cubicBezTo>
                      <a:cubicBezTo>
                        <a:pt x="275" y="136"/>
                        <a:pt x="286" y="163"/>
                        <a:pt x="298" y="191"/>
                      </a:cubicBezTo>
                      <a:cubicBezTo>
                        <a:pt x="303" y="202"/>
                        <a:pt x="300" y="209"/>
                        <a:pt x="291" y="218"/>
                      </a:cubicBezTo>
                      <a:cubicBezTo>
                        <a:pt x="266" y="241"/>
                        <a:pt x="242" y="265"/>
                        <a:pt x="219" y="290"/>
                      </a:cubicBezTo>
                      <a:cubicBezTo>
                        <a:pt x="210" y="300"/>
                        <a:pt x="203" y="302"/>
                        <a:pt x="190" y="297"/>
                      </a:cubicBezTo>
                      <a:cubicBezTo>
                        <a:pt x="163" y="285"/>
                        <a:pt x="135" y="274"/>
                        <a:pt x="105" y="261"/>
                      </a:cubicBezTo>
                      <a:cubicBezTo>
                        <a:pt x="91" y="295"/>
                        <a:pt x="78" y="328"/>
                        <a:pt x="63" y="363"/>
                      </a:cubicBezTo>
                      <a:cubicBezTo>
                        <a:pt x="93" y="375"/>
                        <a:pt x="120" y="387"/>
                        <a:pt x="148" y="398"/>
                      </a:cubicBezTo>
                      <a:cubicBezTo>
                        <a:pt x="161" y="403"/>
                        <a:pt x="164" y="410"/>
                        <a:pt x="164" y="423"/>
                      </a:cubicBezTo>
                      <a:cubicBezTo>
                        <a:pt x="163" y="457"/>
                        <a:pt x="163" y="491"/>
                        <a:pt x="164" y="525"/>
                      </a:cubicBezTo>
                      <a:cubicBezTo>
                        <a:pt x="165" y="538"/>
                        <a:pt x="160" y="545"/>
                        <a:pt x="148" y="550"/>
                      </a:cubicBezTo>
                      <a:cubicBezTo>
                        <a:pt x="124" y="559"/>
                        <a:pt x="101" y="569"/>
                        <a:pt x="77" y="578"/>
                      </a:cubicBezTo>
                      <a:cubicBezTo>
                        <a:pt x="66" y="583"/>
                        <a:pt x="64" y="588"/>
                        <a:pt x="69" y="599"/>
                      </a:cubicBezTo>
                      <a:cubicBezTo>
                        <a:pt x="80" y="623"/>
                        <a:pt x="90" y="647"/>
                        <a:pt x="99" y="671"/>
                      </a:cubicBezTo>
                      <a:cubicBezTo>
                        <a:pt x="103" y="684"/>
                        <a:pt x="109" y="685"/>
                        <a:pt x="121" y="680"/>
                      </a:cubicBezTo>
                      <a:cubicBezTo>
                        <a:pt x="145" y="669"/>
                        <a:pt x="169" y="660"/>
                        <a:pt x="193" y="650"/>
                      </a:cubicBezTo>
                      <a:cubicBezTo>
                        <a:pt x="203" y="645"/>
                        <a:pt x="209" y="647"/>
                        <a:pt x="217" y="655"/>
                      </a:cubicBezTo>
                      <a:cubicBezTo>
                        <a:pt x="241" y="681"/>
                        <a:pt x="266" y="706"/>
                        <a:pt x="292" y="730"/>
                      </a:cubicBezTo>
                      <a:cubicBezTo>
                        <a:pt x="301" y="738"/>
                        <a:pt x="303" y="746"/>
                        <a:pt x="298" y="757"/>
                      </a:cubicBezTo>
                      <a:cubicBezTo>
                        <a:pt x="286" y="784"/>
                        <a:pt x="275" y="812"/>
                        <a:pt x="262" y="8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6" name="Freeform 11"/>
                <p:cNvSpPr>
                  <a:spLocks/>
                </p:cNvSpPr>
                <p:nvPr/>
              </p:nvSpPr>
              <p:spPr bwMode="auto">
                <a:xfrm>
                  <a:off x="2137649" y="5194525"/>
                  <a:ext cx="395287" cy="342902"/>
                </a:xfrm>
                <a:custGeom>
                  <a:avLst/>
                  <a:gdLst>
                    <a:gd name="T0" fmla="*/ 453 w 554"/>
                    <a:gd name="T1" fmla="*/ 286 h 483"/>
                    <a:gd name="T2" fmla="*/ 449 w 554"/>
                    <a:gd name="T3" fmla="*/ 197 h 483"/>
                    <a:gd name="T4" fmla="*/ 254 w 554"/>
                    <a:gd name="T5" fmla="*/ 79 h 483"/>
                    <a:gd name="T6" fmla="*/ 106 w 554"/>
                    <a:gd name="T7" fmla="*/ 257 h 483"/>
                    <a:gd name="T8" fmla="*/ 262 w 554"/>
                    <a:gd name="T9" fmla="*/ 429 h 483"/>
                    <a:gd name="T10" fmla="*/ 290 w 554"/>
                    <a:gd name="T11" fmla="*/ 452 h 483"/>
                    <a:gd name="T12" fmla="*/ 278 w 554"/>
                    <a:gd name="T13" fmla="*/ 478 h 483"/>
                    <a:gd name="T14" fmla="*/ 247 w 554"/>
                    <a:gd name="T15" fmla="*/ 481 h 483"/>
                    <a:gd name="T16" fmla="*/ 93 w 554"/>
                    <a:gd name="T17" fmla="*/ 383 h 483"/>
                    <a:gd name="T18" fmla="*/ 244 w 554"/>
                    <a:gd name="T19" fmla="*/ 28 h 483"/>
                    <a:gd name="T20" fmla="*/ 508 w 554"/>
                    <a:gd name="T21" fmla="*/ 290 h 483"/>
                    <a:gd name="T22" fmla="*/ 520 w 554"/>
                    <a:gd name="T23" fmla="*/ 314 h 483"/>
                    <a:gd name="T24" fmla="*/ 539 w 554"/>
                    <a:gd name="T25" fmla="*/ 322 h 483"/>
                    <a:gd name="T26" fmla="*/ 543 w 554"/>
                    <a:gd name="T27" fmla="*/ 351 h 483"/>
                    <a:gd name="T28" fmla="*/ 439 w 554"/>
                    <a:gd name="T29" fmla="*/ 433 h 483"/>
                    <a:gd name="T30" fmla="*/ 410 w 554"/>
                    <a:gd name="T31" fmla="*/ 420 h 483"/>
                    <a:gd name="T32" fmla="*/ 392 w 554"/>
                    <a:gd name="T33" fmla="*/ 294 h 483"/>
                    <a:gd name="T34" fmla="*/ 418 w 554"/>
                    <a:gd name="T35" fmla="*/ 273 h 483"/>
                    <a:gd name="T36" fmla="*/ 453 w 554"/>
                    <a:gd name="T37" fmla="*/ 286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4" h="483">
                      <a:moveTo>
                        <a:pt x="453" y="286"/>
                      </a:moveTo>
                      <a:cubicBezTo>
                        <a:pt x="463" y="255"/>
                        <a:pt x="459" y="225"/>
                        <a:pt x="449" y="197"/>
                      </a:cubicBezTo>
                      <a:cubicBezTo>
                        <a:pt x="422" y="116"/>
                        <a:pt x="338" y="65"/>
                        <a:pt x="254" y="79"/>
                      </a:cubicBezTo>
                      <a:cubicBezTo>
                        <a:pt x="168" y="93"/>
                        <a:pt x="105" y="169"/>
                        <a:pt x="106" y="257"/>
                      </a:cubicBezTo>
                      <a:cubicBezTo>
                        <a:pt x="108" y="345"/>
                        <a:pt x="172" y="417"/>
                        <a:pt x="262" y="429"/>
                      </a:cubicBezTo>
                      <a:cubicBezTo>
                        <a:pt x="276" y="431"/>
                        <a:pt x="290" y="436"/>
                        <a:pt x="290" y="452"/>
                      </a:cubicBezTo>
                      <a:cubicBezTo>
                        <a:pt x="290" y="461"/>
                        <a:pt x="285" y="474"/>
                        <a:pt x="278" y="478"/>
                      </a:cubicBezTo>
                      <a:cubicBezTo>
                        <a:pt x="270" y="483"/>
                        <a:pt x="257" y="483"/>
                        <a:pt x="247" y="481"/>
                      </a:cubicBezTo>
                      <a:cubicBezTo>
                        <a:pt x="183" y="469"/>
                        <a:pt x="130" y="438"/>
                        <a:pt x="93" y="383"/>
                      </a:cubicBezTo>
                      <a:cubicBezTo>
                        <a:pt x="0" y="243"/>
                        <a:pt x="78" y="56"/>
                        <a:pt x="244" y="28"/>
                      </a:cubicBezTo>
                      <a:cubicBezTo>
                        <a:pt x="408" y="0"/>
                        <a:pt x="534" y="143"/>
                        <a:pt x="508" y="290"/>
                      </a:cubicBezTo>
                      <a:cubicBezTo>
                        <a:pt x="506" y="303"/>
                        <a:pt x="507" y="311"/>
                        <a:pt x="520" y="314"/>
                      </a:cubicBezTo>
                      <a:cubicBezTo>
                        <a:pt x="527" y="316"/>
                        <a:pt x="533" y="319"/>
                        <a:pt x="539" y="322"/>
                      </a:cubicBezTo>
                      <a:cubicBezTo>
                        <a:pt x="552" y="330"/>
                        <a:pt x="554" y="342"/>
                        <a:pt x="543" y="351"/>
                      </a:cubicBezTo>
                      <a:cubicBezTo>
                        <a:pt x="509" y="379"/>
                        <a:pt x="474" y="407"/>
                        <a:pt x="439" y="433"/>
                      </a:cubicBezTo>
                      <a:cubicBezTo>
                        <a:pt x="426" y="443"/>
                        <a:pt x="413" y="437"/>
                        <a:pt x="410" y="420"/>
                      </a:cubicBezTo>
                      <a:cubicBezTo>
                        <a:pt x="403" y="378"/>
                        <a:pt x="397" y="336"/>
                        <a:pt x="392" y="294"/>
                      </a:cubicBezTo>
                      <a:cubicBezTo>
                        <a:pt x="390" y="276"/>
                        <a:pt x="401" y="268"/>
                        <a:pt x="418" y="273"/>
                      </a:cubicBezTo>
                      <a:cubicBezTo>
                        <a:pt x="429" y="277"/>
                        <a:pt x="440" y="281"/>
                        <a:pt x="453"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grpSp>
          <p:sp>
            <p:nvSpPr>
              <p:cNvPr id="233" name="Rounded Rectangle 232"/>
              <p:cNvSpPr/>
              <p:nvPr/>
            </p:nvSpPr>
            <p:spPr>
              <a:xfrm>
                <a:off x="3541205" y="3444245"/>
                <a:ext cx="2026198" cy="675839"/>
              </a:xfrm>
              <a:prstGeom prst="roundRect">
                <a:avLst>
                  <a:gd name="adj" fmla="val 50000"/>
                </a:avLst>
              </a:prstGeom>
              <a:solidFill>
                <a:srgbClr val="008530"/>
              </a:solidFill>
              <a:ln w="12700" cap="flat" cmpd="sng" algn="ctr">
                <a:noFill/>
                <a:prstDash val="dash"/>
                <a:miter lim="800000"/>
              </a:ln>
              <a:effectLst/>
            </p:spPr>
            <p:txBody>
              <a:bodyPr rIns="6096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white"/>
                    </a:solidFill>
                    <a:effectLst/>
                    <a:uLnTx/>
                    <a:uFillTx/>
                    <a:latin typeface="Calibri" panose="020F0502020204030204" pitchFamily="34" charset="0"/>
                    <a:ea typeface="+mn-ea"/>
                    <a:cs typeface="Helvetica" panose="020B0604020202020204" pitchFamily="34" charset="0"/>
                  </a:rPr>
                  <a:t>~16-18 % </a:t>
                </a:r>
                <a:r>
                  <a:rPr kumimoji="0" lang="en-US" sz="1333"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Helvetica" panose="020B0604020202020204" pitchFamily="34" charset="0"/>
                  </a:rPr>
                  <a:t> Effort </a:t>
                </a:r>
                <a:r>
                  <a:rPr kumimoji="0" lang="en-US" sz="1333" b="1" i="0" u="none" strike="noStrike" kern="0" cap="none" spc="0" normalizeH="0" baseline="0" noProof="0" dirty="0">
                    <a:ln>
                      <a:noFill/>
                    </a:ln>
                    <a:solidFill>
                      <a:prstClr val="white"/>
                    </a:solidFill>
                    <a:effectLst/>
                    <a:uLnTx/>
                    <a:uFillTx/>
                    <a:latin typeface="Calibri" panose="020F0502020204030204" pitchFamily="34" charset="0"/>
                    <a:ea typeface="+mn-ea"/>
                    <a:cs typeface="Helvetica" panose="020B0604020202020204" pitchFamily="34" charset="0"/>
                  </a:rPr>
                  <a:t>Savings</a:t>
                </a:r>
              </a:p>
            </p:txBody>
          </p:sp>
          <p:sp>
            <p:nvSpPr>
              <p:cNvPr id="234" name="Oval 233"/>
              <p:cNvSpPr/>
              <p:nvPr/>
            </p:nvSpPr>
            <p:spPr>
              <a:xfrm>
                <a:off x="4940792" y="3545545"/>
                <a:ext cx="443578" cy="443578"/>
              </a:xfrm>
              <a:prstGeom prst="ellipse">
                <a:avLst/>
              </a:prstGeom>
              <a:solidFill>
                <a:srgbClr val="FFFFFF"/>
              </a:solidFill>
              <a:ln w="12700" cap="flat" cmpd="sng" algn="ctr">
                <a:solidFill>
                  <a:sysClr val="window" lastClr="FFFFFF"/>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nvGrpSpPr>
              <p:cNvPr id="235" name="Group 234"/>
              <p:cNvGrpSpPr/>
              <p:nvPr/>
            </p:nvGrpSpPr>
            <p:grpSpPr>
              <a:xfrm>
                <a:off x="4956237" y="3664601"/>
                <a:ext cx="289775" cy="239198"/>
                <a:chOff x="4005262" y="4027488"/>
                <a:chExt cx="585788" cy="549274"/>
              </a:xfrm>
              <a:solidFill>
                <a:sysClr val="windowText" lastClr="000000">
                  <a:lumMod val="50000"/>
                  <a:lumOff val="50000"/>
                </a:sysClr>
              </a:solidFill>
            </p:grpSpPr>
            <p:sp>
              <p:nvSpPr>
                <p:cNvPr id="239" name="Freeform 5"/>
                <p:cNvSpPr>
                  <a:spLocks noEditPoints="1"/>
                </p:cNvSpPr>
                <p:nvPr/>
              </p:nvSpPr>
              <p:spPr bwMode="auto">
                <a:xfrm>
                  <a:off x="4005262" y="4397375"/>
                  <a:ext cx="585788" cy="179387"/>
                </a:xfrm>
                <a:custGeom>
                  <a:avLst/>
                  <a:gdLst>
                    <a:gd name="T0" fmla="*/ 473 w 1243"/>
                    <a:gd name="T1" fmla="*/ 349 h 380"/>
                    <a:gd name="T2" fmla="*/ 254 w 1243"/>
                    <a:gd name="T3" fmla="*/ 341 h 380"/>
                    <a:gd name="T4" fmla="*/ 232 w 1243"/>
                    <a:gd name="T5" fmla="*/ 350 h 380"/>
                    <a:gd name="T6" fmla="*/ 189 w 1243"/>
                    <a:gd name="T7" fmla="*/ 371 h 380"/>
                    <a:gd name="T8" fmla="*/ 86 w 1243"/>
                    <a:gd name="T9" fmla="*/ 379 h 380"/>
                    <a:gd name="T10" fmla="*/ 19 w 1243"/>
                    <a:gd name="T11" fmla="*/ 321 h 380"/>
                    <a:gd name="T12" fmla="*/ 3 w 1243"/>
                    <a:gd name="T13" fmla="*/ 98 h 380"/>
                    <a:gd name="T14" fmla="*/ 69 w 1243"/>
                    <a:gd name="T15" fmla="*/ 22 h 380"/>
                    <a:gd name="T16" fmla="*/ 171 w 1243"/>
                    <a:gd name="T17" fmla="*/ 17 h 380"/>
                    <a:gd name="T18" fmla="*/ 213 w 1243"/>
                    <a:gd name="T19" fmla="*/ 34 h 380"/>
                    <a:gd name="T20" fmla="*/ 236 w 1243"/>
                    <a:gd name="T21" fmla="*/ 37 h 380"/>
                    <a:gd name="T22" fmla="*/ 498 w 1243"/>
                    <a:gd name="T23" fmla="*/ 22 h 380"/>
                    <a:gd name="T24" fmla="*/ 604 w 1243"/>
                    <a:gd name="T25" fmla="*/ 36 h 380"/>
                    <a:gd name="T26" fmla="*/ 818 w 1243"/>
                    <a:gd name="T27" fmla="*/ 39 h 380"/>
                    <a:gd name="T28" fmla="*/ 878 w 1243"/>
                    <a:gd name="T29" fmla="*/ 93 h 380"/>
                    <a:gd name="T30" fmla="*/ 822 w 1243"/>
                    <a:gd name="T31" fmla="*/ 153 h 380"/>
                    <a:gd name="T32" fmla="*/ 569 w 1243"/>
                    <a:gd name="T33" fmla="*/ 178 h 380"/>
                    <a:gd name="T34" fmla="*/ 559 w 1243"/>
                    <a:gd name="T35" fmla="*/ 179 h 380"/>
                    <a:gd name="T36" fmla="*/ 539 w 1243"/>
                    <a:gd name="T37" fmla="*/ 197 h 380"/>
                    <a:gd name="T38" fmla="*/ 562 w 1243"/>
                    <a:gd name="T39" fmla="*/ 209 h 380"/>
                    <a:gd name="T40" fmla="*/ 875 w 1243"/>
                    <a:gd name="T41" fmla="*/ 179 h 380"/>
                    <a:gd name="T42" fmla="*/ 946 w 1243"/>
                    <a:gd name="T43" fmla="*/ 148 h 380"/>
                    <a:gd name="T44" fmla="*/ 1137 w 1243"/>
                    <a:gd name="T45" fmla="*/ 40 h 380"/>
                    <a:gd name="T46" fmla="*/ 1168 w 1243"/>
                    <a:gd name="T47" fmla="*/ 28 h 380"/>
                    <a:gd name="T48" fmla="*/ 1231 w 1243"/>
                    <a:gd name="T49" fmla="*/ 49 h 380"/>
                    <a:gd name="T50" fmla="*/ 1215 w 1243"/>
                    <a:gd name="T51" fmla="*/ 117 h 380"/>
                    <a:gd name="T52" fmla="*/ 1198 w 1243"/>
                    <a:gd name="T53" fmla="*/ 128 h 380"/>
                    <a:gd name="T54" fmla="*/ 864 w 1243"/>
                    <a:gd name="T55" fmla="*/ 323 h 380"/>
                    <a:gd name="T56" fmla="*/ 703 w 1243"/>
                    <a:gd name="T57" fmla="*/ 359 h 380"/>
                    <a:gd name="T58" fmla="*/ 473 w 1243"/>
                    <a:gd name="T59" fmla="*/ 349 h 380"/>
                    <a:gd name="T60" fmla="*/ 473 w 1243"/>
                    <a:gd name="T61" fmla="*/ 349 h 380"/>
                    <a:gd name="T62" fmla="*/ 124 w 1243"/>
                    <a:gd name="T63" fmla="*/ 255 h 380"/>
                    <a:gd name="T64" fmla="*/ 90 w 1243"/>
                    <a:gd name="T65" fmla="*/ 289 h 380"/>
                    <a:gd name="T66" fmla="*/ 126 w 1243"/>
                    <a:gd name="T67" fmla="*/ 324 h 380"/>
                    <a:gd name="T68" fmla="*/ 160 w 1243"/>
                    <a:gd name="T69" fmla="*/ 289 h 380"/>
                    <a:gd name="T70" fmla="*/ 124 w 1243"/>
                    <a:gd name="T71" fmla="*/ 255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43" h="380">
                      <a:moveTo>
                        <a:pt x="473" y="349"/>
                      </a:moveTo>
                      <a:cubicBezTo>
                        <a:pt x="400" y="346"/>
                        <a:pt x="327" y="343"/>
                        <a:pt x="254" y="341"/>
                      </a:cubicBezTo>
                      <a:cubicBezTo>
                        <a:pt x="247" y="340"/>
                        <a:pt x="239" y="346"/>
                        <a:pt x="232" y="350"/>
                      </a:cubicBezTo>
                      <a:cubicBezTo>
                        <a:pt x="218" y="357"/>
                        <a:pt x="204" y="369"/>
                        <a:pt x="189" y="371"/>
                      </a:cubicBezTo>
                      <a:cubicBezTo>
                        <a:pt x="155" y="376"/>
                        <a:pt x="120" y="377"/>
                        <a:pt x="86" y="379"/>
                      </a:cubicBezTo>
                      <a:cubicBezTo>
                        <a:pt x="50" y="380"/>
                        <a:pt x="22" y="356"/>
                        <a:pt x="19" y="321"/>
                      </a:cubicBezTo>
                      <a:cubicBezTo>
                        <a:pt x="13" y="247"/>
                        <a:pt x="8" y="172"/>
                        <a:pt x="3" y="98"/>
                      </a:cubicBezTo>
                      <a:cubicBezTo>
                        <a:pt x="0" y="53"/>
                        <a:pt x="24" y="26"/>
                        <a:pt x="69" y="22"/>
                      </a:cubicBezTo>
                      <a:cubicBezTo>
                        <a:pt x="103" y="19"/>
                        <a:pt x="137" y="16"/>
                        <a:pt x="171" y="17"/>
                      </a:cubicBezTo>
                      <a:cubicBezTo>
                        <a:pt x="185" y="18"/>
                        <a:pt x="201" y="25"/>
                        <a:pt x="213" y="34"/>
                      </a:cubicBezTo>
                      <a:cubicBezTo>
                        <a:pt x="222" y="40"/>
                        <a:pt x="227" y="41"/>
                        <a:pt x="236" y="37"/>
                      </a:cubicBezTo>
                      <a:cubicBezTo>
                        <a:pt x="321" y="0"/>
                        <a:pt x="408" y="0"/>
                        <a:pt x="498" y="22"/>
                      </a:cubicBezTo>
                      <a:cubicBezTo>
                        <a:pt x="532" y="30"/>
                        <a:pt x="568" y="35"/>
                        <a:pt x="604" y="36"/>
                      </a:cubicBezTo>
                      <a:cubicBezTo>
                        <a:pt x="675" y="39"/>
                        <a:pt x="746" y="38"/>
                        <a:pt x="818" y="39"/>
                      </a:cubicBezTo>
                      <a:cubicBezTo>
                        <a:pt x="851" y="39"/>
                        <a:pt x="877" y="62"/>
                        <a:pt x="878" y="93"/>
                      </a:cubicBezTo>
                      <a:cubicBezTo>
                        <a:pt x="880" y="124"/>
                        <a:pt x="856" y="150"/>
                        <a:pt x="822" y="153"/>
                      </a:cubicBezTo>
                      <a:cubicBezTo>
                        <a:pt x="738" y="162"/>
                        <a:pt x="653" y="170"/>
                        <a:pt x="569" y="178"/>
                      </a:cubicBezTo>
                      <a:cubicBezTo>
                        <a:pt x="566" y="178"/>
                        <a:pt x="562" y="177"/>
                        <a:pt x="559" y="179"/>
                      </a:cubicBezTo>
                      <a:cubicBezTo>
                        <a:pt x="552" y="184"/>
                        <a:pt x="546" y="191"/>
                        <a:pt x="539" y="197"/>
                      </a:cubicBezTo>
                      <a:cubicBezTo>
                        <a:pt x="547" y="201"/>
                        <a:pt x="554" y="209"/>
                        <a:pt x="562" y="209"/>
                      </a:cubicBezTo>
                      <a:cubicBezTo>
                        <a:pt x="667" y="208"/>
                        <a:pt x="772" y="201"/>
                        <a:pt x="875" y="179"/>
                      </a:cubicBezTo>
                      <a:cubicBezTo>
                        <a:pt x="900" y="174"/>
                        <a:pt x="923" y="161"/>
                        <a:pt x="946" y="148"/>
                      </a:cubicBezTo>
                      <a:cubicBezTo>
                        <a:pt x="1010" y="113"/>
                        <a:pt x="1073" y="76"/>
                        <a:pt x="1137" y="40"/>
                      </a:cubicBezTo>
                      <a:cubicBezTo>
                        <a:pt x="1147" y="35"/>
                        <a:pt x="1158" y="31"/>
                        <a:pt x="1168" y="28"/>
                      </a:cubicBezTo>
                      <a:cubicBezTo>
                        <a:pt x="1196" y="19"/>
                        <a:pt x="1219" y="27"/>
                        <a:pt x="1231" y="49"/>
                      </a:cubicBezTo>
                      <a:cubicBezTo>
                        <a:pt x="1243" y="71"/>
                        <a:pt x="1236" y="100"/>
                        <a:pt x="1215" y="117"/>
                      </a:cubicBezTo>
                      <a:cubicBezTo>
                        <a:pt x="1210" y="121"/>
                        <a:pt x="1204" y="125"/>
                        <a:pt x="1198" y="128"/>
                      </a:cubicBezTo>
                      <a:cubicBezTo>
                        <a:pt x="1087" y="193"/>
                        <a:pt x="975" y="259"/>
                        <a:pt x="864" y="323"/>
                      </a:cubicBezTo>
                      <a:cubicBezTo>
                        <a:pt x="814" y="352"/>
                        <a:pt x="761" y="363"/>
                        <a:pt x="703" y="359"/>
                      </a:cubicBezTo>
                      <a:cubicBezTo>
                        <a:pt x="626" y="353"/>
                        <a:pt x="550" y="352"/>
                        <a:pt x="473" y="349"/>
                      </a:cubicBezTo>
                      <a:cubicBezTo>
                        <a:pt x="473" y="349"/>
                        <a:pt x="473" y="349"/>
                        <a:pt x="473" y="349"/>
                      </a:cubicBezTo>
                      <a:close/>
                      <a:moveTo>
                        <a:pt x="124" y="255"/>
                      </a:moveTo>
                      <a:cubicBezTo>
                        <a:pt x="104" y="256"/>
                        <a:pt x="90" y="270"/>
                        <a:pt x="90" y="289"/>
                      </a:cubicBezTo>
                      <a:cubicBezTo>
                        <a:pt x="90" y="308"/>
                        <a:pt x="107" y="325"/>
                        <a:pt x="126" y="324"/>
                      </a:cubicBezTo>
                      <a:cubicBezTo>
                        <a:pt x="144" y="323"/>
                        <a:pt x="160" y="308"/>
                        <a:pt x="160" y="289"/>
                      </a:cubicBezTo>
                      <a:cubicBezTo>
                        <a:pt x="160" y="270"/>
                        <a:pt x="144" y="255"/>
                        <a:pt x="124"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0" name="Freeform 6"/>
                <p:cNvSpPr>
                  <a:spLocks noEditPoints="1"/>
                </p:cNvSpPr>
                <p:nvPr/>
              </p:nvSpPr>
              <p:spPr bwMode="auto">
                <a:xfrm>
                  <a:off x="4146550" y="4027488"/>
                  <a:ext cx="338138" cy="338137"/>
                </a:xfrm>
                <a:custGeom>
                  <a:avLst/>
                  <a:gdLst>
                    <a:gd name="T0" fmla="*/ 568 w 718"/>
                    <a:gd name="T1" fmla="*/ 618 h 718"/>
                    <a:gd name="T2" fmla="*/ 512 w 718"/>
                    <a:gd name="T3" fmla="*/ 655 h 718"/>
                    <a:gd name="T4" fmla="*/ 436 w 718"/>
                    <a:gd name="T5" fmla="*/ 682 h 718"/>
                    <a:gd name="T6" fmla="*/ 365 w 718"/>
                    <a:gd name="T7" fmla="*/ 692 h 718"/>
                    <a:gd name="T8" fmla="*/ 286 w 718"/>
                    <a:gd name="T9" fmla="*/ 684 h 718"/>
                    <a:gd name="T10" fmla="*/ 217 w 718"/>
                    <a:gd name="T11" fmla="*/ 661 h 718"/>
                    <a:gd name="T12" fmla="*/ 150 w 718"/>
                    <a:gd name="T13" fmla="*/ 620 h 718"/>
                    <a:gd name="T14" fmla="*/ 98 w 718"/>
                    <a:gd name="T15" fmla="*/ 570 h 718"/>
                    <a:gd name="T16" fmla="*/ 57 w 718"/>
                    <a:gd name="T17" fmla="*/ 506 h 718"/>
                    <a:gd name="T18" fmla="*/ 33 w 718"/>
                    <a:gd name="T19" fmla="*/ 436 h 718"/>
                    <a:gd name="T20" fmla="*/ 23 w 718"/>
                    <a:gd name="T21" fmla="*/ 361 h 718"/>
                    <a:gd name="T22" fmla="*/ 30 w 718"/>
                    <a:gd name="T23" fmla="*/ 285 h 718"/>
                    <a:gd name="T24" fmla="*/ 52 w 718"/>
                    <a:gd name="T25" fmla="*/ 217 h 718"/>
                    <a:gd name="T26" fmla="*/ 94 w 718"/>
                    <a:gd name="T27" fmla="*/ 147 h 718"/>
                    <a:gd name="T28" fmla="*/ 146 w 718"/>
                    <a:gd name="T29" fmla="*/ 98 h 718"/>
                    <a:gd name="T30" fmla="*/ 207 w 718"/>
                    <a:gd name="T31" fmla="*/ 61 h 718"/>
                    <a:gd name="T32" fmla="*/ 279 w 718"/>
                    <a:gd name="T33" fmla="*/ 34 h 718"/>
                    <a:gd name="T34" fmla="*/ 355 w 718"/>
                    <a:gd name="T35" fmla="*/ 24 h 718"/>
                    <a:gd name="T36" fmla="*/ 430 w 718"/>
                    <a:gd name="T37" fmla="*/ 31 h 718"/>
                    <a:gd name="T38" fmla="*/ 503 w 718"/>
                    <a:gd name="T39" fmla="*/ 56 h 718"/>
                    <a:gd name="T40" fmla="*/ 566 w 718"/>
                    <a:gd name="T41" fmla="*/ 94 h 718"/>
                    <a:gd name="T42" fmla="*/ 620 w 718"/>
                    <a:gd name="T43" fmla="*/ 147 h 718"/>
                    <a:gd name="T44" fmla="*/ 660 w 718"/>
                    <a:gd name="T45" fmla="*/ 215 h 718"/>
                    <a:gd name="T46" fmla="*/ 683 w 718"/>
                    <a:gd name="T47" fmla="*/ 281 h 718"/>
                    <a:gd name="T48" fmla="*/ 694 w 718"/>
                    <a:gd name="T49" fmla="*/ 358 h 718"/>
                    <a:gd name="T50" fmla="*/ 690 w 718"/>
                    <a:gd name="T51" fmla="*/ 432 h 718"/>
                    <a:gd name="T52" fmla="*/ 678 w 718"/>
                    <a:gd name="T53" fmla="*/ 495 h 718"/>
                    <a:gd name="T54" fmla="*/ 660 w 718"/>
                    <a:gd name="T55" fmla="*/ 504 h 718"/>
                    <a:gd name="T56" fmla="*/ 625 w 718"/>
                    <a:gd name="T57" fmla="*/ 559 h 718"/>
                    <a:gd name="T58" fmla="*/ 568 w 718"/>
                    <a:gd name="T59" fmla="*/ 618 h 718"/>
                    <a:gd name="T60" fmla="*/ 590 w 718"/>
                    <a:gd name="T61" fmla="*/ 360 h 718"/>
                    <a:gd name="T62" fmla="*/ 361 w 718"/>
                    <a:gd name="T63" fmla="*/ 126 h 718"/>
                    <a:gd name="T64" fmla="*/ 126 w 718"/>
                    <a:gd name="T65" fmla="*/ 355 h 718"/>
                    <a:gd name="T66" fmla="*/ 350 w 718"/>
                    <a:gd name="T67" fmla="*/ 591 h 718"/>
                    <a:gd name="T68" fmla="*/ 590 w 718"/>
                    <a:gd name="T69" fmla="*/ 36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8" h="718">
                      <a:moveTo>
                        <a:pt x="568" y="618"/>
                      </a:moveTo>
                      <a:cubicBezTo>
                        <a:pt x="537" y="617"/>
                        <a:pt x="525" y="625"/>
                        <a:pt x="512" y="655"/>
                      </a:cubicBezTo>
                      <a:cubicBezTo>
                        <a:pt x="495" y="693"/>
                        <a:pt x="474" y="701"/>
                        <a:pt x="436" y="682"/>
                      </a:cubicBezTo>
                      <a:cubicBezTo>
                        <a:pt x="405" y="667"/>
                        <a:pt x="391" y="669"/>
                        <a:pt x="365" y="692"/>
                      </a:cubicBezTo>
                      <a:cubicBezTo>
                        <a:pt x="336" y="718"/>
                        <a:pt x="310" y="716"/>
                        <a:pt x="286" y="684"/>
                      </a:cubicBezTo>
                      <a:cubicBezTo>
                        <a:pt x="264" y="655"/>
                        <a:pt x="252" y="651"/>
                        <a:pt x="217" y="661"/>
                      </a:cubicBezTo>
                      <a:cubicBezTo>
                        <a:pt x="180" y="672"/>
                        <a:pt x="158" y="658"/>
                        <a:pt x="150" y="620"/>
                      </a:cubicBezTo>
                      <a:cubicBezTo>
                        <a:pt x="144" y="586"/>
                        <a:pt x="134" y="576"/>
                        <a:pt x="98" y="570"/>
                      </a:cubicBezTo>
                      <a:cubicBezTo>
                        <a:pt x="62" y="564"/>
                        <a:pt x="47" y="541"/>
                        <a:pt x="57" y="506"/>
                      </a:cubicBezTo>
                      <a:cubicBezTo>
                        <a:pt x="67" y="470"/>
                        <a:pt x="63" y="457"/>
                        <a:pt x="33" y="436"/>
                      </a:cubicBezTo>
                      <a:cubicBezTo>
                        <a:pt x="4" y="417"/>
                        <a:pt x="0" y="388"/>
                        <a:pt x="23" y="361"/>
                      </a:cubicBezTo>
                      <a:cubicBezTo>
                        <a:pt x="48" y="331"/>
                        <a:pt x="49" y="319"/>
                        <a:pt x="30" y="285"/>
                      </a:cubicBezTo>
                      <a:cubicBezTo>
                        <a:pt x="14" y="257"/>
                        <a:pt x="22" y="228"/>
                        <a:pt x="52" y="217"/>
                      </a:cubicBezTo>
                      <a:cubicBezTo>
                        <a:pt x="86" y="205"/>
                        <a:pt x="99" y="183"/>
                        <a:pt x="94" y="147"/>
                      </a:cubicBezTo>
                      <a:cubicBezTo>
                        <a:pt x="91" y="117"/>
                        <a:pt x="115" y="96"/>
                        <a:pt x="146" y="98"/>
                      </a:cubicBezTo>
                      <a:cubicBezTo>
                        <a:pt x="182" y="101"/>
                        <a:pt x="192" y="95"/>
                        <a:pt x="207" y="61"/>
                      </a:cubicBezTo>
                      <a:cubicBezTo>
                        <a:pt x="222" y="26"/>
                        <a:pt x="246" y="16"/>
                        <a:pt x="279" y="34"/>
                      </a:cubicBezTo>
                      <a:cubicBezTo>
                        <a:pt x="307" y="50"/>
                        <a:pt x="331" y="47"/>
                        <a:pt x="355" y="24"/>
                      </a:cubicBezTo>
                      <a:cubicBezTo>
                        <a:pt x="380" y="0"/>
                        <a:pt x="408" y="3"/>
                        <a:pt x="430" y="31"/>
                      </a:cubicBezTo>
                      <a:cubicBezTo>
                        <a:pt x="456" y="64"/>
                        <a:pt x="464" y="67"/>
                        <a:pt x="503" y="56"/>
                      </a:cubicBezTo>
                      <a:cubicBezTo>
                        <a:pt x="536" y="47"/>
                        <a:pt x="559" y="61"/>
                        <a:pt x="566" y="94"/>
                      </a:cubicBezTo>
                      <a:cubicBezTo>
                        <a:pt x="575" y="134"/>
                        <a:pt x="581" y="140"/>
                        <a:pt x="620" y="147"/>
                      </a:cubicBezTo>
                      <a:cubicBezTo>
                        <a:pt x="657" y="155"/>
                        <a:pt x="671" y="178"/>
                        <a:pt x="660" y="215"/>
                      </a:cubicBezTo>
                      <a:cubicBezTo>
                        <a:pt x="650" y="247"/>
                        <a:pt x="656" y="262"/>
                        <a:pt x="683" y="281"/>
                      </a:cubicBezTo>
                      <a:cubicBezTo>
                        <a:pt x="714" y="302"/>
                        <a:pt x="718" y="330"/>
                        <a:pt x="694" y="358"/>
                      </a:cubicBezTo>
                      <a:cubicBezTo>
                        <a:pt x="668" y="389"/>
                        <a:pt x="668" y="401"/>
                        <a:pt x="690" y="432"/>
                      </a:cubicBezTo>
                      <a:cubicBezTo>
                        <a:pt x="705" y="452"/>
                        <a:pt x="700" y="481"/>
                        <a:pt x="678" y="495"/>
                      </a:cubicBezTo>
                      <a:cubicBezTo>
                        <a:pt x="672" y="499"/>
                        <a:pt x="666" y="501"/>
                        <a:pt x="660" y="504"/>
                      </a:cubicBezTo>
                      <a:cubicBezTo>
                        <a:pt x="632" y="516"/>
                        <a:pt x="624" y="529"/>
                        <a:pt x="625" y="559"/>
                      </a:cubicBezTo>
                      <a:cubicBezTo>
                        <a:pt x="628" y="603"/>
                        <a:pt x="611" y="619"/>
                        <a:pt x="568" y="618"/>
                      </a:cubicBezTo>
                      <a:close/>
                      <a:moveTo>
                        <a:pt x="590" y="360"/>
                      </a:moveTo>
                      <a:cubicBezTo>
                        <a:pt x="592" y="234"/>
                        <a:pt x="488" y="128"/>
                        <a:pt x="361" y="126"/>
                      </a:cubicBezTo>
                      <a:cubicBezTo>
                        <a:pt x="234" y="125"/>
                        <a:pt x="127" y="229"/>
                        <a:pt x="126" y="355"/>
                      </a:cubicBezTo>
                      <a:cubicBezTo>
                        <a:pt x="124" y="482"/>
                        <a:pt x="227" y="590"/>
                        <a:pt x="350" y="591"/>
                      </a:cubicBezTo>
                      <a:cubicBezTo>
                        <a:pt x="485" y="592"/>
                        <a:pt x="589" y="492"/>
                        <a:pt x="590"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1" name="Freeform 7"/>
                <p:cNvSpPr>
                  <a:spLocks/>
                </p:cNvSpPr>
                <p:nvPr/>
              </p:nvSpPr>
              <p:spPr bwMode="auto">
                <a:xfrm>
                  <a:off x="4443413" y="4389438"/>
                  <a:ext cx="93663" cy="53975"/>
                </a:xfrm>
                <a:custGeom>
                  <a:avLst/>
                  <a:gdLst>
                    <a:gd name="T0" fmla="*/ 197 w 198"/>
                    <a:gd name="T1" fmla="*/ 9 h 115"/>
                    <a:gd name="T2" fmla="*/ 4 w 198"/>
                    <a:gd name="T3" fmla="*/ 115 h 115"/>
                    <a:gd name="T4" fmla="*/ 0 w 198"/>
                    <a:gd name="T5" fmla="*/ 85 h 115"/>
                    <a:gd name="T6" fmla="*/ 8 w 198"/>
                    <a:gd name="T7" fmla="*/ 71 h 115"/>
                    <a:gd name="T8" fmla="*/ 151 w 198"/>
                    <a:gd name="T9" fmla="*/ 5 h 115"/>
                    <a:gd name="T10" fmla="*/ 198 w 198"/>
                    <a:gd name="T11" fmla="*/ 5 h 115"/>
                    <a:gd name="T12" fmla="*/ 197 w 198"/>
                    <a:gd name="T13" fmla="*/ 9 h 115"/>
                  </a:gdLst>
                  <a:ahLst/>
                  <a:cxnLst>
                    <a:cxn ang="0">
                      <a:pos x="T0" y="T1"/>
                    </a:cxn>
                    <a:cxn ang="0">
                      <a:pos x="T2" y="T3"/>
                    </a:cxn>
                    <a:cxn ang="0">
                      <a:pos x="T4" y="T5"/>
                    </a:cxn>
                    <a:cxn ang="0">
                      <a:pos x="T6" y="T7"/>
                    </a:cxn>
                    <a:cxn ang="0">
                      <a:pos x="T8" y="T9"/>
                    </a:cxn>
                    <a:cxn ang="0">
                      <a:pos x="T10" y="T11"/>
                    </a:cxn>
                    <a:cxn ang="0">
                      <a:pos x="T12" y="T13"/>
                    </a:cxn>
                  </a:cxnLst>
                  <a:rect l="0" t="0" r="r" b="b"/>
                  <a:pathLst>
                    <a:path w="198" h="115">
                      <a:moveTo>
                        <a:pt x="197" y="9"/>
                      </a:moveTo>
                      <a:cubicBezTo>
                        <a:pt x="133" y="44"/>
                        <a:pt x="68" y="80"/>
                        <a:pt x="4" y="115"/>
                      </a:cubicBezTo>
                      <a:cubicBezTo>
                        <a:pt x="3" y="105"/>
                        <a:pt x="0" y="95"/>
                        <a:pt x="0" y="85"/>
                      </a:cubicBezTo>
                      <a:cubicBezTo>
                        <a:pt x="0" y="80"/>
                        <a:pt x="4" y="73"/>
                        <a:pt x="8" y="71"/>
                      </a:cubicBezTo>
                      <a:cubicBezTo>
                        <a:pt x="55" y="49"/>
                        <a:pt x="102" y="25"/>
                        <a:pt x="151" y="5"/>
                      </a:cubicBezTo>
                      <a:cubicBezTo>
                        <a:pt x="164" y="0"/>
                        <a:pt x="182" y="5"/>
                        <a:pt x="198" y="5"/>
                      </a:cubicBezTo>
                      <a:cubicBezTo>
                        <a:pt x="198" y="6"/>
                        <a:pt x="197" y="8"/>
                        <a:pt x="19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2" name="Freeform 8"/>
                <p:cNvSpPr>
                  <a:spLocks/>
                </p:cNvSpPr>
                <p:nvPr/>
              </p:nvSpPr>
              <p:spPr bwMode="auto">
                <a:xfrm>
                  <a:off x="4419600" y="4375150"/>
                  <a:ext cx="73025" cy="33337"/>
                </a:xfrm>
                <a:custGeom>
                  <a:avLst/>
                  <a:gdLst>
                    <a:gd name="T0" fmla="*/ 0 w 155"/>
                    <a:gd name="T1" fmla="*/ 44 h 68"/>
                    <a:gd name="T2" fmla="*/ 122 w 155"/>
                    <a:gd name="T3" fmla="*/ 3 h 68"/>
                    <a:gd name="T4" fmla="*/ 155 w 155"/>
                    <a:gd name="T5" fmla="*/ 13 h 68"/>
                    <a:gd name="T6" fmla="*/ 27 w 155"/>
                    <a:gd name="T7" fmla="*/ 68 h 68"/>
                    <a:gd name="T8" fmla="*/ 0 w 155"/>
                    <a:gd name="T9" fmla="*/ 44 h 68"/>
                  </a:gdLst>
                  <a:ahLst/>
                  <a:cxnLst>
                    <a:cxn ang="0">
                      <a:pos x="T0" y="T1"/>
                    </a:cxn>
                    <a:cxn ang="0">
                      <a:pos x="T2" y="T3"/>
                    </a:cxn>
                    <a:cxn ang="0">
                      <a:pos x="T4" y="T5"/>
                    </a:cxn>
                    <a:cxn ang="0">
                      <a:pos x="T6" y="T7"/>
                    </a:cxn>
                    <a:cxn ang="0">
                      <a:pos x="T8" y="T9"/>
                    </a:cxn>
                  </a:cxnLst>
                  <a:rect l="0" t="0" r="r" b="b"/>
                  <a:pathLst>
                    <a:path w="155" h="68">
                      <a:moveTo>
                        <a:pt x="0" y="44"/>
                      </a:moveTo>
                      <a:cubicBezTo>
                        <a:pt x="42" y="30"/>
                        <a:pt x="82" y="15"/>
                        <a:pt x="122" y="3"/>
                      </a:cubicBezTo>
                      <a:cubicBezTo>
                        <a:pt x="132" y="0"/>
                        <a:pt x="145" y="6"/>
                        <a:pt x="155" y="13"/>
                      </a:cubicBezTo>
                      <a:cubicBezTo>
                        <a:pt x="113" y="31"/>
                        <a:pt x="70" y="49"/>
                        <a:pt x="27" y="68"/>
                      </a:cubicBezTo>
                      <a:cubicBezTo>
                        <a:pt x="20" y="62"/>
                        <a:pt x="12" y="55"/>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3" name="Freeform 9"/>
                <p:cNvSpPr>
                  <a:spLocks noEditPoints="1"/>
                </p:cNvSpPr>
                <p:nvPr/>
              </p:nvSpPr>
              <p:spPr bwMode="auto">
                <a:xfrm>
                  <a:off x="4229100" y="4111625"/>
                  <a:ext cx="171450" cy="171450"/>
                </a:xfrm>
                <a:custGeom>
                  <a:avLst/>
                  <a:gdLst>
                    <a:gd name="T0" fmla="*/ 181 w 361"/>
                    <a:gd name="T1" fmla="*/ 0 h 362"/>
                    <a:gd name="T2" fmla="*/ 361 w 361"/>
                    <a:gd name="T3" fmla="*/ 179 h 362"/>
                    <a:gd name="T4" fmla="*/ 182 w 361"/>
                    <a:gd name="T5" fmla="*/ 361 h 362"/>
                    <a:gd name="T6" fmla="*/ 1 w 361"/>
                    <a:gd name="T7" fmla="*/ 181 h 362"/>
                    <a:gd name="T8" fmla="*/ 181 w 361"/>
                    <a:gd name="T9" fmla="*/ 0 h 362"/>
                    <a:gd name="T10" fmla="*/ 245 w 361"/>
                    <a:gd name="T11" fmla="*/ 91 h 362"/>
                    <a:gd name="T12" fmla="*/ 153 w 361"/>
                    <a:gd name="T13" fmla="*/ 191 h 362"/>
                    <a:gd name="T14" fmla="*/ 117 w 361"/>
                    <a:gd name="T15" fmla="*/ 147 h 362"/>
                    <a:gd name="T16" fmla="*/ 75 w 361"/>
                    <a:gd name="T17" fmla="*/ 185 h 362"/>
                    <a:gd name="T18" fmla="*/ 155 w 361"/>
                    <a:gd name="T19" fmla="*/ 265 h 362"/>
                    <a:gd name="T20" fmla="*/ 286 w 361"/>
                    <a:gd name="T21" fmla="*/ 131 h 362"/>
                    <a:gd name="T22" fmla="*/ 245 w 361"/>
                    <a:gd name="T23" fmla="*/ 9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1" h="362">
                      <a:moveTo>
                        <a:pt x="181" y="0"/>
                      </a:moveTo>
                      <a:cubicBezTo>
                        <a:pt x="280" y="0"/>
                        <a:pt x="360" y="81"/>
                        <a:pt x="361" y="179"/>
                      </a:cubicBezTo>
                      <a:cubicBezTo>
                        <a:pt x="361" y="279"/>
                        <a:pt x="281" y="360"/>
                        <a:pt x="182" y="361"/>
                      </a:cubicBezTo>
                      <a:cubicBezTo>
                        <a:pt x="84" y="362"/>
                        <a:pt x="1" y="279"/>
                        <a:pt x="1" y="181"/>
                      </a:cubicBezTo>
                      <a:cubicBezTo>
                        <a:pt x="0" y="82"/>
                        <a:pt x="82" y="0"/>
                        <a:pt x="181" y="0"/>
                      </a:cubicBezTo>
                      <a:close/>
                      <a:moveTo>
                        <a:pt x="245" y="91"/>
                      </a:moveTo>
                      <a:cubicBezTo>
                        <a:pt x="215" y="123"/>
                        <a:pt x="186" y="155"/>
                        <a:pt x="153" y="191"/>
                      </a:cubicBezTo>
                      <a:cubicBezTo>
                        <a:pt x="138" y="173"/>
                        <a:pt x="127" y="159"/>
                        <a:pt x="117" y="147"/>
                      </a:cubicBezTo>
                      <a:cubicBezTo>
                        <a:pt x="101" y="161"/>
                        <a:pt x="87" y="174"/>
                        <a:pt x="75" y="185"/>
                      </a:cubicBezTo>
                      <a:cubicBezTo>
                        <a:pt x="102" y="213"/>
                        <a:pt x="129" y="239"/>
                        <a:pt x="155" y="265"/>
                      </a:cubicBezTo>
                      <a:cubicBezTo>
                        <a:pt x="198" y="221"/>
                        <a:pt x="242" y="176"/>
                        <a:pt x="286" y="131"/>
                      </a:cubicBezTo>
                      <a:cubicBezTo>
                        <a:pt x="275" y="120"/>
                        <a:pt x="262" y="108"/>
                        <a:pt x="245"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mn-cs"/>
                  </a:endParaRPr>
                </a:p>
              </p:txBody>
            </p:sp>
          </p:grpSp>
          <p:cxnSp>
            <p:nvCxnSpPr>
              <p:cNvPr id="236" name="Straight Connector 235"/>
              <p:cNvCxnSpPr>
                <a:stCxn id="224" idx="1"/>
              </p:cNvCxnSpPr>
              <p:nvPr/>
            </p:nvCxnSpPr>
            <p:spPr>
              <a:xfrm flipH="1">
                <a:off x="2520493" y="1822361"/>
                <a:ext cx="1020713" cy="952957"/>
              </a:xfrm>
              <a:prstGeom prst="line">
                <a:avLst/>
              </a:prstGeom>
              <a:noFill/>
              <a:ln w="6350" cap="flat" cmpd="sng" algn="ctr">
                <a:solidFill>
                  <a:sysClr val="window" lastClr="FFFFFF">
                    <a:lumMod val="75000"/>
                  </a:sysClr>
                </a:solidFill>
                <a:prstDash val="dash"/>
                <a:miter lim="800000"/>
              </a:ln>
              <a:effectLst/>
            </p:spPr>
          </p:cxnSp>
          <p:cxnSp>
            <p:nvCxnSpPr>
              <p:cNvPr id="237" name="Straight Connector 236"/>
              <p:cNvCxnSpPr>
                <a:stCxn id="233" idx="1"/>
              </p:cNvCxnSpPr>
              <p:nvPr/>
            </p:nvCxnSpPr>
            <p:spPr>
              <a:xfrm flipH="1" flipV="1">
                <a:off x="2485079" y="2858111"/>
                <a:ext cx="1056127" cy="924054"/>
              </a:xfrm>
              <a:prstGeom prst="line">
                <a:avLst/>
              </a:prstGeom>
              <a:noFill/>
              <a:ln w="6350" cap="flat" cmpd="sng" algn="ctr">
                <a:solidFill>
                  <a:sysClr val="window" lastClr="FFFFFF">
                    <a:lumMod val="75000"/>
                  </a:sysClr>
                </a:solidFill>
                <a:prstDash val="dash"/>
                <a:miter lim="800000"/>
              </a:ln>
              <a:effectLst/>
            </p:spPr>
          </p:cxnSp>
          <p:sp>
            <p:nvSpPr>
              <p:cNvPr id="238" name="Isosceles Triangle 237"/>
              <p:cNvSpPr/>
              <p:nvPr/>
            </p:nvSpPr>
            <p:spPr>
              <a:xfrm rot="10800000">
                <a:off x="1662350" y="4114800"/>
                <a:ext cx="322778" cy="172776"/>
              </a:xfrm>
              <a:prstGeom prst="triangl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20" name="TextBox 219"/>
            <p:cNvSpPr txBox="1"/>
            <p:nvPr/>
          </p:nvSpPr>
          <p:spPr>
            <a:xfrm>
              <a:off x="123327" y="5830159"/>
              <a:ext cx="5794567" cy="772931"/>
            </a:xfrm>
            <a:prstGeom prst="rect">
              <a:avLst/>
            </a:prstGeom>
            <a:solidFill>
              <a:srgbClr val="E5E9EF"/>
            </a:solidFill>
          </p:spPr>
          <p:txBody>
            <a:bodyPr wrap="square" rtlCol="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black"/>
                  </a:solidFill>
                  <a:effectLst/>
                  <a:uLnTx/>
                  <a:uFillTx/>
                  <a:latin typeface="Calibri"/>
                  <a:ea typeface="+mn-ea"/>
                  <a:cs typeface="+mn-cs"/>
                </a:rPr>
                <a:t>Automatable and Effort savings % depicted here are based high level analysis of ticket data. The actual numbers will be identified by preforming a detailed assessment.</a:t>
              </a:r>
            </a:p>
          </p:txBody>
        </p:sp>
      </p:grpSp>
      <p:graphicFrame>
        <p:nvGraphicFramePr>
          <p:cNvPr id="111" name="Diagram 110"/>
          <p:cNvGraphicFramePr/>
          <p:nvPr>
            <p:extLst/>
          </p:nvPr>
        </p:nvGraphicFramePr>
        <p:xfrm>
          <a:off x="7040272" y="760077"/>
          <a:ext cx="5112370" cy="2090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2" name="Rounded Rectangle 111"/>
          <p:cNvSpPr/>
          <p:nvPr/>
        </p:nvSpPr>
        <p:spPr>
          <a:xfrm>
            <a:off x="9114926" y="730320"/>
            <a:ext cx="3068137" cy="212100"/>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3" name="Rounded Rectangle 112"/>
          <p:cNvSpPr/>
          <p:nvPr/>
        </p:nvSpPr>
        <p:spPr>
          <a:xfrm>
            <a:off x="7040272" y="726817"/>
            <a:ext cx="1005525" cy="245757"/>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114" name="Group 113"/>
          <p:cNvGrpSpPr/>
          <p:nvPr/>
        </p:nvGrpSpPr>
        <p:grpSpPr>
          <a:xfrm>
            <a:off x="9452160" y="294471"/>
            <a:ext cx="2700482" cy="289121"/>
            <a:chOff x="8145350" y="215971"/>
            <a:chExt cx="2700482" cy="289121"/>
          </a:xfrm>
        </p:grpSpPr>
        <p:grpSp>
          <p:nvGrpSpPr>
            <p:cNvPr id="115" name="Group 114"/>
            <p:cNvGrpSpPr/>
            <p:nvPr/>
          </p:nvGrpSpPr>
          <p:grpSpPr>
            <a:xfrm>
              <a:off x="8335160" y="246313"/>
              <a:ext cx="2505542" cy="212634"/>
              <a:chOff x="299631" y="452732"/>
              <a:chExt cx="3147489" cy="320558"/>
            </a:xfrm>
          </p:grpSpPr>
          <p:grpSp>
            <p:nvGrpSpPr>
              <p:cNvPr id="118" name="Group 117"/>
              <p:cNvGrpSpPr/>
              <p:nvPr/>
            </p:nvGrpSpPr>
            <p:grpSpPr>
              <a:xfrm>
                <a:off x="299631" y="484807"/>
                <a:ext cx="270857" cy="281833"/>
                <a:chOff x="299631" y="484807"/>
                <a:chExt cx="270857" cy="281833"/>
              </a:xfrm>
            </p:grpSpPr>
            <p:sp>
              <p:nvSpPr>
                <p:cNvPr id="128" name="Oval 127"/>
                <p:cNvSpPr/>
                <p:nvPr/>
              </p:nvSpPr>
              <p:spPr bwMode="auto">
                <a:xfrm>
                  <a:off x="299631" y="484807"/>
                  <a:ext cx="270857" cy="281833"/>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EECE1">
                        <a:lumMod val="50000"/>
                      </a:srgbClr>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29" name="Picture 128" descr="http://i1.cpcache.com/product_zoom/1264121174/skydiving_icon_business_cards.jpg?height=250&amp;width=250&amp;padToSquare=tru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4543" y="526789"/>
                  <a:ext cx="143491" cy="197868"/>
                </a:xfrm>
                <a:prstGeom prst="rect">
                  <a:avLst/>
                </a:prstGeom>
                <a:solidFill>
                  <a:srgbClr val="FFFFFF"/>
                </a:solidFill>
                <a:ln w="19050">
                  <a:noFill/>
                  <a:round/>
                  <a:headEnd/>
                  <a:tailEnd/>
                </a:ln>
                <a:effectLst/>
                <a:extLst/>
              </p:spPr>
            </p:pic>
          </p:grpSp>
          <p:sp>
            <p:nvSpPr>
              <p:cNvPr id="119" name="TextBox 118"/>
              <p:cNvSpPr txBox="1"/>
              <p:nvPr/>
            </p:nvSpPr>
            <p:spPr>
              <a:xfrm>
                <a:off x="502220" y="452732"/>
                <a:ext cx="747489"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AND SAFE</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120" name="Group 119"/>
              <p:cNvGrpSpPr/>
              <p:nvPr/>
            </p:nvGrpSpPr>
            <p:grpSpPr>
              <a:xfrm>
                <a:off x="1298515" y="490776"/>
                <a:ext cx="271717" cy="275864"/>
                <a:chOff x="5057725" y="5770940"/>
                <a:chExt cx="496562" cy="496562"/>
              </a:xfrm>
            </p:grpSpPr>
            <p:sp>
              <p:nvSpPr>
                <p:cNvPr id="126" name="Oval 125"/>
                <p:cNvSpPr/>
                <p:nvPr/>
              </p:nvSpPr>
              <p:spPr bwMode="auto">
                <a:xfrm>
                  <a:off x="5057725" y="5770940"/>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27" name="Picture 4" descr="http://sr.photos3.fotosearch.com/bthumb/CSP/CSP345/k3453379.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flipH="1">
                  <a:off x="5169627" y="5839650"/>
                  <a:ext cx="272757" cy="354155"/>
                </a:xfrm>
                <a:prstGeom prst="rect">
                  <a:avLst/>
                </a:prstGeom>
                <a:solidFill>
                  <a:srgbClr val="FFFFFF"/>
                </a:solidFill>
                <a:ln w="19050">
                  <a:noFill/>
                  <a:round/>
                  <a:headEnd/>
                  <a:tailEnd/>
                </a:ln>
                <a:effectLst/>
                <a:extLst/>
              </p:spPr>
            </p:pic>
          </p:grpSp>
          <p:sp>
            <p:nvSpPr>
              <p:cNvPr id="121" name="TextBox 120"/>
              <p:cNvSpPr txBox="1"/>
              <p:nvPr/>
            </p:nvSpPr>
            <p:spPr>
              <a:xfrm>
                <a:off x="1510188" y="460847"/>
                <a:ext cx="890462"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BETTER  </a:t>
                </a:r>
              </a:p>
            </p:txBody>
          </p:sp>
          <p:grpSp>
            <p:nvGrpSpPr>
              <p:cNvPr id="122" name="Group 121"/>
              <p:cNvGrpSpPr/>
              <p:nvPr/>
            </p:nvGrpSpPr>
            <p:grpSpPr>
              <a:xfrm>
                <a:off x="2310382" y="479627"/>
                <a:ext cx="304919" cy="293663"/>
                <a:chOff x="8469842" y="5748867"/>
                <a:chExt cx="496562" cy="496562"/>
              </a:xfrm>
            </p:grpSpPr>
            <p:sp>
              <p:nvSpPr>
                <p:cNvPr id="124" name="Oval 123"/>
                <p:cNvSpPr/>
                <p:nvPr/>
              </p:nvSpPr>
              <p:spPr bwMode="auto">
                <a:xfrm>
                  <a:off x="8469842" y="5748867"/>
                  <a:ext cx="496562" cy="496562"/>
                </a:xfrm>
                <a:prstGeom prst="ellipse">
                  <a:avLst/>
                </a:prstGeom>
                <a:solidFill>
                  <a:srgbClr val="FFFFFF"/>
                </a:solidFill>
                <a:ln w="19050">
                  <a:solidFill>
                    <a:srgbClr val="938953"/>
                  </a:solidFill>
                  <a:round/>
                  <a:headEnd/>
                  <a:tailEnd/>
                </a:ln>
                <a:effectLst/>
              </p:spPr>
              <p:txBody>
                <a:bodyPr vert="horz" wrap="square" lIns="68575" tIns="34288" rIns="68575" bIns="34288" numCol="1" rtlCol="0" anchor="ctr" anchorCtr="0" compatLnSpc="1">
                  <a:prstTxWarp prst="textNoShape">
                    <a:avLst/>
                  </a:prstTxWarp>
                </a:bodyPr>
                <a:lstStyle/>
                <a:p>
                  <a:pPr marL="0" marR="0" lvl="0" indent="0" algn="ctr" defTabSz="70354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Calibri" panose="020F0502020204030204" pitchFamily="34" charset="0"/>
                    <a:ea typeface="Segoe UI" panose="020B0502040204020203" pitchFamily="34" charset="0"/>
                    <a:cs typeface="Segoe UI" panose="020B0502040204020203" pitchFamily="34" charset="0"/>
                  </a:endParaRPr>
                </a:p>
              </p:txBody>
            </p:sp>
            <p:pic>
              <p:nvPicPr>
                <p:cNvPr id="125" name="Picture 2" descr="http://www.kewauneeprcommittee.com/High_hurdles.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80478" y="5815373"/>
                  <a:ext cx="279994" cy="363550"/>
                </a:xfrm>
                <a:prstGeom prst="rect">
                  <a:avLst/>
                </a:prstGeom>
                <a:solidFill>
                  <a:srgbClr val="FFFFFF"/>
                </a:solidFill>
                <a:ln w="19050">
                  <a:noFill/>
                  <a:round/>
                  <a:headEnd/>
                  <a:tailEnd/>
                </a:ln>
                <a:effectLst/>
                <a:extLst/>
              </p:spPr>
            </p:pic>
          </p:grpSp>
          <p:sp>
            <p:nvSpPr>
              <p:cNvPr id="123" name="TextBox 122"/>
              <p:cNvSpPr txBox="1"/>
              <p:nvPr/>
            </p:nvSpPr>
            <p:spPr>
              <a:xfrm>
                <a:off x="2552630" y="460142"/>
                <a:ext cx="894490" cy="3015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UN </a:t>
                </a:r>
                <a:r>
                  <a:rPr kumimoji="0" lang="en-US" sz="700"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ifferent</a:t>
                </a:r>
                <a:endParaRPr kumimoji="0" lang="en-US" sz="7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116" name="Rounded Rectangle 115"/>
            <p:cNvSpPr/>
            <p:nvPr/>
          </p:nvSpPr>
          <p:spPr>
            <a:xfrm>
              <a:off x="9921358" y="215971"/>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7" name="Rounded Rectangle 116"/>
            <p:cNvSpPr/>
            <p:nvPr/>
          </p:nvSpPr>
          <p:spPr>
            <a:xfrm>
              <a:off x="8145350" y="225859"/>
              <a:ext cx="924474" cy="279233"/>
            </a:xfrm>
            <a:prstGeom prst="roundRect">
              <a:avLst/>
            </a:prstGeom>
            <a:solidFill>
              <a:schemeClr val="bg1">
                <a:lumMod val="8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sp>
        <p:nvSpPr>
          <p:cNvPr id="130" name="Oval 129">
            <a:extLst>
              <a:ext uri="{FF2B5EF4-FFF2-40B4-BE49-F238E27FC236}">
                <a16:creationId xmlns:a16="http://schemas.microsoft.com/office/drawing/2014/main" id="{42CD869C-4CAA-ED43-8221-D716610BD640}"/>
              </a:ext>
            </a:extLst>
          </p:cNvPr>
          <p:cNvSpPr/>
          <p:nvPr/>
        </p:nvSpPr>
        <p:spPr>
          <a:xfrm>
            <a:off x="11708118" y="28402"/>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smtClean="0">
                <a:ln>
                  <a:noFill/>
                </a:ln>
                <a:solidFill>
                  <a:prstClr val="white"/>
                </a:solidFill>
                <a:effectLst/>
                <a:uLnTx/>
                <a:uFillTx/>
                <a:latin typeface="Calibri" panose="020F0502020204030204"/>
                <a:ea typeface="+mn-ea"/>
                <a:cs typeface="+mn-cs"/>
              </a:rPr>
              <a:t>2</a:t>
            </a:r>
            <a:endParaRPr kumimoji="0" lang="en-US" sz="213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12782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130622" tIns="65311" rIns="130622" bIns="65311" numCol="1" anchor="ctr" anchorCtr="0" compatLnSpc="1">
            <a:prstTxWarp prst="textNoShape">
              <a:avLst/>
            </a:prstTxWarp>
            <a:noAutofit/>
          </a:bodyPr>
          <a:lstStyle/>
          <a:p>
            <a:r>
              <a:rPr lang="en-US" dirty="0"/>
              <a:t>Objectives and Solution Alignment for Marriott - Illustrative</a:t>
            </a:r>
          </a:p>
        </p:txBody>
      </p:sp>
      <p:cxnSp>
        <p:nvCxnSpPr>
          <p:cNvPr id="3" name="Straight Connector 2"/>
          <p:cNvCxnSpPr>
            <a:cxnSpLocks noChangeAspect="1"/>
          </p:cNvCxnSpPr>
          <p:nvPr/>
        </p:nvCxnSpPr>
        <p:spPr bwMode="auto">
          <a:xfrm>
            <a:off x="1806260" y="1186387"/>
            <a:ext cx="0" cy="5279462"/>
          </a:xfrm>
          <a:prstGeom prst="line">
            <a:avLst/>
          </a:prstGeom>
          <a:solidFill>
            <a:srgbClr val="075371"/>
          </a:solidFill>
          <a:ln w="12700" cap="rnd" cmpd="sng" algn="ctr">
            <a:solidFill>
              <a:srgbClr val="FFFFFF">
                <a:lumMod val="50000"/>
              </a:srgbClr>
            </a:solidFill>
            <a:prstDash val="sysDot"/>
            <a:round/>
            <a:headEnd type="none" w="med" len="med"/>
            <a:tailEnd type="none" w="med" len="med"/>
          </a:ln>
          <a:effectLst/>
        </p:spPr>
      </p:cxnSp>
      <p:sp>
        <p:nvSpPr>
          <p:cNvPr id="10" name="Rectangle 9"/>
          <p:cNvSpPr>
            <a:spLocks noChangeAspect="1"/>
          </p:cNvSpPr>
          <p:nvPr/>
        </p:nvSpPr>
        <p:spPr>
          <a:xfrm>
            <a:off x="148123" y="807046"/>
            <a:ext cx="1538788" cy="601009"/>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a:t>
            </a: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Marriott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bjectives</a:t>
            </a:r>
          </a:p>
        </p:txBody>
      </p:sp>
      <p:sp>
        <p:nvSpPr>
          <p:cNvPr id="18" name="Rectangle 17"/>
          <p:cNvSpPr>
            <a:spLocks/>
          </p:cNvSpPr>
          <p:nvPr/>
        </p:nvSpPr>
        <p:spPr>
          <a:xfrm>
            <a:off x="10163457" y="3975337"/>
            <a:ext cx="1914871" cy="622308"/>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70351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Zero Touch Approach – </a:t>
            </a:r>
            <a:r>
              <a:rPr lang="en-US" sz="1200" b="1" dirty="0">
                <a:solidFill>
                  <a:srgbClr val="FFFF00"/>
                </a:solidFill>
                <a:latin typeface="Calibri" panose="020F0502020204030204" pitchFamily="34" charset="0"/>
                <a:cs typeface="Calibri" panose="020F0502020204030204" pitchFamily="34" charset="0"/>
              </a:rPr>
              <a:t>50-60% </a:t>
            </a:r>
            <a:r>
              <a:rPr kumimoji="0" lang="en-US" sz="1200" b="0" i="0" u="none" strike="noStrike" kern="0" cap="none" spc="0" normalizeH="0" baseline="0" noProof="0" dirty="0" smtClean="0">
                <a:ln>
                  <a:noFill/>
                </a:ln>
                <a:solidFill>
                  <a:prstClr val="white"/>
                </a:solidFill>
                <a:effectLst/>
                <a:uLnTx/>
                <a:uFillTx/>
                <a:latin typeface="Calibri" panose="020F0502020204030204"/>
                <a:ea typeface="Segoe UI" panose="020B0502040204020203" pitchFamily="34" charset="0"/>
                <a:cs typeface="Segoe UI" panose="020B0502040204020203" pitchFamily="34" charset="0"/>
              </a:rPr>
              <a:t>user Touch points eliminated</a:t>
            </a:r>
            <a:endParaRPr kumimoji="0" lang="en-US" sz="12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sp>
        <p:nvSpPr>
          <p:cNvPr id="20" name="Rectangle 19"/>
          <p:cNvSpPr>
            <a:spLocks/>
          </p:cNvSpPr>
          <p:nvPr/>
        </p:nvSpPr>
        <p:spPr>
          <a:xfrm>
            <a:off x="10164715" y="2173751"/>
            <a:ext cx="1914869" cy="757588"/>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Zero Maintenance Framework delivering Productivity gain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00"/>
                </a:solidFill>
                <a:effectLst/>
                <a:uLnTx/>
                <a:uFillTx/>
                <a:latin typeface="Calibri" panose="020F0502020204030204" pitchFamily="34" charset="0"/>
                <a:ea typeface="+mn-ea"/>
                <a:cs typeface="Calibri" panose="020F0502020204030204" pitchFamily="34" charset="0"/>
              </a:rPr>
              <a:t>45-50%</a:t>
            </a:r>
            <a:r>
              <a:rPr kumimoji="0" lang="en-US" sz="1200" b="1" i="0" u="none" strike="noStrike" kern="1200" cap="none" spc="0" normalizeH="0" baseline="0" noProof="0" dirty="0" smtClean="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ver </a:t>
            </a:r>
            <a:r>
              <a:rPr kumimoji="0" lang="en-US" sz="1200" b="1" i="0" u="none" strike="noStrike" kern="1200" cap="none" spc="0" normalizeH="0" baseline="0" noProof="0" dirty="0" smtClean="0">
                <a:ln>
                  <a:noFill/>
                </a:ln>
                <a:solidFill>
                  <a:srgbClr val="FFFFFF"/>
                </a:solidFill>
                <a:effectLst/>
                <a:uLnTx/>
                <a:uFillTx/>
                <a:latin typeface="Calibri" panose="020F0502020204030204" pitchFamily="34" charset="0"/>
                <a:ea typeface="+mn-ea"/>
                <a:cs typeface="Calibri" panose="020F0502020204030204" pitchFamily="34" charset="0"/>
              </a:rPr>
              <a:t>5 </a:t>
            </a: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years</a:t>
            </a:r>
          </a:p>
        </p:txBody>
      </p:sp>
      <p:sp>
        <p:nvSpPr>
          <p:cNvPr id="21" name="Rectangle 20"/>
          <p:cNvSpPr>
            <a:spLocks/>
          </p:cNvSpPr>
          <p:nvPr/>
        </p:nvSpPr>
        <p:spPr>
          <a:xfrm>
            <a:off x="10156852" y="3056204"/>
            <a:ext cx="1914868" cy="794268"/>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lvl="0" algn="ctr">
              <a:defRPr/>
            </a:pPr>
            <a:r>
              <a:rPr lang="en-US" sz="1200" b="1" dirty="0">
                <a:solidFill>
                  <a:srgbClr val="FFFF00"/>
                </a:solidFill>
                <a:latin typeface="Calibri" panose="020F0502020204030204" pitchFamily="34" charset="0"/>
                <a:cs typeface="Calibri" panose="020F0502020204030204" pitchFamily="34" charset="0"/>
              </a:rPr>
              <a:t>~ 51% </a:t>
            </a:r>
            <a:r>
              <a:rPr lang="en-US" sz="1200" b="1" dirty="0">
                <a:solidFill>
                  <a:srgbClr val="FFFFFF"/>
                </a:solidFill>
                <a:latin typeface="Calibri" panose="020F0502020204030204" pitchFamily="34" charset="0"/>
              </a:rPr>
              <a:t>Elimination and Automation –Enhanced User Experience </a:t>
            </a:r>
          </a:p>
        </p:txBody>
      </p:sp>
      <p:sp>
        <p:nvSpPr>
          <p:cNvPr id="86" name="Rectangle 85"/>
          <p:cNvSpPr/>
          <p:nvPr/>
        </p:nvSpPr>
        <p:spPr>
          <a:xfrm>
            <a:off x="5252703" y="4435403"/>
            <a:ext cx="1033616" cy="124364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90" name="Straight Connector 89"/>
          <p:cNvCxnSpPr>
            <a:cxnSpLocks noChangeAspect="1"/>
          </p:cNvCxnSpPr>
          <p:nvPr/>
        </p:nvCxnSpPr>
        <p:spPr bwMode="auto">
          <a:xfrm>
            <a:off x="10070694" y="1186387"/>
            <a:ext cx="0" cy="5279462"/>
          </a:xfrm>
          <a:prstGeom prst="line">
            <a:avLst/>
          </a:prstGeom>
          <a:solidFill>
            <a:srgbClr val="075371"/>
          </a:solidFill>
          <a:ln w="12700" cap="rnd" cmpd="sng" algn="ctr">
            <a:solidFill>
              <a:srgbClr val="FFFFFF">
                <a:lumMod val="50000"/>
              </a:srgbClr>
            </a:solidFill>
            <a:prstDash val="sysDot"/>
            <a:round/>
            <a:headEnd type="none" w="med" len="med"/>
            <a:tailEnd type="none" w="med" len="med"/>
          </a:ln>
          <a:effectLst/>
        </p:spPr>
      </p:cxnSp>
      <p:sp>
        <p:nvSpPr>
          <p:cNvPr id="51" name="Rounded Rectangle 23"/>
          <p:cNvSpPr/>
          <p:nvPr/>
        </p:nvSpPr>
        <p:spPr bwMode="gray">
          <a:xfrm rot="10800000" flipH="1" flipV="1">
            <a:off x="2041932" y="1889093"/>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Vendor and Biz Process focused Transition</a:t>
            </a:r>
          </a:p>
        </p:txBody>
      </p:sp>
      <p:sp>
        <p:nvSpPr>
          <p:cNvPr id="52" name="Rounded Rectangle 23"/>
          <p:cNvSpPr/>
          <p:nvPr/>
        </p:nvSpPr>
        <p:spPr bwMode="gray">
          <a:xfrm rot="10800000" flipH="1" flipV="1">
            <a:off x="6071648" y="1896634"/>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45" rtl="0" eaLnBrk="1" fontAlgn="auto"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Proven Transition Framework - </a:t>
            </a:r>
            <a:r>
              <a:rPr kumimoji="0" lang="en-US" sz="1400" b="0" i="0" u="none" strike="noStrike" kern="1200" cap="none" spc="0" normalizeH="0" baseline="0" noProof="0" dirty="0" err="1"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NextGen</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sp>
        <p:nvSpPr>
          <p:cNvPr id="53" name="Rounded Rectangle 23"/>
          <p:cNvSpPr/>
          <p:nvPr/>
        </p:nvSpPr>
        <p:spPr bwMode="gray">
          <a:xfrm rot="10800000" flipH="1" flipV="1">
            <a:off x="2041932" y="2222172"/>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45" rtl="0" eaLnBrk="1" fontAlgn="auto"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ITIL &amp; Business Process Harmonization</a:t>
            </a:r>
          </a:p>
        </p:txBody>
      </p:sp>
      <p:sp>
        <p:nvSpPr>
          <p:cNvPr id="54" name="Rounded Rectangle 23"/>
          <p:cNvSpPr/>
          <p:nvPr/>
        </p:nvSpPr>
        <p:spPr bwMode="gray">
          <a:xfrm rot="10800000" flipH="1" flipV="1">
            <a:off x="6071648" y="2222172"/>
            <a:ext cx="3872063" cy="272466"/>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Enhanced </a:t>
            </a: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Marriott-tailored </a:t>
            </a: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Boot Camps</a:t>
            </a:r>
          </a:p>
        </p:txBody>
      </p:sp>
      <p:sp>
        <p:nvSpPr>
          <p:cNvPr id="56" name="Rounded Rectangle 55"/>
          <p:cNvSpPr/>
          <p:nvPr/>
        </p:nvSpPr>
        <p:spPr>
          <a:xfrm>
            <a:off x="2024896" y="1457152"/>
            <a:ext cx="7978867" cy="400698"/>
          </a:xfrm>
          <a:prstGeom prst="roundRect">
            <a:avLst>
              <a:gd name="adj" fmla="val 50000"/>
            </a:avLst>
          </a:prstGeom>
          <a:solidFill>
            <a:srgbClr val="164D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7" name="Rectangle 56"/>
          <p:cNvSpPr/>
          <p:nvPr/>
        </p:nvSpPr>
        <p:spPr>
          <a:xfrm>
            <a:off x="5972495" y="1470797"/>
            <a:ext cx="3499945" cy="338554"/>
          </a:xfrm>
          <a:prstGeom prst="rect">
            <a:avLst/>
          </a:prstGeom>
        </p:spPr>
        <p:txBody>
          <a:bodyPr wrap="square">
            <a:spAutoFit/>
          </a:bodyPr>
          <a:lstStyle/>
          <a:p>
            <a:pPr marL="0" marR="0" lvl="0" indent="0" algn="l" defTabSz="838138"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Laying the Foundation</a:t>
            </a:r>
            <a:endParaRPr kumimoji="0" lang="en-US" sz="1600" b="0" i="1"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pic>
        <p:nvPicPr>
          <p:cNvPr id="58" name="Picture 57"/>
          <p:cNvPicPr>
            <a:picLocks noChangeAspect="1"/>
          </p:cNvPicPr>
          <p:nvPr/>
        </p:nvPicPr>
        <p:blipFill>
          <a:blip r:embed="rId2">
            <a:biLevel thresh="75000"/>
            <a:extLst/>
          </a:blip>
          <a:stretch>
            <a:fillRect/>
          </a:stretch>
        </p:blipFill>
        <p:spPr>
          <a:xfrm>
            <a:off x="2733180" y="1492151"/>
            <a:ext cx="774546" cy="263645"/>
          </a:xfrm>
          <a:prstGeom prst="rect">
            <a:avLst/>
          </a:prstGeom>
        </p:spPr>
      </p:pic>
      <p:sp>
        <p:nvSpPr>
          <p:cNvPr id="59" name="Rectangle 58"/>
          <p:cNvSpPr/>
          <p:nvPr/>
        </p:nvSpPr>
        <p:spPr>
          <a:xfrm>
            <a:off x="2518176" y="1503255"/>
            <a:ext cx="3155192" cy="307777"/>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AND SAFE</a:t>
            </a:r>
          </a:p>
        </p:txBody>
      </p:sp>
      <p:sp>
        <p:nvSpPr>
          <p:cNvPr id="61" name="Rounded Rectangle 60"/>
          <p:cNvSpPr/>
          <p:nvPr/>
        </p:nvSpPr>
        <p:spPr>
          <a:xfrm>
            <a:off x="2041933" y="2577425"/>
            <a:ext cx="7966777" cy="421779"/>
          </a:xfrm>
          <a:prstGeom prst="roundRect">
            <a:avLst>
              <a:gd name="adj" fmla="val 50000"/>
            </a:avLst>
          </a:prstGeom>
          <a:solidFill>
            <a:srgbClr val="00CC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1" name="Rectangle 90"/>
          <p:cNvSpPr/>
          <p:nvPr/>
        </p:nvSpPr>
        <p:spPr>
          <a:xfrm>
            <a:off x="5972495" y="2632238"/>
            <a:ext cx="3330151" cy="338554"/>
          </a:xfrm>
          <a:prstGeom prst="rect">
            <a:avLst/>
          </a:prstGeom>
        </p:spPr>
        <p:txBody>
          <a:bodyPr wrap="square">
            <a:spAutoFit/>
          </a:bodyPr>
          <a:lstStyle/>
          <a:p>
            <a:pPr marL="0" marR="0" lvl="0" indent="0" algn="l" defTabSz="838138"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solidFill>
                <a:effectLst/>
                <a:uLnTx/>
                <a:uFillTx/>
                <a:latin typeface="Calibri" panose="020F0502020204030204" pitchFamily="34" charset="0"/>
                <a:ea typeface="Open Sans" panose="020B0606030504020204" pitchFamily="34" charset="0"/>
                <a:cs typeface="Calibri" panose="020F0502020204030204" pitchFamily="34" charset="0"/>
              </a:rPr>
              <a:t>Drive IT Efficiency at Scale</a:t>
            </a:r>
          </a:p>
        </p:txBody>
      </p:sp>
      <p:pic>
        <p:nvPicPr>
          <p:cNvPr id="92" name="Picture 91">
            <a:extLst>
              <a:ext uri="{FF2B5EF4-FFF2-40B4-BE49-F238E27FC236}">
                <a16:creationId xmlns:a16="http://schemas.microsoft.com/office/drawing/2014/main" id="{D52F3F49-EF0E-434C-9D91-0C800B6BF256}"/>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2001" y="2642389"/>
            <a:ext cx="916904" cy="318053"/>
          </a:xfrm>
          <a:prstGeom prst="rect">
            <a:avLst/>
          </a:prstGeom>
        </p:spPr>
      </p:pic>
      <p:sp>
        <p:nvSpPr>
          <p:cNvPr id="93" name="Rectangle 92"/>
          <p:cNvSpPr/>
          <p:nvPr/>
        </p:nvSpPr>
        <p:spPr>
          <a:xfrm>
            <a:off x="2522956" y="2632138"/>
            <a:ext cx="3150412" cy="338554"/>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un Better</a:t>
            </a:r>
          </a:p>
        </p:txBody>
      </p:sp>
      <p:sp>
        <p:nvSpPr>
          <p:cNvPr id="94" name="Rounded Rectangle 23"/>
          <p:cNvSpPr/>
          <p:nvPr/>
        </p:nvSpPr>
        <p:spPr bwMode="gray">
          <a:xfrm rot="10800000" flipH="1" flipV="1">
            <a:off x="2088333" y="3052900"/>
            <a:ext cx="3866196" cy="385224"/>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a:defRPr/>
            </a:pPr>
            <a:r>
              <a:rPr lang="en-US" sz="1400" dirty="0">
                <a:solidFill>
                  <a:srgbClr val="141414">
                    <a:lumMod val="90000"/>
                    <a:lumOff val="10000"/>
                  </a:srgbClr>
                </a:solidFill>
                <a:latin typeface="Calibri" panose="020F0502020204030204" pitchFamily="34" charset="0"/>
                <a:cs typeface="Calibri" panose="020F0502020204030204" pitchFamily="34" charset="0"/>
              </a:rPr>
              <a:t>Multi-speed Integrated Operating Model</a:t>
            </a:r>
          </a:p>
        </p:txBody>
      </p:sp>
      <p:sp>
        <p:nvSpPr>
          <p:cNvPr id="95" name="Rounded Rectangle 23"/>
          <p:cNvSpPr/>
          <p:nvPr/>
        </p:nvSpPr>
        <p:spPr bwMode="gray">
          <a:xfrm rot="10800000" flipH="1" flipV="1">
            <a:off x="6176990" y="3052900"/>
            <a:ext cx="3780503" cy="385224"/>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eaLnBrk="0" fontAlgn="base" hangingPunct="0">
              <a:spcBef>
                <a:spcPct val="0"/>
              </a:spcBef>
              <a:spcAft>
                <a:spcPct val="0"/>
              </a:spcAft>
              <a:defRPr/>
            </a:pPr>
            <a:r>
              <a:rPr lang="en-US" sz="1400" dirty="0">
                <a:solidFill>
                  <a:srgbClr val="141414">
                    <a:lumMod val="90000"/>
                    <a:lumOff val="10000"/>
                  </a:srgbClr>
                </a:solidFill>
                <a:latin typeface="Calibri" panose="020F0502020204030204" pitchFamily="34" charset="0"/>
                <a:cs typeface="Calibri" panose="020F0502020204030204" pitchFamily="34" charset="0"/>
              </a:rPr>
              <a:t> </a:t>
            </a:r>
            <a:r>
              <a:rPr lang="en-US" sz="1400" dirty="0" smtClean="0">
                <a:solidFill>
                  <a:srgbClr val="141414">
                    <a:lumMod val="90000"/>
                    <a:lumOff val="10000"/>
                  </a:srgbClr>
                </a:solidFill>
                <a:latin typeface="Calibri" panose="020F0502020204030204" pitchFamily="34" charset="0"/>
                <a:cs typeface="Calibri" panose="020F0502020204030204" pitchFamily="34" charset="0"/>
              </a:rPr>
              <a:t>     Zero </a:t>
            </a:r>
            <a:r>
              <a:rPr lang="en-US" sz="1400" dirty="0">
                <a:solidFill>
                  <a:srgbClr val="141414">
                    <a:lumMod val="90000"/>
                    <a:lumOff val="10000"/>
                  </a:srgbClr>
                </a:solidFill>
                <a:latin typeface="Calibri" panose="020F0502020204030204" pitchFamily="34" charset="0"/>
                <a:cs typeface="Calibri" panose="020F0502020204030204" pitchFamily="34" charset="0"/>
              </a:rPr>
              <a:t>Maintenance™ - Debt </a:t>
            </a:r>
            <a:r>
              <a:rPr lang="en-US" sz="1400" dirty="0" smtClean="0">
                <a:solidFill>
                  <a:srgbClr val="141414">
                    <a:lumMod val="90000"/>
                    <a:lumOff val="10000"/>
                  </a:srgbClr>
                </a:solidFill>
                <a:latin typeface="Calibri" panose="020F0502020204030204" pitchFamily="34" charset="0"/>
                <a:cs typeface="Calibri" panose="020F0502020204030204" pitchFamily="34" charset="0"/>
              </a:rPr>
              <a:t>Management with Applens</a:t>
            </a:r>
            <a:r>
              <a:rPr lang="en-US" sz="1400" baseline="30000" dirty="0" smtClean="0">
                <a:solidFill>
                  <a:srgbClr val="141414">
                    <a:lumMod val="90000"/>
                    <a:lumOff val="10000"/>
                  </a:srgbClr>
                </a:solidFill>
                <a:latin typeface="Calibri" panose="020F0502020204030204" pitchFamily="34" charset="0"/>
                <a:cs typeface="Calibri" panose="020F0502020204030204" pitchFamily="34" charset="0"/>
              </a:rPr>
              <a:t>TM </a:t>
            </a:r>
            <a:r>
              <a:rPr lang="en-US" sz="1400" dirty="0" smtClean="0">
                <a:solidFill>
                  <a:srgbClr val="141414">
                    <a:lumMod val="90000"/>
                    <a:lumOff val="10000"/>
                  </a:srgbClr>
                </a:solidFill>
                <a:latin typeface="Calibri" panose="020F0502020204030204" pitchFamily="34" charset="0"/>
                <a:cs typeface="Calibri" panose="020F0502020204030204" pitchFamily="34" charset="0"/>
              </a:rPr>
              <a:t>Platform</a:t>
            </a:r>
            <a:endParaRPr lang="en-US" sz="1400" dirty="0">
              <a:solidFill>
                <a:srgbClr val="141414">
                  <a:lumMod val="90000"/>
                  <a:lumOff val="10000"/>
                </a:srgbClr>
              </a:solidFill>
              <a:latin typeface="Calibri" panose="020F0502020204030204" pitchFamily="34" charset="0"/>
              <a:cs typeface="Calibri" panose="020F0502020204030204" pitchFamily="34" charset="0"/>
            </a:endParaRPr>
          </a:p>
        </p:txBody>
      </p:sp>
      <p:sp>
        <p:nvSpPr>
          <p:cNvPr id="97" name="Rounded Rectangle 23"/>
          <p:cNvSpPr/>
          <p:nvPr/>
        </p:nvSpPr>
        <p:spPr bwMode="gray">
          <a:xfrm rot="10800000" flipH="1" flipV="1">
            <a:off x="2088333" y="3518786"/>
            <a:ext cx="3866196" cy="385224"/>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lvl="0" algn="ctr" defTabSz="1039705">
              <a:defRPr/>
            </a:pPr>
            <a:r>
              <a:rPr lang="en-US" sz="1400" dirty="0">
                <a:solidFill>
                  <a:srgbClr val="141414">
                    <a:lumMod val="90000"/>
                    <a:lumOff val="10000"/>
                  </a:srgbClr>
                </a:solidFill>
                <a:latin typeface="Calibri" panose="020F0502020204030204" pitchFamily="34" charset="0"/>
                <a:cs typeface="Calibri" panose="020F0502020204030204" pitchFamily="34" charset="0"/>
              </a:rPr>
              <a:t>Cognizant Intelligent Automation Platform</a:t>
            </a:r>
          </a:p>
        </p:txBody>
      </p:sp>
      <p:sp>
        <p:nvSpPr>
          <p:cNvPr id="102" name="Rounded Rectangle 101"/>
          <p:cNvSpPr/>
          <p:nvPr/>
        </p:nvSpPr>
        <p:spPr>
          <a:xfrm>
            <a:off x="2015455" y="4414330"/>
            <a:ext cx="7955868" cy="402340"/>
          </a:xfrm>
          <a:prstGeom prst="roundRect">
            <a:avLst>
              <a:gd name="adj" fmla="val 50000"/>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0" name="Rounded Rectangle 23"/>
          <p:cNvSpPr/>
          <p:nvPr/>
        </p:nvSpPr>
        <p:spPr bwMode="gray">
          <a:xfrm rot="10800000" flipH="1" flipV="1">
            <a:off x="2098894" y="4842860"/>
            <a:ext cx="3873601" cy="384048"/>
          </a:xfrm>
          <a:prstGeom prst="rect">
            <a:avLst/>
          </a:prstGeom>
          <a:solidFill>
            <a:schemeClr val="bg1"/>
          </a:solidFill>
          <a:ln w="38100" algn="ctr">
            <a:solidFill>
              <a:schemeClr val="accent6"/>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Business Value Management*</a:t>
            </a:r>
            <a:endPar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endParaRPr>
          </a:p>
        </p:txBody>
      </p:sp>
      <p:pic>
        <p:nvPicPr>
          <p:cNvPr id="104" name="Picture 103">
            <a:extLst>
              <a:ext uri="{FF2B5EF4-FFF2-40B4-BE49-F238E27FC236}">
                <a16:creationId xmlns:a16="http://schemas.microsoft.com/office/drawing/2014/main" id="{A0E687FA-6339-9E45-A7D5-B93770329D2B}"/>
              </a:ext>
            </a:extLst>
          </p:cNvPr>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2723759" y="4408910"/>
            <a:ext cx="793389" cy="333219"/>
          </a:xfrm>
          <a:prstGeom prst="rect">
            <a:avLst/>
          </a:prstGeom>
        </p:spPr>
      </p:pic>
      <p:sp>
        <p:nvSpPr>
          <p:cNvPr id="105" name="Rectangle 104"/>
          <p:cNvSpPr/>
          <p:nvPr/>
        </p:nvSpPr>
        <p:spPr>
          <a:xfrm>
            <a:off x="2088332" y="4429695"/>
            <a:ext cx="3585036" cy="338554"/>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un Different</a:t>
            </a:r>
          </a:p>
        </p:txBody>
      </p:sp>
      <p:sp>
        <p:nvSpPr>
          <p:cNvPr id="106" name="Rectangle 105"/>
          <p:cNvSpPr>
            <a:spLocks/>
          </p:cNvSpPr>
          <p:nvPr/>
        </p:nvSpPr>
        <p:spPr>
          <a:xfrm>
            <a:off x="10170066" y="1527778"/>
            <a:ext cx="1901654" cy="521108"/>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lvl="0" algn="ctr">
              <a:defRPr/>
            </a:pPr>
            <a:r>
              <a:rPr lang="en-US" sz="1200" b="1" dirty="0">
                <a:solidFill>
                  <a:srgbClr val="FFFFFF"/>
                </a:solidFill>
                <a:latin typeface="Calibri" panose="020F0502020204030204" pitchFamily="34" charset="0"/>
              </a:rPr>
              <a:t>Zero disruption BAU in Transition</a:t>
            </a:r>
          </a:p>
        </p:txBody>
      </p:sp>
      <p:sp>
        <p:nvSpPr>
          <p:cNvPr id="62" name="Rounded Rectangle 23"/>
          <p:cNvSpPr/>
          <p:nvPr/>
        </p:nvSpPr>
        <p:spPr bwMode="gray">
          <a:xfrm rot="10800000" flipH="1" flipV="1">
            <a:off x="6151828" y="3536839"/>
            <a:ext cx="3851935" cy="385222"/>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eaLnBrk="0" fontAlgn="base" hangingPunct="0">
              <a:spcBef>
                <a:spcPct val="0"/>
              </a:spcBef>
              <a:spcAft>
                <a:spcPct val="0"/>
              </a:spcAft>
              <a:defRPr/>
            </a:pPr>
            <a:r>
              <a:rPr lang="en-US" sz="1400" dirty="0">
                <a:solidFill>
                  <a:srgbClr val="141414">
                    <a:lumMod val="90000"/>
                    <a:lumOff val="10000"/>
                  </a:srgbClr>
                </a:solidFill>
                <a:latin typeface="Calibri" panose="020F0502020204030204" pitchFamily="34" charset="0"/>
                <a:cs typeface="Calibri" panose="020F0502020204030204" pitchFamily="34" charset="0"/>
              </a:rPr>
              <a:t>Platform centric AI led Smart Operations</a:t>
            </a:r>
          </a:p>
        </p:txBody>
      </p:sp>
      <p:sp>
        <p:nvSpPr>
          <p:cNvPr id="63" name="Rounded Rectangle 62"/>
          <p:cNvSpPr/>
          <p:nvPr/>
        </p:nvSpPr>
        <p:spPr>
          <a:xfrm>
            <a:off x="2015455" y="5969854"/>
            <a:ext cx="7955868" cy="348826"/>
          </a:xfrm>
          <a:prstGeom prst="roundRect">
            <a:avLst>
              <a:gd name="adj" fmla="val 50000"/>
            </a:avLst>
          </a:prstGeom>
          <a:solidFill>
            <a:srgbClr val="7777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65" name="Picture 64">
            <a:extLst>
              <a:ext uri="{FF2B5EF4-FFF2-40B4-BE49-F238E27FC236}">
                <a16:creationId xmlns:a16="http://schemas.microsoft.com/office/drawing/2014/main" id="{A0E687FA-6339-9E45-A7D5-B93770329D2B}"/>
              </a:ext>
            </a:extLst>
          </p:cNvPr>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723759" y="5880547"/>
            <a:ext cx="793389" cy="333219"/>
          </a:xfrm>
          <a:prstGeom prst="rect">
            <a:avLst/>
          </a:prstGeom>
        </p:spPr>
      </p:pic>
      <p:sp>
        <p:nvSpPr>
          <p:cNvPr id="66" name="Rectangle 65"/>
          <p:cNvSpPr/>
          <p:nvPr/>
        </p:nvSpPr>
        <p:spPr>
          <a:xfrm>
            <a:off x="2236376" y="5931941"/>
            <a:ext cx="3436992" cy="338554"/>
          </a:xfrm>
          <a:prstGeom prst="rect">
            <a:avLst/>
          </a:prstGeom>
        </p:spPr>
        <p:txBody>
          <a:bodyPr wrap="square">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un Secure</a:t>
            </a:r>
          </a:p>
        </p:txBody>
      </p:sp>
      <p:sp>
        <p:nvSpPr>
          <p:cNvPr id="69" name="Rectangle 68"/>
          <p:cNvSpPr>
            <a:spLocks/>
          </p:cNvSpPr>
          <p:nvPr/>
        </p:nvSpPr>
        <p:spPr>
          <a:xfrm>
            <a:off x="10163457" y="5455125"/>
            <a:ext cx="1914871" cy="682441"/>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lvl="0" algn="ctr">
              <a:defRPr/>
            </a:pPr>
            <a:r>
              <a:rPr lang="en-US" sz="1200" b="1" dirty="0">
                <a:solidFill>
                  <a:srgbClr val="FFFFFF"/>
                </a:solidFill>
                <a:latin typeface="Calibri" panose="020F0502020204030204" pitchFamily="34" charset="0"/>
              </a:rPr>
              <a:t>BLA’s– Timeliness &amp; accuracy of SLA’s tied processes</a:t>
            </a:r>
          </a:p>
        </p:txBody>
      </p:sp>
      <p:sp>
        <p:nvSpPr>
          <p:cNvPr id="60" name="Rounded Rectangle 23"/>
          <p:cNvSpPr/>
          <p:nvPr/>
        </p:nvSpPr>
        <p:spPr bwMode="gray">
          <a:xfrm rot="10800000" flipH="1" flipV="1">
            <a:off x="2098893" y="5385033"/>
            <a:ext cx="3873602"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lumMod val="90000"/>
                    <a:lumOff val="10000"/>
                  </a:srgbClr>
                </a:solidFill>
                <a:effectLst/>
                <a:uLnTx/>
                <a:uFillTx/>
                <a:latin typeface="Calibri" panose="020F0502020204030204" pitchFamily="34" charset="0"/>
                <a:ea typeface="+mn-ea"/>
                <a:cs typeface="Calibri" panose="020F0502020204030204" pitchFamily="34" charset="0"/>
              </a:rPr>
              <a:t>Predictive Intelligence with PID 3.0 Platform</a:t>
            </a:r>
          </a:p>
        </p:txBody>
      </p:sp>
      <p:sp>
        <p:nvSpPr>
          <p:cNvPr id="70" name="Rounded Rectangle 23"/>
          <p:cNvSpPr/>
          <p:nvPr/>
        </p:nvSpPr>
        <p:spPr bwMode="gray">
          <a:xfrm rot="10800000" flipH="1" flipV="1">
            <a:off x="6077323" y="4844070"/>
            <a:ext cx="3873601"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eaLnBrk="0" fontAlgn="base" hangingPunct="0">
              <a:spcBef>
                <a:spcPct val="0"/>
              </a:spcBef>
              <a:spcAft>
                <a:spcPct val="0"/>
              </a:spcAft>
              <a:defRPr/>
            </a:pPr>
            <a:r>
              <a:rPr lang="en-US" sz="1400" dirty="0">
                <a:solidFill>
                  <a:srgbClr val="141414">
                    <a:lumMod val="90000"/>
                    <a:lumOff val="10000"/>
                  </a:srgbClr>
                </a:solidFill>
                <a:latin typeface="Calibri" panose="020F0502020204030204" pitchFamily="34" charset="0"/>
                <a:cs typeface="Calibri" panose="020F0502020204030204" pitchFamily="34" charset="0"/>
              </a:rPr>
              <a:t>APR and Cloud Migration Enablement and Support</a:t>
            </a:r>
          </a:p>
        </p:txBody>
      </p:sp>
      <p:sp>
        <p:nvSpPr>
          <p:cNvPr id="7" name="Rounded Rectangle 6"/>
          <p:cNvSpPr/>
          <p:nvPr/>
        </p:nvSpPr>
        <p:spPr bwMode="auto">
          <a:xfrm>
            <a:off x="148123" y="1812948"/>
            <a:ext cx="1538788" cy="45720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783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Reduce TCO</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0" name="Rounded Rectangle 129"/>
          <p:cNvSpPr/>
          <p:nvPr/>
        </p:nvSpPr>
        <p:spPr bwMode="auto">
          <a:xfrm>
            <a:off x="148123" y="2424597"/>
            <a:ext cx="1538788" cy="45720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Increased Scalability</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1" name="Rounded Rectangle 130"/>
          <p:cNvSpPr/>
          <p:nvPr/>
        </p:nvSpPr>
        <p:spPr bwMode="auto">
          <a:xfrm>
            <a:off x="148123" y="3062371"/>
            <a:ext cx="1538788" cy="45720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Skilled Personnel</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2" name="Rounded Rectangle 131"/>
          <p:cNvSpPr/>
          <p:nvPr/>
        </p:nvSpPr>
        <p:spPr bwMode="auto">
          <a:xfrm>
            <a:off x="148123" y="3683781"/>
            <a:ext cx="1538788" cy="745914"/>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Short &amp; Medium term Transformation</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134" name="Rectangle 133"/>
          <p:cNvSpPr>
            <a:spLocks noChangeAspect="1"/>
          </p:cNvSpPr>
          <p:nvPr/>
        </p:nvSpPr>
        <p:spPr>
          <a:xfrm>
            <a:off x="2024896" y="807046"/>
            <a:ext cx="7946427" cy="601009"/>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Solution Tenets</a:t>
            </a:r>
          </a:p>
        </p:txBody>
      </p:sp>
      <p:sp>
        <p:nvSpPr>
          <p:cNvPr id="135" name="Rectangle 134"/>
          <p:cNvSpPr>
            <a:spLocks noChangeAspect="1"/>
          </p:cNvSpPr>
          <p:nvPr/>
        </p:nvSpPr>
        <p:spPr>
          <a:xfrm>
            <a:off x="10177494" y="782564"/>
            <a:ext cx="1874781" cy="625492"/>
          </a:xfrm>
          <a:prstGeom prst="rect">
            <a:avLst/>
          </a:prstGeom>
          <a:gradFill>
            <a:gsLst>
              <a:gs pos="0">
                <a:schemeClr val="bg1">
                  <a:lumMod val="85000"/>
                </a:schemeClr>
              </a:gs>
              <a:gs pos="61930">
                <a:srgbClr val="F4F4F4"/>
              </a:gs>
              <a:gs pos="48000">
                <a:schemeClr val="bg1"/>
              </a:gs>
              <a:gs pos="100000">
                <a:schemeClr val="bg1">
                  <a:lumMod val="85000"/>
                </a:schemeClr>
              </a:gs>
            </a:gsLst>
            <a:lin ang="0" scaled="0"/>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Outcomes committed for </a:t>
            </a:r>
            <a:r>
              <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Marriott </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4" name="Rounded Rectangle 23"/>
          <p:cNvSpPr/>
          <p:nvPr/>
        </p:nvSpPr>
        <p:spPr bwMode="gray">
          <a:xfrm rot="10800000" flipH="1" flipV="1">
            <a:off x="6091915" y="5392609"/>
            <a:ext cx="3873602" cy="384048"/>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eaLnBrk="0" fontAlgn="base" hangingPunct="0">
              <a:spcBef>
                <a:spcPct val="0"/>
              </a:spcBef>
              <a:spcAft>
                <a:spcPct val="0"/>
              </a:spcAft>
              <a:defRPr/>
            </a:pPr>
            <a:r>
              <a:rPr lang="en-US" sz="1400" dirty="0">
                <a:solidFill>
                  <a:srgbClr val="141414">
                    <a:lumMod val="90000"/>
                    <a:lumOff val="10000"/>
                  </a:srgbClr>
                </a:solidFill>
                <a:latin typeface="Calibri" panose="020F0502020204030204" pitchFamily="34" charset="0"/>
                <a:cs typeface="Calibri" panose="020F0502020204030204" pitchFamily="34" charset="0"/>
              </a:rPr>
              <a:t>AMS Ops transformation </a:t>
            </a:r>
            <a:r>
              <a:rPr lang="en-US" sz="1400" dirty="0" err="1">
                <a:solidFill>
                  <a:srgbClr val="141414">
                    <a:lumMod val="90000"/>
                    <a:lumOff val="10000"/>
                  </a:srgbClr>
                </a:solidFill>
                <a:latin typeface="Calibri" panose="020F0502020204030204" pitchFamily="34" charset="0"/>
                <a:cs typeface="Calibri" panose="020F0502020204030204" pitchFamily="34" charset="0"/>
              </a:rPr>
              <a:t>wrt</a:t>
            </a:r>
            <a:r>
              <a:rPr lang="en-US" sz="1400" dirty="0">
                <a:solidFill>
                  <a:srgbClr val="141414">
                    <a:lumMod val="90000"/>
                    <a:lumOff val="10000"/>
                  </a:srgbClr>
                </a:solidFill>
                <a:latin typeface="Calibri" panose="020F0502020204030204" pitchFamily="34" charset="0"/>
                <a:cs typeface="Calibri" panose="020F0502020204030204" pitchFamily="34" charset="0"/>
              </a:rPr>
              <a:t> </a:t>
            </a:r>
            <a:r>
              <a:rPr lang="en-US" sz="1400" dirty="0" smtClean="0">
                <a:solidFill>
                  <a:srgbClr val="141414">
                    <a:lumMod val="90000"/>
                    <a:lumOff val="10000"/>
                  </a:srgbClr>
                </a:solidFill>
                <a:latin typeface="Calibri" panose="020F0502020204030204" pitchFamily="34" charset="0"/>
                <a:cs typeface="Calibri" panose="020F0502020204030204" pitchFamily="34" charset="0"/>
              </a:rPr>
              <a:t>Agile DevOps</a:t>
            </a:r>
            <a:endParaRPr lang="en-US" sz="1400" dirty="0">
              <a:solidFill>
                <a:srgbClr val="141414">
                  <a:lumMod val="90000"/>
                  <a:lumOff val="10000"/>
                </a:srgbClr>
              </a:solidFill>
              <a:latin typeface="Calibri" panose="020F0502020204030204" pitchFamily="34" charset="0"/>
              <a:cs typeface="Calibri" panose="020F0502020204030204" pitchFamily="34" charset="0"/>
            </a:endParaRPr>
          </a:p>
        </p:txBody>
      </p:sp>
      <p:sp>
        <p:nvSpPr>
          <p:cNvPr id="67" name="Rounded Rectangle 66"/>
          <p:cNvSpPr/>
          <p:nvPr/>
        </p:nvSpPr>
        <p:spPr bwMode="auto">
          <a:xfrm>
            <a:off x="180812" y="4655303"/>
            <a:ext cx="1538788" cy="453589"/>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Improve Service Analytics</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68" name="Rounded Rectangle 67"/>
          <p:cNvSpPr/>
          <p:nvPr/>
        </p:nvSpPr>
        <p:spPr bwMode="auto">
          <a:xfrm>
            <a:off x="148052" y="5326329"/>
            <a:ext cx="1538788" cy="457200"/>
          </a:xfrm>
          <a:prstGeom prst="roundRect">
            <a:avLst/>
          </a:prstGeom>
          <a:solidFill>
            <a:schemeClr val="bg1"/>
          </a:solidFill>
          <a:ln w="3175" cap="flat" cmpd="sng" algn="ctr">
            <a:solidFill>
              <a:srgbClr val="558ED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6085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rPr>
              <a:t>Process Transformation</a:t>
            </a:r>
            <a:endParaRPr kumimoji="0" lang="en-US" sz="1400" b="1" i="0" u="none" strike="noStrike" kern="120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Calibri" panose="020F0502020204030204" pitchFamily="34" charset="0"/>
            </a:endParaRPr>
          </a:p>
        </p:txBody>
      </p:sp>
      <p:sp>
        <p:nvSpPr>
          <p:cNvPr id="48" name="Rectangle 47"/>
          <p:cNvSpPr>
            <a:spLocks/>
          </p:cNvSpPr>
          <p:nvPr/>
        </p:nvSpPr>
        <p:spPr>
          <a:xfrm>
            <a:off x="10173144" y="4722510"/>
            <a:ext cx="1914871" cy="607752"/>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lvl="0" algn="ctr">
              <a:defRPr/>
            </a:pPr>
            <a:r>
              <a:rPr lang="en-US" sz="1200" b="1" dirty="0">
                <a:solidFill>
                  <a:srgbClr val="FFFFFF"/>
                </a:solidFill>
                <a:latin typeface="Calibri" panose="020F0502020204030204" pitchFamily="34" charset="0"/>
              </a:rPr>
              <a:t>Integrated Smart Operations </a:t>
            </a:r>
            <a:r>
              <a:rPr lang="en-US" sz="1200" b="1" dirty="0" smtClean="0">
                <a:solidFill>
                  <a:srgbClr val="FFFFFF"/>
                </a:solidFill>
                <a:latin typeface="Calibri" panose="020F0502020204030204" pitchFamily="34" charset="0"/>
              </a:rPr>
              <a:t>–</a:t>
            </a:r>
            <a:r>
              <a:rPr lang="en-US" sz="1200" b="1" dirty="0">
                <a:solidFill>
                  <a:srgbClr val="FFFF00"/>
                </a:solidFill>
                <a:latin typeface="Calibri" panose="020F0502020204030204" pitchFamily="34" charset="0"/>
                <a:cs typeface="Calibri" panose="020F0502020204030204" pitchFamily="34" charset="0"/>
              </a:rPr>
              <a:t>20-30% </a:t>
            </a:r>
            <a:r>
              <a:rPr lang="en-US" sz="1200" b="1" dirty="0" smtClean="0">
                <a:solidFill>
                  <a:srgbClr val="FFFFFF"/>
                </a:solidFill>
                <a:latin typeface="Calibri" panose="020F0502020204030204" pitchFamily="34" charset="0"/>
              </a:rPr>
              <a:t>FLR Improvement</a:t>
            </a:r>
            <a:endParaRPr lang="en-US" sz="1200" b="1" dirty="0">
              <a:solidFill>
                <a:srgbClr val="FFFFFF"/>
              </a:solidFill>
              <a:latin typeface="Calibri" panose="020F0502020204030204" pitchFamily="34" charset="0"/>
            </a:endParaRPr>
          </a:p>
        </p:txBody>
      </p:sp>
      <p:sp>
        <p:nvSpPr>
          <p:cNvPr id="49" name="Rounded Rectangle 23"/>
          <p:cNvSpPr/>
          <p:nvPr/>
        </p:nvSpPr>
        <p:spPr bwMode="gray">
          <a:xfrm rot="10800000" flipH="1" flipV="1">
            <a:off x="3811115" y="3984913"/>
            <a:ext cx="4406428" cy="385222"/>
          </a:xfrm>
          <a:prstGeom prst="rect">
            <a:avLst/>
          </a:prstGeom>
          <a:solidFill>
            <a:schemeClr val="bg1"/>
          </a:solidFill>
          <a:ln w="3175" algn="ctr">
            <a:solidFill>
              <a:schemeClr val="bg1">
                <a:lumMod val="75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38">
              <a:defRPr/>
            </a:pPr>
            <a:r>
              <a:rPr lang="en-US" sz="1400" dirty="0">
                <a:solidFill>
                  <a:srgbClr val="141414">
                    <a:lumMod val="90000"/>
                    <a:lumOff val="10000"/>
                  </a:srgbClr>
                </a:solidFill>
                <a:latin typeface="Calibri" panose="020F0502020204030204" pitchFamily="34" charset="0"/>
                <a:cs typeface="Calibri" panose="020F0502020204030204" pitchFamily="34" charset="0"/>
              </a:rPr>
              <a:t>Enhanced User Experience – Zero Touch Framework</a:t>
            </a:r>
          </a:p>
        </p:txBody>
      </p:sp>
      <p:sp>
        <p:nvSpPr>
          <p:cNvPr id="50" name="Oval 49">
            <a:extLst>
              <a:ext uri="{FF2B5EF4-FFF2-40B4-BE49-F238E27FC236}">
                <a16:creationId xmlns:a16="http://schemas.microsoft.com/office/drawing/2014/main" id="{42CD869C-4CAA-ED43-8221-D716610BD640}"/>
              </a:ext>
            </a:extLst>
          </p:cNvPr>
          <p:cNvSpPr/>
          <p:nvPr/>
        </p:nvSpPr>
        <p:spPr>
          <a:xfrm>
            <a:off x="2009922" y="2873588"/>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1</a:t>
            </a:r>
            <a:endParaRPr lang="en-US" sz="2133" b="1" dirty="0">
              <a:solidFill>
                <a:schemeClr val="bg1"/>
              </a:solidFill>
              <a:latin typeface="Calibri" panose="020F0502020204030204"/>
            </a:endParaRPr>
          </a:p>
        </p:txBody>
      </p:sp>
      <p:sp>
        <p:nvSpPr>
          <p:cNvPr id="55" name="Oval 54">
            <a:extLst>
              <a:ext uri="{FF2B5EF4-FFF2-40B4-BE49-F238E27FC236}">
                <a16:creationId xmlns:a16="http://schemas.microsoft.com/office/drawing/2014/main" id="{42CD869C-4CAA-ED43-8221-D716610BD640}"/>
              </a:ext>
            </a:extLst>
          </p:cNvPr>
          <p:cNvSpPr/>
          <p:nvPr/>
        </p:nvSpPr>
        <p:spPr>
          <a:xfrm>
            <a:off x="6009895" y="2910330"/>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2</a:t>
            </a:r>
            <a:endParaRPr lang="en-US" sz="2133" b="1" dirty="0">
              <a:solidFill>
                <a:schemeClr val="bg1"/>
              </a:solidFill>
              <a:latin typeface="Calibri" panose="020F0502020204030204"/>
            </a:endParaRPr>
          </a:p>
        </p:txBody>
      </p:sp>
      <p:sp>
        <p:nvSpPr>
          <p:cNvPr id="71" name="Oval 70">
            <a:extLst>
              <a:ext uri="{FF2B5EF4-FFF2-40B4-BE49-F238E27FC236}">
                <a16:creationId xmlns:a16="http://schemas.microsoft.com/office/drawing/2014/main" id="{42CD869C-4CAA-ED43-8221-D716610BD640}"/>
              </a:ext>
            </a:extLst>
          </p:cNvPr>
          <p:cNvSpPr/>
          <p:nvPr/>
        </p:nvSpPr>
        <p:spPr>
          <a:xfrm>
            <a:off x="2009922" y="3387987"/>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3</a:t>
            </a:r>
          </a:p>
        </p:txBody>
      </p:sp>
      <p:sp>
        <p:nvSpPr>
          <p:cNvPr id="72" name="Oval 71">
            <a:extLst>
              <a:ext uri="{FF2B5EF4-FFF2-40B4-BE49-F238E27FC236}">
                <a16:creationId xmlns:a16="http://schemas.microsoft.com/office/drawing/2014/main" id="{42CD869C-4CAA-ED43-8221-D716610BD640}"/>
              </a:ext>
            </a:extLst>
          </p:cNvPr>
          <p:cNvSpPr/>
          <p:nvPr/>
        </p:nvSpPr>
        <p:spPr>
          <a:xfrm>
            <a:off x="6009895" y="3424729"/>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sp>
        <p:nvSpPr>
          <p:cNvPr id="73" name="Oval 72">
            <a:extLst>
              <a:ext uri="{FF2B5EF4-FFF2-40B4-BE49-F238E27FC236}">
                <a16:creationId xmlns:a16="http://schemas.microsoft.com/office/drawing/2014/main" id="{42CD869C-4CAA-ED43-8221-D716610BD640}"/>
              </a:ext>
            </a:extLst>
          </p:cNvPr>
          <p:cNvSpPr/>
          <p:nvPr/>
        </p:nvSpPr>
        <p:spPr>
          <a:xfrm>
            <a:off x="3591004" y="3920864"/>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smtClean="0">
                <a:solidFill>
                  <a:schemeClr val="bg1"/>
                </a:solidFill>
                <a:latin typeface="Calibri" panose="020F0502020204030204"/>
              </a:rPr>
              <a:t>5</a:t>
            </a:r>
            <a:endParaRPr lang="en-US" sz="2133" b="1" dirty="0">
              <a:solidFill>
                <a:schemeClr val="bg1"/>
              </a:solidFill>
              <a:latin typeface="Calibri" panose="020F0502020204030204"/>
            </a:endParaRPr>
          </a:p>
        </p:txBody>
      </p:sp>
      <p:sp>
        <p:nvSpPr>
          <p:cNvPr id="74" name="Oval 73">
            <a:extLst>
              <a:ext uri="{FF2B5EF4-FFF2-40B4-BE49-F238E27FC236}">
                <a16:creationId xmlns:a16="http://schemas.microsoft.com/office/drawing/2014/main" id="{42CD869C-4CAA-ED43-8221-D716610BD640}"/>
              </a:ext>
            </a:extLst>
          </p:cNvPr>
          <p:cNvSpPr/>
          <p:nvPr/>
        </p:nvSpPr>
        <p:spPr>
          <a:xfrm>
            <a:off x="2060976" y="4762428"/>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1</a:t>
            </a:r>
          </a:p>
        </p:txBody>
      </p:sp>
      <p:sp>
        <p:nvSpPr>
          <p:cNvPr id="75" name="Oval 74">
            <a:extLst>
              <a:ext uri="{FF2B5EF4-FFF2-40B4-BE49-F238E27FC236}">
                <a16:creationId xmlns:a16="http://schemas.microsoft.com/office/drawing/2014/main" id="{42CD869C-4CAA-ED43-8221-D716610BD640}"/>
              </a:ext>
            </a:extLst>
          </p:cNvPr>
          <p:cNvSpPr/>
          <p:nvPr/>
        </p:nvSpPr>
        <p:spPr>
          <a:xfrm>
            <a:off x="5719790" y="4788896"/>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2</a:t>
            </a:r>
          </a:p>
        </p:txBody>
      </p:sp>
      <p:sp>
        <p:nvSpPr>
          <p:cNvPr id="76" name="Oval 75">
            <a:extLst>
              <a:ext uri="{FF2B5EF4-FFF2-40B4-BE49-F238E27FC236}">
                <a16:creationId xmlns:a16="http://schemas.microsoft.com/office/drawing/2014/main" id="{42CD869C-4CAA-ED43-8221-D716610BD640}"/>
              </a:ext>
            </a:extLst>
          </p:cNvPr>
          <p:cNvSpPr/>
          <p:nvPr/>
        </p:nvSpPr>
        <p:spPr>
          <a:xfrm>
            <a:off x="5863315" y="5326944"/>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4</a:t>
            </a:r>
          </a:p>
        </p:txBody>
      </p:sp>
      <p:sp>
        <p:nvSpPr>
          <p:cNvPr id="77" name="Oval 76">
            <a:extLst>
              <a:ext uri="{FF2B5EF4-FFF2-40B4-BE49-F238E27FC236}">
                <a16:creationId xmlns:a16="http://schemas.microsoft.com/office/drawing/2014/main" id="{42CD869C-4CAA-ED43-8221-D716610BD640}"/>
              </a:ext>
            </a:extLst>
          </p:cNvPr>
          <p:cNvSpPr/>
          <p:nvPr/>
        </p:nvSpPr>
        <p:spPr>
          <a:xfrm>
            <a:off x="1978356" y="5323761"/>
            <a:ext cx="457200" cy="4572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133" b="1" dirty="0">
                <a:solidFill>
                  <a:schemeClr val="bg1"/>
                </a:solidFill>
                <a:latin typeface="Calibri" panose="020F0502020204030204"/>
              </a:rPr>
              <a:t>3</a:t>
            </a:r>
          </a:p>
        </p:txBody>
      </p:sp>
      <p:sp>
        <p:nvSpPr>
          <p:cNvPr id="4" name="TextBox 3"/>
          <p:cNvSpPr txBox="1"/>
          <p:nvPr/>
        </p:nvSpPr>
        <p:spPr>
          <a:xfrm>
            <a:off x="148052" y="6068291"/>
            <a:ext cx="1263936" cy="276999"/>
          </a:xfrm>
          <a:prstGeom prst="rect">
            <a:avLst/>
          </a:prstGeom>
          <a:noFill/>
        </p:spPr>
        <p:txBody>
          <a:bodyPr wrap="none" rtlCol="0">
            <a:spAutoFit/>
          </a:bodyPr>
          <a:lstStyle/>
          <a:p>
            <a:r>
              <a:rPr lang="en-US" sz="1200" dirty="0" smtClean="0"/>
              <a:t>*Discussed today</a:t>
            </a:r>
            <a:endParaRPr lang="en-US" sz="1200" dirty="0"/>
          </a:p>
        </p:txBody>
      </p:sp>
      <p:sp>
        <p:nvSpPr>
          <p:cNvPr id="78" name="Diagonal Stripe 77"/>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Excessive</a:t>
            </a:r>
            <a:endParaRPr lang="en-US" sz="1400" dirty="0">
              <a:solidFill>
                <a:srgbClr val="FF0000"/>
              </a:solidFill>
            </a:endParaRPr>
          </a:p>
        </p:txBody>
      </p:sp>
    </p:spTree>
    <p:extLst>
      <p:ext uri="{BB962C8B-B14F-4D97-AF65-F5344CB8AC3E}">
        <p14:creationId xmlns:p14="http://schemas.microsoft.com/office/powerpoint/2010/main" val="84364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0DBBC3-69F5-584E-9634-0731918DCB5E}"/>
              </a:ext>
            </a:extLst>
          </p:cNvPr>
          <p:cNvSpPr>
            <a:spLocks noGrp="1"/>
          </p:cNvSpPr>
          <p:nvPr>
            <p:ph type="title"/>
          </p:nvPr>
        </p:nvSpPr>
        <p:spPr>
          <a:xfrm>
            <a:off x="237429" y="86483"/>
            <a:ext cx="11180064" cy="1060704"/>
          </a:xfrm>
        </p:spPr>
        <p:txBody>
          <a:bodyPr vert="horz" lIns="0" tIns="0" rIns="0" bIns="0" rtlCol="0" anchor="t" anchorCtr="0">
            <a:normAutofit/>
          </a:bodyPr>
          <a:lstStyle/>
          <a:p>
            <a:r>
              <a:rPr lang="en-US" sz="2667" dirty="0"/>
              <a:t>Transition Approach</a:t>
            </a:r>
          </a:p>
        </p:txBody>
      </p:sp>
      <p:sp>
        <p:nvSpPr>
          <p:cNvPr id="3" name="Slide Number Placeholder 2">
            <a:extLst>
              <a:ext uri="{FF2B5EF4-FFF2-40B4-BE49-F238E27FC236}">
                <a16:creationId xmlns:a16="http://schemas.microsoft.com/office/drawing/2014/main" id="{2257B3A7-36BF-4F0B-90BE-9534ADFC84E2}"/>
              </a:ext>
            </a:extLst>
          </p:cNvPr>
          <p:cNvSpPr>
            <a:spLocks noGrp="1"/>
          </p:cNvSpPr>
          <p:nvPr>
            <p:ph type="sldNum" sz="quarter" idx="12"/>
          </p:nvPr>
        </p:nvSpPr>
        <p:spPr/>
        <p:txBody>
          <a:bodyPr/>
          <a:lstStyle/>
          <a:p>
            <a:pPr defTabSz="609570"/>
            <a:fld id="{2EFEF571-C9B4-4D92-A7F7-315B894862A8}" type="slidenum">
              <a:rPr lang="en-US">
                <a:solidFill>
                  <a:srgbClr val="00B140"/>
                </a:solidFill>
                <a:latin typeface="Arial" panose="020B0604020202020204"/>
              </a:rPr>
              <a:pPr defTabSz="609570"/>
              <a:t>9</a:t>
            </a:fld>
            <a:endParaRPr lang="en-US" dirty="0">
              <a:solidFill>
                <a:srgbClr val="00B140"/>
              </a:solidFill>
              <a:latin typeface="Arial" panose="020B0604020202020204"/>
            </a:endParaRPr>
          </a:p>
        </p:txBody>
      </p:sp>
      <p:sp>
        <p:nvSpPr>
          <p:cNvPr id="55" name="Round Same Side Corner Rectangle 54"/>
          <p:cNvSpPr/>
          <p:nvPr/>
        </p:nvSpPr>
        <p:spPr>
          <a:xfrm rot="16200000">
            <a:off x="8148243" y="2875351"/>
            <a:ext cx="4653052" cy="2024644"/>
          </a:xfrm>
          <a:prstGeom prst="round2SameRect">
            <a:avLst>
              <a:gd name="adj1" fmla="val 0"/>
              <a:gd name="adj2" fmla="val 0"/>
            </a:avLst>
          </a:prstGeom>
          <a:solidFill>
            <a:srgbClr val="CCFF99"/>
          </a:solidFill>
          <a:ln>
            <a:noFill/>
          </a:ln>
        </p:spPr>
        <p:txBody>
          <a:bodyPr rtlCol="0" anchor="ctr">
            <a:noAutofit/>
          </a:bodyPr>
          <a:lstStyle/>
          <a:p>
            <a:pPr algn="ctr" defTabSz="608838">
              <a:defRPr/>
            </a:pPr>
            <a:endParaRPr lang="en-US" sz="999" kern="0" dirty="0">
              <a:solidFill>
                <a:prstClr val="white"/>
              </a:solidFill>
              <a:cs typeface="Calibri" panose="020F0502020204030204" pitchFamily="34" charset="0"/>
            </a:endParaRPr>
          </a:p>
        </p:txBody>
      </p:sp>
      <p:sp>
        <p:nvSpPr>
          <p:cNvPr id="56" name="Isosceles Triangle 55"/>
          <p:cNvSpPr/>
          <p:nvPr/>
        </p:nvSpPr>
        <p:spPr>
          <a:xfrm rot="5400000">
            <a:off x="7154114" y="3607340"/>
            <a:ext cx="4354525" cy="262139"/>
          </a:xfrm>
          <a:prstGeom prst="triangle">
            <a:avLst/>
          </a:prstGeom>
          <a:solidFill>
            <a:srgbClr val="92D050"/>
          </a:solidFill>
          <a:ln w="6350" cap="flat" cmpd="sng" algn="ctr">
            <a:noFill/>
            <a:prstDash val="solid"/>
            <a:miter lim="800000"/>
          </a:ln>
          <a:effectLst/>
        </p:spPr>
        <p:txBody>
          <a:bodyPr rtlCol="0" anchor="ctr"/>
          <a:lstStyle/>
          <a:p>
            <a:pPr algn="ctr" defTabSz="608823">
              <a:defRPr/>
            </a:pPr>
            <a:endParaRPr lang="en-US" sz="1799" kern="0" dirty="0">
              <a:solidFill>
                <a:prstClr val="white"/>
              </a:solidFill>
            </a:endParaRPr>
          </a:p>
        </p:txBody>
      </p:sp>
      <p:sp>
        <p:nvSpPr>
          <p:cNvPr id="57" name="Rectangle 56"/>
          <p:cNvSpPr/>
          <p:nvPr/>
        </p:nvSpPr>
        <p:spPr>
          <a:xfrm>
            <a:off x="9462446" y="917548"/>
            <a:ext cx="2024644" cy="602283"/>
          </a:xfrm>
          <a:prstGeom prst="rect">
            <a:avLst/>
          </a:prstGeom>
          <a:solidFill>
            <a:srgbClr val="00B050"/>
          </a:solidFill>
          <a:ln w="12700" cap="flat" cmpd="sng" algn="ctr">
            <a:noFill/>
            <a:prstDash val="solid"/>
            <a:miter lim="800000"/>
          </a:ln>
          <a:effectLst/>
        </p:spPr>
        <p:txBody>
          <a:bodyPr rtlCol="0" anchor="ctr"/>
          <a:lstStyle/>
          <a:p>
            <a:pPr algn="ctr" defTabSz="608823">
              <a:defRPr/>
            </a:pPr>
            <a:r>
              <a:rPr lang="en-US" sz="1200" b="1" kern="0" dirty="0">
                <a:solidFill>
                  <a:prstClr val="white"/>
                </a:solidFill>
              </a:rPr>
              <a:t>Key Outcomes</a:t>
            </a:r>
          </a:p>
        </p:txBody>
      </p:sp>
      <p:sp>
        <p:nvSpPr>
          <p:cNvPr id="58" name="Rectangle 57"/>
          <p:cNvSpPr/>
          <p:nvPr/>
        </p:nvSpPr>
        <p:spPr>
          <a:xfrm>
            <a:off x="9551489" y="1625243"/>
            <a:ext cx="1864035" cy="534637"/>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1087170">
              <a:lnSpc>
                <a:spcPct val="90000"/>
              </a:lnSpc>
              <a:defRPr/>
            </a:pPr>
            <a:r>
              <a:rPr lang="en-US" sz="1200" b="1" kern="0" dirty="0">
                <a:solidFill>
                  <a:schemeClr val="tx2">
                    <a:lumMod val="85000"/>
                    <a:lumOff val="15000"/>
                  </a:schemeClr>
                </a:solidFill>
              </a:rPr>
              <a:t>Seamless transition </a:t>
            </a:r>
            <a:r>
              <a:rPr lang="en-US" sz="1200" kern="0" dirty="0">
                <a:solidFill>
                  <a:schemeClr val="tx2">
                    <a:lumMod val="85000"/>
                    <a:lumOff val="15000"/>
                  </a:schemeClr>
                </a:solidFill>
              </a:rPr>
              <a:t>of </a:t>
            </a:r>
            <a:br>
              <a:rPr lang="en-US" sz="1200" kern="0" dirty="0">
                <a:solidFill>
                  <a:schemeClr val="tx2">
                    <a:lumMod val="85000"/>
                    <a:lumOff val="15000"/>
                  </a:schemeClr>
                </a:solidFill>
              </a:rPr>
            </a:br>
            <a:r>
              <a:rPr lang="en-US" sz="1200" kern="0" dirty="0">
                <a:solidFill>
                  <a:schemeClr val="tx2">
                    <a:lumMod val="85000"/>
                    <a:lumOff val="15000"/>
                  </a:schemeClr>
                </a:solidFill>
              </a:rPr>
              <a:t>in-scope services to the</a:t>
            </a:r>
            <a:br>
              <a:rPr lang="en-US" sz="1200" kern="0" dirty="0">
                <a:solidFill>
                  <a:schemeClr val="tx2">
                    <a:lumMod val="85000"/>
                    <a:lumOff val="15000"/>
                  </a:schemeClr>
                </a:solidFill>
              </a:rPr>
            </a:br>
            <a:r>
              <a:rPr lang="en-US" sz="1200" b="1" kern="0" dirty="0">
                <a:solidFill>
                  <a:schemeClr val="tx2">
                    <a:lumMod val="85000"/>
                    <a:lumOff val="15000"/>
                  </a:schemeClr>
                </a:solidFill>
              </a:rPr>
              <a:t>managed services </a:t>
            </a:r>
            <a:r>
              <a:rPr lang="en-US" sz="1200" kern="0" dirty="0">
                <a:solidFill>
                  <a:schemeClr val="tx2">
                    <a:lumMod val="85000"/>
                    <a:lumOff val="15000"/>
                  </a:schemeClr>
                </a:solidFill>
              </a:rPr>
              <a:t>model</a:t>
            </a:r>
          </a:p>
        </p:txBody>
      </p:sp>
      <p:sp>
        <p:nvSpPr>
          <p:cNvPr id="59" name="Rectangle 58"/>
          <p:cNvSpPr/>
          <p:nvPr/>
        </p:nvSpPr>
        <p:spPr>
          <a:xfrm>
            <a:off x="9551489" y="4342294"/>
            <a:ext cx="1864035" cy="554967"/>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1087170">
              <a:lnSpc>
                <a:spcPct val="90000"/>
              </a:lnSpc>
            </a:pPr>
            <a:r>
              <a:rPr lang="en-US" sz="1200" b="1" kern="0" dirty="0">
                <a:solidFill>
                  <a:schemeClr val="tx2">
                    <a:lumMod val="85000"/>
                    <a:lumOff val="15000"/>
                  </a:schemeClr>
                </a:solidFill>
              </a:rPr>
              <a:t>Targeted deliverables</a:t>
            </a:r>
          </a:p>
          <a:p>
            <a:pPr marL="0" lvl="1" algn="ctr" defTabSz="1087170">
              <a:lnSpc>
                <a:spcPct val="90000"/>
              </a:lnSpc>
            </a:pPr>
            <a:r>
              <a:rPr lang="en-US" sz="1200" kern="0" dirty="0">
                <a:solidFill>
                  <a:schemeClr val="tx2">
                    <a:lumMod val="85000"/>
                    <a:lumOff val="15000"/>
                  </a:schemeClr>
                </a:solidFill>
              </a:rPr>
              <a:t>supplementing </a:t>
            </a:r>
            <a:r>
              <a:rPr lang="en-US" sz="1200" kern="0" dirty="0" smtClean="0">
                <a:solidFill>
                  <a:schemeClr val="tx2">
                    <a:lumMod val="85000"/>
                    <a:lumOff val="15000"/>
                  </a:schemeClr>
                </a:solidFill>
              </a:rPr>
              <a:t>Marriott </a:t>
            </a:r>
            <a:r>
              <a:rPr lang="en-US" sz="1200" kern="0" dirty="0">
                <a:solidFill>
                  <a:schemeClr val="tx2">
                    <a:lumMod val="85000"/>
                    <a:lumOff val="15000"/>
                  </a:schemeClr>
                </a:solidFill>
              </a:rPr>
              <a:t>documentation </a:t>
            </a:r>
          </a:p>
        </p:txBody>
      </p:sp>
      <p:sp>
        <p:nvSpPr>
          <p:cNvPr id="61" name="Rectangle 60"/>
          <p:cNvSpPr/>
          <p:nvPr/>
        </p:nvSpPr>
        <p:spPr>
          <a:xfrm>
            <a:off x="9551489" y="5659803"/>
            <a:ext cx="1864035" cy="391751"/>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1087170">
              <a:lnSpc>
                <a:spcPct val="90000"/>
              </a:lnSpc>
            </a:pPr>
            <a:r>
              <a:rPr lang="en-US" sz="1200" kern="0" dirty="0">
                <a:solidFill>
                  <a:schemeClr val="tx2">
                    <a:lumMod val="85000"/>
                    <a:lumOff val="15000"/>
                  </a:schemeClr>
                </a:solidFill>
              </a:rPr>
              <a:t>Early </a:t>
            </a:r>
            <a:r>
              <a:rPr lang="en-US" sz="1200" b="1" kern="0" dirty="0">
                <a:solidFill>
                  <a:schemeClr val="tx2">
                    <a:lumMod val="85000"/>
                    <a:lumOff val="15000"/>
                  </a:schemeClr>
                </a:solidFill>
              </a:rPr>
              <a:t>value realization</a:t>
            </a:r>
          </a:p>
        </p:txBody>
      </p:sp>
      <p:sp>
        <p:nvSpPr>
          <p:cNvPr id="62" name="Rectangle 61"/>
          <p:cNvSpPr/>
          <p:nvPr/>
        </p:nvSpPr>
        <p:spPr>
          <a:xfrm>
            <a:off x="9542752" y="5039852"/>
            <a:ext cx="1864035" cy="481595"/>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1087170">
              <a:lnSpc>
                <a:spcPct val="90000"/>
              </a:lnSpc>
            </a:pPr>
            <a:r>
              <a:rPr lang="en-US" sz="1200" b="1" kern="0" dirty="0">
                <a:solidFill>
                  <a:schemeClr val="tx2">
                    <a:lumMod val="85000"/>
                    <a:lumOff val="15000"/>
                  </a:schemeClr>
                </a:solidFill>
              </a:rPr>
              <a:t>Optimize</a:t>
            </a:r>
            <a:r>
              <a:rPr lang="en-US" sz="1200" kern="0" dirty="0">
                <a:solidFill>
                  <a:schemeClr val="tx2">
                    <a:lumMod val="85000"/>
                    <a:lumOff val="15000"/>
                  </a:schemeClr>
                </a:solidFill>
              </a:rPr>
              <a:t> the transition resource plan</a:t>
            </a:r>
          </a:p>
        </p:txBody>
      </p:sp>
      <p:sp>
        <p:nvSpPr>
          <p:cNvPr id="63" name="Round Same Side Corner Rectangle 62"/>
          <p:cNvSpPr/>
          <p:nvPr/>
        </p:nvSpPr>
        <p:spPr>
          <a:xfrm rot="16200000">
            <a:off x="-578371" y="2880024"/>
            <a:ext cx="4629648" cy="2038704"/>
          </a:xfrm>
          <a:prstGeom prst="round2SameRect">
            <a:avLst>
              <a:gd name="adj1" fmla="val 0"/>
              <a:gd name="adj2" fmla="val 0"/>
            </a:avLst>
          </a:prstGeom>
          <a:solidFill>
            <a:schemeClr val="tx1">
              <a:lumMod val="20000"/>
              <a:lumOff val="80000"/>
            </a:schemeClr>
          </a:solidFill>
          <a:ln>
            <a:noFill/>
          </a:ln>
        </p:spPr>
        <p:txBody>
          <a:bodyPr rtlCol="0" anchor="ctr">
            <a:noAutofit/>
          </a:bodyPr>
          <a:lstStyle/>
          <a:p>
            <a:pPr algn="ctr" defTabSz="608838">
              <a:defRPr/>
            </a:pPr>
            <a:endParaRPr lang="en-US" sz="1049" kern="0" dirty="0">
              <a:solidFill>
                <a:prstClr val="white"/>
              </a:solidFill>
              <a:cs typeface="Calibri" panose="020F0502020204030204" pitchFamily="34" charset="0"/>
            </a:endParaRPr>
          </a:p>
        </p:txBody>
      </p:sp>
      <p:sp>
        <p:nvSpPr>
          <p:cNvPr id="64" name="Rectangle 63"/>
          <p:cNvSpPr/>
          <p:nvPr/>
        </p:nvSpPr>
        <p:spPr>
          <a:xfrm>
            <a:off x="839991" y="1794016"/>
            <a:ext cx="1774667" cy="791945"/>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endParaRPr lang="en-US" sz="1151" dirty="0">
              <a:solidFill>
                <a:schemeClr val="tx2"/>
              </a:solidFill>
            </a:endParaRPr>
          </a:p>
        </p:txBody>
      </p:sp>
      <p:sp>
        <p:nvSpPr>
          <p:cNvPr id="65" name="Rectangle 64"/>
          <p:cNvSpPr/>
          <p:nvPr/>
        </p:nvSpPr>
        <p:spPr>
          <a:xfrm>
            <a:off x="839615" y="3629691"/>
            <a:ext cx="1762947" cy="725324"/>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200" dirty="0">
                <a:solidFill>
                  <a:schemeClr val="tx2">
                    <a:lumMod val="85000"/>
                    <a:lumOff val="15000"/>
                  </a:schemeClr>
                </a:solidFill>
              </a:rPr>
              <a:t>Optimum wave planning, prioritization and sequencing</a:t>
            </a:r>
          </a:p>
        </p:txBody>
      </p:sp>
      <p:sp>
        <p:nvSpPr>
          <p:cNvPr id="66" name="Rectangle 65"/>
          <p:cNvSpPr/>
          <p:nvPr/>
        </p:nvSpPr>
        <p:spPr>
          <a:xfrm>
            <a:off x="839614" y="2798231"/>
            <a:ext cx="1762948" cy="725324"/>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200" dirty="0">
                <a:solidFill>
                  <a:schemeClr val="tx2">
                    <a:lumMod val="85000"/>
                    <a:lumOff val="15000"/>
                  </a:schemeClr>
                </a:solidFill>
              </a:rPr>
              <a:t>Judicious use of </a:t>
            </a:r>
            <a:r>
              <a:rPr lang="en-US" sz="1200" dirty="0" smtClean="0">
                <a:solidFill>
                  <a:schemeClr val="tx2">
                    <a:lumMod val="85000"/>
                    <a:lumOff val="15000"/>
                  </a:schemeClr>
                </a:solidFill>
              </a:rPr>
              <a:t>Marriott/incumbent </a:t>
            </a:r>
            <a:r>
              <a:rPr lang="en-US" sz="1200" dirty="0">
                <a:solidFill>
                  <a:schemeClr val="tx2">
                    <a:lumMod val="85000"/>
                    <a:lumOff val="15000"/>
                  </a:schemeClr>
                </a:solidFill>
              </a:rPr>
              <a:t>SME time</a:t>
            </a:r>
          </a:p>
        </p:txBody>
      </p:sp>
      <p:sp>
        <p:nvSpPr>
          <p:cNvPr id="67" name="Rectangle 66"/>
          <p:cNvSpPr/>
          <p:nvPr/>
        </p:nvSpPr>
        <p:spPr>
          <a:xfrm>
            <a:off x="839615" y="4478694"/>
            <a:ext cx="1762948" cy="599441"/>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200" dirty="0">
                <a:solidFill>
                  <a:schemeClr val="tx2">
                    <a:lumMod val="85000"/>
                    <a:lumOff val="15000"/>
                  </a:schemeClr>
                </a:solidFill>
              </a:rPr>
              <a:t>Target operating model setup</a:t>
            </a:r>
          </a:p>
        </p:txBody>
      </p:sp>
      <p:sp>
        <p:nvSpPr>
          <p:cNvPr id="68" name="Rectangle 67"/>
          <p:cNvSpPr/>
          <p:nvPr/>
        </p:nvSpPr>
        <p:spPr>
          <a:xfrm>
            <a:off x="717101" y="926217"/>
            <a:ext cx="2038705" cy="568539"/>
          </a:xfrm>
          <a:prstGeom prst="rect">
            <a:avLst/>
          </a:prstGeom>
          <a:solidFill>
            <a:schemeClr val="accent1">
              <a:lumMod val="60000"/>
              <a:lumOff val="40000"/>
            </a:schemeClr>
          </a:solidFill>
          <a:ln w="12700" cap="flat" cmpd="sng" algn="ctr">
            <a:noFill/>
            <a:prstDash val="solid"/>
            <a:miter lim="800000"/>
          </a:ln>
          <a:effectLst/>
        </p:spPr>
        <p:txBody>
          <a:bodyPr rtlCol="0" anchor="ctr"/>
          <a:lstStyle/>
          <a:p>
            <a:pPr algn="ctr" defTabSz="608823">
              <a:defRPr/>
            </a:pPr>
            <a:r>
              <a:rPr lang="en-US" sz="1200" b="1" kern="0" dirty="0">
                <a:solidFill>
                  <a:prstClr val="white"/>
                </a:solidFill>
              </a:rPr>
              <a:t>Transition—Critical Success Factors</a:t>
            </a:r>
          </a:p>
        </p:txBody>
      </p:sp>
      <p:sp>
        <p:nvSpPr>
          <p:cNvPr id="69" name="Rectangle 68"/>
          <p:cNvSpPr/>
          <p:nvPr/>
        </p:nvSpPr>
        <p:spPr>
          <a:xfrm>
            <a:off x="2882445" y="926219"/>
            <a:ext cx="6225840" cy="568539"/>
          </a:xfrm>
          <a:prstGeom prst="rect">
            <a:avLst/>
          </a:prstGeom>
          <a:solidFill>
            <a:srgbClr val="07409F"/>
          </a:solidFill>
          <a:ln w="12700" cap="flat" cmpd="sng" algn="ctr">
            <a:noFill/>
            <a:prstDash val="solid"/>
            <a:miter lim="800000"/>
          </a:ln>
          <a:effectLst/>
        </p:spPr>
        <p:txBody>
          <a:bodyPr rtlCol="0" anchor="ctr"/>
          <a:lstStyle/>
          <a:p>
            <a:pPr algn="ctr" defTabSz="608823">
              <a:defRPr/>
            </a:pPr>
            <a:r>
              <a:rPr lang="en-US" sz="1200" b="1" kern="0" dirty="0">
                <a:solidFill>
                  <a:prstClr val="white"/>
                </a:solidFill>
              </a:rPr>
              <a:t>Transition—Solution Tenets and Enablers</a:t>
            </a:r>
          </a:p>
        </p:txBody>
      </p:sp>
      <p:sp>
        <p:nvSpPr>
          <p:cNvPr id="70" name="Rectangle 69"/>
          <p:cNvSpPr/>
          <p:nvPr/>
        </p:nvSpPr>
        <p:spPr>
          <a:xfrm>
            <a:off x="3064899" y="5343315"/>
            <a:ext cx="6043387" cy="870885"/>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365309" tIns="60885" rIns="121771" bIns="60885" numCol="1" spcCol="0" rtlCol="0" fromWordArt="0" anchor="ctr" anchorCtr="0" forceAA="0" compatLnSpc="1">
            <a:prstTxWarp prst="textNoShape">
              <a:avLst/>
            </a:prstTxWarp>
            <a:noAutofit/>
          </a:bodyPr>
          <a:lstStyle/>
          <a:p>
            <a:pPr defTabSz="608793">
              <a:spcAft>
                <a:spcPts val="799"/>
              </a:spcAft>
              <a:defRPr/>
            </a:pPr>
            <a:endParaRPr lang="en-US" sz="1099" b="1" kern="0" dirty="0">
              <a:solidFill>
                <a:prstClr val="black"/>
              </a:solidFill>
            </a:endParaRPr>
          </a:p>
        </p:txBody>
      </p:sp>
      <p:sp>
        <p:nvSpPr>
          <p:cNvPr id="71" name="Rectangle 70"/>
          <p:cNvSpPr/>
          <p:nvPr/>
        </p:nvSpPr>
        <p:spPr>
          <a:xfrm>
            <a:off x="3064898" y="2931582"/>
            <a:ext cx="6051465" cy="1156639"/>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365309" tIns="60885" rIns="121771" bIns="60885" numCol="1" spcCol="0" rtlCol="0" fromWordArt="0" anchor="ctr" anchorCtr="0" forceAA="0" compatLnSpc="1">
            <a:prstTxWarp prst="textNoShape">
              <a:avLst/>
            </a:prstTxWarp>
            <a:noAutofit/>
          </a:bodyPr>
          <a:lstStyle/>
          <a:p>
            <a:pPr defTabSz="608793">
              <a:spcAft>
                <a:spcPts val="799"/>
              </a:spcAft>
              <a:defRPr/>
            </a:pPr>
            <a:endParaRPr lang="en-US" sz="1099" b="1" kern="0" dirty="0">
              <a:solidFill>
                <a:srgbClr val="5BD078">
                  <a:lumMod val="50000"/>
                </a:srgbClr>
              </a:solidFill>
            </a:endParaRPr>
          </a:p>
        </p:txBody>
      </p:sp>
      <p:sp>
        <p:nvSpPr>
          <p:cNvPr id="72" name="Rectangle 71"/>
          <p:cNvSpPr/>
          <p:nvPr/>
        </p:nvSpPr>
        <p:spPr>
          <a:xfrm>
            <a:off x="3064898" y="4133826"/>
            <a:ext cx="6051465" cy="1134132"/>
          </a:xfrm>
          <a:prstGeom prst="rect">
            <a:avLst/>
          </a:prstGeom>
          <a:solidFill>
            <a:schemeClr val="bg1">
              <a:lumMod val="95000"/>
            </a:schemeClr>
          </a:solidFill>
          <a:ln w="12700" cap="flat" cmpd="sng" algn="ctr">
            <a:solidFill>
              <a:srgbClr val="00B140"/>
            </a:solidFill>
            <a:prstDash val="solid"/>
            <a:miter lim="800000"/>
          </a:ln>
          <a:effectLst/>
        </p:spPr>
        <p:txBody>
          <a:bodyPr lIns="365309" rtlCol="0" anchor="ctr"/>
          <a:lstStyle/>
          <a:p>
            <a:pPr defTabSz="608793">
              <a:spcAft>
                <a:spcPts val="799"/>
              </a:spcAft>
              <a:defRPr/>
            </a:pPr>
            <a:endParaRPr lang="en-US" sz="1099" kern="0" dirty="0">
              <a:solidFill>
                <a:prstClr val="black"/>
              </a:solidFill>
            </a:endParaRPr>
          </a:p>
        </p:txBody>
      </p:sp>
      <p:sp>
        <p:nvSpPr>
          <p:cNvPr id="73" name="Rectangle 72"/>
          <p:cNvSpPr/>
          <p:nvPr/>
        </p:nvSpPr>
        <p:spPr>
          <a:xfrm>
            <a:off x="3064898" y="1566473"/>
            <a:ext cx="6051465" cy="1318881"/>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365309" tIns="60885" rIns="121771" bIns="60885" numCol="1" spcCol="0" rtlCol="0" fromWordArt="0" anchor="ctr" anchorCtr="0" forceAA="0" compatLnSpc="1">
            <a:prstTxWarp prst="textNoShape">
              <a:avLst/>
            </a:prstTxWarp>
            <a:noAutofit/>
          </a:bodyPr>
          <a:lstStyle/>
          <a:p>
            <a:pPr defTabSz="608793">
              <a:spcAft>
                <a:spcPts val="799"/>
              </a:spcAft>
              <a:defRPr/>
            </a:pPr>
            <a:endParaRPr lang="en-US" sz="1099" b="1" kern="0" dirty="0">
              <a:solidFill>
                <a:srgbClr val="5BD078">
                  <a:lumMod val="50000"/>
                </a:srgbClr>
              </a:solidFill>
            </a:endParaRPr>
          </a:p>
        </p:txBody>
      </p:sp>
      <p:sp>
        <p:nvSpPr>
          <p:cNvPr id="74" name="Pentagon 73"/>
          <p:cNvSpPr/>
          <p:nvPr/>
        </p:nvSpPr>
        <p:spPr>
          <a:xfrm>
            <a:off x="3095861" y="1564040"/>
            <a:ext cx="5846019" cy="276871"/>
          </a:xfrm>
          <a:prstGeom prst="homePlate">
            <a:avLst/>
          </a:prstGeom>
          <a:solidFill>
            <a:srgbClr val="07409F"/>
          </a:solidFill>
          <a:ln w="19050" cap="flat" cmpd="sng" algn="ctr">
            <a:noFill/>
            <a:prstDash val="solid"/>
            <a:miter lim="800000"/>
          </a:ln>
          <a:effectLst/>
        </p:spPr>
        <p:txBody>
          <a:bodyPr wrap="square">
            <a:spAutoFit/>
          </a:bodyPr>
          <a:lstStyle/>
          <a:p>
            <a:pPr marL="67704" defTabSz="1438675" fontAlgn="b">
              <a:spcAft>
                <a:spcPts val="735"/>
              </a:spcAft>
              <a:buClr>
                <a:srgbClr val="1F497D"/>
              </a:buClr>
              <a:tabLst>
                <a:tab pos="286278" algn="l"/>
              </a:tabLst>
              <a:defRPr/>
            </a:pPr>
            <a:r>
              <a:rPr lang="en-US" sz="1199" b="1" kern="0" dirty="0">
                <a:solidFill>
                  <a:schemeClr val="bg1"/>
                </a:solidFill>
              </a:rPr>
              <a:t>   Adaptive, Modular, Risk Mitigated Transition</a:t>
            </a:r>
            <a:endParaRPr lang="en-US" sz="1199" b="1" i="1" kern="0" dirty="0">
              <a:solidFill>
                <a:schemeClr val="bg1"/>
              </a:solidFill>
            </a:endParaRPr>
          </a:p>
        </p:txBody>
      </p:sp>
      <p:sp>
        <p:nvSpPr>
          <p:cNvPr id="75" name="Pentagon 74"/>
          <p:cNvSpPr/>
          <p:nvPr/>
        </p:nvSpPr>
        <p:spPr>
          <a:xfrm>
            <a:off x="3068668" y="2924268"/>
            <a:ext cx="5846019" cy="276871"/>
          </a:xfrm>
          <a:prstGeom prst="homePlate">
            <a:avLst/>
          </a:prstGeom>
          <a:solidFill>
            <a:srgbClr val="07409F"/>
          </a:solidFill>
          <a:ln w="19050" cap="flat" cmpd="sng" algn="ctr">
            <a:noFill/>
            <a:prstDash val="solid"/>
            <a:miter lim="800000"/>
          </a:ln>
          <a:effectLst/>
        </p:spPr>
        <p:txBody>
          <a:bodyPr wrap="square">
            <a:spAutoFit/>
          </a:bodyPr>
          <a:lstStyle/>
          <a:p>
            <a:pPr defTabSz="608823">
              <a:spcAft>
                <a:spcPts val="799"/>
              </a:spcAft>
              <a:defRPr/>
            </a:pPr>
            <a:r>
              <a:rPr lang="en-US" sz="1199" b="1" kern="0" dirty="0">
                <a:solidFill>
                  <a:schemeClr val="bg1"/>
                </a:solidFill>
              </a:rPr>
              <a:t>      Robust Transition Methodology, Process, Tools and Accelerators </a:t>
            </a:r>
            <a:endParaRPr lang="en-US" sz="1199" b="1" i="1" kern="0" dirty="0">
              <a:solidFill>
                <a:schemeClr val="bg1"/>
              </a:solidFill>
            </a:endParaRPr>
          </a:p>
        </p:txBody>
      </p:sp>
      <p:sp>
        <p:nvSpPr>
          <p:cNvPr id="76" name="Pentagon 75"/>
          <p:cNvSpPr/>
          <p:nvPr/>
        </p:nvSpPr>
        <p:spPr>
          <a:xfrm>
            <a:off x="3040273" y="4154666"/>
            <a:ext cx="5846019" cy="276871"/>
          </a:xfrm>
          <a:prstGeom prst="homePlate">
            <a:avLst/>
          </a:prstGeom>
          <a:solidFill>
            <a:srgbClr val="07409F"/>
          </a:solidFill>
          <a:ln w="19050" cap="flat" cmpd="sng" algn="ctr">
            <a:noFill/>
            <a:prstDash val="solid"/>
            <a:miter lim="800000"/>
          </a:ln>
          <a:effectLst/>
        </p:spPr>
        <p:txBody>
          <a:bodyPr wrap="square">
            <a:spAutoFit/>
          </a:bodyPr>
          <a:lstStyle/>
          <a:p>
            <a:pPr defTabSz="608793">
              <a:defRPr/>
            </a:pPr>
            <a:r>
              <a:rPr lang="en-US" sz="1199" b="1" kern="0" dirty="0">
                <a:solidFill>
                  <a:schemeClr val="bg1"/>
                </a:solidFill>
              </a:rPr>
              <a:t>      Alignment with </a:t>
            </a:r>
            <a:r>
              <a:rPr lang="en-US" sz="1199" b="1" kern="0" dirty="0" smtClean="0">
                <a:solidFill>
                  <a:schemeClr val="bg1"/>
                </a:solidFill>
              </a:rPr>
              <a:t>Marriott’s </a:t>
            </a:r>
            <a:r>
              <a:rPr lang="en-US" sz="1199" b="1" kern="0" dirty="0">
                <a:solidFill>
                  <a:schemeClr val="bg1"/>
                </a:solidFill>
              </a:rPr>
              <a:t>IT Organization</a:t>
            </a:r>
            <a:endParaRPr lang="en-US" sz="1199" b="1" i="1" kern="0" dirty="0">
              <a:solidFill>
                <a:schemeClr val="bg1"/>
              </a:solidFill>
            </a:endParaRPr>
          </a:p>
        </p:txBody>
      </p:sp>
      <p:sp>
        <p:nvSpPr>
          <p:cNvPr id="77" name="Pentagon 76"/>
          <p:cNvSpPr/>
          <p:nvPr/>
        </p:nvSpPr>
        <p:spPr>
          <a:xfrm>
            <a:off x="3042999" y="5352198"/>
            <a:ext cx="5846019" cy="276871"/>
          </a:xfrm>
          <a:prstGeom prst="homePlate">
            <a:avLst/>
          </a:prstGeom>
          <a:solidFill>
            <a:srgbClr val="07409F"/>
          </a:solidFill>
          <a:ln w="19050" cap="flat" cmpd="sng" algn="ctr">
            <a:noFill/>
            <a:prstDash val="solid"/>
            <a:miter lim="800000"/>
          </a:ln>
          <a:effectLst/>
        </p:spPr>
        <p:txBody>
          <a:bodyPr wrap="square">
            <a:spAutoFit/>
          </a:bodyPr>
          <a:lstStyle/>
          <a:p>
            <a:pPr defTabSz="608823">
              <a:spcAft>
                <a:spcPts val="799"/>
              </a:spcAft>
              <a:defRPr/>
            </a:pPr>
            <a:r>
              <a:rPr lang="en-US" sz="1199" b="1" kern="0" dirty="0">
                <a:solidFill>
                  <a:schemeClr val="bg1"/>
                </a:solidFill>
              </a:rPr>
              <a:t>      Target Operating Model Setup</a:t>
            </a:r>
          </a:p>
        </p:txBody>
      </p:sp>
      <p:sp>
        <p:nvSpPr>
          <p:cNvPr id="78" name="Rounded Rectangle 77"/>
          <p:cNvSpPr/>
          <p:nvPr/>
        </p:nvSpPr>
        <p:spPr>
          <a:xfrm>
            <a:off x="3263950" y="1912314"/>
            <a:ext cx="2468913" cy="458973"/>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b="1" i="1" dirty="0">
                <a:solidFill>
                  <a:prstClr val="black"/>
                </a:solidFill>
                <a:ea typeface="Times New Roman"/>
                <a:cs typeface="Times New Roman"/>
              </a:rPr>
              <a:t>Modular</a:t>
            </a:r>
            <a:r>
              <a:rPr lang="en-US" sz="933" i="1" dirty="0">
                <a:solidFill>
                  <a:prstClr val="black"/>
                </a:solidFill>
                <a:ea typeface="Times New Roman"/>
                <a:cs typeface="Times New Roman"/>
              </a:rPr>
              <a:t> Transition organized by tower and complexity analysis</a:t>
            </a:r>
          </a:p>
        </p:txBody>
      </p:sp>
      <p:sp>
        <p:nvSpPr>
          <p:cNvPr id="79" name="Rounded Rectangle 78"/>
          <p:cNvSpPr/>
          <p:nvPr/>
        </p:nvSpPr>
        <p:spPr>
          <a:xfrm>
            <a:off x="3263949" y="2418389"/>
            <a:ext cx="2456576" cy="425359"/>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b="1" i="1" dirty="0">
                <a:solidFill>
                  <a:prstClr val="black"/>
                </a:solidFill>
                <a:ea typeface="Times New Roman"/>
                <a:cs typeface="Times New Roman"/>
              </a:rPr>
              <a:t>Priority transition</a:t>
            </a:r>
            <a:r>
              <a:rPr lang="en-US" sz="933" i="1" dirty="0">
                <a:solidFill>
                  <a:prstClr val="black"/>
                </a:solidFill>
                <a:ea typeface="Times New Roman"/>
                <a:cs typeface="Times New Roman"/>
              </a:rPr>
              <a:t> for “flight risk” / “At-risk” key SME’s</a:t>
            </a:r>
          </a:p>
        </p:txBody>
      </p:sp>
      <p:sp>
        <p:nvSpPr>
          <p:cNvPr id="81" name="Rounded Rectangle 80"/>
          <p:cNvSpPr/>
          <p:nvPr/>
        </p:nvSpPr>
        <p:spPr>
          <a:xfrm>
            <a:off x="6141625" y="3737006"/>
            <a:ext cx="1781623" cy="313252"/>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ea typeface="Times New Roman"/>
                <a:cs typeface="Times New Roman"/>
              </a:rPr>
              <a:t>Mix of </a:t>
            </a:r>
            <a:r>
              <a:rPr lang="en-US" sz="933" b="1" i="1" kern="0" dirty="0">
                <a:solidFill>
                  <a:prstClr val="black"/>
                </a:solidFill>
                <a:ea typeface="Times New Roman"/>
                <a:cs typeface="Times New Roman"/>
              </a:rPr>
              <a:t>in-person &amp; remote KT</a:t>
            </a:r>
            <a:endParaRPr lang="en-US" sz="933" b="1" i="1" kern="0" dirty="0">
              <a:solidFill>
                <a:prstClr val="black"/>
              </a:solidFill>
              <a:cs typeface="Arial" charset="0"/>
            </a:endParaRPr>
          </a:p>
        </p:txBody>
      </p:sp>
      <p:sp>
        <p:nvSpPr>
          <p:cNvPr id="82" name="Rounded Rectangle 81"/>
          <p:cNvSpPr/>
          <p:nvPr/>
        </p:nvSpPr>
        <p:spPr>
          <a:xfrm>
            <a:off x="3161135" y="3285014"/>
            <a:ext cx="1787131" cy="400005"/>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ea typeface="Times New Roman"/>
                <a:cs typeface="Times New Roman"/>
              </a:rPr>
              <a:t>Detailed </a:t>
            </a:r>
            <a:r>
              <a:rPr lang="en-US" sz="933" b="1" i="1" kern="0" dirty="0">
                <a:solidFill>
                  <a:prstClr val="black"/>
                </a:solidFill>
                <a:ea typeface="Times New Roman"/>
                <a:cs typeface="Times New Roman"/>
              </a:rPr>
              <a:t>pre-transition plan </a:t>
            </a:r>
            <a:r>
              <a:rPr lang="en-US" sz="933" i="1" kern="0" dirty="0">
                <a:solidFill>
                  <a:prstClr val="black"/>
                </a:solidFill>
                <a:ea typeface="Times New Roman"/>
                <a:cs typeface="Times New Roman"/>
              </a:rPr>
              <a:t>&amp; preparation</a:t>
            </a:r>
          </a:p>
        </p:txBody>
      </p:sp>
      <p:sp>
        <p:nvSpPr>
          <p:cNvPr id="83" name="Rounded Rectangle 82"/>
          <p:cNvSpPr/>
          <p:nvPr/>
        </p:nvSpPr>
        <p:spPr>
          <a:xfrm>
            <a:off x="4092808" y="3737006"/>
            <a:ext cx="1787131" cy="329020"/>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i="1" dirty="0">
                <a:solidFill>
                  <a:prstClr val="black"/>
                </a:solidFill>
                <a:ea typeface="Times New Roman"/>
                <a:cs typeface="Times New Roman"/>
              </a:rPr>
              <a:t>Process convergence &amp; enablement</a:t>
            </a:r>
          </a:p>
        </p:txBody>
      </p:sp>
      <p:sp>
        <p:nvSpPr>
          <p:cNvPr id="84" name="Rounded Rectangle 83"/>
          <p:cNvSpPr/>
          <p:nvPr/>
        </p:nvSpPr>
        <p:spPr>
          <a:xfrm>
            <a:off x="4986372" y="4473819"/>
            <a:ext cx="1660120" cy="366892"/>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buClr>
                <a:srgbClr val="00B050"/>
              </a:buClr>
              <a:defRPr/>
            </a:pPr>
            <a:r>
              <a:rPr lang="en-US" sz="933" b="1" i="1" dirty="0">
                <a:solidFill>
                  <a:prstClr val="black"/>
                </a:solidFill>
                <a:ea typeface="Times New Roman"/>
                <a:cs typeface="Times New Roman"/>
              </a:rPr>
              <a:t>Onsite—offshore model </a:t>
            </a:r>
            <a:r>
              <a:rPr lang="en-US" sz="933" i="1" dirty="0">
                <a:solidFill>
                  <a:prstClr val="black"/>
                </a:solidFill>
                <a:ea typeface="Times New Roman"/>
                <a:cs typeface="Times New Roman"/>
              </a:rPr>
              <a:t>for effective 24x7 Support</a:t>
            </a:r>
          </a:p>
        </p:txBody>
      </p:sp>
      <p:sp>
        <p:nvSpPr>
          <p:cNvPr id="86" name="Rounded Rectangle 85"/>
          <p:cNvSpPr/>
          <p:nvPr/>
        </p:nvSpPr>
        <p:spPr>
          <a:xfrm>
            <a:off x="3182943" y="4905868"/>
            <a:ext cx="1705125" cy="361377"/>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867" b="1" i="1" dirty="0">
                <a:solidFill>
                  <a:prstClr val="black"/>
                </a:solidFill>
                <a:ea typeface="Times New Roman"/>
                <a:cs typeface="Times New Roman"/>
              </a:rPr>
              <a:t>Joint transition governance </a:t>
            </a:r>
            <a:r>
              <a:rPr lang="en-US" sz="867" i="1" dirty="0">
                <a:solidFill>
                  <a:prstClr val="black"/>
                </a:solidFill>
                <a:ea typeface="Times New Roman"/>
                <a:cs typeface="Times New Roman"/>
              </a:rPr>
              <a:t>aligned to </a:t>
            </a:r>
            <a:r>
              <a:rPr lang="en-US" sz="867" i="1" dirty="0" smtClean="0">
                <a:solidFill>
                  <a:prstClr val="black"/>
                </a:solidFill>
                <a:ea typeface="Times New Roman"/>
                <a:cs typeface="Times New Roman"/>
              </a:rPr>
              <a:t>Marriott </a:t>
            </a:r>
            <a:r>
              <a:rPr lang="en-US" sz="867" i="1" dirty="0">
                <a:solidFill>
                  <a:prstClr val="black"/>
                </a:solidFill>
                <a:ea typeface="Times New Roman"/>
                <a:cs typeface="Times New Roman"/>
              </a:rPr>
              <a:t>IT Services</a:t>
            </a:r>
          </a:p>
        </p:txBody>
      </p:sp>
      <p:sp>
        <p:nvSpPr>
          <p:cNvPr id="87" name="Rounded Rectangle 86"/>
          <p:cNvSpPr/>
          <p:nvPr/>
        </p:nvSpPr>
        <p:spPr>
          <a:xfrm>
            <a:off x="6718061" y="4473819"/>
            <a:ext cx="2174313" cy="361376"/>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b="1" i="1" dirty="0" smtClean="0">
                <a:solidFill>
                  <a:prstClr val="black"/>
                </a:solidFill>
                <a:ea typeface="Times New Roman"/>
                <a:cs typeface="Times New Roman"/>
              </a:rPr>
              <a:t>Marriott </a:t>
            </a:r>
            <a:r>
              <a:rPr lang="en-US" sz="933" b="1" i="1" dirty="0">
                <a:solidFill>
                  <a:prstClr val="black"/>
                </a:solidFill>
                <a:ea typeface="Times New Roman"/>
                <a:cs typeface="Times New Roman"/>
              </a:rPr>
              <a:t>culture and best Practices adoption</a:t>
            </a:r>
            <a:endParaRPr lang="en-US" sz="933" i="1" dirty="0">
              <a:solidFill>
                <a:prstClr val="black"/>
              </a:solidFill>
              <a:ea typeface="Times New Roman"/>
              <a:cs typeface="Times New Roman"/>
            </a:endParaRPr>
          </a:p>
        </p:txBody>
      </p:sp>
      <p:sp>
        <p:nvSpPr>
          <p:cNvPr id="88" name="Rounded Rectangle 87"/>
          <p:cNvSpPr/>
          <p:nvPr/>
        </p:nvSpPr>
        <p:spPr>
          <a:xfrm>
            <a:off x="6886911" y="1912314"/>
            <a:ext cx="2035469" cy="449765"/>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ea typeface="Times New Roman"/>
                <a:cs typeface="Times New Roman"/>
              </a:rPr>
              <a:t>Communication and change management</a:t>
            </a:r>
          </a:p>
        </p:txBody>
      </p:sp>
      <p:sp>
        <p:nvSpPr>
          <p:cNvPr id="89" name="Rounded Rectangle 88"/>
          <p:cNvSpPr/>
          <p:nvPr/>
        </p:nvSpPr>
        <p:spPr>
          <a:xfrm>
            <a:off x="6886913" y="2421563"/>
            <a:ext cx="2035468" cy="422184"/>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ea typeface="Times New Roman"/>
                <a:cs typeface="Times New Roman"/>
              </a:rPr>
              <a:t>Innovative fit-for-purpose KT methodologies (person-person, agile)</a:t>
            </a:r>
          </a:p>
        </p:txBody>
      </p:sp>
      <p:sp>
        <p:nvSpPr>
          <p:cNvPr id="90" name="Rounded Rectangle 89"/>
          <p:cNvSpPr/>
          <p:nvPr/>
        </p:nvSpPr>
        <p:spPr>
          <a:xfrm>
            <a:off x="4986372" y="4891709"/>
            <a:ext cx="1660120" cy="361377"/>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buClr>
                <a:srgbClr val="00B050"/>
              </a:buClr>
              <a:defRPr/>
            </a:pPr>
            <a:r>
              <a:rPr lang="en-US" sz="933" i="1" dirty="0">
                <a:solidFill>
                  <a:prstClr val="black"/>
                </a:solidFill>
                <a:ea typeface="Times New Roman"/>
                <a:cs typeface="Times New Roman"/>
              </a:rPr>
              <a:t>Quality gates customized to each service line</a:t>
            </a:r>
          </a:p>
        </p:txBody>
      </p:sp>
      <p:sp>
        <p:nvSpPr>
          <p:cNvPr id="91" name="Rounded Rectangle 90"/>
          <p:cNvSpPr/>
          <p:nvPr/>
        </p:nvSpPr>
        <p:spPr>
          <a:xfrm>
            <a:off x="3211901" y="5704733"/>
            <a:ext cx="2064532" cy="195651"/>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cs typeface="Arial" charset="0"/>
              </a:rPr>
              <a:t>Organizational change management</a:t>
            </a:r>
          </a:p>
        </p:txBody>
      </p:sp>
      <p:sp>
        <p:nvSpPr>
          <p:cNvPr id="92" name="Rounded Rectangle 91"/>
          <p:cNvSpPr/>
          <p:nvPr/>
        </p:nvSpPr>
        <p:spPr>
          <a:xfrm>
            <a:off x="3182943" y="4473819"/>
            <a:ext cx="1705125" cy="361376"/>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867" i="1" dirty="0">
                <a:solidFill>
                  <a:prstClr val="black"/>
                </a:solidFill>
                <a:ea typeface="Times New Roman"/>
                <a:cs typeface="Times New Roman"/>
              </a:rPr>
              <a:t>Transition framework customized to </a:t>
            </a:r>
            <a:r>
              <a:rPr lang="en-US" sz="867" i="1" dirty="0" smtClean="0">
                <a:solidFill>
                  <a:prstClr val="black"/>
                </a:solidFill>
                <a:ea typeface="Times New Roman"/>
                <a:cs typeface="Times New Roman"/>
              </a:rPr>
              <a:t>Marriott’s </a:t>
            </a:r>
            <a:r>
              <a:rPr lang="en-US" sz="867" i="1" dirty="0">
                <a:solidFill>
                  <a:prstClr val="black"/>
                </a:solidFill>
                <a:ea typeface="Times New Roman"/>
                <a:cs typeface="Times New Roman"/>
              </a:rPr>
              <a:t>needs</a:t>
            </a:r>
            <a:endParaRPr lang="en-US" sz="867" b="1" i="1" dirty="0">
              <a:solidFill>
                <a:prstClr val="black"/>
              </a:solidFill>
              <a:ea typeface="Times New Roman"/>
              <a:cs typeface="Times New Roman"/>
            </a:endParaRPr>
          </a:p>
        </p:txBody>
      </p:sp>
      <p:sp>
        <p:nvSpPr>
          <p:cNvPr id="93" name="Rounded Rectangle 92"/>
          <p:cNvSpPr/>
          <p:nvPr/>
        </p:nvSpPr>
        <p:spPr>
          <a:xfrm>
            <a:off x="6718061" y="4891709"/>
            <a:ext cx="2174313" cy="361377"/>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b="1" i="1" dirty="0">
                <a:solidFill>
                  <a:prstClr val="black"/>
                </a:solidFill>
                <a:cs typeface="Arial" charset="0"/>
              </a:rPr>
              <a:t>Joint planning </a:t>
            </a:r>
            <a:r>
              <a:rPr lang="en-US" sz="933" i="1" dirty="0">
                <a:solidFill>
                  <a:prstClr val="black"/>
                </a:solidFill>
                <a:cs typeface="Arial" charset="0"/>
              </a:rPr>
              <a:t>on services and business nuances</a:t>
            </a:r>
          </a:p>
        </p:txBody>
      </p:sp>
      <p:sp>
        <p:nvSpPr>
          <p:cNvPr id="94" name="Oval 93"/>
          <p:cNvSpPr/>
          <p:nvPr/>
        </p:nvSpPr>
        <p:spPr>
          <a:xfrm>
            <a:off x="2864101" y="1558097"/>
            <a:ext cx="429060" cy="403712"/>
          </a:xfrm>
          <a:prstGeom prst="ellipse">
            <a:avLst/>
          </a:prstGeom>
          <a:solidFill>
            <a:srgbClr val="07409F"/>
          </a:solidFill>
          <a:ln w="19050" cap="flat" cmpd="sng" algn="ctr">
            <a:solidFill>
              <a:sysClr val="window" lastClr="FFFFFF"/>
            </a:solidFill>
            <a:prstDash val="solid"/>
            <a:miter lim="800000"/>
          </a:ln>
          <a:effectLst/>
        </p:spPr>
        <p:txBody>
          <a:bodyPr lIns="47941" tIns="47941" rIns="47941" bIns="47941" rtlCol="0" anchor="ctr"/>
          <a:lstStyle/>
          <a:p>
            <a:pPr algn="ctr" defTabSz="608793"/>
            <a:r>
              <a:rPr lang="en-US" sz="1099" b="1" kern="0" dirty="0">
                <a:solidFill>
                  <a:prstClr val="white"/>
                </a:solidFill>
              </a:rPr>
              <a:t>1</a:t>
            </a:r>
          </a:p>
        </p:txBody>
      </p:sp>
      <p:sp>
        <p:nvSpPr>
          <p:cNvPr id="95" name="Oval 94"/>
          <p:cNvSpPr/>
          <p:nvPr/>
        </p:nvSpPr>
        <p:spPr>
          <a:xfrm>
            <a:off x="2864101" y="2902376"/>
            <a:ext cx="429060" cy="403712"/>
          </a:xfrm>
          <a:prstGeom prst="ellipse">
            <a:avLst/>
          </a:prstGeom>
          <a:solidFill>
            <a:srgbClr val="07409F"/>
          </a:solidFill>
          <a:ln w="19050" cap="flat" cmpd="sng" algn="ctr">
            <a:solidFill>
              <a:sysClr val="window" lastClr="FFFFFF"/>
            </a:solidFill>
            <a:prstDash val="solid"/>
            <a:miter lim="800000"/>
          </a:ln>
          <a:effectLst/>
        </p:spPr>
        <p:txBody>
          <a:bodyPr lIns="47941" tIns="47941" rIns="47941" bIns="47941" rtlCol="0" anchor="ctr"/>
          <a:lstStyle/>
          <a:p>
            <a:pPr algn="ctr" defTabSz="608793"/>
            <a:r>
              <a:rPr lang="en-US" sz="1099" b="1" kern="0" dirty="0">
                <a:solidFill>
                  <a:prstClr val="white"/>
                </a:solidFill>
              </a:rPr>
              <a:t>2</a:t>
            </a:r>
          </a:p>
        </p:txBody>
      </p:sp>
      <p:sp>
        <p:nvSpPr>
          <p:cNvPr id="96" name="Oval 95"/>
          <p:cNvSpPr/>
          <p:nvPr/>
        </p:nvSpPr>
        <p:spPr>
          <a:xfrm>
            <a:off x="2864101" y="4119280"/>
            <a:ext cx="429060" cy="403712"/>
          </a:xfrm>
          <a:prstGeom prst="ellipse">
            <a:avLst/>
          </a:prstGeom>
          <a:solidFill>
            <a:srgbClr val="07409F"/>
          </a:solidFill>
          <a:ln w="19050" cap="flat" cmpd="sng" algn="ctr">
            <a:solidFill>
              <a:sysClr val="window" lastClr="FFFFFF"/>
            </a:solidFill>
            <a:prstDash val="solid"/>
            <a:miter lim="800000"/>
          </a:ln>
          <a:effectLst/>
        </p:spPr>
        <p:txBody>
          <a:bodyPr lIns="47941" tIns="47941" rIns="47941" bIns="47941" rtlCol="0" anchor="ctr"/>
          <a:lstStyle/>
          <a:p>
            <a:pPr algn="ctr" defTabSz="608793"/>
            <a:r>
              <a:rPr lang="en-US" sz="1099" b="1" kern="0" dirty="0">
                <a:solidFill>
                  <a:prstClr val="white"/>
                </a:solidFill>
              </a:rPr>
              <a:t>3</a:t>
            </a:r>
          </a:p>
        </p:txBody>
      </p:sp>
      <p:sp>
        <p:nvSpPr>
          <p:cNvPr id="97" name="Rounded Rectangle 96"/>
          <p:cNvSpPr/>
          <p:nvPr/>
        </p:nvSpPr>
        <p:spPr>
          <a:xfrm>
            <a:off x="5360375" y="5734469"/>
            <a:ext cx="2016223" cy="210939"/>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867" i="1" dirty="0">
                <a:solidFill>
                  <a:prstClr val="black"/>
                </a:solidFill>
                <a:cs typeface="Arial" charset="0"/>
              </a:rPr>
              <a:t>Leverage </a:t>
            </a:r>
            <a:r>
              <a:rPr lang="en-US" sz="867" i="1" dirty="0" smtClean="0">
                <a:solidFill>
                  <a:prstClr val="black"/>
                </a:solidFill>
                <a:cs typeface="Arial" charset="0"/>
              </a:rPr>
              <a:t>Marriott’s </a:t>
            </a:r>
            <a:r>
              <a:rPr lang="en-US" sz="867" i="1" dirty="0">
                <a:solidFill>
                  <a:prstClr val="black"/>
                </a:solidFill>
                <a:cs typeface="Arial" charset="0"/>
              </a:rPr>
              <a:t>tools &amp; process</a:t>
            </a:r>
          </a:p>
        </p:txBody>
      </p:sp>
      <p:sp>
        <p:nvSpPr>
          <p:cNvPr id="98" name="Oval 97"/>
          <p:cNvSpPr/>
          <p:nvPr/>
        </p:nvSpPr>
        <p:spPr>
          <a:xfrm>
            <a:off x="2841150" y="5293708"/>
            <a:ext cx="452012" cy="403712"/>
          </a:xfrm>
          <a:prstGeom prst="ellipse">
            <a:avLst/>
          </a:prstGeom>
          <a:solidFill>
            <a:srgbClr val="07409F"/>
          </a:solidFill>
          <a:ln w="19050" cap="flat" cmpd="sng" algn="ctr">
            <a:solidFill>
              <a:sysClr val="window" lastClr="FFFFFF"/>
            </a:solidFill>
            <a:prstDash val="solid"/>
            <a:miter lim="800000"/>
          </a:ln>
          <a:effectLst/>
        </p:spPr>
        <p:txBody>
          <a:bodyPr lIns="47941" tIns="47941" rIns="47941" bIns="47941" rtlCol="0" anchor="ctr"/>
          <a:lstStyle/>
          <a:p>
            <a:pPr algn="ctr" defTabSz="608793"/>
            <a:r>
              <a:rPr lang="en-US" sz="1099" b="1" kern="0" dirty="0">
                <a:solidFill>
                  <a:prstClr val="white"/>
                </a:solidFill>
              </a:rPr>
              <a:t>4</a:t>
            </a:r>
          </a:p>
        </p:txBody>
      </p:sp>
      <p:sp>
        <p:nvSpPr>
          <p:cNvPr id="99" name="Rounded Rectangle 98"/>
          <p:cNvSpPr/>
          <p:nvPr/>
        </p:nvSpPr>
        <p:spPr>
          <a:xfrm>
            <a:off x="3211901" y="5969028"/>
            <a:ext cx="2052697" cy="181744"/>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i="1" dirty="0">
                <a:solidFill>
                  <a:prstClr val="black"/>
                </a:solidFill>
                <a:cs typeface="Arial" charset="0"/>
              </a:rPr>
              <a:t>SMO and governance setup</a:t>
            </a:r>
          </a:p>
        </p:txBody>
      </p:sp>
      <p:sp>
        <p:nvSpPr>
          <p:cNvPr id="100" name="Rounded Rectangle 99"/>
          <p:cNvSpPr/>
          <p:nvPr/>
        </p:nvSpPr>
        <p:spPr>
          <a:xfrm>
            <a:off x="5360376" y="5969028"/>
            <a:ext cx="2010153" cy="181744"/>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i="1" dirty="0">
                <a:solidFill>
                  <a:prstClr val="black"/>
                </a:solidFill>
                <a:cs typeface="Arial" charset="0"/>
              </a:rPr>
              <a:t>Productivity tools &amp; dashboards</a:t>
            </a:r>
          </a:p>
        </p:txBody>
      </p:sp>
      <p:sp>
        <p:nvSpPr>
          <p:cNvPr id="101" name="Rounded Rectangle 100"/>
          <p:cNvSpPr/>
          <p:nvPr/>
        </p:nvSpPr>
        <p:spPr>
          <a:xfrm>
            <a:off x="5827461" y="1902518"/>
            <a:ext cx="952515" cy="904989"/>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608793" fontAlgn="base">
              <a:lnSpc>
                <a:spcPct val="115000"/>
              </a:lnSpc>
              <a:spcBef>
                <a:spcPct val="0"/>
              </a:spcBef>
              <a:spcAft>
                <a:spcPct val="0"/>
              </a:spcAft>
              <a:buClr>
                <a:srgbClr val="00B050"/>
              </a:buClr>
              <a:defRPr/>
            </a:pPr>
            <a:r>
              <a:rPr lang="en-US" sz="933" i="1" kern="0" dirty="0">
                <a:solidFill>
                  <a:prstClr val="black"/>
                </a:solidFill>
                <a:ea typeface="Times New Roman"/>
                <a:cs typeface="Times New Roman"/>
              </a:rPr>
              <a:t>Personnel enablement &amp; day-1 core team for KT</a:t>
            </a:r>
            <a:endParaRPr lang="en-US" sz="933" b="1" i="1" kern="0" dirty="0">
              <a:solidFill>
                <a:prstClr val="black"/>
              </a:solidFill>
              <a:ea typeface="Times New Roman"/>
              <a:cs typeface="Times New Roman"/>
            </a:endParaRPr>
          </a:p>
        </p:txBody>
      </p:sp>
      <p:sp>
        <p:nvSpPr>
          <p:cNvPr id="102" name="Rectangle 101"/>
          <p:cNvSpPr/>
          <p:nvPr/>
        </p:nvSpPr>
        <p:spPr>
          <a:xfrm>
            <a:off x="839615" y="5173664"/>
            <a:ext cx="1762948" cy="713349"/>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200" dirty="0">
                <a:solidFill>
                  <a:schemeClr val="tx2">
                    <a:lumMod val="85000"/>
                    <a:lumOff val="15000"/>
                  </a:schemeClr>
                </a:solidFill>
              </a:rPr>
              <a:t>Service enhancement through automation and self-help</a:t>
            </a:r>
          </a:p>
        </p:txBody>
      </p:sp>
      <p:sp>
        <p:nvSpPr>
          <p:cNvPr id="103" name="Rounded Rectangle 102"/>
          <p:cNvSpPr/>
          <p:nvPr/>
        </p:nvSpPr>
        <p:spPr>
          <a:xfrm>
            <a:off x="7437727" y="5704733"/>
            <a:ext cx="1389951" cy="451888"/>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i="1" dirty="0">
                <a:solidFill>
                  <a:prstClr val="black"/>
                </a:solidFill>
                <a:cs typeface="Arial" charset="0"/>
              </a:rPr>
              <a:t>Foundation for intelligent automation</a:t>
            </a:r>
          </a:p>
        </p:txBody>
      </p:sp>
      <p:sp>
        <p:nvSpPr>
          <p:cNvPr id="54" name="Rectangle 53"/>
          <p:cNvSpPr/>
          <p:nvPr/>
        </p:nvSpPr>
        <p:spPr>
          <a:xfrm>
            <a:off x="9551489" y="2571663"/>
            <a:ext cx="1864035" cy="621701"/>
          </a:xfrm>
          <a:prstGeom prst="rect">
            <a:avLst/>
          </a:prstGeom>
          <a:solidFill>
            <a:schemeClr val="bg1"/>
          </a:solidFill>
          <a:ln w="12700">
            <a:noFill/>
            <a:miter lim="800000"/>
            <a:headEnd/>
            <a:tailEnd/>
          </a:ln>
          <a:effectLst/>
        </p:spPr>
        <p:txBody>
          <a:bodyPr vert="horz" wrap="square" lIns="0" tIns="0" rIns="0" bIns="0" numCol="1" anchor="ctr" anchorCtr="0" compatLnSpc="1">
            <a:prstTxWarp prst="textNoShape">
              <a:avLst/>
            </a:prstTxWarp>
          </a:bodyPr>
          <a:lstStyle/>
          <a:p>
            <a:pPr algn="ctr" defTabSz="591896">
              <a:lnSpc>
                <a:spcPct val="90000"/>
              </a:lnSpc>
              <a:defRPr/>
            </a:pPr>
            <a:r>
              <a:rPr lang="en-US" sz="1200" b="1" kern="0" dirty="0">
                <a:solidFill>
                  <a:schemeClr val="tx2">
                    <a:lumMod val="85000"/>
                    <a:lumOff val="15000"/>
                  </a:schemeClr>
                </a:solidFill>
              </a:rPr>
              <a:t>Day-1 transition governance </a:t>
            </a:r>
            <a:r>
              <a:rPr lang="en-US" sz="1200" kern="0" dirty="0">
                <a:solidFill>
                  <a:schemeClr val="tx2">
                    <a:lumMod val="85000"/>
                    <a:lumOff val="15000"/>
                  </a:schemeClr>
                </a:solidFill>
              </a:rPr>
              <a:t>team for KT execution</a:t>
            </a:r>
          </a:p>
        </p:txBody>
      </p:sp>
      <p:sp>
        <p:nvSpPr>
          <p:cNvPr id="104" name="Rectangle 103"/>
          <p:cNvSpPr/>
          <p:nvPr/>
        </p:nvSpPr>
        <p:spPr>
          <a:xfrm>
            <a:off x="9551489" y="3331720"/>
            <a:ext cx="1864035" cy="768288"/>
          </a:xfrm>
          <a:prstGeom prst="rect">
            <a:avLst/>
          </a:prstGeom>
          <a:solidFill>
            <a:schemeClr val="bg1"/>
          </a:solidFill>
          <a:ln w="12700">
            <a:noFill/>
            <a:miter lim="800000"/>
            <a:headEnd/>
            <a:tailEnd/>
          </a:ln>
          <a:effectLst/>
        </p:spPr>
        <p:txBody>
          <a:bodyPr vert="horz" wrap="square" lIns="0" tIns="0" rIns="0" bIns="0" numCol="1" anchor="ctr" anchorCtr="0" compatLnSpc="1">
            <a:prstTxWarp prst="textNoShape">
              <a:avLst/>
            </a:prstTxWarp>
          </a:bodyPr>
          <a:lstStyle/>
          <a:p>
            <a:pPr marL="0" lvl="1" algn="ctr" defTabSz="1087170">
              <a:lnSpc>
                <a:spcPct val="90000"/>
              </a:lnSpc>
              <a:defRPr/>
            </a:pPr>
            <a:r>
              <a:rPr lang="en-US" sz="1200" b="1" dirty="0">
                <a:solidFill>
                  <a:schemeClr val="tx2">
                    <a:lumMod val="85000"/>
                    <a:lumOff val="15000"/>
                  </a:schemeClr>
                </a:solidFill>
                <a:cs typeface="Arial" panose="020B0604020202020204" pitchFamily="34" charset="0"/>
              </a:rPr>
              <a:t>Holistic solution </a:t>
            </a:r>
            <a:r>
              <a:rPr lang="en-US" sz="1200" dirty="0">
                <a:solidFill>
                  <a:schemeClr val="tx2">
                    <a:lumMod val="85000"/>
                    <a:lumOff val="15000"/>
                  </a:schemeClr>
                </a:solidFill>
                <a:cs typeface="Arial" panose="020B0604020202020204" pitchFamily="34" charset="0"/>
              </a:rPr>
              <a:t>for </a:t>
            </a:r>
            <a:r>
              <a:rPr lang="en-US" sz="1200" dirty="0" smtClean="0">
                <a:solidFill>
                  <a:schemeClr val="tx2">
                    <a:lumMod val="85000"/>
                    <a:lumOff val="15000"/>
                  </a:schemeClr>
                </a:solidFill>
                <a:cs typeface="Arial" panose="020B0604020202020204" pitchFamily="34" charset="0"/>
              </a:rPr>
              <a:t>Marriott    </a:t>
            </a:r>
            <a:r>
              <a:rPr lang="en-US" sz="1200" dirty="0">
                <a:solidFill>
                  <a:schemeClr val="tx2">
                    <a:lumMod val="85000"/>
                    <a:lumOff val="15000"/>
                  </a:schemeClr>
                </a:solidFill>
                <a:cs typeface="Arial" panose="020B0604020202020204" pitchFamily="34" charset="0"/>
              </a:rPr>
              <a:t>applications/infrastructure—</a:t>
            </a:r>
            <a:r>
              <a:rPr lang="en-US" sz="1200" kern="0" dirty="0">
                <a:solidFill>
                  <a:schemeClr val="tx2">
                    <a:lumMod val="85000"/>
                    <a:lumOff val="15000"/>
                  </a:schemeClr>
                </a:solidFill>
              </a:rPr>
              <a:t>right shoring</a:t>
            </a:r>
          </a:p>
        </p:txBody>
      </p:sp>
      <p:sp>
        <p:nvSpPr>
          <p:cNvPr id="105" name="Rounded Rectangle 104"/>
          <p:cNvSpPr/>
          <p:nvPr/>
        </p:nvSpPr>
        <p:spPr>
          <a:xfrm>
            <a:off x="6323629" y="3285014"/>
            <a:ext cx="1587731" cy="400005"/>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608793">
              <a:lnSpc>
                <a:spcPct val="115000"/>
              </a:lnSpc>
              <a:buClr>
                <a:srgbClr val="00B050"/>
              </a:buClr>
              <a:defRPr/>
            </a:pPr>
            <a:r>
              <a:rPr lang="en-US" sz="933" i="1" dirty="0">
                <a:solidFill>
                  <a:prstClr val="black"/>
                </a:solidFill>
                <a:ea typeface="Times New Roman"/>
                <a:cs typeface="Times New Roman"/>
              </a:rPr>
              <a:t>ADAPT—Cognizant’s proven transition framework</a:t>
            </a:r>
          </a:p>
        </p:txBody>
      </p:sp>
      <p:sp>
        <p:nvSpPr>
          <p:cNvPr id="4" name="TextBox 3"/>
          <p:cNvSpPr txBox="1"/>
          <p:nvPr/>
        </p:nvSpPr>
        <p:spPr>
          <a:xfrm>
            <a:off x="913025" y="1828478"/>
            <a:ext cx="1654523" cy="738664"/>
          </a:xfrm>
          <a:prstGeom prst="rect">
            <a:avLst/>
          </a:prstGeom>
        </p:spPr>
        <p:txBody>
          <a:bodyPr wrap="square" lIns="0" tIns="0" rIns="0" bIns="0" rtlCol="0">
            <a:spAutoFit/>
          </a:bodyPr>
          <a:lstStyle/>
          <a:p>
            <a:pPr algn="ctr"/>
            <a:r>
              <a:rPr lang="en-US" sz="1200" dirty="0">
                <a:solidFill>
                  <a:schemeClr val="tx2">
                    <a:lumMod val="85000"/>
                    <a:lumOff val="15000"/>
                  </a:schemeClr>
                </a:solidFill>
              </a:rPr>
              <a:t>Proven transition methodology and minimal disruption to business</a:t>
            </a:r>
          </a:p>
        </p:txBody>
      </p:sp>
      <p:sp>
        <p:nvSpPr>
          <p:cNvPr id="60" name="Diagonal Stripe 59"/>
          <p:cNvSpPr/>
          <p:nvPr/>
        </p:nvSpPr>
        <p:spPr>
          <a:xfrm rot="5400000">
            <a:off x="9005451" y="249384"/>
            <a:ext cx="3435930" cy="2937163"/>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400" dirty="0" smtClean="0">
                <a:solidFill>
                  <a:srgbClr val="FF0000"/>
                </a:solidFill>
              </a:rPr>
              <a:t>Placeholder, pls modify as appropriate</a:t>
            </a:r>
          </a:p>
        </p:txBody>
      </p:sp>
    </p:spTree>
    <p:extLst>
      <p:ext uri="{BB962C8B-B14F-4D97-AF65-F5344CB8AC3E}">
        <p14:creationId xmlns:p14="http://schemas.microsoft.com/office/powerpoint/2010/main" val="1747174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6ensqE4aUGi74CfsRku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fJiv7LLHkijeqUDVvPe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6ensqE4aUGi74CfsRku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heme/theme1.xml><?xml version="1.0" encoding="utf-8"?>
<a:theme xmlns:a="http://schemas.openxmlformats.org/drawingml/2006/main" name="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12E3D2471827468672C83D828C01EF" ma:contentTypeVersion="1" ma:contentTypeDescription="Create a new document." ma:contentTypeScope="" ma:versionID="279ee9f801b7f4a11b3970d7e5d42577">
  <xsd:schema xmlns:xsd="http://www.w3.org/2001/XMLSchema" xmlns:xs="http://www.w3.org/2001/XMLSchema" xmlns:p="http://schemas.microsoft.com/office/2006/metadata/properties" xmlns:ns2="a0db0cdc-a3bc-4aea-aa8d-2f95be4aedf7" targetNamespace="http://schemas.microsoft.com/office/2006/metadata/properties" ma:root="true" ma:fieldsID="d136ae67b5a9f169354a3dbd181fbae1" ns2:_="">
    <xsd:import namespace="a0db0cdc-a3bc-4aea-aa8d-2f95be4aedf7"/>
    <xsd:element name="properties">
      <xsd:complexType>
        <xsd:sequence>
          <xsd:element name="documentManagement">
            <xsd:complexType>
              <xsd:all>
                <xsd:element ref="ns2:Item_x0020_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db0cdc-a3bc-4aea-aa8d-2f95be4aedf7" elementFormDefault="qualified">
    <xsd:import namespace="http://schemas.microsoft.com/office/2006/documentManagement/types"/>
    <xsd:import namespace="http://schemas.microsoft.com/office/infopath/2007/PartnerControls"/>
    <xsd:element name="Item_x0020_ID" ma:index="8" nillable="true" ma:displayName="Item ID" ma:internalName="Item_x0020_ID">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tem_x0020_ID xmlns="a0db0cdc-a3bc-4aea-aa8d-2f95be4aedf7" xsi:nil="true"/>
  </documentManagement>
</p:properties>
</file>

<file path=customXml/itemProps1.xml><?xml version="1.0" encoding="utf-8"?>
<ds:datastoreItem xmlns:ds="http://schemas.openxmlformats.org/officeDocument/2006/customXml" ds:itemID="{913D3EA7-A9E1-4D17-992F-311FAB7D3390}">
  <ds:schemaRefs>
    <ds:schemaRef ds:uri="http://schemas.microsoft.com/sharepoint/v3/contenttype/forms"/>
  </ds:schemaRefs>
</ds:datastoreItem>
</file>

<file path=customXml/itemProps2.xml><?xml version="1.0" encoding="utf-8"?>
<ds:datastoreItem xmlns:ds="http://schemas.openxmlformats.org/officeDocument/2006/customXml" ds:itemID="{82750448-D060-442F-8310-8A994CBC3B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db0cdc-a3bc-4aea-aa8d-2f95be4aed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5C34B8-68E7-40A1-AEE2-B77598CA3C14}">
  <ds:schemaRefs>
    <ds:schemaRef ds:uri="http://schemas.microsoft.com/office/2006/metadata/properties"/>
    <ds:schemaRef ds:uri="http://purl.org/dc/terms/"/>
    <ds:schemaRef ds:uri="http://purl.org/dc/dcmitype/"/>
    <ds:schemaRef ds:uri="http://purl.org/dc/elements/1.1/"/>
    <ds:schemaRef ds:uri="http://www.w3.org/XML/1998/namespace"/>
    <ds:schemaRef ds:uri="http://schemas.openxmlformats.org/package/2006/metadata/core-properties"/>
    <ds:schemaRef ds:uri="a0db0cdc-a3bc-4aea-aa8d-2f95be4aedf7"/>
    <ds:schemaRef ds:uri="http://schemas.microsoft.com/office/infopath/2007/PartnerControls"/>
    <ds:schemaRef ds:uri="http://schemas.microsoft.com/office/2006/documentManagement/types"/>
  </ds:schemaRefs>
</ds:datastoreItem>
</file>

<file path=docProps/app.xml><?xml version="1.0" encoding="utf-8"?>
<Properties xmlns="http://schemas.openxmlformats.org/officeDocument/2006/extended-properties" xmlns:vt="http://schemas.openxmlformats.org/officeDocument/2006/docPropsVTypes">
  <Template/>
  <TotalTime>5572</TotalTime>
  <Words>13163</Words>
  <Application>Microsoft Office PowerPoint</Application>
  <PresentationFormat>Widescreen</PresentationFormat>
  <Paragraphs>3014</Paragraphs>
  <Slides>88</Slides>
  <Notes>24</Notes>
  <HiddenSlides>0</HiddenSlides>
  <MMClips>0</MMClips>
  <ScaleCrop>false</ScaleCrop>
  <HeadingPairs>
    <vt:vector size="6" baseType="variant">
      <vt:variant>
        <vt:lpstr>Fonts Used</vt:lpstr>
      </vt:variant>
      <vt:variant>
        <vt:i4>29</vt:i4>
      </vt:variant>
      <vt:variant>
        <vt:lpstr>Theme</vt:lpstr>
      </vt:variant>
      <vt:variant>
        <vt:i4>1</vt:i4>
      </vt:variant>
      <vt:variant>
        <vt:lpstr>Slide Titles</vt:lpstr>
      </vt:variant>
      <vt:variant>
        <vt:i4>88</vt:i4>
      </vt:variant>
    </vt:vector>
  </HeadingPairs>
  <TitlesOfParts>
    <vt:vector size="118" baseType="lpstr">
      <vt:lpstr>Calibiri</vt:lpstr>
      <vt:lpstr>Calibri </vt:lpstr>
      <vt:lpstr>Calibri (Headings)</vt:lpstr>
      <vt:lpstr>Helvetica 45 Light</vt:lpstr>
      <vt:lpstr>Helvetica Neue</vt:lpstr>
      <vt:lpstr>ＭＳ Ｐゴシック</vt:lpstr>
      <vt:lpstr>ＭＳ Ｐゴシック</vt:lpstr>
      <vt:lpstr>Roboto</vt:lpstr>
      <vt:lpstr>Roboto Cn</vt:lpstr>
      <vt:lpstr>Arial</vt:lpstr>
      <vt:lpstr>Arial Narrow</vt:lpstr>
      <vt:lpstr>Calibri</vt:lpstr>
      <vt:lpstr>Calibri Light</vt:lpstr>
      <vt:lpstr>Century Gothic</vt:lpstr>
      <vt:lpstr>Courier New</vt:lpstr>
      <vt:lpstr>Georgia</vt:lpstr>
      <vt:lpstr>Helvetica</vt:lpstr>
      <vt:lpstr>Lucida Sans Unicode</vt:lpstr>
      <vt:lpstr>Open Sans</vt:lpstr>
      <vt:lpstr>Segoe UI</vt:lpstr>
      <vt:lpstr>Segoe UI Black</vt:lpstr>
      <vt:lpstr>Segoe UI Light</vt:lpstr>
      <vt:lpstr>Segoe UI Semibold</vt:lpstr>
      <vt:lpstr>Segoe UI Symbol</vt:lpstr>
      <vt:lpstr>Symbol</vt:lpstr>
      <vt:lpstr>Tahoma</vt:lpstr>
      <vt:lpstr>Times New Roman</vt:lpstr>
      <vt:lpstr>Verdana</vt:lpstr>
      <vt:lpstr>Wingdings</vt:lpstr>
      <vt:lpstr>Cognizant</vt:lpstr>
      <vt:lpstr>Marriot RFP1 &amp; RFP2 Orals 10th May-2019</vt:lpstr>
      <vt:lpstr>The Cognizant Team</vt:lpstr>
      <vt:lpstr>Agenda</vt:lpstr>
      <vt:lpstr>RFP 1 &amp; 2 Solution Tenets</vt:lpstr>
      <vt:lpstr>We have understood Marriott objectives</vt:lpstr>
      <vt:lpstr>Key capabilities to deliver the outcomes</vt:lpstr>
      <vt:lpstr>Our Key Inferences </vt:lpstr>
      <vt:lpstr>Land Safe Transition</vt:lpstr>
      <vt:lpstr>Transition Approach</vt:lpstr>
      <vt:lpstr>Transition risk mitigation</vt:lpstr>
      <vt:lpstr>PowerPoint Presentation</vt:lpstr>
      <vt:lpstr>We have managed complex transitions before</vt:lpstr>
      <vt:lpstr>RFP 1 - Solution Overview</vt:lpstr>
      <vt:lpstr>Objectives and Solution Alignment for Marriott – Illustrative – RFP 1</vt:lpstr>
      <vt:lpstr>Setting it up - Our proposed team structure </vt:lpstr>
      <vt:lpstr>Driving Efficiencies through ZERO MAINTENANCE FRAMEWORK </vt:lpstr>
      <vt:lpstr>Illustrative Blueprint : Contextualize, Standardize and Institute rigor across towers and partners … Augment with AI / ML enabled ApplensTM platform</vt:lpstr>
      <vt:lpstr>..And leverages our AppLensTM platform to drive overall services Transformation </vt:lpstr>
      <vt:lpstr>Automation Roadmap &amp; Potential Use Cases</vt:lpstr>
      <vt:lpstr>.. As per the following roadmap … </vt:lpstr>
      <vt:lpstr>Summary &amp; Cognizant Differentiators </vt:lpstr>
      <vt:lpstr>RFP 2 – Solution Overview</vt:lpstr>
      <vt:lpstr>Overall RFP 2 Solution tenets aligned to Marriott’s objectives and defined outcomes</vt:lpstr>
      <vt:lpstr>Build Better – AD – RFP 2</vt:lpstr>
      <vt:lpstr>Coexisting multi models  - Approach </vt:lpstr>
      <vt:lpstr>Multi-Speed Delivery Model in alignment with Business Strategy</vt:lpstr>
      <vt:lpstr>Envisaging the Future Operating Model</vt:lpstr>
      <vt:lpstr>Enhancement Process Workflow</vt:lpstr>
      <vt:lpstr>Foundational: Working with Marriott to set up a Pod based delivery ecosystem</vt:lpstr>
      <vt:lpstr>Build Better – AMS – RFP 2</vt:lpstr>
      <vt:lpstr>Zero Maintenance Framework – Driving Agility with Optimization</vt:lpstr>
      <vt:lpstr>Automate : Cognizant’s HiveCenter I&amp;O </vt:lpstr>
      <vt:lpstr>SmartOps – Smart IT Operations</vt:lpstr>
      <vt:lpstr>Our ‘Zero Touch’ approach makes time available to users for business activities vs getting resolution to tickets …</vt:lpstr>
      <vt:lpstr>Build Different – RFP 2</vt:lpstr>
      <vt:lpstr>Implement the Continuous Improvement and Innovation Process</vt:lpstr>
      <vt:lpstr>Business Value Management - Overview</vt:lpstr>
      <vt:lpstr>PowerPoint Presentation</vt:lpstr>
      <vt:lpstr>Integrated Build and Run Organization for Optimized and Accelerated Delivery</vt:lpstr>
      <vt:lpstr>Hotel-In-A-Box to improve Speed, Scale and Quality</vt:lpstr>
      <vt:lpstr>Successful transformation proof points</vt:lpstr>
      <vt:lpstr>Governance</vt:lpstr>
      <vt:lpstr>Governance Framework</vt:lpstr>
      <vt:lpstr>Commercials</vt:lpstr>
      <vt:lpstr>Commercials for RFP 1 &amp; 2 </vt:lpstr>
      <vt:lpstr>Why Cognizant ?</vt:lpstr>
      <vt:lpstr>Invested in building Domain and Technology solution accelerators and platforms for accelerated digital transformation at scale</vt:lpstr>
      <vt:lpstr>Invested in building Domain and Technology solution accelerators and platforms for accelerated digital transformation at scale</vt:lpstr>
      <vt:lpstr>Invested in building Domain and Technology solution accelerators and platforms for accelerated digital transformation at scale</vt:lpstr>
      <vt:lpstr>Strengthening our own Digital capabilities by adding Niche capabilities</vt:lpstr>
      <vt:lpstr>Our Commitments</vt:lpstr>
      <vt:lpstr>Opportunity for innovation and investments</vt:lpstr>
      <vt:lpstr>Thank You</vt:lpstr>
      <vt:lpstr>Appendix</vt:lpstr>
      <vt:lpstr>Location Strategy Through Global Delivery</vt:lpstr>
      <vt:lpstr>Governance Structure for Marriott</vt:lpstr>
      <vt:lpstr>PowerPoint Presentation</vt:lpstr>
      <vt:lpstr>Location Strategy Through Global Delivery</vt:lpstr>
      <vt:lpstr>Business value Management - Transcend Customer Experience – Improving the Reservation Process</vt:lpstr>
      <vt:lpstr>CSI Framework for Maintenance Activities</vt:lpstr>
      <vt:lpstr>We have understood the scope for Services in – RFP1 bundle A &amp; B </vt:lpstr>
      <vt:lpstr>Our Understanding of Scope of Services in - RFP2</vt:lpstr>
      <vt:lpstr>Service Management – DIAL in action with Multiple Services and Partners </vt:lpstr>
      <vt:lpstr>Reimagining products for the digital age: the “3Ws”</vt:lpstr>
      <vt:lpstr>Proposed Agile Factory model for Accelerated Delivery</vt:lpstr>
      <vt:lpstr>Case Studies</vt:lpstr>
      <vt:lpstr>Our Blueprint to deliver…</vt:lpstr>
      <vt:lpstr>Automating the Delivery Pipeline</vt:lpstr>
      <vt:lpstr>The Two Pronged Approach to drive innovation @ Marriott</vt:lpstr>
      <vt:lpstr>Continuous Innovation: Delayering The Innovation Landscape</vt:lpstr>
      <vt:lpstr>Tailored Transition Strategy for minimal business disruption-RFP2</vt:lpstr>
      <vt:lpstr>Differentiating factors</vt:lpstr>
      <vt:lpstr>Scientific analysis to assess transition complexity- RFP2</vt:lpstr>
      <vt:lpstr>Rapid “Enhancements Request to Production” Workflow</vt:lpstr>
      <vt:lpstr>Leveraging Marriott’s Patterns and Principles to build Practices for Scaling </vt:lpstr>
      <vt:lpstr>Confirming Marriott’s Current State</vt:lpstr>
      <vt:lpstr>Our Solution(s) Designed To Meet Marriott’s Desired Future State</vt:lpstr>
      <vt:lpstr>SLA’s Model – Agree and Augment </vt:lpstr>
      <vt:lpstr>The SMO will drive process standardization across towers as a starter and on ongoing basis</vt:lpstr>
      <vt:lpstr>Our approach for Effective Governance of service areas …Delivery Integration &amp; Liaison (DIAL) Model</vt:lpstr>
      <vt:lpstr>Our transformation focus areas for Marriott International </vt:lpstr>
      <vt:lpstr>Monitoring Transformation with PID 3.0 – Operational Overview Reactive &gt;  Preventive &gt; Proactive &gt; Predictive</vt:lpstr>
      <vt:lpstr>Transition Framework: ADAPT™</vt:lpstr>
      <vt:lpstr>Blue print for Pod Based Delivery for Moderns Team</vt:lpstr>
      <vt:lpstr>Debt Management via ApplensTM Platform – Sample Tower View </vt:lpstr>
      <vt:lpstr>Eliminate: orchestrating “elimination” of debt - Sample</vt:lpstr>
      <vt:lpstr>Automate: Analysis Summary - Sample</vt:lpstr>
      <vt:lpstr>Objectives and Solution Alignment for Marriott - Illustrative</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nasekaran, SENTHIL (Cognizant)</dc:creator>
  <cp:lastModifiedBy>R K, Lakshmipathy (Cognizant)</cp:lastModifiedBy>
  <cp:revision>305</cp:revision>
  <dcterms:created xsi:type="dcterms:W3CDTF">2019-03-29T05:36:07Z</dcterms:created>
  <dcterms:modified xsi:type="dcterms:W3CDTF">2019-05-06T18: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12E3D2471827468672C83D828C01EF</vt:lpwstr>
  </property>
</Properties>
</file>